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254" r:id="rId4"/>
  </p:sldMasterIdLst>
  <p:notesMasterIdLst>
    <p:notesMasterId r:id="rId9"/>
  </p:notesMasterIdLst>
  <p:handoutMasterIdLst>
    <p:handoutMasterId r:id="rId10"/>
  </p:handoutMasterIdLst>
  <p:sldIdLst>
    <p:sldId id="256" r:id="rId5"/>
    <p:sldId id="261" r:id="rId6"/>
    <p:sldId id="258" r:id="rId7"/>
    <p:sldId id="260" r:id="rId8"/>
  </p:sldIdLst>
  <p:sldSz cx="12192000" cy="6858000"/>
  <p:notesSz cx="6950075" cy="9236075"/>
  <p:custShowLst>
    <p:custShow name="Format Guide Workshop" id="0">
      <p:sldLst/>
    </p:custShow>
  </p:custShowLst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9791E88-73C5-4EAD-B5B9-EF7A980C8695}">
          <p14:sldIdLst>
            <p14:sldId id="256"/>
            <p14:sldId id="261"/>
            <p14:sldId id="258"/>
            <p14:sldId id="260"/>
          </p14:sldIdLst>
        </p14:section>
        <p14:section name="Default Section" id="{7A53FEEA-3657-FE48-9E70-DE36E119734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0F0F0"/>
    <a:srgbClr val="E5E5FB"/>
    <a:srgbClr val="1729E5"/>
    <a:srgbClr val="1F22D0"/>
    <a:srgbClr val="0F1167"/>
    <a:srgbClr val="FFFFCC"/>
    <a:srgbClr val="017336"/>
    <a:srgbClr val="FFCC0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D56DE7-C9C1-5046-9602-DDC6EB9152AD}" v="58897" dt="2025-10-22T20:00:31.193"/>
    <p1510:client id="{44CB5224-51B6-481C-9677-C70530AFE879}" v="215" dt="2025-10-23T01:29:23.743"/>
    <p1510:client id="{71C62542-7A6D-43F6-B93A-8A67E9921364}" v="787" dt="2025-10-22T20:15:09.650"/>
    <p1510:client id="{BE86370A-B29F-4F42-BC7C-8661773008D0}" v="7254" dt="2025-10-23T05:50:26.373"/>
    <p1510:client id="{C3E67B5F-74D6-BA4A-921E-B888DBAE82D6}" v="39047" dt="2025-10-22T13:37:38.379"/>
    <p1510:client id="{CEFB5C2A-32BA-470A-A892-26100A3094A6}" v="3" dt="2025-10-23T08:42:50.091"/>
    <p1510:client id="{F249931F-CF49-4405-BC21-8182E27291FD}" v="1020" dt="2025-10-23T05:27:18.3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98" d="100"/>
          <a:sy n="98" d="100"/>
        </p:scale>
        <p:origin x="72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ppala Srujana" userId="a897cc35-aedc-4025-bce6-6175c0177033" providerId="ADAL" clId="{F249931F-CF49-4405-BC21-8182E27291FD}"/>
    <pc:docChg chg="custSel addSld modSld modSection">
      <pc:chgData name="Appala Srujana" userId="a897cc35-aedc-4025-bce6-6175c0177033" providerId="ADAL" clId="{F249931F-CF49-4405-BC21-8182E27291FD}" dt="2025-10-23T05:27:18.382" v="7278" actId="1036"/>
      <pc:docMkLst>
        <pc:docMk/>
      </pc:docMkLst>
      <pc:sldChg chg="addSp delSp modSp mod">
        <pc:chgData name="Appala Srujana" userId="a897cc35-aedc-4025-bce6-6175c0177033" providerId="ADAL" clId="{F249931F-CF49-4405-BC21-8182E27291FD}" dt="2025-10-23T05:27:18.382" v="7278" actId="1036"/>
        <pc:sldMkLst>
          <pc:docMk/>
          <pc:sldMk cId="2833416506" sldId="258"/>
        </pc:sldMkLst>
        <pc:spChg chg="mod ord">
          <ac:chgData name="Appala Srujana" userId="a897cc35-aedc-4025-bce6-6175c0177033" providerId="ADAL" clId="{F249931F-CF49-4405-BC21-8182E27291FD}" dt="2025-10-23T05:19:03.129" v="3002" actId="948"/>
          <ac:spMkLst>
            <pc:docMk/>
            <pc:sldMk cId="2833416506" sldId="258"/>
            <ac:spMk id="3" creationId="{FA50FF7E-69C5-D1E0-7235-DE72AFAC977B}"/>
          </ac:spMkLst>
        </pc:spChg>
        <pc:spChg chg="mod ord topLvl">
          <ac:chgData name="Appala Srujana" userId="a897cc35-aedc-4025-bce6-6175c0177033" providerId="ADAL" clId="{F249931F-CF49-4405-BC21-8182E27291FD}" dt="2025-10-23T05:18:41.972" v="2530"/>
          <ac:spMkLst>
            <pc:docMk/>
            <pc:sldMk cId="2833416506" sldId="258"/>
            <ac:spMk id="5" creationId="{69265E11-E6FA-410E-04BA-CC4D4747DB74}"/>
          </ac:spMkLst>
        </pc:spChg>
        <pc:spChg chg="mod ord">
          <ac:chgData name="Appala Srujana" userId="a897cc35-aedc-4025-bce6-6175c0177033" providerId="ADAL" clId="{F249931F-CF49-4405-BC21-8182E27291FD}" dt="2025-10-23T05:18:42.003" v="2636"/>
          <ac:spMkLst>
            <pc:docMk/>
            <pc:sldMk cId="2833416506" sldId="258"/>
            <ac:spMk id="6" creationId="{F2946FFE-2EC2-1298-FF35-0C23BE0B514D}"/>
          </ac:spMkLst>
        </pc:spChg>
        <pc:spChg chg="mod ord">
          <ac:chgData name="Appala Srujana" userId="a897cc35-aedc-4025-bce6-6175c0177033" providerId="ADAL" clId="{F249931F-CF49-4405-BC21-8182E27291FD}" dt="2025-10-23T05:18:42.019" v="2656"/>
          <ac:spMkLst>
            <pc:docMk/>
            <pc:sldMk cId="2833416506" sldId="258"/>
            <ac:spMk id="7" creationId="{9C6A503F-6963-5261-D45E-3391E090F90B}"/>
          </ac:spMkLst>
        </pc:spChg>
        <pc:spChg chg="mod ord topLvl">
          <ac:chgData name="Appala Srujana" userId="a897cc35-aedc-4025-bce6-6175c0177033" providerId="ADAL" clId="{F249931F-CF49-4405-BC21-8182E27291FD}" dt="2025-10-23T05:18:54.774" v="2974" actId="165"/>
          <ac:spMkLst>
            <pc:docMk/>
            <pc:sldMk cId="2833416506" sldId="258"/>
            <ac:spMk id="8" creationId="{60045DE0-5788-92C1-08CE-A46444307B76}"/>
          </ac:spMkLst>
        </pc:spChg>
        <pc:spChg chg="mod ord">
          <ac:chgData name="Appala Srujana" userId="a897cc35-aedc-4025-bce6-6175c0177033" providerId="ADAL" clId="{F249931F-CF49-4405-BC21-8182E27291FD}" dt="2025-10-23T05:18:42.037" v="2702"/>
          <ac:spMkLst>
            <pc:docMk/>
            <pc:sldMk cId="2833416506" sldId="258"/>
            <ac:spMk id="9" creationId="{FCFA1691-544C-4CC6-F7DA-E0F989DBF1B1}"/>
          </ac:spMkLst>
        </pc:spChg>
        <pc:spChg chg="mod ord topLvl">
          <ac:chgData name="Appala Srujana" userId="a897cc35-aedc-4025-bce6-6175c0177033" providerId="ADAL" clId="{F249931F-CF49-4405-BC21-8182E27291FD}" dt="2025-10-23T05:18:41.987" v="2532"/>
          <ac:spMkLst>
            <pc:docMk/>
            <pc:sldMk cId="2833416506" sldId="258"/>
            <ac:spMk id="10" creationId="{8B74BB10-5D95-896E-CD7C-E44E4EDBD221}"/>
          </ac:spMkLst>
        </pc:spChg>
        <pc:spChg chg="mod topLvl">
          <ac:chgData name="Appala Srujana" userId="a897cc35-aedc-4025-bce6-6175c0177033" providerId="ADAL" clId="{F249931F-CF49-4405-BC21-8182E27291FD}" dt="2025-10-23T05:18:41.987" v="2533"/>
          <ac:spMkLst>
            <pc:docMk/>
            <pc:sldMk cId="2833416506" sldId="258"/>
            <ac:spMk id="11" creationId="{DFACB6E6-8F21-6F5B-A4D3-99213AC60C41}"/>
          </ac:spMkLst>
        </pc:spChg>
        <pc:spChg chg="mod ord">
          <ac:chgData name="Appala Srujana" userId="a897cc35-aedc-4025-bce6-6175c0177033" providerId="ADAL" clId="{F249931F-CF49-4405-BC21-8182E27291FD}" dt="2025-10-23T05:18:42.039" v="2704"/>
          <ac:spMkLst>
            <pc:docMk/>
            <pc:sldMk cId="2833416506" sldId="258"/>
            <ac:spMk id="12" creationId="{8D3BF568-D248-E9B4-4C6B-8CDC59CD71CA}"/>
          </ac:spMkLst>
        </pc:spChg>
        <pc:spChg chg="mod topLvl">
          <ac:chgData name="Appala Srujana" userId="a897cc35-aedc-4025-bce6-6175c0177033" providerId="ADAL" clId="{F249931F-CF49-4405-BC21-8182E27291FD}" dt="2025-10-23T05:18:41.987" v="2534"/>
          <ac:spMkLst>
            <pc:docMk/>
            <pc:sldMk cId="2833416506" sldId="258"/>
            <ac:spMk id="13" creationId="{9DA950BB-D691-7159-8617-A3B84A075570}"/>
          </ac:spMkLst>
        </pc:spChg>
        <pc:spChg chg="mod ord">
          <ac:chgData name="Appala Srujana" userId="a897cc35-aedc-4025-bce6-6175c0177033" providerId="ADAL" clId="{F249931F-CF49-4405-BC21-8182E27291FD}" dt="2025-10-23T05:18:42.039" v="2716"/>
          <ac:spMkLst>
            <pc:docMk/>
            <pc:sldMk cId="2833416506" sldId="258"/>
            <ac:spMk id="14" creationId="{C0EBD9AB-75E6-523C-C38B-857D7D55CFA9}"/>
          </ac:spMkLst>
        </pc:spChg>
        <pc:spChg chg="mod ord">
          <ac:chgData name="Appala Srujana" userId="a897cc35-aedc-4025-bce6-6175c0177033" providerId="ADAL" clId="{F249931F-CF49-4405-BC21-8182E27291FD}" dt="2025-10-23T05:18:42.039" v="2728"/>
          <ac:spMkLst>
            <pc:docMk/>
            <pc:sldMk cId="2833416506" sldId="258"/>
            <ac:spMk id="15" creationId="{751A56B4-3C54-B402-C0B9-BC7176DB2DF9}"/>
          </ac:spMkLst>
        </pc:spChg>
        <pc:spChg chg="mod ord topLvl">
          <ac:chgData name="Appala Srujana" userId="a897cc35-aedc-4025-bce6-6175c0177033" providerId="ADAL" clId="{F249931F-CF49-4405-BC21-8182E27291FD}" dt="2025-10-23T05:23:40.036" v="6259" actId="207"/>
          <ac:spMkLst>
            <pc:docMk/>
            <pc:sldMk cId="2833416506" sldId="258"/>
            <ac:spMk id="16" creationId="{DFF98FA1-7025-369A-2FBF-040B9809C956}"/>
          </ac:spMkLst>
        </pc:spChg>
        <pc:spChg chg="mod ord">
          <ac:chgData name="Appala Srujana" userId="a897cc35-aedc-4025-bce6-6175c0177033" providerId="ADAL" clId="{F249931F-CF49-4405-BC21-8182E27291FD}" dt="2025-10-23T05:18:42.051" v="2760"/>
          <ac:spMkLst>
            <pc:docMk/>
            <pc:sldMk cId="2833416506" sldId="258"/>
            <ac:spMk id="17" creationId="{7C6F000C-F202-1408-0017-99214A1EC414}"/>
          </ac:spMkLst>
        </pc:spChg>
        <pc:spChg chg="mod ord">
          <ac:chgData name="Appala Srujana" userId="a897cc35-aedc-4025-bce6-6175c0177033" providerId="ADAL" clId="{F249931F-CF49-4405-BC21-8182E27291FD}" dt="2025-10-23T05:18:42.051" v="2772"/>
          <ac:spMkLst>
            <pc:docMk/>
            <pc:sldMk cId="2833416506" sldId="258"/>
            <ac:spMk id="18" creationId="{6F07EF05-A560-B276-55DD-7F8257B81CD1}"/>
          </ac:spMkLst>
        </pc:spChg>
        <pc:spChg chg="mod ord">
          <ac:chgData name="Appala Srujana" userId="a897cc35-aedc-4025-bce6-6175c0177033" providerId="ADAL" clId="{F249931F-CF49-4405-BC21-8182E27291FD}" dt="2025-10-23T05:18:42.051" v="2784"/>
          <ac:spMkLst>
            <pc:docMk/>
            <pc:sldMk cId="2833416506" sldId="258"/>
            <ac:spMk id="19" creationId="{3AA957E4-A915-097C-6F99-7C48C1116943}"/>
          </ac:spMkLst>
        </pc:spChg>
        <pc:spChg chg="mod ord">
          <ac:chgData name="Appala Srujana" userId="a897cc35-aedc-4025-bce6-6175c0177033" providerId="ADAL" clId="{F249931F-CF49-4405-BC21-8182E27291FD}" dt="2025-10-23T05:18:42.067" v="2796"/>
          <ac:spMkLst>
            <pc:docMk/>
            <pc:sldMk cId="2833416506" sldId="258"/>
            <ac:spMk id="20" creationId="{8D443E39-8781-3239-EB68-89BBBE9DDC09}"/>
          </ac:spMkLst>
        </pc:spChg>
        <pc:spChg chg="mod ord">
          <ac:chgData name="Appala Srujana" userId="a897cc35-aedc-4025-bce6-6175c0177033" providerId="ADAL" clId="{F249931F-CF49-4405-BC21-8182E27291FD}" dt="2025-10-23T05:18:42.067" v="2808"/>
          <ac:spMkLst>
            <pc:docMk/>
            <pc:sldMk cId="2833416506" sldId="258"/>
            <ac:spMk id="21" creationId="{9FC0F75A-F2D2-F092-CADB-3AFF811E2161}"/>
          </ac:spMkLst>
        </pc:spChg>
        <pc:spChg chg="mod ord">
          <ac:chgData name="Appala Srujana" userId="a897cc35-aedc-4025-bce6-6175c0177033" providerId="ADAL" clId="{F249931F-CF49-4405-BC21-8182E27291FD}" dt="2025-10-23T05:18:42.067" v="2820"/>
          <ac:spMkLst>
            <pc:docMk/>
            <pc:sldMk cId="2833416506" sldId="258"/>
            <ac:spMk id="22" creationId="{FDB743D8-8CA0-D720-F1AB-DC3A669FC62C}"/>
          </ac:spMkLst>
        </pc:spChg>
        <pc:spChg chg="mod ord">
          <ac:chgData name="Appala Srujana" userId="a897cc35-aedc-4025-bce6-6175c0177033" providerId="ADAL" clId="{F249931F-CF49-4405-BC21-8182E27291FD}" dt="2025-10-23T05:18:42.067" v="2832"/>
          <ac:spMkLst>
            <pc:docMk/>
            <pc:sldMk cId="2833416506" sldId="258"/>
            <ac:spMk id="23" creationId="{1271421F-A327-D52D-8127-52C67009C1C5}"/>
          </ac:spMkLst>
        </pc:spChg>
        <pc:spChg chg="mod ord">
          <ac:chgData name="Appala Srujana" userId="a897cc35-aedc-4025-bce6-6175c0177033" providerId="ADAL" clId="{F249931F-CF49-4405-BC21-8182E27291FD}" dt="2025-10-23T05:18:42.100" v="2892"/>
          <ac:spMkLst>
            <pc:docMk/>
            <pc:sldMk cId="2833416506" sldId="258"/>
            <ac:spMk id="24" creationId="{20C6414C-DE0B-C9E0-80D4-A58D381685A2}"/>
          </ac:spMkLst>
        </pc:spChg>
        <pc:spChg chg="mod ord">
          <ac:chgData name="Appala Srujana" userId="a897cc35-aedc-4025-bce6-6175c0177033" providerId="ADAL" clId="{F249931F-CF49-4405-BC21-8182E27291FD}" dt="2025-10-23T05:18:42.085" v="2844"/>
          <ac:spMkLst>
            <pc:docMk/>
            <pc:sldMk cId="2833416506" sldId="258"/>
            <ac:spMk id="25" creationId="{F75A5315-0526-A365-AC5B-6F34980F9C0D}"/>
          </ac:spMkLst>
        </pc:spChg>
        <pc:spChg chg="mod ord">
          <ac:chgData name="Appala Srujana" userId="a897cc35-aedc-4025-bce6-6175c0177033" providerId="ADAL" clId="{F249931F-CF49-4405-BC21-8182E27291FD}" dt="2025-10-23T05:18:42.089" v="2856"/>
          <ac:spMkLst>
            <pc:docMk/>
            <pc:sldMk cId="2833416506" sldId="258"/>
            <ac:spMk id="26" creationId="{FE47907D-F449-EDDD-20F4-9913F3A5CCE8}"/>
          </ac:spMkLst>
        </pc:spChg>
        <pc:spChg chg="mod ord">
          <ac:chgData name="Appala Srujana" userId="a897cc35-aedc-4025-bce6-6175c0177033" providerId="ADAL" clId="{F249931F-CF49-4405-BC21-8182E27291FD}" dt="2025-10-23T05:18:42.093" v="2868"/>
          <ac:spMkLst>
            <pc:docMk/>
            <pc:sldMk cId="2833416506" sldId="258"/>
            <ac:spMk id="27" creationId="{B20035E8-F7C0-183A-2129-D2C638B1873C}"/>
          </ac:spMkLst>
        </pc:spChg>
        <pc:spChg chg="mod ord">
          <ac:chgData name="Appala Srujana" userId="a897cc35-aedc-4025-bce6-6175c0177033" providerId="ADAL" clId="{F249931F-CF49-4405-BC21-8182E27291FD}" dt="2025-10-23T05:18:42.097" v="2880"/>
          <ac:spMkLst>
            <pc:docMk/>
            <pc:sldMk cId="2833416506" sldId="258"/>
            <ac:spMk id="28" creationId="{8EB1233D-CD5C-FAF6-62A7-6129706E41C0}"/>
          </ac:spMkLst>
        </pc:spChg>
        <pc:spChg chg="mod ord">
          <ac:chgData name="Appala Srujana" userId="a897cc35-aedc-4025-bce6-6175c0177033" providerId="ADAL" clId="{F249931F-CF49-4405-BC21-8182E27291FD}" dt="2025-10-23T05:18:42.051" v="2740"/>
          <ac:spMkLst>
            <pc:docMk/>
            <pc:sldMk cId="2833416506" sldId="258"/>
            <ac:spMk id="29" creationId="{A92B4D9C-BB8C-E266-82EF-3F15205C597F}"/>
          </ac:spMkLst>
        </pc:spChg>
        <pc:spChg chg="add del mod modVis">
          <ac:chgData name="Appala Srujana" userId="a897cc35-aedc-4025-bce6-6175c0177033" providerId="ADAL" clId="{F249931F-CF49-4405-BC21-8182E27291FD}" dt="2025-10-23T05:17:04.252" v="493"/>
          <ac:spMkLst>
            <pc:docMk/>
            <pc:sldMk cId="2833416506" sldId="258"/>
            <ac:spMk id="30" creationId="{4BFEF70A-D9F2-3996-9A10-377EB4D6D9E1}"/>
          </ac:spMkLst>
        </pc:spChg>
        <pc:spChg chg="add mod">
          <ac:chgData name="Appala Srujana" userId="a897cc35-aedc-4025-bce6-6175c0177033" providerId="ADAL" clId="{F249931F-CF49-4405-BC21-8182E27291FD}" dt="2025-10-23T05:18:41.972" v="2528"/>
          <ac:spMkLst>
            <pc:docMk/>
            <pc:sldMk cId="2833416506" sldId="258"/>
            <ac:spMk id="31" creationId="{3496B8D0-A891-60C8-43AF-EA179E244AB1}"/>
          </ac:spMkLst>
        </pc:spChg>
        <pc:spChg chg="mod">
          <ac:chgData name="Appala Srujana" userId="a897cc35-aedc-4025-bce6-6175c0177033" providerId="ADAL" clId="{F249931F-CF49-4405-BC21-8182E27291FD}" dt="2025-10-23T05:27:05.814" v="7228"/>
          <ac:spMkLst>
            <pc:docMk/>
            <pc:sldMk cId="2833416506" sldId="258"/>
            <ac:spMk id="32" creationId="{77C6FACF-161A-55E7-37B0-54A1096E08DF}"/>
          </ac:spMkLst>
        </pc:spChg>
        <pc:spChg chg="mod ord topLvl">
          <ac:chgData name="Appala Srujana" userId="a897cc35-aedc-4025-bce6-6175c0177033" providerId="ADAL" clId="{F249931F-CF49-4405-BC21-8182E27291FD}" dt="2025-10-23T05:18:54.774" v="2974" actId="165"/>
          <ac:spMkLst>
            <pc:docMk/>
            <pc:sldMk cId="2833416506" sldId="258"/>
            <ac:spMk id="33" creationId="{09FCD42F-EF39-2821-9646-92A17BDA1CBF}"/>
          </ac:spMkLst>
        </pc:spChg>
        <pc:spChg chg="mod ord">
          <ac:chgData name="Appala Srujana" userId="a897cc35-aedc-4025-bce6-6175c0177033" providerId="ADAL" clId="{F249931F-CF49-4405-BC21-8182E27291FD}" dt="2025-10-23T05:18:42.114" v="2933"/>
          <ac:spMkLst>
            <pc:docMk/>
            <pc:sldMk cId="2833416506" sldId="258"/>
            <ac:spMk id="34" creationId="{EBFC06C0-38ED-119D-837D-3139CE6A7A1C}"/>
          </ac:spMkLst>
        </pc:spChg>
        <pc:spChg chg="mod">
          <ac:chgData name="Appala Srujana" userId="a897cc35-aedc-4025-bce6-6175c0177033" providerId="ADAL" clId="{F249931F-CF49-4405-BC21-8182E27291FD}" dt="2025-10-23T05:27:05.814" v="7230"/>
          <ac:spMkLst>
            <pc:docMk/>
            <pc:sldMk cId="2833416506" sldId="258"/>
            <ac:spMk id="35" creationId="{B4777C99-73C3-5D45-A136-22E568DF5DB6}"/>
          </ac:spMkLst>
        </pc:spChg>
        <pc:spChg chg="add mod">
          <ac:chgData name="Appala Srujana" userId="a897cc35-aedc-4025-bce6-6175c0177033" providerId="ADAL" clId="{F249931F-CF49-4405-BC21-8182E27291FD}" dt="2025-10-23T05:27:18.382" v="7278" actId="1036"/>
          <ac:spMkLst>
            <pc:docMk/>
            <pc:sldMk cId="2833416506" sldId="258"/>
            <ac:spMk id="36" creationId="{3EC60645-0DE7-086F-F522-5B3CB948E4AC}"/>
          </ac:spMkLst>
        </pc:spChg>
        <pc:spChg chg="mod">
          <ac:chgData name="Appala Srujana" userId="a897cc35-aedc-4025-bce6-6175c0177033" providerId="ADAL" clId="{F249931F-CF49-4405-BC21-8182E27291FD}" dt="2025-10-23T05:27:05.814" v="7234"/>
          <ac:spMkLst>
            <pc:docMk/>
            <pc:sldMk cId="2833416506" sldId="258"/>
            <ac:spMk id="37" creationId="{282DED16-0E2C-6371-542C-72530C38FBE2}"/>
          </ac:spMkLst>
        </pc:spChg>
        <pc:spChg chg="mod">
          <ac:chgData name="Appala Srujana" userId="a897cc35-aedc-4025-bce6-6175c0177033" providerId="ADAL" clId="{F249931F-CF49-4405-BC21-8182E27291FD}" dt="2025-10-23T05:27:05.814" v="7236"/>
          <ac:spMkLst>
            <pc:docMk/>
            <pc:sldMk cId="2833416506" sldId="258"/>
            <ac:spMk id="38" creationId="{5C9A8356-3385-73A5-D209-A2C8ABB88152}"/>
          </ac:spMkLst>
        </pc:spChg>
        <pc:spChg chg="add mod">
          <ac:chgData name="Appala Srujana" userId="a897cc35-aedc-4025-bce6-6175c0177033" providerId="ADAL" clId="{F249931F-CF49-4405-BC21-8182E27291FD}" dt="2025-10-23T05:27:18.382" v="7278" actId="1036"/>
          <ac:spMkLst>
            <pc:docMk/>
            <pc:sldMk cId="2833416506" sldId="258"/>
            <ac:spMk id="39" creationId="{9578EFE5-1739-3552-236F-F7A2B3AEE84A}"/>
          </ac:spMkLst>
        </pc:spChg>
        <pc:spChg chg="mod">
          <ac:chgData name="Appala Srujana" userId="a897cc35-aedc-4025-bce6-6175c0177033" providerId="ADAL" clId="{F249931F-CF49-4405-BC21-8182E27291FD}" dt="2025-10-23T05:27:05.814" v="7240"/>
          <ac:spMkLst>
            <pc:docMk/>
            <pc:sldMk cId="2833416506" sldId="258"/>
            <ac:spMk id="40" creationId="{2B4BA819-AA90-8BAA-A08E-1A3A3088DD66}"/>
          </ac:spMkLst>
        </pc:spChg>
        <pc:spChg chg="add mod">
          <ac:chgData name="Appala Srujana" userId="a897cc35-aedc-4025-bce6-6175c0177033" providerId="ADAL" clId="{F249931F-CF49-4405-BC21-8182E27291FD}" dt="2025-10-23T05:27:18.382" v="7278" actId="1036"/>
          <ac:spMkLst>
            <pc:docMk/>
            <pc:sldMk cId="2833416506" sldId="258"/>
            <ac:spMk id="41" creationId="{6569D3E1-6659-22EC-FB75-1D7C3CBD13F3}"/>
          </ac:spMkLst>
        </pc:spChg>
        <pc:spChg chg="mod">
          <ac:chgData name="Appala Srujana" userId="a897cc35-aedc-4025-bce6-6175c0177033" providerId="ADAL" clId="{F249931F-CF49-4405-BC21-8182E27291FD}" dt="2025-10-23T05:27:05.814" v="7244"/>
          <ac:spMkLst>
            <pc:docMk/>
            <pc:sldMk cId="2833416506" sldId="258"/>
            <ac:spMk id="42" creationId="{C28BEA01-76B3-D76A-3894-DC54491F751A}"/>
          </ac:spMkLst>
        </pc:spChg>
        <pc:spChg chg="mod">
          <ac:chgData name="Appala Srujana" userId="a897cc35-aedc-4025-bce6-6175c0177033" providerId="ADAL" clId="{F249931F-CF49-4405-BC21-8182E27291FD}" dt="2025-10-23T05:27:05.814" v="7246"/>
          <ac:spMkLst>
            <pc:docMk/>
            <pc:sldMk cId="2833416506" sldId="258"/>
            <ac:spMk id="43" creationId="{A2B26FBF-6F0E-C4D8-63B3-9849AFA91C80}"/>
          </ac:spMkLst>
        </pc:spChg>
        <pc:spChg chg="add mod">
          <ac:chgData name="Appala Srujana" userId="a897cc35-aedc-4025-bce6-6175c0177033" providerId="ADAL" clId="{F249931F-CF49-4405-BC21-8182E27291FD}" dt="2025-10-23T05:27:18.382" v="7278" actId="1036"/>
          <ac:spMkLst>
            <pc:docMk/>
            <pc:sldMk cId="2833416506" sldId="258"/>
            <ac:spMk id="44" creationId="{09EB0572-61A0-6469-B636-05889194F9E7}"/>
          </ac:spMkLst>
        </pc:spChg>
        <pc:spChg chg="mod">
          <ac:chgData name="Appala Srujana" userId="a897cc35-aedc-4025-bce6-6175c0177033" providerId="ADAL" clId="{F249931F-CF49-4405-BC21-8182E27291FD}" dt="2025-10-23T05:27:05.814" v="7250"/>
          <ac:spMkLst>
            <pc:docMk/>
            <pc:sldMk cId="2833416506" sldId="258"/>
            <ac:spMk id="45" creationId="{67A61D2B-11DB-DAFF-B7B2-94106B215322}"/>
          </ac:spMkLst>
        </pc:spChg>
        <pc:spChg chg="mod">
          <ac:chgData name="Appala Srujana" userId="a897cc35-aedc-4025-bce6-6175c0177033" providerId="ADAL" clId="{F249931F-CF49-4405-BC21-8182E27291FD}" dt="2025-10-23T05:27:05.814" v="7252"/>
          <ac:spMkLst>
            <pc:docMk/>
            <pc:sldMk cId="2833416506" sldId="258"/>
            <ac:spMk id="46" creationId="{9392826E-23D1-A38E-404E-DB10A2F851AB}"/>
          </ac:spMkLst>
        </pc:spChg>
        <pc:spChg chg="mod">
          <ac:chgData name="Appala Srujana" userId="a897cc35-aedc-4025-bce6-6175c0177033" providerId="ADAL" clId="{F249931F-CF49-4405-BC21-8182E27291FD}" dt="2025-10-23T05:27:05.814" v="7254"/>
          <ac:spMkLst>
            <pc:docMk/>
            <pc:sldMk cId="2833416506" sldId="258"/>
            <ac:spMk id="47" creationId="{BBCFEAE9-5FDE-ADEE-2717-74460181679D}"/>
          </ac:spMkLst>
        </pc:spChg>
        <pc:spChg chg="mod">
          <ac:chgData name="Appala Srujana" userId="a897cc35-aedc-4025-bce6-6175c0177033" providerId="ADAL" clId="{F249931F-CF49-4405-BC21-8182E27291FD}" dt="2025-10-23T05:27:05.814" v="7256"/>
          <ac:spMkLst>
            <pc:docMk/>
            <pc:sldMk cId="2833416506" sldId="258"/>
            <ac:spMk id="48" creationId="{7A68DF03-7B6B-E49F-001F-35B902FF1467}"/>
          </ac:spMkLst>
        </pc:spChg>
        <pc:spChg chg="mod">
          <ac:chgData name="Appala Srujana" userId="a897cc35-aedc-4025-bce6-6175c0177033" providerId="ADAL" clId="{F249931F-CF49-4405-BC21-8182E27291FD}" dt="2025-10-23T05:27:05.814" v="7258"/>
          <ac:spMkLst>
            <pc:docMk/>
            <pc:sldMk cId="2833416506" sldId="258"/>
            <ac:spMk id="49" creationId="{D0478077-4F26-C516-0E99-3CEBDB1D7691}"/>
          </ac:spMkLst>
        </pc:spChg>
        <pc:spChg chg="add mod">
          <ac:chgData name="Appala Srujana" userId="a897cc35-aedc-4025-bce6-6175c0177033" providerId="ADAL" clId="{F249931F-CF49-4405-BC21-8182E27291FD}" dt="2025-10-23T05:27:18.382" v="7278" actId="1036"/>
          <ac:spMkLst>
            <pc:docMk/>
            <pc:sldMk cId="2833416506" sldId="258"/>
            <ac:spMk id="50" creationId="{77533EF6-3D14-FD3B-25C7-AFFF30471F77}"/>
          </ac:spMkLst>
        </pc:spChg>
        <pc:spChg chg="add mod">
          <ac:chgData name="Appala Srujana" userId="a897cc35-aedc-4025-bce6-6175c0177033" providerId="ADAL" clId="{F249931F-CF49-4405-BC21-8182E27291FD}" dt="2025-10-23T05:27:18.382" v="7278" actId="1036"/>
          <ac:spMkLst>
            <pc:docMk/>
            <pc:sldMk cId="2833416506" sldId="258"/>
            <ac:spMk id="51" creationId="{B85E7C80-EE5A-7A9B-7723-96D26E6C6292}"/>
          </ac:spMkLst>
        </pc:spChg>
        <pc:spChg chg="mod">
          <ac:chgData name="Appala Srujana" userId="a897cc35-aedc-4025-bce6-6175c0177033" providerId="ADAL" clId="{F249931F-CF49-4405-BC21-8182E27291FD}" dt="2025-10-23T05:27:05.814" v="7264"/>
          <ac:spMkLst>
            <pc:docMk/>
            <pc:sldMk cId="2833416506" sldId="258"/>
            <ac:spMk id="52" creationId="{F4984F22-2323-B574-8D92-5C4124F7FBCB}"/>
          </ac:spMkLst>
        </pc:spChg>
        <pc:spChg chg="mod">
          <ac:chgData name="Appala Srujana" userId="a897cc35-aedc-4025-bce6-6175c0177033" providerId="ADAL" clId="{F249931F-CF49-4405-BC21-8182E27291FD}" dt="2025-10-23T05:27:05.814" v="7266"/>
          <ac:spMkLst>
            <pc:docMk/>
            <pc:sldMk cId="2833416506" sldId="258"/>
            <ac:spMk id="53" creationId="{C7D77D49-D772-08E7-3ABB-13FC829D8AD8}"/>
          </ac:spMkLst>
        </pc:spChg>
        <pc:spChg chg="add mod">
          <ac:chgData name="Appala Srujana" userId="a897cc35-aedc-4025-bce6-6175c0177033" providerId="ADAL" clId="{F249931F-CF49-4405-BC21-8182E27291FD}" dt="2025-10-23T05:27:18.382" v="7278" actId="1036"/>
          <ac:spMkLst>
            <pc:docMk/>
            <pc:sldMk cId="2833416506" sldId="258"/>
            <ac:spMk id="54" creationId="{0AFF406E-CAD2-443C-4C17-8D4C5788C41E}"/>
          </ac:spMkLst>
        </pc:spChg>
        <pc:spChg chg="add mod">
          <ac:chgData name="Appala Srujana" userId="a897cc35-aedc-4025-bce6-6175c0177033" providerId="ADAL" clId="{F249931F-CF49-4405-BC21-8182E27291FD}" dt="2025-10-23T05:27:18.382" v="7278" actId="1036"/>
          <ac:spMkLst>
            <pc:docMk/>
            <pc:sldMk cId="2833416506" sldId="258"/>
            <ac:spMk id="55" creationId="{6D256B5E-B6F1-7245-F1B6-580256643D15}"/>
          </ac:spMkLst>
        </pc:spChg>
        <pc:spChg chg="mod">
          <ac:chgData name="Appala Srujana" userId="a897cc35-aedc-4025-bce6-6175c0177033" providerId="ADAL" clId="{F249931F-CF49-4405-BC21-8182E27291FD}" dt="2025-10-23T05:27:05.814" v="7272"/>
          <ac:spMkLst>
            <pc:docMk/>
            <pc:sldMk cId="2833416506" sldId="258"/>
            <ac:spMk id="56" creationId="{D5C32AC4-031C-E476-9ACA-F767BA92FCD6}"/>
          </ac:spMkLst>
        </pc:spChg>
        <pc:spChg chg="mod">
          <ac:chgData name="Appala Srujana" userId="a897cc35-aedc-4025-bce6-6175c0177033" providerId="ADAL" clId="{F249931F-CF49-4405-BC21-8182E27291FD}" dt="2025-10-23T05:27:05.814" v="7274"/>
          <ac:spMkLst>
            <pc:docMk/>
            <pc:sldMk cId="2833416506" sldId="258"/>
            <ac:spMk id="57" creationId="{2C0AB6E6-A1CA-7E81-031B-4ECAFEA31634}"/>
          </ac:spMkLst>
        </pc:spChg>
        <pc:spChg chg="add mod">
          <ac:chgData name="Appala Srujana" userId="a897cc35-aedc-4025-bce6-6175c0177033" providerId="ADAL" clId="{F249931F-CF49-4405-BC21-8182E27291FD}" dt="2025-10-23T05:27:18.382" v="7278" actId="1036"/>
          <ac:spMkLst>
            <pc:docMk/>
            <pc:sldMk cId="2833416506" sldId="258"/>
            <ac:spMk id="58" creationId="{90E54820-A20C-3FBA-C8D4-9AD03FD20B98}"/>
          </ac:spMkLst>
        </pc:spChg>
        <pc:spChg chg="mod ord">
          <ac:chgData name="Appala Srujana" userId="a897cc35-aedc-4025-bce6-6175c0177033" providerId="ADAL" clId="{F249931F-CF49-4405-BC21-8182E27291FD}" dt="2025-10-23T05:18:42.003" v="2638"/>
          <ac:spMkLst>
            <pc:docMk/>
            <pc:sldMk cId="2833416506" sldId="258"/>
            <ac:spMk id="68" creationId="{2DD9C02F-9485-DF46-85AA-56DFF960548F}"/>
          </ac:spMkLst>
        </pc:spChg>
        <pc:spChg chg="mod ord">
          <ac:chgData name="Appala Srujana" userId="a897cc35-aedc-4025-bce6-6175c0177033" providerId="ADAL" clId="{F249931F-CF49-4405-BC21-8182E27291FD}" dt="2025-10-23T05:18:42.019" v="2658"/>
          <ac:spMkLst>
            <pc:docMk/>
            <pc:sldMk cId="2833416506" sldId="258"/>
            <ac:spMk id="69" creationId="{F5F2BB43-C8F9-A8C9-03BF-70D0772C9A15}"/>
          </ac:spMkLst>
        </pc:spChg>
        <pc:spChg chg="mod ord">
          <ac:chgData name="Appala Srujana" userId="a897cc35-aedc-4025-bce6-6175c0177033" providerId="ADAL" clId="{F249931F-CF49-4405-BC21-8182E27291FD}" dt="2025-10-23T05:18:42.019" v="2670"/>
          <ac:spMkLst>
            <pc:docMk/>
            <pc:sldMk cId="2833416506" sldId="258"/>
            <ac:spMk id="70" creationId="{3212DCA1-A80B-C21B-79A5-D4CFCC231204}"/>
          </ac:spMkLst>
        </pc:spChg>
        <pc:spChg chg="mod ord">
          <ac:chgData name="Appala Srujana" userId="a897cc35-aedc-4025-bce6-6175c0177033" providerId="ADAL" clId="{F249931F-CF49-4405-BC21-8182E27291FD}" dt="2025-10-23T05:18:42.035" v="2692"/>
          <ac:spMkLst>
            <pc:docMk/>
            <pc:sldMk cId="2833416506" sldId="258"/>
            <ac:spMk id="71" creationId="{0B1B4EA5-5CAA-2547-6635-A4C413BA3760}"/>
          </ac:spMkLst>
        </pc:spChg>
        <pc:spChg chg="mod ord">
          <ac:chgData name="Appala Srujana" userId="a897cc35-aedc-4025-bce6-6175c0177033" providerId="ADAL" clId="{F249931F-CF49-4405-BC21-8182E27291FD}" dt="2025-10-23T05:18:42.039" v="2706"/>
          <ac:spMkLst>
            <pc:docMk/>
            <pc:sldMk cId="2833416506" sldId="258"/>
            <ac:spMk id="74" creationId="{6F68D268-F7CC-8657-BF07-DC6BAA93CEEF}"/>
          </ac:spMkLst>
        </pc:spChg>
        <pc:spChg chg="mod ord">
          <ac:chgData name="Appala Srujana" userId="a897cc35-aedc-4025-bce6-6175c0177033" providerId="ADAL" clId="{F249931F-CF49-4405-BC21-8182E27291FD}" dt="2025-10-23T05:18:42.039" v="2718"/>
          <ac:spMkLst>
            <pc:docMk/>
            <pc:sldMk cId="2833416506" sldId="258"/>
            <ac:spMk id="76" creationId="{92925BE8-2D38-5D73-4636-6971DBAD56CE}"/>
          </ac:spMkLst>
        </pc:spChg>
        <pc:spChg chg="mod ord">
          <ac:chgData name="Appala Srujana" userId="a897cc35-aedc-4025-bce6-6175c0177033" providerId="ADAL" clId="{F249931F-CF49-4405-BC21-8182E27291FD}" dt="2025-10-23T05:18:42.039" v="2730"/>
          <ac:spMkLst>
            <pc:docMk/>
            <pc:sldMk cId="2833416506" sldId="258"/>
            <ac:spMk id="77" creationId="{73019C65-3B21-7A61-0A59-B92BBCBCD935}"/>
          </ac:spMkLst>
        </pc:spChg>
        <pc:spChg chg="mod ord">
          <ac:chgData name="Appala Srujana" userId="a897cc35-aedc-4025-bce6-6175c0177033" providerId="ADAL" clId="{F249931F-CF49-4405-BC21-8182E27291FD}" dt="2025-10-23T05:18:42.051" v="2762"/>
          <ac:spMkLst>
            <pc:docMk/>
            <pc:sldMk cId="2833416506" sldId="258"/>
            <ac:spMk id="79" creationId="{E0FEFC99-7A69-38D2-7520-DD5BAEB2EBE3}"/>
          </ac:spMkLst>
        </pc:spChg>
        <pc:spChg chg="mod ord topLvl">
          <ac:chgData name="Appala Srujana" userId="a897cc35-aedc-4025-bce6-6175c0177033" providerId="ADAL" clId="{F249931F-CF49-4405-BC21-8182E27291FD}" dt="2025-10-23T05:18:54.774" v="2974" actId="165"/>
          <ac:spMkLst>
            <pc:docMk/>
            <pc:sldMk cId="2833416506" sldId="258"/>
            <ac:spMk id="80" creationId="{7B6678EC-F550-0D1E-4D9B-CB801522E91A}"/>
          </ac:spMkLst>
        </pc:spChg>
        <pc:spChg chg="mod ord">
          <ac:chgData name="Appala Srujana" userId="a897cc35-aedc-4025-bce6-6175c0177033" providerId="ADAL" clId="{F249931F-CF49-4405-BC21-8182E27291FD}" dt="2025-10-23T05:18:42.051" v="2786"/>
          <ac:spMkLst>
            <pc:docMk/>
            <pc:sldMk cId="2833416506" sldId="258"/>
            <ac:spMk id="81" creationId="{49255DD7-68B4-8D4D-62B9-59A12A457D2B}"/>
          </ac:spMkLst>
        </pc:spChg>
        <pc:spChg chg="mod ord">
          <ac:chgData name="Appala Srujana" userId="a897cc35-aedc-4025-bce6-6175c0177033" providerId="ADAL" clId="{F249931F-CF49-4405-BC21-8182E27291FD}" dt="2025-10-23T05:18:42.067" v="2798"/>
          <ac:spMkLst>
            <pc:docMk/>
            <pc:sldMk cId="2833416506" sldId="258"/>
            <ac:spMk id="82" creationId="{14A12D8E-1624-8D51-5AC4-F172FF4F12E2}"/>
          </ac:spMkLst>
        </pc:spChg>
        <pc:spChg chg="mod ord">
          <ac:chgData name="Appala Srujana" userId="a897cc35-aedc-4025-bce6-6175c0177033" providerId="ADAL" clId="{F249931F-CF49-4405-BC21-8182E27291FD}" dt="2025-10-23T05:18:42.067" v="2810"/>
          <ac:spMkLst>
            <pc:docMk/>
            <pc:sldMk cId="2833416506" sldId="258"/>
            <ac:spMk id="83" creationId="{6679E1A7-F165-D92A-EC56-23081FD61E88}"/>
          </ac:spMkLst>
        </pc:spChg>
        <pc:spChg chg="mod ord">
          <ac:chgData name="Appala Srujana" userId="a897cc35-aedc-4025-bce6-6175c0177033" providerId="ADAL" clId="{F249931F-CF49-4405-BC21-8182E27291FD}" dt="2025-10-23T05:18:42.067" v="2822"/>
          <ac:spMkLst>
            <pc:docMk/>
            <pc:sldMk cId="2833416506" sldId="258"/>
            <ac:spMk id="84" creationId="{7D6C2B88-B123-48A5-7B14-46A68F9937B7}"/>
          </ac:spMkLst>
        </pc:spChg>
        <pc:spChg chg="mod ord">
          <ac:chgData name="Appala Srujana" userId="a897cc35-aedc-4025-bce6-6175c0177033" providerId="ADAL" clId="{F249931F-CF49-4405-BC21-8182E27291FD}" dt="2025-10-23T05:18:42.067" v="2834"/>
          <ac:spMkLst>
            <pc:docMk/>
            <pc:sldMk cId="2833416506" sldId="258"/>
            <ac:spMk id="85" creationId="{B859DEA9-AF1D-3076-6185-6F31170019F3}"/>
          </ac:spMkLst>
        </pc:spChg>
        <pc:spChg chg="mod ord">
          <ac:chgData name="Appala Srujana" userId="a897cc35-aedc-4025-bce6-6175c0177033" providerId="ADAL" clId="{F249931F-CF49-4405-BC21-8182E27291FD}" dt="2025-10-23T05:18:42.100" v="2894"/>
          <ac:spMkLst>
            <pc:docMk/>
            <pc:sldMk cId="2833416506" sldId="258"/>
            <ac:spMk id="86" creationId="{75646056-0E3B-CCAA-FE59-6A7C24E32259}"/>
          </ac:spMkLst>
        </pc:spChg>
        <pc:spChg chg="mod ord">
          <ac:chgData name="Appala Srujana" userId="a897cc35-aedc-4025-bce6-6175c0177033" providerId="ADAL" clId="{F249931F-CF49-4405-BC21-8182E27291FD}" dt="2025-10-23T05:18:42.085" v="2846"/>
          <ac:spMkLst>
            <pc:docMk/>
            <pc:sldMk cId="2833416506" sldId="258"/>
            <ac:spMk id="87" creationId="{D782FDAA-453A-7AE7-81FA-5188E42AED7A}"/>
          </ac:spMkLst>
        </pc:spChg>
        <pc:spChg chg="mod ord">
          <ac:chgData name="Appala Srujana" userId="a897cc35-aedc-4025-bce6-6175c0177033" providerId="ADAL" clId="{F249931F-CF49-4405-BC21-8182E27291FD}" dt="2025-10-23T05:18:42.090" v="2858"/>
          <ac:spMkLst>
            <pc:docMk/>
            <pc:sldMk cId="2833416506" sldId="258"/>
            <ac:spMk id="88" creationId="{316EB72E-7614-928C-B6BE-5F41AE347065}"/>
          </ac:spMkLst>
        </pc:spChg>
        <pc:spChg chg="mod ord">
          <ac:chgData name="Appala Srujana" userId="a897cc35-aedc-4025-bce6-6175c0177033" providerId="ADAL" clId="{F249931F-CF49-4405-BC21-8182E27291FD}" dt="2025-10-23T05:18:42.093" v="2870"/>
          <ac:spMkLst>
            <pc:docMk/>
            <pc:sldMk cId="2833416506" sldId="258"/>
            <ac:spMk id="89" creationId="{F211D8D7-7B05-57ED-56BA-5D43E247FA6E}"/>
          </ac:spMkLst>
        </pc:spChg>
        <pc:spChg chg="mod ord">
          <ac:chgData name="Appala Srujana" userId="a897cc35-aedc-4025-bce6-6175c0177033" providerId="ADAL" clId="{F249931F-CF49-4405-BC21-8182E27291FD}" dt="2025-10-23T05:18:42.098" v="2882"/>
          <ac:spMkLst>
            <pc:docMk/>
            <pc:sldMk cId="2833416506" sldId="258"/>
            <ac:spMk id="90" creationId="{29627557-E4A9-0CB5-7C2F-67AF23AF7E82}"/>
          </ac:spMkLst>
        </pc:spChg>
        <pc:spChg chg="mod ord">
          <ac:chgData name="Appala Srujana" userId="a897cc35-aedc-4025-bce6-6175c0177033" providerId="ADAL" clId="{F249931F-CF49-4405-BC21-8182E27291FD}" dt="2025-10-23T05:18:42.051" v="2742"/>
          <ac:spMkLst>
            <pc:docMk/>
            <pc:sldMk cId="2833416506" sldId="258"/>
            <ac:spMk id="91" creationId="{ED439D12-5B34-44F7-957F-8C64ABECD513}"/>
          </ac:spMkLst>
        </pc:spChg>
        <pc:spChg chg="mod ord">
          <ac:chgData name="Appala Srujana" userId="a897cc35-aedc-4025-bce6-6175c0177033" providerId="ADAL" clId="{F249931F-CF49-4405-BC21-8182E27291FD}" dt="2025-10-23T05:18:42.114" v="2935"/>
          <ac:spMkLst>
            <pc:docMk/>
            <pc:sldMk cId="2833416506" sldId="258"/>
            <ac:spMk id="95" creationId="{E12AEC6C-9F05-EDED-0E22-7592E56DECC7}"/>
          </ac:spMkLst>
        </pc:spChg>
        <pc:spChg chg="mod ord">
          <ac:chgData name="Appala Srujana" userId="a897cc35-aedc-4025-bce6-6175c0177033" providerId="ADAL" clId="{F249931F-CF49-4405-BC21-8182E27291FD}" dt="2025-10-23T05:18:42.019" v="2682"/>
          <ac:spMkLst>
            <pc:docMk/>
            <pc:sldMk cId="2833416506" sldId="258"/>
            <ac:spMk id="96" creationId="{58E96CCF-C31E-C0F5-D01E-351920C38E06}"/>
          </ac:spMkLst>
        </pc:spChg>
        <pc:spChg chg="mod ord">
          <ac:chgData name="Appala Srujana" userId="a897cc35-aedc-4025-bce6-6175c0177033" providerId="ADAL" clId="{F249931F-CF49-4405-BC21-8182E27291FD}" dt="2025-10-23T05:18:42.019" v="2640"/>
          <ac:spMkLst>
            <pc:docMk/>
            <pc:sldMk cId="2833416506" sldId="258"/>
            <ac:spMk id="99" creationId="{81E3D438-D79E-2E7E-2E8D-74A39C26E3D6}"/>
          </ac:spMkLst>
        </pc:spChg>
        <pc:spChg chg="mod">
          <ac:chgData name="Appala Srujana" userId="a897cc35-aedc-4025-bce6-6175c0177033" providerId="ADAL" clId="{F249931F-CF49-4405-BC21-8182E27291FD}" dt="2025-10-23T05:18:42.019" v="2659"/>
          <ac:spMkLst>
            <pc:docMk/>
            <pc:sldMk cId="2833416506" sldId="258"/>
            <ac:spMk id="100" creationId="{D4CBC0D7-1E27-7B86-983D-9C442C04EDFA}"/>
          </ac:spMkLst>
        </pc:spChg>
        <pc:spChg chg="mod">
          <ac:chgData name="Appala Srujana" userId="a897cc35-aedc-4025-bce6-6175c0177033" providerId="ADAL" clId="{F249931F-CF49-4405-BC21-8182E27291FD}" dt="2025-10-23T05:18:42.019" v="2671"/>
          <ac:spMkLst>
            <pc:docMk/>
            <pc:sldMk cId="2833416506" sldId="258"/>
            <ac:spMk id="101" creationId="{FD0DDE79-5BA2-A646-4C9F-93C61834DFAF}"/>
          </ac:spMkLst>
        </pc:spChg>
        <pc:spChg chg="mod">
          <ac:chgData name="Appala Srujana" userId="a897cc35-aedc-4025-bce6-6175c0177033" providerId="ADAL" clId="{F249931F-CF49-4405-BC21-8182E27291FD}" dt="2025-10-23T05:18:42.035" v="2693"/>
          <ac:spMkLst>
            <pc:docMk/>
            <pc:sldMk cId="2833416506" sldId="258"/>
            <ac:spMk id="102" creationId="{7DADA4A4-CD7F-21A5-93FF-2CC8E9C6FFB5}"/>
          </ac:spMkLst>
        </pc:spChg>
        <pc:spChg chg="mod">
          <ac:chgData name="Appala Srujana" userId="a897cc35-aedc-4025-bce6-6175c0177033" providerId="ADAL" clId="{F249931F-CF49-4405-BC21-8182E27291FD}" dt="2025-10-23T05:18:42.039" v="2707"/>
          <ac:spMkLst>
            <pc:docMk/>
            <pc:sldMk cId="2833416506" sldId="258"/>
            <ac:spMk id="105" creationId="{AC9A16FD-6668-8193-1B96-2651D37E0632}"/>
          </ac:spMkLst>
        </pc:spChg>
        <pc:spChg chg="mod">
          <ac:chgData name="Appala Srujana" userId="a897cc35-aedc-4025-bce6-6175c0177033" providerId="ADAL" clId="{F249931F-CF49-4405-BC21-8182E27291FD}" dt="2025-10-23T05:18:42.039" v="2719"/>
          <ac:spMkLst>
            <pc:docMk/>
            <pc:sldMk cId="2833416506" sldId="258"/>
            <ac:spMk id="107" creationId="{3986A695-3AD5-B039-7E1B-9715AD74BCF0}"/>
          </ac:spMkLst>
        </pc:spChg>
        <pc:spChg chg="mod">
          <ac:chgData name="Appala Srujana" userId="a897cc35-aedc-4025-bce6-6175c0177033" providerId="ADAL" clId="{F249931F-CF49-4405-BC21-8182E27291FD}" dt="2025-10-23T05:18:42.039" v="2731"/>
          <ac:spMkLst>
            <pc:docMk/>
            <pc:sldMk cId="2833416506" sldId="258"/>
            <ac:spMk id="108" creationId="{D0635E4C-1339-0240-3834-2857E76F0458}"/>
          </ac:spMkLst>
        </pc:spChg>
        <pc:spChg chg="mod">
          <ac:chgData name="Appala Srujana" userId="a897cc35-aedc-4025-bce6-6175c0177033" providerId="ADAL" clId="{F249931F-CF49-4405-BC21-8182E27291FD}" dt="2025-10-23T05:18:42.051" v="2763"/>
          <ac:spMkLst>
            <pc:docMk/>
            <pc:sldMk cId="2833416506" sldId="258"/>
            <ac:spMk id="110" creationId="{299A4D7D-67D6-23E6-0EAF-A99DCA8B2080}"/>
          </ac:spMkLst>
        </pc:spChg>
        <pc:spChg chg="mod">
          <ac:chgData name="Appala Srujana" userId="a897cc35-aedc-4025-bce6-6175c0177033" providerId="ADAL" clId="{F249931F-CF49-4405-BC21-8182E27291FD}" dt="2025-10-23T05:18:42.051" v="2775"/>
          <ac:spMkLst>
            <pc:docMk/>
            <pc:sldMk cId="2833416506" sldId="258"/>
            <ac:spMk id="111" creationId="{4390919A-A937-562A-AD17-44E4CED30D69}"/>
          </ac:spMkLst>
        </pc:spChg>
        <pc:spChg chg="mod">
          <ac:chgData name="Appala Srujana" userId="a897cc35-aedc-4025-bce6-6175c0177033" providerId="ADAL" clId="{F249931F-CF49-4405-BC21-8182E27291FD}" dt="2025-10-23T05:18:42.051" v="2787"/>
          <ac:spMkLst>
            <pc:docMk/>
            <pc:sldMk cId="2833416506" sldId="258"/>
            <ac:spMk id="112" creationId="{30467477-1D7F-6F46-3DE3-E8E0ADB63C65}"/>
          </ac:spMkLst>
        </pc:spChg>
        <pc:spChg chg="mod">
          <ac:chgData name="Appala Srujana" userId="a897cc35-aedc-4025-bce6-6175c0177033" providerId="ADAL" clId="{F249931F-CF49-4405-BC21-8182E27291FD}" dt="2025-10-23T05:18:42.067" v="2799"/>
          <ac:spMkLst>
            <pc:docMk/>
            <pc:sldMk cId="2833416506" sldId="258"/>
            <ac:spMk id="113" creationId="{F645D9EF-EC98-2423-C234-6A17283CC3A4}"/>
          </ac:spMkLst>
        </pc:spChg>
        <pc:spChg chg="mod">
          <ac:chgData name="Appala Srujana" userId="a897cc35-aedc-4025-bce6-6175c0177033" providerId="ADAL" clId="{F249931F-CF49-4405-BC21-8182E27291FD}" dt="2025-10-23T05:18:42.067" v="2811"/>
          <ac:spMkLst>
            <pc:docMk/>
            <pc:sldMk cId="2833416506" sldId="258"/>
            <ac:spMk id="114" creationId="{87056AA2-8C20-1241-0F2A-F3F113DE8C41}"/>
          </ac:spMkLst>
        </pc:spChg>
        <pc:spChg chg="mod">
          <ac:chgData name="Appala Srujana" userId="a897cc35-aedc-4025-bce6-6175c0177033" providerId="ADAL" clId="{F249931F-CF49-4405-BC21-8182E27291FD}" dt="2025-10-23T05:18:42.067" v="2823"/>
          <ac:spMkLst>
            <pc:docMk/>
            <pc:sldMk cId="2833416506" sldId="258"/>
            <ac:spMk id="115" creationId="{279107A5-D3ED-4F2E-D099-63644A377572}"/>
          </ac:spMkLst>
        </pc:spChg>
        <pc:spChg chg="mod">
          <ac:chgData name="Appala Srujana" userId="a897cc35-aedc-4025-bce6-6175c0177033" providerId="ADAL" clId="{F249931F-CF49-4405-BC21-8182E27291FD}" dt="2025-10-23T05:18:42.067" v="2835"/>
          <ac:spMkLst>
            <pc:docMk/>
            <pc:sldMk cId="2833416506" sldId="258"/>
            <ac:spMk id="116" creationId="{7397086D-AF15-882C-3387-0E17EFDE6558}"/>
          </ac:spMkLst>
        </pc:spChg>
        <pc:spChg chg="mod">
          <ac:chgData name="Appala Srujana" userId="a897cc35-aedc-4025-bce6-6175c0177033" providerId="ADAL" clId="{F249931F-CF49-4405-BC21-8182E27291FD}" dt="2025-10-23T05:18:42.100" v="2895"/>
          <ac:spMkLst>
            <pc:docMk/>
            <pc:sldMk cId="2833416506" sldId="258"/>
            <ac:spMk id="117" creationId="{1875AE42-1C19-2D78-C797-BC0C16D9F208}"/>
          </ac:spMkLst>
        </pc:spChg>
        <pc:spChg chg="mod">
          <ac:chgData name="Appala Srujana" userId="a897cc35-aedc-4025-bce6-6175c0177033" providerId="ADAL" clId="{F249931F-CF49-4405-BC21-8182E27291FD}" dt="2025-10-23T05:18:42.086" v="2847"/>
          <ac:spMkLst>
            <pc:docMk/>
            <pc:sldMk cId="2833416506" sldId="258"/>
            <ac:spMk id="118" creationId="{7C91155F-3D9F-5036-A190-4E93F47DDD2D}"/>
          </ac:spMkLst>
        </pc:spChg>
        <pc:spChg chg="mod">
          <ac:chgData name="Appala Srujana" userId="a897cc35-aedc-4025-bce6-6175c0177033" providerId="ADAL" clId="{F249931F-CF49-4405-BC21-8182E27291FD}" dt="2025-10-23T05:18:42.090" v="2859"/>
          <ac:spMkLst>
            <pc:docMk/>
            <pc:sldMk cId="2833416506" sldId="258"/>
            <ac:spMk id="119" creationId="{3F8ED1C1-0F46-45CE-2E29-AD98D48D56E0}"/>
          </ac:spMkLst>
        </pc:spChg>
        <pc:spChg chg="mod">
          <ac:chgData name="Appala Srujana" userId="a897cc35-aedc-4025-bce6-6175c0177033" providerId="ADAL" clId="{F249931F-CF49-4405-BC21-8182E27291FD}" dt="2025-10-23T05:18:42.094" v="2871"/>
          <ac:spMkLst>
            <pc:docMk/>
            <pc:sldMk cId="2833416506" sldId="258"/>
            <ac:spMk id="120" creationId="{3D9ECB0F-F545-F5FC-C1F4-45B7C87D1D38}"/>
          </ac:spMkLst>
        </pc:spChg>
        <pc:spChg chg="mod">
          <ac:chgData name="Appala Srujana" userId="a897cc35-aedc-4025-bce6-6175c0177033" providerId="ADAL" clId="{F249931F-CF49-4405-BC21-8182E27291FD}" dt="2025-10-23T05:18:42.098" v="2883"/>
          <ac:spMkLst>
            <pc:docMk/>
            <pc:sldMk cId="2833416506" sldId="258"/>
            <ac:spMk id="121" creationId="{C2B44942-4C10-F8F5-FE73-F59D31512D66}"/>
          </ac:spMkLst>
        </pc:spChg>
        <pc:spChg chg="mod ord">
          <ac:chgData name="Appala Srujana" userId="a897cc35-aedc-4025-bce6-6175c0177033" providerId="ADAL" clId="{F249931F-CF49-4405-BC21-8182E27291FD}" dt="2025-10-23T05:18:42.051" v="2744"/>
          <ac:spMkLst>
            <pc:docMk/>
            <pc:sldMk cId="2833416506" sldId="258"/>
            <ac:spMk id="122" creationId="{8341B4A4-EACA-22E4-15D0-77EFF4317695}"/>
          </ac:spMkLst>
        </pc:spChg>
        <pc:spChg chg="mod">
          <ac:chgData name="Appala Srujana" userId="a897cc35-aedc-4025-bce6-6175c0177033" providerId="ADAL" clId="{F249931F-CF49-4405-BC21-8182E27291FD}" dt="2025-10-23T05:18:42.114" v="2936"/>
          <ac:spMkLst>
            <pc:docMk/>
            <pc:sldMk cId="2833416506" sldId="258"/>
            <ac:spMk id="126" creationId="{0755A780-B28D-5740-E1EA-08312E6E2A64}"/>
          </ac:spMkLst>
        </pc:spChg>
        <pc:spChg chg="mod">
          <ac:chgData name="Appala Srujana" userId="a897cc35-aedc-4025-bce6-6175c0177033" providerId="ADAL" clId="{F249931F-CF49-4405-BC21-8182E27291FD}" dt="2025-10-23T05:18:42.019" v="2683"/>
          <ac:spMkLst>
            <pc:docMk/>
            <pc:sldMk cId="2833416506" sldId="258"/>
            <ac:spMk id="127" creationId="{C577017E-5E0A-F444-A1DD-E9AEF0571D5A}"/>
          </ac:spMkLst>
        </pc:spChg>
        <pc:spChg chg="mod ord">
          <ac:chgData name="Appala Srujana" userId="a897cc35-aedc-4025-bce6-6175c0177033" providerId="ADAL" clId="{F249931F-CF49-4405-BC21-8182E27291FD}" dt="2025-10-23T05:18:42.019" v="2642"/>
          <ac:spMkLst>
            <pc:docMk/>
            <pc:sldMk cId="2833416506" sldId="258"/>
            <ac:spMk id="130" creationId="{60888722-AA81-DD08-1AEC-EF06919A9B3A}"/>
          </ac:spMkLst>
        </pc:spChg>
        <pc:spChg chg="mod">
          <ac:chgData name="Appala Srujana" userId="a897cc35-aedc-4025-bce6-6175c0177033" providerId="ADAL" clId="{F249931F-CF49-4405-BC21-8182E27291FD}" dt="2025-10-23T05:18:42.019" v="2660"/>
          <ac:spMkLst>
            <pc:docMk/>
            <pc:sldMk cId="2833416506" sldId="258"/>
            <ac:spMk id="131" creationId="{D250BFD7-4024-DA98-5123-4D35B84270C4}"/>
          </ac:spMkLst>
        </pc:spChg>
        <pc:spChg chg="mod">
          <ac:chgData name="Appala Srujana" userId="a897cc35-aedc-4025-bce6-6175c0177033" providerId="ADAL" clId="{F249931F-CF49-4405-BC21-8182E27291FD}" dt="2025-10-23T05:18:42.019" v="2672"/>
          <ac:spMkLst>
            <pc:docMk/>
            <pc:sldMk cId="2833416506" sldId="258"/>
            <ac:spMk id="132" creationId="{BF3CE984-B1C4-0338-F8E0-D9E53050B3BB}"/>
          </ac:spMkLst>
        </pc:spChg>
        <pc:spChg chg="mod">
          <ac:chgData name="Appala Srujana" userId="a897cc35-aedc-4025-bce6-6175c0177033" providerId="ADAL" clId="{F249931F-CF49-4405-BC21-8182E27291FD}" dt="2025-10-23T05:18:42.035" v="2694"/>
          <ac:spMkLst>
            <pc:docMk/>
            <pc:sldMk cId="2833416506" sldId="258"/>
            <ac:spMk id="133" creationId="{AB9127D3-204F-7727-1FFD-BE7C16BA9886}"/>
          </ac:spMkLst>
        </pc:spChg>
        <pc:spChg chg="mod">
          <ac:chgData name="Appala Srujana" userId="a897cc35-aedc-4025-bce6-6175c0177033" providerId="ADAL" clId="{F249931F-CF49-4405-BC21-8182E27291FD}" dt="2025-10-23T05:18:42.039" v="2708"/>
          <ac:spMkLst>
            <pc:docMk/>
            <pc:sldMk cId="2833416506" sldId="258"/>
            <ac:spMk id="136" creationId="{3444E308-5ED9-34A4-9000-A79395A37632}"/>
          </ac:spMkLst>
        </pc:spChg>
        <pc:spChg chg="mod">
          <ac:chgData name="Appala Srujana" userId="a897cc35-aedc-4025-bce6-6175c0177033" providerId="ADAL" clId="{F249931F-CF49-4405-BC21-8182E27291FD}" dt="2025-10-23T05:18:42.039" v="2720"/>
          <ac:spMkLst>
            <pc:docMk/>
            <pc:sldMk cId="2833416506" sldId="258"/>
            <ac:spMk id="138" creationId="{EC1C4718-11A1-2571-68C2-52D4E957CBD8}"/>
          </ac:spMkLst>
        </pc:spChg>
        <pc:spChg chg="mod">
          <ac:chgData name="Appala Srujana" userId="a897cc35-aedc-4025-bce6-6175c0177033" providerId="ADAL" clId="{F249931F-CF49-4405-BC21-8182E27291FD}" dt="2025-10-23T05:18:42.039" v="2732"/>
          <ac:spMkLst>
            <pc:docMk/>
            <pc:sldMk cId="2833416506" sldId="258"/>
            <ac:spMk id="139" creationId="{28D98BD6-FA0F-33E4-15CC-D927E806C878}"/>
          </ac:spMkLst>
        </pc:spChg>
        <pc:spChg chg="mod">
          <ac:chgData name="Appala Srujana" userId="a897cc35-aedc-4025-bce6-6175c0177033" providerId="ADAL" clId="{F249931F-CF49-4405-BC21-8182E27291FD}" dt="2025-10-23T05:18:42.051" v="2764"/>
          <ac:spMkLst>
            <pc:docMk/>
            <pc:sldMk cId="2833416506" sldId="258"/>
            <ac:spMk id="141" creationId="{2F9E73E7-2C11-4D4F-B3CF-ADF1AD5636EE}"/>
          </ac:spMkLst>
        </pc:spChg>
        <pc:spChg chg="mod">
          <ac:chgData name="Appala Srujana" userId="a897cc35-aedc-4025-bce6-6175c0177033" providerId="ADAL" clId="{F249931F-CF49-4405-BC21-8182E27291FD}" dt="2025-10-23T05:18:42.051" v="2776"/>
          <ac:spMkLst>
            <pc:docMk/>
            <pc:sldMk cId="2833416506" sldId="258"/>
            <ac:spMk id="142" creationId="{60486B35-48CC-D71B-1FE0-BA654CFA3A19}"/>
          </ac:spMkLst>
        </pc:spChg>
        <pc:spChg chg="mod">
          <ac:chgData name="Appala Srujana" userId="a897cc35-aedc-4025-bce6-6175c0177033" providerId="ADAL" clId="{F249931F-CF49-4405-BC21-8182E27291FD}" dt="2025-10-23T05:18:42.051" v="2788"/>
          <ac:spMkLst>
            <pc:docMk/>
            <pc:sldMk cId="2833416506" sldId="258"/>
            <ac:spMk id="143" creationId="{A7E53839-22C8-EF46-9787-84B4970D0269}"/>
          </ac:spMkLst>
        </pc:spChg>
        <pc:spChg chg="mod">
          <ac:chgData name="Appala Srujana" userId="a897cc35-aedc-4025-bce6-6175c0177033" providerId="ADAL" clId="{F249931F-CF49-4405-BC21-8182E27291FD}" dt="2025-10-23T05:18:42.067" v="2800"/>
          <ac:spMkLst>
            <pc:docMk/>
            <pc:sldMk cId="2833416506" sldId="258"/>
            <ac:spMk id="144" creationId="{26D33427-9E79-B516-7CF9-0A647A793C0D}"/>
          </ac:spMkLst>
        </pc:spChg>
        <pc:spChg chg="mod">
          <ac:chgData name="Appala Srujana" userId="a897cc35-aedc-4025-bce6-6175c0177033" providerId="ADAL" clId="{F249931F-CF49-4405-BC21-8182E27291FD}" dt="2025-10-23T05:18:42.067" v="2812"/>
          <ac:spMkLst>
            <pc:docMk/>
            <pc:sldMk cId="2833416506" sldId="258"/>
            <ac:spMk id="145" creationId="{D08C12A2-D112-8033-B385-D7C0CE447082}"/>
          </ac:spMkLst>
        </pc:spChg>
        <pc:spChg chg="mod">
          <ac:chgData name="Appala Srujana" userId="a897cc35-aedc-4025-bce6-6175c0177033" providerId="ADAL" clId="{F249931F-CF49-4405-BC21-8182E27291FD}" dt="2025-10-23T05:18:42.067" v="2824"/>
          <ac:spMkLst>
            <pc:docMk/>
            <pc:sldMk cId="2833416506" sldId="258"/>
            <ac:spMk id="146" creationId="{D9D073F7-ACC3-AB30-1EBF-6DF3BA1C4559}"/>
          </ac:spMkLst>
        </pc:spChg>
        <pc:spChg chg="mod">
          <ac:chgData name="Appala Srujana" userId="a897cc35-aedc-4025-bce6-6175c0177033" providerId="ADAL" clId="{F249931F-CF49-4405-BC21-8182E27291FD}" dt="2025-10-23T05:18:42.067" v="2836"/>
          <ac:spMkLst>
            <pc:docMk/>
            <pc:sldMk cId="2833416506" sldId="258"/>
            <ac:spMk id="147" creationId="{B655B951-C21C-0154-6FE2-7E47F68DFBF9}"/>
          </ac:spMkLst>
        </pc:spChg>
        <pc:spChg chg="mod">
          <ac:chgData name="Appala Srujana" userId="a897cc35-aedc-4025-bce6-6175c0177033" providerId="ADAL" clId="{F249931F-CF49-4405-BC21-8182E27291FD}" dt="2025-10-23T05:18:42.100" v="2896"/>
          <ac:spMkLst>
            <pc:docMk/>
            <pc:sldMk cId="2833416506" sldId="258"/>
            <ac:spMk id="148" creationId="{EEBBAD75-D290-F6BF-4A3E-027559999717}"/>
          </ac:spMkLst>
        </pc:spChg>
        <pc:spChg chg="mod">
          <ac:chgData name="Appala Srujana" userId="a897cc35-aedc-4025-bce6-6175c0177033" providerId="ADAL" clId="{F249931F-CF49-4405-BC21-8182E27291FD}" dt="2025-10-23T05:18:42.086" v="2848"/>
          <ac:spMkLst>
            <pc:docMk/>
            <pc:sldMk cId="2833416506" sldId="258"/>
            <ac:spMk id="149" creationId="{AED05C4F-CC4C-3786-8A88-D8D6BF83F0DB}"/>
          </ac:spMkLst>
        </pc:spChg>
        <pc:spChg chg="mod">
          <ac:chgData name="Appala Srujana" userId="a897cc35-aedc-4025-bce6-6175c0177033" providerId="ADAL" clId="{F249931F-CF49-4405-BC21-8182E27291FD}" dt="2025-10-23T05:18:42.090" v="2860"/>
          <ac:spMkLst>
            <pc:docMk/>
            <pc:sldMk cId="2833416506" sldId="258"/>
            <ac:spMk id="150" creationId="{E86C6B04-213C-0D4B-F0D4-5BB7E76341D2}"/>
          </ac:spMkLst>
        </pc:spChg>
        <pc:spChg chg="mod">
          <ac:chgData name="Appala Srujana" userId="a897cc35-aedc-4025-bce6-6175c0177033" providerId="ADAL" clId="{F249931F-CF49-4405-BC21-8182E27291FD}" dt="2025-10-23T05:18:42.094" v="2872"/>
          <ac:spMkLst>
            <pc:docMk/>
            <pc:sldMk cId="2833416506" sldId="258"/>
            <ac:spMk id="151" creationId="{98E16051-0743-8FE2-5CFE-F71F6D360508}"/>
          </ac:spMkLst>
        </pc:spChg>
        <pc:spChg chg="mod">
          <ac:chgData name="Appala Srujana" userId="a897cc35-aedc-4025-bce6-6175c0177033" providerId="ADAL" clId="{F249931F-CF49-4405-BC21-8182E27291FD}" dt="2025-10-23T05:18:42.098" v="2884"/>
          <ac:spMkLst>
            <pc:docMk/>
            <pc:sldMk cId="2833416506" sldId="258"/>
            <ac:spMk id="152" creationId="{3BBA3632-FE60-21F0-C306-8B3F7CA7B1EA}"/>
          </ac:spMkLst>
        </pc:spChg>
        <pc:spChg chg="mod ord">
          <ac:chgData name="Appala Srujana" userId="a897cc35-aedc-4025-bce6-6175c0177033" providerId="ADAL" clId="{F249931F-CF49-4405-BC21-8182E27291FD}" dt="2025-10-23T05:18:42.051" v="2746"/>
          <ac:spMkLst>
            <pc:docMk/>
            <pc:sldMk cId="2833416506" sldId="258"/>
            <ac:spMk id="153" creationId="{DCAEFCE7-0605-A891-A9FB-F77A953CA552}"/>
          </ac:spMkLst>
        </pc:spChg>
        <pc:spChg chg="mod">
          <ac:chgData name="Appala Srujana" userId="a897cc35-aedc-4025-bce6-6175c0177033" providerId="ADAL" clId="{F249931F-CF49-4405-BC21-8182E27291FD}" dt="2025-10-23T05:18:42.019" v="2684"/>
          <ac:spMkLst>
            <pc:docMk/>
            <pc:sldMk cId="2833416506" sldId="258"/>
            <ac:spMk id="158" creationId="{53404F5D-EA1D-0E4D-67BB-6BEF005670D9}"/>
          </ac:spMkLst>
        </pc:spChg>
        <pc:spChg chg="mod ord">
          <ac:chgData name="Appala Srujana" userId="a897cc35-aedc-4025-bce6-6175c0177033" providerId="ADAL" clId="{F249931F-CF49-4405-BC21-8182E27291FD}" dt="2025-10-23T05:18:42.019" v="2644"/>
          <ac:spMkLst>
            <pc:docMk/>
            <pc:sldMk cId="2833416506" sldId="258"/>
            <ac:spMk id="161" creationId="{5ECED185-3C24-9EC5-F14F-59D6740A4009}"/>
          </ac:spMkLst>
        </pc:spChg>
        <pc:spChg chg="mod">
          <ac:chgData name="Appala Srujana" userId="a897cc35-aedc-4025-bce6-6175c0177033" providerId="ADAL" clId="{F249931F-CF49-4405-BC21-8182E27291FD}" dt="2025-10-23T05:18:42.019" v="2661"/>
          <ac:spMkLst>
            <pc:docMk/>
            <pc:sldMk cId="2833416506" sldId="258"/>
            <ac:spMk id="162" creationId="{C5C5507F-7AB1-15F6-FC96-902F24B9B0DB}"/>
          </ac:spMkLst>
        </pc:spChg>
        <pc:spChg chg="mod">
          <ac:chgData name="Appala Srujana" userId="a897cc35-aedc-4025-bce6-6175c0177033" providerId="ADAL" clId="{F249931F-CF49-4405-BC21-8182E27291FD}" dt="2025-10-23T05:18:42.019" v="2673"/>
          <ac:spMkLst>
            <pc:docMk/>
            <pc:sldMk cId="2833416506" sldId="258"/>
            <ac:spMk id="163" creationId="{A977B90B-D6D5-BCB5-CCB6-A1D2867B6C94}"/>
          </ac:spMkLst>
        </pc:spChg>
        <pc:spChg chg="mod">
          <ac:chgData name="Appala Srujana" userId="a897cc35-aedc-4025-bce6-6175c0177033" providerId="ADAL" clId="{F249931F-CF49-4405-BC21-8182E27291FD}" dt="2025-10-23T05:18:42.035" v="2695"/>
          <ac:spMkLst>
            <pc:docMk/>
            <pc:sldMk cId="2833416506" sldId="258"/>
            <ac:spMk id="164" creationId="{F4AFE040-45B2-EB1F-C26D-143CA7B9A2E3}"/>
          </ac:spMkLst>
        </pc:spChg>
        <pc:spChg chg="mod">
          <ac:chgData name="Appala Srujana" userId="a897cc35-aedc-4025-bce6-6175c0177033" providerId="ADAL" clId="{F249931F-CF49-4405-BC21-8182E27291FD}" dt="2025-10-23T05:18:42.039" v="2709"/>
          <ac:spMkLst>
            <pc:docMk/>
            <pc:sldMk cId="2833416506" sldId="258"/>
            <ac:spMk id="167" creationId="{71A35B5A-D837-C2CF-5046-0FD6EA1AF64A}"/>
          </ac:spMkLst>
        </pc:spChg>
        <pc:spChg chg="mod">
          <ac:chgData name="Appala Srujana" userId="a897cc35-aedc-4025-bce6-6175c0177033" providerId="ADAL" clId="{F249931F-CF49-4405-BC21-8182E27291FD}" dt="2025-10-23T05:18:42.039" v="2721"/>
          <ac:spMkLst>
            <pc:docMk/>
            <pc:sldMk cId="2833416506" sldId="258"/>
            <ac:spMk id="169" creationId="{16ACA99E-750B-E8EE-90DA-479461136158}"/>
          </ac:spMkLst>
        </pc:spChg>
        <pc:spChg chg="mod">
          <ac:chgData name="Appala Srujana" userId="a897cc35-aedc-4025-bce6-6175c0177033" providerId="ADAL" clId="{F249931F-CF49-4405-BC21-8182E27291FD}" dt="2025-10-23T05:18:42.039" v="2733"/>
          <ac:spMkLst>
            <pc:docMk/>
            <pc:sldMk cId="2833416506" sldId="258"/>
            <ac:spMk id="170" creationId="{39DABC53-7F04-DA11-5BE3-0CC6C621C80A}"/>
          </ac:spMkLst>
        </pc:spChg>
        <pc:spChg chg="mod">
          <ac:chgData name="Appala Srujana" userId="a897cc35-aedc-4025-bce6-6175c0177033" providerId="ADAL" clId="{F249931F-CF49-4405-BC21-8182E27291FD}" dt="2025-10-23T05:18:42.051" v="2765"/>
          <ac:spMkLst>
            <pc:docMk/>
            <pc:sldMk cId="2833416506" sldId="258"/>
            <ac:spMk id="172" creationId="{23770A7C-C9E2-A0A9-221C-E72C19D6CA2F}"/>
          </ac:spMkLst>
        </pc:spChg>
        <pc:spChg chg="mod">
          <ac:chgData name="Appala Srujana" userId="a897cc35-aedc-4025-bce6-6175c0177033" providerId="ADAL" clId="{F249931F-CF49-4405-BC21-8182E27291FD}" dt="2025-10-23T05:18:42.051" v="2777"/>
          <ac:spMkLst>
            <pc:docMk/>
            <pc:sldMk cId="2833416506" sldId="258"/>
            <ac:spMk id="173" creationId="{8DC113CB-6E0E-1BA7-5BD1-FC47AA7CF149}"/>
          </ac:spMkLst>
        </pc:spChg>
        <pc:spChg chg="mod">
          <ac:chgData name="Appala Srujana" userId="a897cc35-aedc-4025-bce6-6175c0177033" providerId="ADAL" clId="{F249931F-CF49-4405-BC21-8182E27291FD}" dt="2025-10-23T05:18:42.051" v="2789"/>
          <ac:spMkLst>
            <pc:docMk/>
            <pc:sldMk cId="2833416506" sldId="258"/>
            <ac:spMk id="174" creationId="{AE567D62-352E-D5A1-9BC6-8A665F022E9B}"/>
          </ac:spMkLst>
        </pc:spChg>
        <pc:spChg chg="mod">
          <ac:chgData name="Appala Srujana" userId="a897cc35-aedc-4025-bce6-6175c0177033" providerId="ADAL" clId="{F249931F-CF49-4405-BC21-8182E27291FD}" dt="2025-10-23T05:18:42.067" v="2801"/>
          <ac:spMkLst>
            <pc:docMk/>
            <pc:sldMk cId="2833416506" sldId="258"/>
            <ac:spMk id="175" creationId="{95D1EB92-A571-27EC-0BA3-B23F3382ECC4}"/>
          </ac:spMkLst>
        </pc:spChg>
        <pc:spChg chg="mod">
          <ac:chgData name="Appala Srujana" userId="a897cc35-aedc-4025-bce6-6175c0177033" providerId="ADAL" clId="{F249931F-CF49-4405-BC21-8182E27291FD}" dt="2025-10-23T05:18:42.067" v="2813"/>
          <ac:spMkLst>
            <pc:docMk/>
            <pc:sldMk cId="2833416506" sldId="258"/>
            <ac:spMk id="176" creationId="{026B3A5A-3B15-E680-994D-3FDAFBA1E42E}"/>
          </ac:spMkLst>
        </pc:spChg>
        <pc:spChg chg="mod">
          <ac:chgData name="Appala Srujana" userId="a897cc35-aedc-4025-bce6-6175c0177033" providerId="ADAL" clId="{F249931F-CF49-4405-BC21-8182E27291FD}" dt="2025-10-23T05:18:42.067" v="2825"/>
          <ac:spMkLst>
            <pc:docMk/>
            <pc:sldMk cId="2833416506" sldId="258"/>
            <ac:spMk id="177" creationId="{46324B4D-ED9E-7880-1656-8C8CD1F3ED1B}"/>
          </ac:spMkLst>
        </pc:spChg>
        <pc:spChg chg="mod">
          <ac:chgData name="Appala Srujana" userId="a897cc35-aedc-4025-bce6-6175c0177033" providerId="ADAL" clId="{F249931F-CF49-4405-BC21-8182E27291FD}" dt="2025-10-23T05:18:42.067" v="2837"/>
          <ac:spMkLst>
            <pc:docMk/>
            <pc:sldMk cId="2833416506" sldId="258"/>
            <ac:spMk id="178" creationId="{16B97248-B3B3-3A9C-0261-FEABD09D515E}"/>
          </ac:spMkLst>
        </pc:spChg>
        <pc:spChg chg="mod">
          <ac:chgData name="Appala Srujana" userId="a897cc35-aedc-4025-bce6-6175c0177033" providerId="ADAL" clId="{F249931F-CF49-4405-BC21-8182E27291FD}" dt="2025-10-23T05:18:42.100" v="2897"/>
          <ac:spMkLst>
            <pc:docMk/>
            <pc:sldMk cId="2833416506" sldId="258"/>
            <ac:spMk id="179" creationId="{2D1FDB33-0C6D-734B-DA2F-5AB828A4EE71}"/>
          </ac:spMkLst>
        </pc:spChg>
        <pc:spChg chg="mod topLvl">
          <ac:chgData name="Appala Srujana" userId="a897cc35-aedc-4025-bce6-6175c0177033" providerId="ADAL" clId="{F249931F-CF49-4405-BC21-8182E27291FD}" dt="2025-10-23T05:18:54.774" v="2974" actId="165"/>
          <ac:spMkLst>
            <pc:docMk/>
            <pc:sldMk cId="2833416506" sldId="258"/>
            <ac:spMk id="180" creationId="{2D586AAD-6527-B2B1-9E98-09A96571CC0D}"/>
          </ac:spMkLst>
        </pc:spChg>
        <pc:spChg chg="mod">
          <ac:chgData name="Appala Srujana" userId="a897cc35-aedc-4025-bce6-6175c0177033" providerId="ADAL" clId="{F249931F-CF49-4405-BC21-8182E27291FD}" dt="2025-10-23T05:18:42.091" v="2861"/>
          <ac:spMkLst>
            <pc:docMk/>
            <pc:sldMk cId="2833416506" sldId="258"/>
            <ac:spMk id="181" creationId="{C20A8C1C-D8C0-C9AC-5CBF-05F053057D68}"/>
          </ac:spMkLst>
        </pc:spChg>
        <pc:spChg chg="mod">
          <ac:chgData name="Appala Srujana" userId="a897cc35-aedc-4025-bce6-6175c0177033" providerId="ADAL" clId="{F249931F-CF49-4405-BC21-8182E27291FD}" dt="2025-10-23T05:18:42.095" v="2873"/>
          <ac:spMkLst>
            <pc:docMk/>
            <pc:sldMk cId="2833416506" sldId="258"/>
            <ac:spMk id="182" creationId="{364F59D2-264B-F766-2C51-613DDD7354F0}"/>
          </ac:spMkLst>
        </pc:spChg>
        <pc:spChg chg="mod">
          <ac:chgData name="Appala Srujana" userId="a897cc35-aedc-4025-bce6-6175c0177033" providerId="ADAL" clId="{F249931F-CF49-4405-BC21-8182E27291FD}" dt="2025-10-23T05:18:42.099" v="2885"/>
          <ac:spMkLst>
            <pc:docMk/>
            <pc:sldMk cId="2833416506" sldId="258"/>
            <ac:spMk id="183" creationId="{157678C8-FA52-C696-D48A-BF07B97F7026}"/>
          </ac:spMkLst>
        </pc:spChg>
        <pc:spChg chg="mod ord">
          <ac:chgData name="Appala Srujana" userId="a897cc35-aedc-4025-bce6-6175c0177033" providerId="ADAL" clId="{F249931F-CF49-4405-BC21-8182E27291FD}" dt="2025-10-23T05:18:42.051" v="2748"/>
          <ac:spMkLst>
            <pc:docMk/>
            <pc:sldMk cId="2833416506" sldId="258"/>
            <ac:spMk id="184" creationId="{23D549FF-F873-B301-A75E-4C27A66C4F1E}"/>
          </ac:spMkLst>
        </pc:spChg>
        <pc:spChg chg="mod">
          <ac:chgData name="Appala Srujana" userId="a897cc35-aedc-4025-bce6-6175c0177033" providerId="ADAL" clId="{F249931F-CF49-4405-BC21-8182E27291FD}" dt="2025-10-23T05:18:42.019" v="2685"/>
          <ac:spMkLst>
            <pc:docMk/>
            <pc:sldMk cId="2833416506" sldId="258"/>
            <ac:spMk id="189" creationId="{DC702641-CC35-4E54-1A49-E8E29AB2201A}"/>
          </ac:spMkLst>
        </pc:spChg>
        <pc:spChg chg="mod ord">
          <ac:chgData name="Appala Srujana" userId="a897cc35-aedc-4025-bce6-6175c0177033" providerId="ADAL" clId="{F249931F-CF49-4405-BC21-8182E27291FD}" dt="2025-10-23T05:18:42.019" v="2646"/>
          <ac:spMkLst>
            <pc:docMk/>
            <pc:sldMk cId="2833416506" sldId="258"/>
            <ac:spMk id="192" creationId="{23684C8C-0F69-5A00-6094-373697295162}"/>
          </ac:spMkLst>
        </pc:spChg>
        <pc:spChg chg="mod">
          <ac:chgData name="Appala Srujana" userId="a897cc35-aedc-4025-bce6-6175c0177033" providerId="ADAL" clId="{F249931F-CF49-4405-BC21-8182E27291FD}" dt="2025-10-23T05:18:42.019" v="2662"/>
          <ac:spMkLst>
            <pc:docMk/>
            <pc:sldMk cId="2833416506" sldId="258"/>
            <ac:spMk id="193" creationId="{28CE95D9-0058-3037-FC98-95212B6BAB8F}"/>
          </ac:spMkLst>
        </pc:spChg>
        <pc:spChg chg="mod">
          <ac:chgData name="Appala Srujana" userId="a897cc35-aedc-4025-bce6-6175c0177033" providerId="ADAL" clId="{F249931F-CF49-4405-BC21-8182E27291FD}" dt="2025-10-23T05:18:42.019" v="2674"/>
          <ac:spMkLst>
            <pc:docMk/>
            <pc:sldMk cId="2833416506" sldId="258"/>
            <ac:spMk id="194" creationId="{20EB5068-CF65-C513-83D0-02B5171EF947}"/>
          </ac:spMkLst>
        </pc:spChg>
        <pc:spChg chg="mod">
          <ac:chgData name="Appala Srujana" userId="a897cc35-aedc-4025-bce6-6175c0177033" providerId="ADAL" clId="{F249931F-CF49-4405-BC21-8182E27291FD}" dt="2025-10-23T05:18:42.035" v="2696"/>
          <ac:spMkLst>
            <pc:docMk/>
            <pc:sldMk cId="2833416506" sldId="258"/>
            <ac:spMk id="195" creationId="{06E77727-EB1F-F8BF-F9FC-F89EB0488CEE}"/>
          </ac:spMkLst>
        </pc:spChg>
        <pc:spChg chg="mod">
          <ac:chgData name="Appala Srujana" userId="a897cc35-aedc-4025-bce6-6175c0177033" providerId="ADAL" clId="{F249931F-CF49-4405-BC21-8182E27291FD}" dt="2025-10-23T05:18:42.039" v="2710"/>
          <ac:spMkLst>
            <pc:docMk/>
            <pc:sldMk cId="2833416506" sldId="258"/>
            <ac:spMk id="198" creationId="{C0AAF885-1891-B4F8-1DAF-4D5AA07042C5}"/>
          </ac:spMkLst>
        </pc:spChg>
        <pc:spChg chg="mod">
          <ac:chgData name="Appala Srujana" userId="a897cc35-aedc-4025-bce6-6175c0177033" providerId="ADAL" clId="{F249931F-CF49-4405-BC21-8182E27291FD}" dt="2025-10-23T05:18:42.039" v="2722"/>
          <ac:spMkLst>
            <pc:docMk/>
            <pc:sldMk cId="2833416506" sldId="258"/>
            <ac:spMk id="200" creationId="{CB92B4FB-DC3C-1C63-527B-55A1E6D69C1F}"/>
          </ac:spMkLst>
        </pc:spChg>
        <pc:spChg chg="mod">
          <ac:chgData name="Appala Srujana" userId="a897cc35-aedc-4025-bce6-6175c0177033" providerId="ADAL" clId="{F249931F-CF49-4405-BC21-8182E27291FD}" dt="2025-10-23T05:18:42.039" v="2734"/>
          <ac:spMkLst>
            <pc:docMk/>
            <pc:sldMk cId="2833416506" sldId="258"/>
            <ac:spMk id="201" creationId="{1778C9E5-1416-2790-8426-424CEB93613E}"/>
          </ac:spMkLst>
        </pc:spChg>
        <pc:spChg chg="mod">
          <ac:chgData name="Appala Srujana" userId="a897cc35-aedc-4025-bce6-6175c0177033" providerId="ADAL" clId="{F249931F-CF49-4405-BC21-8182E27291FD}" dt="2025-10-23T05:18:42.051" v="2766"/>
          <ac:spMkLst>
            <pc:docMk/>
            <pc:sldMk cId="2833416506" sldId="258"/>
            <ac:spMk id="203" creationId="{759619F8-33A9-3340-FCE6-8BE9255ED27F}"/>
          </ac:spMkLst>
        </pc:spChg>
        <pc:spChg chg="mod">
          <ac:chgData name="Appala Srujana" userId="a897cc35-aedc-4025-bce6-6175c0177033" providerId="ADAL" clId="{F249931F-CF49-4405-BC21-8182E27291FD}" dt="2025-10-23T05:18:42.051" v="2778"/>
          <ac:spMkLst>
            <pc:docMk/>
            <pc:sldMk cId="2833416506" sldId="258"/>
            <ac:spMk id="204" creationId="{BCD4C824-2996-5B64-39FF-8F5060CA52E9}"/>
          </ac:spMkLst>
        </pc:spChg>
        <pc:spChg chg="mod">
          <ac:chgData name="Appala Srujana" userId="a897cc35-aedc-4025-bce6-6175c0177033" providerId="ADAL" clId="{F249931F-CF49-4405-BC21-8182E27291FD}" dt="2025-10-23T05:18:42.051" v="2790"/>
          <ac:spMkLst>
            <pc:docMk/>
            <pc:sldMk cId="2833416506" sldId="258"/>
            <ac:spMk id="205" creationId="{E622CAB3-0AF4-A83E-DB86-9C4F36CDD175}"/>
          </ac:spMkLst>
        </pc:spChg>
        <pc:spChg chg="mod">
          <ac:chgData name="Appala Srujana" userId="a897cc35-aedc-4025-bce6-6175c0177033" providerId="ADAL" clId="{F249931F-CF49-4405-BC21-8182E27291FD}" dt="2025-10-23T05:18:42.067" v="2802"/>
          <ac:spMkLst>
            <pc:docMk/>
            <pc:sldMk cId="2833416506" sldId="258"/>
            <ac:spMk id="206" creationId="{B8377EA2-6BD7-F44E-F809-E3DE2F47F95A}"/>
          </ac:spMkLst>
        </pc:spChg>
        <pc:spChg chg="mod topLvl">
          <ac:chgData name="Appala Srujana" userId="a897cc35-aedc-4025-bce6-6175c0177033" providerId="ADAL" clId="{F249931F-CF49-4405-BC21-8182E27291FD}" dt="2025-10-23T05:18:54.774" v="2974" actId="165"/>
          <ac:spMkLst>
            <pc:docMk/>
            <pc:sldMk cId="2833416506" sldId="258"/>
            <ac:spMk id="207" creationId="{B02400DA-51F5-9ED5-E5B7-69DA38269F52}"/>
          </ac:spMkLst>
        </pc:spChg>
        <pc:spChg chg="mod">
          <ac:chgData name="Appala Srujana" userId="a897cc35-aedc-4025-bce6-6175c0177033" providerId="ADAL" clId="{F249931F-CF49-4405-BC21-8182E27291FD}" dt="2025-10-23T05:18:42.067" v="2826"/>
          <ac:spMkLst>
            <pc:docMk/>
            <pc:sldMk cId="2833416506" sldId="258"/>
            <ac:spMk id="208" creationId="{53810FFD-EFF4-5E47-5A57-D1A4CD86E6F7}"/>
          </ac:spMkLst>
        </pc:spChg>
        <pc:spChg chg="mod">
          <ac:chgData name="Appala Srujana" userId="a897cc35-aedc-4025-bce6-6175c0177033" providerId="ADAL" clId="{F249931F-CF49-4405-BC21-8182E27291FD}" dt="2025-10-23T05:18:42.083" v="2838"/>
          <ac:spMkLst>
            <pc:docMk/>
            <pc:sldMk cId="2833416506" sldId="258"/>
            <ac:spMk id="209" creationId="{104A7D34-0F53-47B8-2640-EF4FD7FEAF3F}"/>
          </ac:spMkLst>
        </pc:spChg>
        <pc:spChg chg="mod">
          <ac:chgData name="Appala Srujana" userId="a897cc35-aedc-4025-bce6-6175c0177033" providerId="ADAL" clId="{F249931F-CF49-4405-BC21-8182E27291FD}" dt="2025-10-23T05:18:42.100" v="2898"/>
          <ac:spMkLst>
            <pc:docMk/>
            <pc:sldMk cId="2833416506" sldId="258"/>
            <ac:spMk id="210" creationId="{E291D95A-841E-0D5B-8809-B6E6EFC1F6DE}"/>
          </ac:spMkLst>
        </pc:spChg>
        <pc:spChg chg="mod">
          <ac:chgData name="Appala Srujana" userId="a897cc35-aedc-4025-bce6-6175c0177033" providerId="ADAL" clId="{F249931F-CF49-4405-BC21-8182E27291FD}" dt="2025-10-23T05:18:42.087" v="2850"/>
          <ac:spMkLst>
            <pc:docMk/>
            <pc:sldMk cId="2833416506" sldId="258"/>
            <ac:spMk id="211" creationId="{D15B3CAA-C01D-08BD-0EC2-FC260A643ED2}"/>
          </ac:spMkLst>
        </pc:spChg>
        <pc:spChg chg="mod">
          <ac:chgData name="Appala Srujana" userId="a897cc35-aedc-4025-bce6-6175c0177033" providerId="ADAL" clId="{F249931F-CF49-4405-BC21-8182E27291FD}" dt="2025-10-23T05:18:42.091" v="2862"/>
          <ac:spMkLst>
            <pc:docMk/>
            <pc:sldMk cId="2833416506" sldId="258"/>
            <ac:spMk id="212" creationId="{F4705D5E-E8C2-EF02-02B1-684B939ACC46}"/>
          </ac:spMkLst>
        </pc:spChg>
        <pc:spChg chg="mod">
          <ac:chgData name="Appala Srujana" userId="a897cc35-aedc-4025-bce6-6175c0177033" providerId="ADAL" clId="{F249931F-CF49-4405-BC21-8182E27291FD}" dt="2025-10-23T05:18:42.095" v="2874"/>
          <ac:spMkLst>
            <pc:docMk/>
            <pc:sldMk cId="2833416506" sldId="258"/>
            <ac:spMk id="213" creationId="{9BB992E1-7709-2F86-A9B4-26E3E13734C6}"/>
          </ac:spMkLst>
        </pc:spChg>
        <pc:spChg chg="mod">
          <ac:chgData name="Appala Srujana" userId="a897cc35-aedc-4025-bce6-6175c0177033" providerId="ADAL" clId="{F249931F-CF49-4405-BC21-8182E27291FD}" dt="2025-10-23T05:18:42.099" v="2886"/>
          <ac:spMkLst>
            <pc:docMk/>
            <pc:sldMk cId="2833416506" sldId="258"/>
            <ac:spMk id="214" creationId="{0B3983AC-C8B8-D27D-8325-D4E251C45BE5}"/>
          </ac:spMkLst>
        </pc:spChg>
        <pc:spChg chg="mod ord">
          <ac:chgData name="Appala Srujana" userId="a897cc35-aedc-4025-bce6-6175c0177033" providerId="ADAL" clId="{F249931F-CF49-4405-BC21-8182E27291FD}" dt="2025-10-23T05:18:42.051" v="2750"/>
          <ac:spMkLst>
            <pc:docMk/>
            <pc:sldMk cId="2833416506" sldId="258"/>
            <ac:spMk id="215" creationId="{42F6E3E4-16DA-B48C-7216-DB4226E68368}"/>
          </ac:spMkLst>
        </pc:spChg>
        <pc:spChg chg="mod">
          <ac:chgData name="Appala Srujana" userId="a897cc35-aedc-4025-bce6-6175c0177033" providerId="ADAL" clId="{F249931F-CF49-4405-BC21-8182E27291FD}" dt="2025-10-23T05:18:42.019" v="2686"/>
          <ac:spMkLst>
            <pc:docMk/>
            <pc:sldMk cId="2833416506" sldId="258"/>
            <ac:spMk id="220" creationId="{D8B3793A-D4A4-2375-4F4A-95285F343C8C}"/>
          </ac:spMkLst>
        </pc:spChg>
        <pc:spChg chg="mod ord">
          <ac:chgData name="Appala Srujana" userId="a897cc35-aedc-4025-bce6-6175c0177033" providerId="ADAL" clId="{F249931F-CF49-4405-BC21-8182E27291FD}" dt="2025-10-23T05:18:42.019" v="2648"/>
          <ac:spMkLst>
            <pc:docMk/>
            <pc:sldMk cId="2833416506" sldId="258"/>
            <ac:spMk id="223" creationId="{5BD5B60E-FBB2-384F-6F29-EA241EE11D2B}"/>
          </ac:spMkLst>
        </pc:spChg>
        <pc:spChg chg="mod">
          <ac:chgData name="Appala Srujana" userId="a897cc35-aedc-4025-bce6-6175c0177033" providerId="ADAL" clId="{F249931F-CF49-4405-BC21-8182E27291FD}" dt="2025-10-23T05:18:42.019" v="2663"/>
          <ac:spMkLst>
            <pc:docMk/>
            <pc:sldMk cId="2833416506" sldId="258"/>
            <ac:spMk id="224" creationId="{B1977E23-C54B-89B0-E80C-AA6C1545C0AE}"/>
          </ac:spMkLst>
        </pc:spChg>
        <pc:spChg chg="mod">
          <ac:chgData name="Appala Srujana" userId="a897cc35-aedc-4025-bce6-6175c0177033" providerId="ADAL" clId="{F249931F-CF49-4405-BC21-8182E27291FD}" dt="2025-10-23T05:18:42.019" v="2675"/>
          <ac:spMkLst>
            <pc:docMk/>
            <pc:sldMk cId="2833416506" sldId="258"/>
            <ac:spMk id="225" creationId="{8D197894-AE1D-B98A-78E2-708527BDDF81}"/>
          </ac:spMkLst>
        </pc:spChg>
        <pc:spChg chg="mod topLvl">
          <ac:chgData name="Appala Srujana" userId="a897cc35-aedc-4025-bce6-6175c0177033" providerId="ADAL" clId="{F249931F-CF49-4405-BC21-8182E27291FD}" dt="2025-10-23T05:18:54.774" v="2974" actId="165"/>
          <ac:spMkLst>
            <pc:docMk/>
            <pc:sldMk cId="2833416506" sldId="258"/>
            <ac:spMk id="226" creationId="{24441F23-776E-37AE-6550-8A97BA8D48BB}"/>
          </ac:spMkLst>
        </pc:spChg>
        <pc:spChg chg="mod">
          <ac:chgData name="Appala Srujana" userId="a897cc35-aedc-4025-bce6-6175c0177033" providerId="ADAL" clId="{F249931F-CF49-4405-BC21-8182E27291FD}" dt="2025-10-23T05:18:42.039" v="2711"/>
          <ac:spMkLst>
            <pc:docMk/>
            <pc:sldMk cId="2833416506" sldId="258"/>
            <ac:spMk id="229" creationId="{C05303CB-72F6-3877-F356-67CA86DB0116}"/>
          </ac:spMkLst>
        </pc:spChg>
        <pc:spChg chg="mod">
          <ac:chgData name="Appala Srujana" userId="a897cc35-aedc-4025-bce6-6175c0177033" providerId="ADAL" clId="{F249931F-CF49-4405-BC21-8182E27291FD}" dt="2025-10-23T05:18:42.039" v="2723"/>
          <ac:spMkLst>
            <pc:docMk/>
            <pc:sldMk cId="2833416506" sldId="258"/>
            <ac:spMk id="231" creationId="{4E5E9C25-F28D-A67C-587F-0242F7AB5C1E}"/>
          </ac:spMkLst>
        </pc:spChg>
        <pc:spChg chg="mod topLvl">
          <ac:chgData name="Appala Srujana" userId="a897cc35-aedc-4025-bce6-6175c0177033" providerId="ADAL" clId="{F249931F-CF49-4405-BC21-8182E27291FD}" dt="2025-10-23T05:18:54.774" v="2974" actId="165"/>
          <ac:spMkLst>
            <pc:docMk/>
            <pc:sldMk cId="2833416506" sldId="258"/>
            <ac:spMk id="232" creationId="{6ADF9033-EAF0-3EF9-F310-355F76FE34E8}"/>
          </ac:spMkLst>
        </pc:spChg>
        <pc:spChg chg="mod">
          <ac:chgData name="Appala Srujana" userId="a897cc35-aedc-4025-bce6-6175c0177033" providerId="ADAL" clId="{F249931F-CF49-4405-BC21-8182E27291FD}" dt="2025-10-23T05:18:42.051" v="2767"/>
          <ac:spMkLst>
            <pc:docMk/>
            <pc:sldMk cId="2833416506" sldId="258"/>
            <ac:spMk id="234" creationId="{D8571A3F-386E-BBC5-2474-3CB65E76973D}"/>
          </ac:spMkLst>
        </pc:spChg>
        <pc:spChg chg="mod">
          <ac:chgData name="Appala Srujana" userId="a897cc35-aedc-4025-bce6-6175c0177033" providerId="ADAL" clId="{F249931F-CF49-4405-BC21-8182E27291FD}" dt="2025-10-23T05:18:42.051" v="2779"/>
          <ac:spMkLst>
            <pc:docMk/>
            <pc:sldMk cId="2833416506" sldId="258"/>
            <ac:spMk id="235" creationId="{3C773981-E501-5414-E930-418200F75E00}"/>
          </ac:spMkLst>
        </pc:spChg>
        <pc:spChg chg="mod">
          <ac:chgData name="Appala Srujana" userId="a897cc35-aedc-4025-bce6-6175c0177033" providerId="ADAL" clId="{F249931F-CF49-4405-BC21-8182E27291FD}" dt="2025-10-23T05:18:42.067" v="2791"/>
          <ac:spMkLst>
            <pc:docMk/>
            <pc:sldMk cId="2833416506" sldId="258"/>
            <ac:spMk id="236" creationId="{4F714070-D1FF-554E-6616-9F1214D3A6DC}"/>
          </ac:spMkLst>
        </pc:spChg>
        <pc:spChg chg="mod topLvl">
          <ac:chgData name="Appala Srujana" userId="a897cc35-aedc-4025-bce6-6175c0177033" providerId="ADAL" clId="{F249931F-CF49-4405-BC21-8182E27291FD}" dt="2025-10-23T05:18:54.774" v="2974" actId="165"/>
          <ac:spMkLst>
            <pc:docMk/>
            <pc:sldMk cId="2833416506" sldId="258"/>
            <ac:spMk id="237" creationId="{6DEEB6F3-D32A-965E-BBFA-65DE97F38562}"/>
          </ac:spMkLst>
        </pc:spChg>
        <pc:spChg chg="mod">
          <ac:chgData name="Appala Srujana" userId="a897cc35-aedc-4025-bce6-6175c0177033" providerId="ADAL" clId="{F249931F-CF49-4405-BC21-8182E27291FD}" dt="2025-10-23T05:18:42.067" v="2815"/>
          <ac:spMkLst>
            <pc:docMk/>
            <pc:sldMk cId="2833416506" sldId="258"/>
            <ac:spMk id="238" creationId="{7C9B2895-896F-6822-57D9-ACE8BAB84A36}"/>
          </ac:spMkLst>
        </pc:spChg>
        <pc:spChg chg="mod">
          <ac:chgData name="Appala Srujana" userId="a897cc35-aedc-4025-bce6-6175c0177033" providerId="ADAL" clId="{F249931F-CF49-4405-BC21-8182E27291FD}" dt="2025-10-23T05:18:42.067" v="2827"/>
          <ac:spMkLst>
            <pc:docMk/>
            <pc:sldMk cId="2833416506" sldId="258"/>
            <ac:spMk id="239" creationId="{5B8B98C0-FE79-09FB-41EA-8FE87181230B}"/>
          </ac:spMkLst>
        </pc:spChg>
        <pc:spChg chg="mod">
          <ac:chgData name="Appala Srujana" userId="a897cc35-aedc-4025-bce6-6175c0177033" providerId="ADAL" clId="{F249931F-CF49-4405-BC21-8182E27291FD}" dt="2025-10-23T05:18:42.083" v="2839"/>
          <ac:spMkLst>
            <pc:docMk/>
            <pc:sldMk cId="2833416506" sldId="258"/>
            <ac:spMk id="240" creationId="{10286418-89A9-13E9-921F-D578FCC3859D}"/>
          </ac:spMkLst>
        </pc:spChg>
        <pc:spChg chg="mod">
          <ac:chgData name="Appala Srujana" userId="a897cc35-aedc-4025-bce6-6175c0177033" providerId="ADAL" clId="{F249931F-CF49-4405-BC21-8182E27291FD}" dt="2025-10-23T05:18:42.100" v="2899"/>
          <ac:spMkLst>
            <pc:docMk/>
            <pc:sldMk cId="2833416506" sldId="258"/>
            <ac:spMk id="241" creationId="{4D208194-DCE3-A606-0E4D-63576BCFD09F}"/>
          </ac:spMkLst>
        </pc:spChg>
        <pc:spChg chg="mod">
          <ac:chgData name="Appala Srujana" userId="a897cc35-aedc-4025-bce6-6175c0177033" providerId="ADAL" clId="{F249931F-CF49-4405-BC21-8182E27291FD}" dt="2025-10-23T05:18:42.087" v="2851"/>
          <ac:spMkLst>
            <pc:docMk/>
            <pc:sldMk cId="2833416506" sldId="258"/>
            <ac:spMk id="242" creationId="{C3C403E9-4FF1-3B8D-0B66-04A5E46EB54B}"/>
          </ac:spMkLst>
        </pc:spChg>
        <pc:spChg chg="mod">
          <ac:chgData name="Appala Srujana" userId="a897cc35-aedc-4025-bce6-6175c0177033" providerId="ADAL" clId="{F249931F-CF49-4405-BC21-8182E27291FD}" dt="2025-10-23T05:18:42.091" v="2863"/>
          <ac:spMkLst>
            <pc:docMk/>
            <pc:sldMk cId="2833416506" sldId="258"/>
            <ac:spMk id="243" creationId="{67DAB564-055D-1AC8-6608-A30EEA2EBAE1}"/>
          </ac:spMkLst>
        </pc:spChg>
        <pc:spChg chg="mod topLvl">
          <ac:chgData name="Appala Srujana" userId="a897cc35-aedc-4025-bce6-6175c0177033" providerId="ADAL" clId="{F249931F-CF49-4405-BC21-8182E27291FD}" dt="2025-10-23T05:18:54.774" v="2974" actId="165"/>
          <ac:spMkLst>
            <pc:docMk/>
            <pc:sldMk cId="2833416506" sldId="258"/>
            <ac:spMk id="244" creationId="{1D233457-CE5F-8316-95A4-8D4701E59E09}"/>
          </ac:spMkLst>
        </pc:spChg>
        <pc:spChg chg="mod">
          <ac:chgData name="Appala Srujana" userId="a897cc35-aedc-4025-bce6-6175c0177033" providerId="ADAL" clId="{F249931F-CF49-4405-BC21-8182E27291FD}" dt="2025-10-23T05:18:42.100" v="2887"/>
          <ac:spMkLst>
            <pc:docMk/>
            <pc:sldMk cId="2833416506" sldId="258"/>
            <ac:spMk id="245" creationId="{BD7274C0-B85B-BCDD-65C1-982858166442}"/>
          </ac:spMkLst>
        </pc:spChg>
        <pc:spChg chg="mod ord">
          <ac:chgData name="Appala Srujana" userId="a897cc35-aedc-4025-bce6-6175c0177033" providerId="ADAL" clId="{F249931F-CF49-4405-BC21-8182E27291FD}" dt="2025-10-23T05:18:42.051" v="2752"/>
          <ac:spMkLst>
            <pc:docMk/>
            <pc:sldMk cId="2833416506" sldId="258"/>
            <ac:spMk id="246" creationId="{4FCA75C8-FFC3-3161-7908-E68EFBE3A237}"/>
          </ac:spMkLst>
        </pc:spChg>
        <pc:spChg chg="mod">
          <ac:chgData name="Appala Srujana" userId="a897cc35-aedc-4025-bce6-6175c0177033" providerId="ADAL" clId="{F249931F-CF49-4405-BC21-8182E27291FD}" dt="2025-10-23T05:18:42.019" v="2687"/>
          <ac:spMkLst>
            <pc:docMk/>
            <pc:sldMk cId="2833416506" sldId="258"/>
            <ac:spMk id="251" creationId="{48F537BF-0E90-7D2F-485E-5A4F0607E684}"/>
          </ac:spMkLst>
        </pc:spChg>
        <pc:spChg chg="mod ord">
          <ac:chgData name="Appala Srujana" userId="a897cc35-aedc-4025-bce6-6175c0177033" providerId="ADAL" clId="{F249931F-CF49-4405-BC21-8182E27291FD}" dt="2025-10-23T05:18:42.019" v="2650"/>
          <ac:spMkLst>
            <pc:docMk/>
            <pc:sldMk cId="2833416506" sldId="258"/>
            <ac:spMk id="254" creationId="{3CC43220-2F81-9339-A19A-735041DE910C}"/>
          </ac:spMkLst>
        </pc:spChg>
        <pc:spChg chg="mod">
          <ac:chgData name="Appala Srujana" userId="a897cc35-aedc-4025-bce6-6175c0177033" providerId="ADAL" clId="{F249931F-CF49-4405-BC21-8182E27291FD}" dt="2025-10-23T05:18:42.019" v="2664"/>
          <ac:spMkLst>
            <pc:docMk/>
            <pc:sldMk cId="2833416506" sldId="258"/>
            <ac:spMk id="255" creationId="{86615DD1-8D15-1D17-F4D9-0CA2AF8C449B}"/>
          </ac:spMkLst>
        </pc:spChg>
        <pc:spChg chg="mod">
          <ac:chgData name="Appala Srujana" userId="a897cc35-aedc-4025-bce6-6175c0177033" providerId="ADAL" clId="{F249931F-CF49-4405-BC21-8182E27291FD}" dt="2025-10-23T05:18:42.019" v="2676"/>
          <ac:spMkLst>
            <pc:docMk/>
            <pc:sldMk cId="2833416506" sldId="258"/>
            <ac:spMk id="256" creationId="{9772A3AA-1A67-F472-A347-289BB9781DE0}"/>
          </ac:spMkLst>
        </pc:spChg>
        <pc:spChg chg="mod">
          <ac:chgData name="Appala Srujana" userId="a897cc35-aedc-4025-bce6-6175c0177033" providerId="ADAL" clId="{F249931F-CF49-4405-BC21-8182E27291FD}" dt="2025-10-23T05:18:42.037" v="2698"/>
          <ac:spMkLst>
            <pc:docMk/>
            <pc:sldMk cId="2833416506" sldId="258"/>
            <ac:spMk id="257" creationId="{0E821226-2D0F-6612-D7CC-1764D71BC58B}"/>
          </ac:spMkLst>
        </pc:spChg>
        <pc:spChg chg="mod">
          <ac:chgData name="Appala Srujana" userId="a897cc35-aedc-4025-bce6-6175c0177033" providerId="ADAL" clId="{F249931F-CF49-4405-BC21-8182E27291FD}" dt="2025-10-23T05:18:42.039" v="2712"/>
          <ac:spMkLst>
            <pc:docMk/>
            <pc:sldMk cId="2833416506" sldId="258"/>
            <ac:spMk id="260" creationId="{15F3EDB7-1DB6-36F8-3473-541CE5FF7AA1}"/>
          </ac:spMkLst>
        </pc:spChg>
        <pc:spChg chg="mod">
          <ac:chgData name="Appala Srujana" userId="a897cc35-aedc-4025-bce6-6175c0177033" providerId="ADAL" clId="{F249931F-CF49-4405-BC21-8182E27291FD}" dt="2025-10-23T05:18:42.039" v="2724"/>
          <ac:spMkLst>
            <pc:docMk/>
            <pc:sldMk cId="2833416506" sldId="258"/>
            <ac:spMk id="262" creationId="{D325D1E6-4FA7-3775-C19A-D55FA7574F99}"/>
          </ac:spMkLst>
        </pc:spChg>
        <pc:spChg chg="mod">
          <ac:chgData name="Appala Srujana" userId="a897cc35-aedc-4025-bce6-6175c0177033" providerId="ADAL" clId="{F249931F-CF49-4405-BC21-8182E27291FD}" dt="2025-10-23T05:18:42.039" v="2736"/>
          <ac:spMkLst>
            <pc:docMk/>
            <pc:sldMk cId="2833416506" sldId="258"/>
            <ac:spMk id="263" creationId="{67CB8883-8585-55D5-0F29-DD43C7D00FB1}"/>
          </ac:spMkLst>
        </pc:spChg>
        <pc:spChg chg="mod">
          <ac:chgData name="Appala Srujana" userId="a897cc35-aedc-4025-bce6-6175c0177033" providerId="ADAL" clId="{F249931F-CF49-4405-BC21-8182E27291FD}" dt="2025-10-23T05:18:42.051" v="2768"/>
          <ac:spMkLst>
            <pc:docMk/>
            <pc:sldMk cId="2833416506" sldId="258"/>
            <ac:spMk id="265" creationId="{D1557C4F-D19F-5B21-B67E-AC9291074506}"/>
          </ac:spMkLst>
        </pc:spChg>
        <pc:spChg chg="mod">
          <ac:chgData name="Appala Srujana" userId="a897cc35-aedc-4025-bce6-6175c0177033" providerId="ADAL" clId="{F249931F-CF49-4405-BC21-8182E27291FD}" dt="2025-10-23T05:18:42.051" v="2780"/>
          <ac:spMkLst>
            <pc:docMk/>
            <pc:sldMk cId="2833416506" sldId="258"/>
            <ac:spMk id="266" creationId="{6F2F8135-8E9B-E93F-F374-CA93AAC8F943}"/>
          </ac:spMkLst>
        </pc:spChg>
        <pc:spChg chg="mod">
          <ac:chgData name="Appala Srujana" userId="a897cc35-aedc-4025-bce6-6175c0177033" providerId="ADAL" clId="{F249931F-CF49-4405-BC21-8182E27291FD}" dt="2025-10-23T05:18:42.067" v="2792"/>
          <ac:spMkLst>
            <pc:docMk/>
            <pc:sldMk cId="2833416506" sldId="258"/>
            <ac:spMk id="267" creationId="{49576143-192B-EDD5-282B-FAC43312B247}"/>
          </ac:spMkLst>
        </pc:spChg>
        <pc:spChg chg="mod">
          <ac:chgData name="Appala Srujana" userId="a897cc35-aedc-4025-bce6-6175c0177033" providerId="ADAL" clId="{F249931F-CF49-4405-BC21-8182E27291FD}" dt="2025-10-23T05:18:42.067" v="2804"/>
          <ac:spMkLst>
            <pc:docMk/>
            <pc:sldMk cId="2833416506" sldId="258"/>
            <ac:spMk id="268" creationId="{B854ACD5-DDE4-517E-5FB5-2A5BF3C02FB4}"/>
          </ac:spMkLst>
        </pc:spChg>
        <pc:spChg chg="mod">
          <ac:chgData name="Appala Srujana" userId="a897cc35-aedc-4025-bce6-6175c0177033" providerId="ADAL" clId="{F249931F-CF49-4405-BC21-8182E27291FD}" dt="2025-10-23T05:18:42.067" v="2816"/>
          <ac:spMkLst>
            <pc:docMk/>
            <pc:sldMk cId="2833416506" sldId="258"/>
            <ac:spMk id="269" creationId="{3F0D7274-C595-883D-743E-4F499849460B}"/>
          </ac:spMkLst>
        </pc:spChg>
        <pc:spChg chg="mod">
          <ac:chgData name="Appala Srujana" userId="a897cc35-aedc-4025-bce6-6175c0177033" providerId="ADAL" clId="{F249931F-CF49-4405-BC21-8182E27291FD}" dt="2025-10-23T05:18:42.067" v="2828"/>
          <ac:spMkLst>
            <pc:docMk/>
            <pc:sldMk cId="2833416506" sldId="258"/>
            <ac:spMk id="270" creationId="{120A2363-C1D1-C000-0524-F4A766E513C8}"/>
          </ac:spMkLst>
        </pc:spChg>
        <pc:spChg chg="mod">
          <ac:chgData name="Appala Srujana" userId="a897cc35-aedc-4025-bce6-6175c0177033" providerId="ADAL" clId="{F249931F-CF49-4405-BC21-8182E27291FD}" dt="2025-10-23T05:18:42.084" v="2840"/>
          <ac:spMkLst>
            <pc:docMk/>
            <pc:sldMk cId="2833416506" sldId="258"/>
            <ac:spMk id="271" creationId="{EA263F6F-CBC7-F50E-2D32-95EC2B043D69}"/>
          </ac:spMkLst>
        </pc:spChg>
        <pc:spChg chg="mod">
          <ac:chgData name="Appala Srujana" userId="a897cc35-aedc-4025-bce6-6175c0177033" providerId="ADAL" clId="{F249931F-CF49-4405-BC21-8182E27291FD}" dt="2025-10-23T05:18:42.100" v="2900"/>
          <ac:spMkLst>
            <pc:docMk/>
            <pc:sldMk cId="2833416506" sldId="258"/>
            <ac:spMk id="272" creationId="{6C12E866-C926-BF00-F0C0-73FD3AEF8D05}"/>
          </ac:spMkLst>
        </pc:spChg>
        <pc:spChg chg="mod">
          <ac:chgData name="Appala Srujana" userId="a897cc35-aedc-4025-bce6-6175c0177033" providerId="ADAL" clId="{F249931F-CF49-4405-BC21-8182E27291FD}" dt="2025-10-23T05:18:42.088" v="2852"/>
          <ac:spMkLst>
            <pc:docMk/>
            <pc:sldMk cId="2833416506" sldId="258"/>
            <ac:spMk id="273" creationId="{F2ECC57C-13E5-2397-0F66-2CC56EEF1C73}"/>
          </ac:spMkLst>
        </pc:spChg>
        <pc:spChg chg="mod">
          <ac:chgData name="Appala Srujana" userId="a897cc35-aedc-4025-bce6-6175c0177033" providerId="ADAL" clId="{F249931F-CF49-4405-BC21-8182E27291FD}" dt="2025-10-23T05:18:42.092" v="2864"/>
          <ac:spMkLst>
            <pc:docMk/>
            <pc:sldMk cId="2833416506" sldId="258"/>
            <ac:spMk id="274" creationId="{5C001386-B771-78EA-CC8B-EFF9DF780EDA}"/>
          </ac:spMkLst>
        </pc:spChg>
        <pc:spChg chg="mod">
          <ac:chgData name="Appala Srujana" userId="a897cc35-aedc-4025-bce6-6175c0177033" providerId="ADAL" clId="{F249931F-CF49-4405-BC21-8182E27291FD}" dt="2025-10-23T05:18:42.096" v="2876"/>
          <ac:spMkLst>
            <pc:docMk/>
            <pc:sldMk cId="2833416506" sldId="258"/>
            <ac:spMk id="275" creationId="{95BCC98A-BBCF-73E2-5229-E951674D0BA8}"/>
          </ac:spMkLst>
        </pc:spChg>
        <pc:spChg chg="mod">
          <ac:chgData name="Appala Srujana" userId="a897cc35-aedc-4025-bce6-6175c0177033" providerId="ADAL" clId="{F249931F-CF49-4405-BC21-8182E27291FD}" dt="2025-10-23T05:18:42.100" v="2888"/>
          <ac:spMkLst>
            <pc:docMk/>
            <pc:sldMk cId="2833416506" sldId="258"/>
            <ac:spMk id="276" creationId="{7B33859E-7A10-E84B-58E5-FE25BC7738C1}"/>
          </ac:spMkLst>
        </pc:spChg>
        <pc:spChg chg="mod ord">
          <ac:chgData name="Appala Srujana" userId="a897cc35-aedc-4025-bce6-6175c0177033" providerId="ADAL" clId="{F249931F-CF49-4405-BC21-8182E27291FD}" dt="2025-10-23T05:18:42.051" v="2754"/>
          <ac:spMkLst>
            <pc:docMk/>
            <pc:sldMk cId="2833416506" sldId="258"/>
            <ac:spMk id="277" creationId="{09A7DB64-65DE-D096-FF79-348F34BA237D}"/>
          </ac:spMkLst>
        </pc:spChg>
        <pc:spChg chg="mod">
          <ac:chgData name="Appala Srujana" userId="a897cc35-aedc-4025-bce6-6175c0177033" providerId="ADAL" clId="{F249931F-CF49-4405-BC21-8182E27291FD}" dt="2025-10-23T05:18:42.019" v="2688"/>
          <ac:spMkLst>
            <pc:docMk/>
            <pc:sldMk cId="2833416506" sldId="258"/>
            <ac:spMk id="282" creationId="{F426D952-35C9-043A-ED24-D4B87F553DE0}"/>
          </ac:spMkLst>
        </pc:spChg>
        <pc:spChg chg="mod ord">
          <ac:chgData name="Appala Srujana" userId="a897cc35-aedc-4025-bce6-6175c0177033" providerId="ADAL" clId="{F249931F-CF49-4405-BC21-8182E27291FD}" dt="2025-10-23T05:18:42.019" v="2652"/>
          <ac:spMkLst>
            <pc:docMk/>
            <pc:sldMk cId="2833416506" sldId="258"/>
            <ac:spMk id="285" creationId="{3F828142-A015-E41C-4891-70B04CC65E22}"/>
          </ac:spMkLst>
        </pc:spChg>
        <pc:spChg chg="mod">
          <ac:chgData name="Appala Srujana" userId="a897cc35-aedc-4025-bce6-6175c0177033" providerId="ADAL" clId="{F249931F-CF49-4405-BC21-8182E27291FD}" dt="2025-10-23T05:18:42.019" v="2665"/>
          <ac:spMkLst>
            <pc:docMk/>
            <pc:sldMk cId="2833416506" sldId="258"/>
            <ac:spMk id="286" creationId="{F931F224-83A0-4F09-EAD1-046BCEFF1917}"/>
          </ac:spMkLst>
        </pc:spChg>
        <pc:spChg chg="mod">
          <ac:chgData name="Appala Srujana" userId="a897cc35-aedc-4025-bce6-6175c0177033" providerId="ADAL" clId="{F249931F-CF49-4405-BC21-8182E27291FD}" dt="2025-10-23T05:18:42.019" v="2677"/>
          <ac:spMkLst>
            <pc:docMk/>
            <pc:sldMk cId="2833416506" sldId="258"/>
            <ac:spMk id="287" creationId="{A33CC9DF-C0A1-96AB-04B2-8D12A8DD0307}"/>
          </ac:spMkLst>
        </pc:spChg>
        <pc:spChg chg="mod">
          <ac:chgData name="Appala Srujana" userId="a897cc35-aedc-4025-bce6-6175c0177033" providerId="ADAL" clId="{F249931F-CF49-4405-BC21-8182E27291FD}" dt="2025-10-23T05:18:42.037" v="2699"/>
          <ac:spMkLst>
            <pc:docMk/>
            <pc:sldMk cId="2833416506" sldId="258"/>
            <ac:spMk id="288" creationId="{8B378D91-FD63-41FA-C90A-5AEE7C9AC5B3}"/>
          </ac:spMkLst>
        </pc:spChg>
        <pc:spChg chg="mod">
          <ac:chgData name="Appala Srujana" userId="a897cc35-aedc-4025-bce6-6175c0177033" providerId="ADAL" clId="{F249931F-CF49-4405-BC21-8182E27291FD}" dt="2025-10-23T05:18:42.039" v="2713"/>
          <ac:spMkLst>
            <pc:docMk/>
            <pc:sldMk cId="2833416506" sldId="258"/>
            <ac:spMk id="291" creationId="{EEE2C357-95F3-2A45-CBEA-09ED43682102}"/>
          </ac:spMkLst>
        </pc:spChg>
        <pc:spChg chg="mod">
          <ac:chgData name="Appala Srujana" userId="a897cc35-aedc-4025-bce6-6175c0177033" providerId="ADAL" clId="{F249931F-CF49-4405-BC21-8182E27291FD}" dt="2025-10-23T05:18:42.039" v="2725"/>
          <ac:spMkLst>
            <pc:docMk/>
            <pc:sldMk cId="2833416506" sldId="258"/>
            <ac:spMk id="293" creationId="{0E0D76BD-007E-48D3-CA8A-1E91169C61AF}"/>
          </ac:spMkLst>
        </pc:spChg>
        <pc:spChg chg="mod">
          <ac:chgData name="Appala Srujana" userId="a897cc35-aedc-4025-bce6-6175c0177033" providerId="ADAL" clId="{F249931F-CF49-4405-BC21-8182E27291FD}" dt="2025-10-23T05:18:42.051" v="2737"/>
          <ac:spMkLst>
            <pc:docMk/>
            <pc:sldMk cId="2833416506" sldId="258"/>
            <ac:spMk id="294" creationId="{155A7DB5-98AB-A34F-9871-B64410CF8005}"/>
          </ac:spMkLst>
        </pc:spChg>
        <pc:spChg chg="mod">
          <ac:chgData name="Appala Srujana" userId="a897cc35-aedc-4025-bce6-6175c0177033" providerId="ADAL" clId="{F249931F-CF49-4405-BC21-8182E27291FD}" dt="2025-10-23T05:18:42.051" v="2769"/>
          <ac:spMkLst>
            <pc:docMk/>
            <pc:sldMk cId="2833416506" sldId="258"/>
            <ac:spMk id="296" creationId="{CC24A879-2D9E-12FC-9ED5-E244B57F7475}"/>
          </ac:spMkLst>
        </pc:spChg>
        <pc:spChg chg="mod">
          <ac:chgData name="Appala Srujana" userId="a897cc35-aedc-4025-bce6-6175c0177033" providerId="ADAL" clId="{F249931F-CF49-4405-BC21-8182E27291FD}" dt="2025-10-23T05:18:42.051" v="2781"/>
          <ac:spMkLst>
            <pc:docMk/>
            <pc:sldMk cId="2833416506" sldId="258"/>
            <ac:spMk id="297" creationId="{DCA7E90A-5A15-9061-BD79-67878318F968}"/>
          </ac:spMkLst>
        </pc:spChg>
        <pc:spChg chg="mod">
          <ac:chgData name="Appala Srujana" userId="a897cc35-aedc-4025-bce6-6175c0177033" providerId="ADAL" clId="{F249931F-CF49-4405-BC21-8182E27291FD}" dt="2025-10-23T05:18:42.067" v="2793"/>
          <ac:spMkLst>
            <pc:docMk/>
            <pc:sldMk cId="2833416506" sldId="258"/>
            <ac:spMk id="298" creationId="{CD5D2011-2BAD-4DCB-8228-EBD7AE301D59}"/>
          </ac:spMkLst>
        </pc:spChg>
        <pc:spChg chg="mod">
          <ac:chgData name="Appala Srujana" userId="a897cc35-aedc-4025-bce6-6175c0177033" providerId="ADAL" clId="{F249931F-CF49-4405-BC21-8182E27291FD}" dt="2025-10-23T05:18:42.067" v="2805"/>
          <ac:spMkLst>
            <pc:docMk/>
            <pc:sldMk cId="2833416506" sldId="258"/>
            <ac:spMk id="299" creationId="{441BD271-B0EA-0C16-10C0-7A40B82D7ECE}"/>
          </ac:spMkLst>
        </pc:spChg>
        <pc:spChg chg="mod">
          <ac:chgData name="Appala Srujana" userId="a897cc35-aedc-4025-bce6-6175c0177033" providerId="ADAL" clId="{F249931F-CF49-4405-BC21-8182E27291FD}" dt="2025-10-23T05:18:42.067" v="2817"/>
          <ac:spMkLst>
            <pc:docMk/>
            <pc:sldMk cId="2833416506" sldId="258"/>
            <ac:spMk id="300" creationId="{1C9B9916-1BB1-BB51-828F-94A8D8024A9D}"/>
          </ac:spMkLst>
        </pc:spChg>
        <pc:spChg chg="mod">
          <ac:chgData name="Appala Srujana" userId="a897cc35-aedc-4025-bce6-6175c0177033" providerId="ADAL" clId="{F249931F-CF49-4405-BC21-8182E27291FD}" dt="2025-10-23T05:18:42.067" v="2829"/>
          <ac:spMkLst>
            <pc:docMk/>
            <pc:sldMk cId="2833416506" sldId="258"/>
            <ac:spMk id="301" creationId="{325F034C-4E72-7BFA-19BC-8BCF5F71F79C}"/>
          </ac:spMkLst>
        </pc:spChg>
        <pc:spChg chg="mod">
          <ac:chgData name="Appala Srujana" userId="a897cc35-aedc-4025-bce6-6175c0177033" providerId="ADAL" clId="{F249931F-CF49-4405-BC21-8182E27291FD}" dt="2025-10-23T05:18:42.084" v="2841"/>
          <ac:spMkLst>
            <pc:docMk/>
            <pc:sldMk cId="2833416506" sldId="258"/>
            <ac:spMk id="302" creationId="{96A9ED71-3E20-997A-C411-7D716F9BC653}"/>
          </ac:spMkLst>
        </pc:spChg>
        <pc:spChg chg="mod">
          <ac:chgData name="Appala Srujana" userId="a897cc35-aedc-4025-bce6-6175c0177033" providerId="ADAL" clId="{F249931F-CF49-4405-BC21-8182E27291FD}" dt="2025-10-23T05:18:42.100" v="2901"/>
          <ac:spMkLst>
            <pc:docMk/>
            <pc:sldMk cId="2833416506" sldId="258"/>
            <ac:spMk id="303" creationId="{2F4EB216-C86E-7509-B4A5-762C3A543D94}"/>
          </ac:spMkLst>
        </pc:spChg>
        <pc:spChg chg="mod">
          <ac:chgData name="Appala Srujana" userId="a897cc35-aedc-4025-bce6-6175c0177033" providerId="ADAL" clId="{F249931F-CF49-4405-BC21-8182E27291FD}" dt="2025-10-23T05:18:42.088" v="2853"/>
          <ac:spMkLst>
            <pc:docMk/>
            <pc:sldMk cId="2833416506" sldId="258"/>
            <ac:spMk id="304" creationId="{A539D43C-425B-62A9-0354-8F3BC6F30E64}"/>
          </ac:spMkLst>
        </pc:spChg>
        <pc:spChg chg="mod">
          <ac:chgData name="Appala Srujana" userId="a897cc35-aedc-4025-bce6-6175c0177033" providerId="ADAL" clId="{F249931F-CF49-4405-BC21-8182E27291FD}" dt="2025-10-23T05:18:42.092" v="2865"/>
          <ac:spMkLst>
            <pc:docMk/>
            <pc:sldMk cId="2833416506" sldId="258"/>
            <ac:spMk id="305" creationId="{AE7EB7E0-9FEC-435E-A144-11ABE9C547FE}"/>
          </ac:spMkLst>
        </pc:spChg>
        <pc:spChg chg="mod">
          <ac:chgData name="Appala Srujana" userId="a897cc35-aedc-4025-bce6-6175c0177033" providerId="ADAL" clId="{F249931F-CF49-4405-BC21-8182E27291FD}" dt="2025-10-23T05:18:42.097" v="2877"/>
          <ac:spMkLst>
            <pc:docMk/>
            <pc:sldMk cId="2833416506" sldId="258"/>
            <ac:spMk id="306" creationId="{B6A060FF-863E-6937-6C8C-3A7DC6DAEACB}"/>
          </ac:spMkLst>
        </pc:spChg>
        <pc:spChg chg="mod">
          <ac:chgData name="Appala Srujana" userId="a897cc35-aedc-4025-bce6-6175c0177033" providerId="ADAL" clId="{F249931F-CF49-4405-BC21-8182E27291FD}" dt="2025-10-23T05:18:42.100" v="2889"/>
          <ac:spMkLst>
            <pc:docMk/>
            <pc:sldMk cId="2833416506" sldId="258"/>
            <ac:spMk id="307" creationId="{3B7DBAAC-107F-FAC0-4D1A-DC7ADEC91B89}"/>
          </ac:spMkLst>
        </pc:spChg>
        <pc:spChg chg="mod ord">
          <ac:chgData name="Appala Srujana" userId="a897cc35-aedc-4025-bce6-6175c0177033" providerId="ADAL" clId="{F249931F-CF49-4405-BC21-8182E27291FD}" dt="2025-10-23T05:18:42.051" v="2756"/>
          <ac:spMkLst>
            <pc:docMk/>
            <pc:sldMk cId="2833416506" sldId="258"/>
            <ac:spMk id="308" creationId="{E9E66241-63F8-B948-E403-DED17436B6E8}"/>
          </ac:spMkLst>
        </pc:spChg>
        <pc:spChg chg="mod">
          <ac:chgData name="Appala Srujana" userId="a897cc35-aedc-4025-bce6-6175c0177033" providerId="ADAL" clId="{F249931F-CF49-4405-BC21-8182E27291FD}" dt="2025-10-23T05:18:42.034" v="2689"/>
          <ac:spMkLst>
            <pc:docMk/>
            <pc:sldMk cId="2833416506" sldId="258"/>
            <ac:spMk id="313" creationId="{C272E191-4F9A-9883-D995-B08931DEDD96}"/>
          </ac:spMkLst>
        </pc:spChg>
        <pc:spChg chg="mod ord">
          <ac:chgData name="Appala Srujana" userId="a897cc35-aedc-4025-bce6-6175c0177033" providerId="ADAL" clId="{F249931F-CF49-4405-BC21-8182E27291FD}" dt="2025-10-23T05:18:42.019" v="2654"/>
          <ac:spMkLst>
            <pc:docMk/>
            <pc:sldMk cId="2833416506" sldId="258"/>
            <ac:spMk id="316" creationId="{6F7D548A-E324-475C-FC3E-3769E3913580}"/>
          </ac:spMkLst>
        </pc:spChg>
        <pc:spChg chg="mod">
          <ac:chgData name="Appala Srujana" userId="a897cc35-aedc-4025-bce6-6175c0177033" providerId="ADAL" clId="{F249931F-CF49-4405-BC21-8182E27291FD}" dt="2025-10-23T05:18:42.019" v="2666"/>
          <ac:spMkLst>
            <pc:docMk/>
            <pc:sldMk cId="2833416506" sldId="258"/>
            <ac:spMk id="317" creationId="{8FB4E5B5-3EDD-4489-FED9-72AA37E4572C}"/>
          </ac:spMkLst>
        </pc:spChg>
        <pc:spChg chg="mod">
          <ac:chgData name="Appala Srujana" userId="a897cc35-aedc-4025-bce6-6175c0177033" providerId="ADAL" clId="{F249931F-CF49-4405-BC21-8182E27291FD}" dt="2025-10-23T05:18:42.019" v="2678"/>
          <ac:spMkLst>
            <pc:docMk/>
            <pc:sldMk cId="2833416506" sldId="258"/>
            <ac:spMk id="318" creationId="{BB5C4E7E-406E-D5D6-AECF-895C9E4ACBA6}"/>
          </ac:spMkLst>
        </pc:spChg>
        <pc:spChg chg="mod">
          <ac:chgData name="Appala Srujana" userId="a897cc35-aedc-4025-bce6-6175c0177033" providerId="ADAL" clId="{F249931F-CF49-4405-BC21-8182E27291FD}" dt="2025-10-23T05:18:42.037" v="2700"/>
          <ac:spMkLst>
            <pc:docMk/>
            <pc:sldMk cId="2833416506" sldId="258"/>
            <ac:spMk id="319" creationId="{84DEB0E1-022C-FA77-5B91-2BDF6833EAAE}"/>
          </ac:spMkLst>
        </pc:spChg>
        <pc:spChg chg="mod">
          <ac:chgData name="Appala Srujana" userId="a897cc35-aedc-4025-bce6-6175c0177033" providerId="ADAL" clId="{F249931F-CF49-4405-BC21-8182E27291FD}" dt="2025-10-23T05:18:42.039" v="2714"/>
          <ac:spMkLst>
            <pc:docMk/>
            <pc:sldMk cId="2833416506" sldId="258"/>
            <ac:spMk id="322" creationId="{4797CF81-F3FB-418A-75B9-B7D36636E021}"/>
          </ac:spMkLst>
        </pc:spChg>
        <pc:spChg chg="mod">
          <ac:chgData name="Appala Srujana" userId="a897cc35-aedc-4025-bce6-6175c0177033" providerId="ADAL" clId="{F249931F-CF49-4405-BC21-8182E27291FD}" dt="2025-10-23T05:18:42.039" v="2726"/>
          <ac:spMkLst>
            <pc:docMk/>
            <pc:sldMk cId="2833416506" sldId="258"/>
            <ac:spMk id="324" creationId="{0D3DA400-7642-0FF2-F6DA-19858D7F60BD}"/>
          </ac:spMkLst>
        </pc:spChg>
        <pc:spChg chg="mod">
          <ac:chgData name="Appala Srujana" userId="a897cc35-aedc-4025-bce6-6175c0177033" providerId="ADAL" clId="{F249931F-CF49-4405-BC21-8182E27291FD}" dt="2025-10-23T05:18:42.051" v="2738"/>
          <ac:spMkLst>
            <pc:docMk/>
            <pc:sldMk cId="2833416506" sldId="258"/>
            <ac:spMk id="325" creationId="{C1E00ED3-CDB7-10CC-3EA4-7B4E3D8B49A3}"/>
          </ac:spMkLst>
        </pc:spChg>
        <pc:spChg chg="mod">
          <ac:chgData name="Appala Srujana" userId="a897cc35-aedc-4025-bce6-6175c0177033" providerId="ADAL" clId="{F249931F-CF49-4405-BC21-8182E27291FD}" dt="2025-10-23T05:18:42.051" v="2770"/>
          <ac:spMkLst>
            <pc:docMk/>
            <pc:sldMk cId="2833416506" sldId="258"/>
            <ac:spMk id="327" creationId="{EC6FE7A9-6241-1725-3871-C71EF3B53F90}"/>
          </ac:spMkLst>
        </pc:spChg>
        <pc:spChg chg="mod">
          <ac:chgData name="Appala Srujana" userId="a897cc35-aedc-4025-bce6-6175c0177033" providerId="ADAL" clId="{F249931F-CF49-4405-BC21-8182E27291FD}" dt="2025-10-23T05:18:42.051" v="2782"/>
          <ac:spMkLst>
            <pc:docMk/>
            <pc:sldMk cId="2833416506" sldId="258"/>
            <ac:spMk id="328" creationId="{6DA625CF-F812-F311-4A00-461F3228BDF1}"/>
          </ac:spMkLst>
        </pc:spChg>
        <pc:spChg chg="mod">
          <ac:chgData name="Appala Srujana" userId="a897cc35-aedc-4025-bce6-6175c0177033" providerId="ADAL" clId="{F249931F-CF49-4405-BC21-8182E27291FD}" dt="2025-10-23T05:18:42.067" v="2794"/>
          <ac:spMkLst>
            <pc:docMk/>
            <pc:sldMk cId="2833416506" sldId="258"/>
            <ac:spMk id="329" creationId="{F89DE831-9978-E6D4-2AEE-FFF19AF4F0DD}"/>
          </ac:spMkLst>
        </pc:spChg>
        <pc:spChg chg="mod">
          <ac:chgData name="Appala Srujana" userId="a897cc35-aedc-4025-bce6-6175c0177033" providerId="ADAL" clId="{F249931F-CF49-4405-BC21-8182E27291FD}" dt="2025-10-23T05:18:42.067" v="2806"/>
          <ac:spMkLst>
            <pc:docMk/>
            <pc:sldMk cId="2833416506" sldId="258"/>
            <ac:spMk id="330" creationId="{BBFE2281-7642-8AE1-A1AE-009CA0C51CF0}"/>
          </ac:spMkLst>
        </pc:spChg>
        <pc:spChg chg="mod">
          <ac:chgData name="Appala Srujana" userId="a897cc35-aedc-4025-bce6-6175c0177033" providerId="ADAL" clId="{F249931F-CF49-4405-BC21-8182E27291FD}" dt="2025-10-23T05:18:42.067" v="2818"/>
          <ac:spMkLst>
            <pc:docMk/>
            <pc:sldMk cId="2833416506" sldId="258"/>
            <ac:spMk id="331" creationId="{71202098-D487-2FBE-6004-8ACF77598093}"/>
          </ac:spMkLst>
        </pc:spChg>
        <pc:spChg chg="mod">
          <ac:chgData name="Appala Srujana" userId="a897cc35-aedc-4025-bce6-6175c0177033" providerId="ADAL" clId="{F249931F-CF49-4405-BC21-8182E27291FD}" dt="2025-10-23T05:18:42.067" v="2830"/>
          <ac:spMkLst>
            <pc:docMk/>
            <pc:sldMk cId="2833416506" sldId="258"/>
            <ac:spMk id="332" creationId="{1D2D37B7-173E-4088-B83C-411B90444CF1}"/>
          </ac:spMkLst>
        </pc:spChg>
        <pc:spChg chg="mod">
          <ac:chgData name="Appala Srujana" userId="a897cc35-aedc-4025-bce6-6175c0177033" providerId="ADAL" clId="{F249931F-CF49-4405-BC21-8182E27291FD}" dt="2025-10-23T05:18:42.084" v="2842"/>
          <ac:spMkLst>
            <pc:docMk/>
            <pc:sldMk cId="2833416506" sldId="258"/>
            <ac:spMk id="333" creationId="{90B0B566-3996-226B-1CFA-052B244A6679}"/>
          </ac:spMkLst>
        </pc:spChg>
        <pc:spChg chg="mod">
          <ac:chgData name="Appala Srujana" userId="a897cc35-aedc-4025-bce6-6175c0177033" providerId="ADAL" clId="{F249931F-CF49-4405-BC21-8182E27291FD}" dt="2025-10-23T05:18:42.100" v="2902"/>
          <ac:spMkLst>
            <pc:docMk/>
            <pc:sldMk cId="2833416506" sldId="258"/>
            <ac:spMk id="334" creationId="{866348E7-96ED-9C0A-E583-669114D90F24}"/>
          </ac:spMkLst>
        </pc:spChg>
        <pc:spChg chg="mod">
          <ac:chgData name="Appala Srujana" userId="a897cc35-aedc-4025-bce6-6175c0177033" providerId="ADAL" clId="{F249931F-CF49-4405-BC21-8182E27291FD}" dt="2025-10-23T05:18:42.088" v="2854"/>
          <ac:spMkLst>
            <pc:docMk/>
            <pc:sldMk cId="2833416506" sldId="258"/>
            <ac:spMk id="335" creationId="{00D959CB-31B6-66C4-3DE1-343B18ABAD4E}"/>
          </ac:spMkLst>
        </pc:spChg>
        <pc:spChg chg="mod">
          <ac:chgData name="Appala Srujana" userId="a897cc35-aedc-4025-bce6-6175c0177033" providerId="ADAL" clId="{F249931F-CF49-4405-BC21-8182E27291FD}" dt="2025-10-23T05:18:42.093" v="2866"/>
          <ac:spMkLst>
            <pc:docMk/>
            <pc:sldMk cId="2833416506" sldId="258"/>
            <ac:spMk id="336" creationId="{1B7AE0A2-9F1A-5480-2C4D-A1135DB7DF58}"/>
          </ac:spMkLst>
        </pc:spChg>
        <pc:spChg chg="mod">
          <ac:chgData name="Appala Srujana" userId="a897cc35-aedc-4025-bce6-6175c0177033" providerId="ADAL" clId="{F249931F-CF49-4405-BC21-8182E27291FD}" dt="2025-10-23T05:18:42.097" v="2878"/>
          <ac:spMkLst>
            <pc:docMk/>
            <pc:sldMk cId="2833416506" sldId="258"/>
            <ac:spMk id="337" creationId="{F2D94194-B91D-27B8-9401-E77F9372E91E}"/>
          </ac:spMkLst>
        </pc:spChg>
        <pc:spChg chg="mod">
          <ac:chgData name="Appala Srujana" userId="a897cc35-aedc-4025-bce6-6175c0177033" providerId="ADAL" clId="{F249931F-CF49-4405-BC21-8182E27291FD}" dt="2025-10-23T05:18:42.100" v="2890"/>
          <ac:spMkLst>
            <pc:docMk/>
            <pc:sldMk cId="2833416506" sldId="258"/>
            <ac:spMk id="338" creationId="{5F1A3D92-2F77-4F11-680C-787E520DC0F0}"/>
          </ac:spMkLst>
        </pc:spChg>
        <pc:spChg chg="mod ord">
          <ac:chgData name="Appala Srujana" userId="a897cc35-aedc-4025-bce6-6175c0177033" providerId="ADAL" clId="{F249931F-CF49-4405-BC21-8182E27291FD}" dt="2025-10-23T05:18:42.051" v="2758"/>
          <ac:spMkLst>
            <pc:docMk/>
            <pc:sldMk cId="2833416506" sldId="258"/>
            <ac:spMk id="339" creationId="{9E7D64C8-AE41-A80A-138D-DEA113A5FF3C}"/>
          </ac:spMkLst>
        </pc:spChg>
        <pc:spChg chg="mod">
          <ac:chgData name="Appala Srujana" userId="a897cc35-aedc-4025-bce6-6175c0177033" providerId="ADAL" clId="{F249931F-CF49-4405-BC21-8182E27291FD}" dt="2025-10-23T05:18:42.034" v="2690"/>
          <ac:spMkLst>
            <pc:docMk/>
            <pc:sldMk cId="2833416506" sldId="258"/>
            <ac:spMk id="344" creationId="{F047A4AC-DA18-5494-9A7A-BF15023B9E8A}"/>
          </ac:spMkLst>
        </pc:spChg>
        <pc:spChg chg="mod ord">
          <ac:chgData name="Appala Srujana" userId="a897cc35-aedc-4025-bce6-6175c0177033" providerId="ADAL" clId="{F249931F-CF49-4405-BC21-8182E27291FD}" dt="2025-10-23T05:18:42" v="2590"/>
          <ac:spMkLst>
            <pc:docMk/>
            <pc:sldMk cId="2833416506" sldId="258"/>
            <ac:spMk id="477" creationId="{25389694-2F94-60A2-7892-7D3E1FD3086F}"/>
          </ac:spMkLst>
        </pc:spChg>
        <pc:spChg chg="mod ord">
          <ac:chgData name="Appala Srujana" userId="a897cc35-aedc-4025-bce6-6175c0177033" providerId="ADAL" clId="{F249931F-CF49-4405-BC21-8182E27291FD}" dt="2025-10-23T05:18:41.987" v="2572"/>
          <ac:spMkLst>
            <pc:docMk/>
            <pc:sldMk cId="2833416506" sldId="258"/>
            <ac:spMk id="478" creationId="{043122C0-9B20-1C02-0F82-116969B0D0F6}"/>
          </ac:spMkLst>
        </pc:spChg>
        <pc:spChg chg="mod ord">
          <ac:chgData name="Appala Srujana" userId="a897cc35-aedc-4025-bce6-6175c0177033" providerId="ADAL" clId="{F249931F-CF49-4405-BC21-8182E27291FD}" dt="2025-10-23T05:18:42.100" v="2904"/>
          <ac:spMkLst>
            <pc:docMk/>
            <pc:sldMk cId="2833416506" sldId="258"/>
            <ac:spMk id="482" creationId="{894C7AE5-5EDB-05CA-642A-417009848A7F}"/>
          </ac:spMkLst>
        </pc:spChg>
        <pc:spChg chg="mod ord">
          <ac:chgData name="Appala Srujana" userId="a897cc35-aedc-4025-bce6-6175c0177033" providerId="ADAL" clId="{F249931F-CF49-4405-BC21-8182E27291FD}" dt="2025-10-23T05:18:42.100" v="2906"/>
          <ac:spMkLst>
            <pc:docMk/>
            <pc:sldMk cId="2833416506" sldId="258"/>
            <ac:spMk id="483" creationId="{3F03F926-1BFF-7F7B-F766-E4D44E8C2B45}"/>
          </ac:spMkLst>
        </pc:spChg>
        <pc:spChg chg="mod">
          <ac:chgData name="Appala Srujana" userId="a897cc35-aedc-4025-bce6-6175c0177033" providerId="ADAL" clId="{F249931F-CF49-4405-BC21-8182E27291FD}" dt="2025-10-23T05:18:42.100" v="2907"/>
          <ac:spMkLst>
            <pc:docMk/>
            <pc:sldMk cId="2833416506" sldId="258"/>
            <ac:spMk id="484" creationId="{9FCAD0EC-1656-43E6-D070-E664FA90A988}"/>
          </ac:spMkLst>
        </pc:spChg>
        <pc:spChg chg="mod">
          <ac:chgData name="Appala Srujana" userId="a897cc35-aedc-4025-bce6-6175c0177033" providerId="ADAL" clId="{F249931F-CF49-4405-BC21-8182E27291FD}" dt="2025-10-23T05:18:42.100" v="2908"/>
          <ac:spMkLst>
            <pc:docMk/>
            <pc:sldMk cId="2833416506" sldId="258"/>
            <ac:spMk id="485" creationId="{9E94FFF2-88AE-FE6B-63CF-5AAA42EC6DB3}"/>
          </ac:spMkLst>
        </pc:spChg>
        <pc:spChg chg="mod">
          <ac:chgData name="Appala Srujana" userId="a897cc35-aedc-4025-bce6-6175c0177033" providerId="ADAL" clId="{F249931F-CF49-4405-BC21-8182E27291FD}" dt="2025-10-23T05:18:42.100" v="2909"/>
          <ac:spMkLst>
            <pc:docMk/>
            <pc:sldMk cId="2833416506" sldId="258"/>
            <ac:spMk id="486" creationId="{606C26C8-84A6-25DA-4C88-D750D27E5540}"/>
          </ac:spMkLst>
        </pc:spChg>
        <pc:spChg chg="mod">
          <ac:chgData name="Appala Srujana" userId="a897cc35-aedc-4025-bce6-6175c0177033" providerId="ADAL" clId="{F249931F-CF49-4405-BC21-8182E27291FD}" dt="2025-10-23T05:18:42.100" v="2910"/>
          <ac:spMkLst>
            <pc:docMk/>
            <pc:sldMk cId="2833416506" sldId="258"/>
            <ac:spMk id="487" creationId="{BCF43605-EADE-EEF9-DF45-D9BA7B5A4896}"/>
          </ac:spMkLst>
        </pc:spChg>
        <pc:spChg chg="mod">
          <ac:chgData name="Appala Srujana" userId="a897cc35-aedc-4025-bce6-6175c0177033" providerId="ADAL" clId="{F249931F-CF49-4405-BC21-8182E27291FD}" dt="2025-10-23T05:18:42.100" v="2911"/>
          <ac:spMkLst>
            <pc:docMk/>
            <pc:sldMk cId="2833416506" sldId="258"/>
            <ac:spMk id="488" creationId="{84541565-4440-92A6-6C09-D72CD320AA2D}"/>
          </ac:spMkLst>
        </pc:spChg>
        <pc:spChg chg="mod">
          <ac:chgData name="Appala Srujana" userId="a897cc35-aedc-4025-bce6-6175c0177033" providerId="ADAL" clId="{F249931F-CF49-4405-BC21-8182E27291FD}" dt="2025-10-23T05:18:42.100" v="2912"/>
          <ac:spMkLst>
            <pc:docMk/>
            <pc:sldMk cId="2833416506" sldId="258"/>
            <ac:spMk id="489" creationId="{DA870E7C-7B04-88E6-E610-1F23D1D39253}"/>
          </ac:spMkLst>
        </pc:spChg>
        <pc:spChg chg="mod">
          <ac:chgData name="Appala Srujana" userId="a897cc35-aedc-4025-bce6-6175c0177033" providerId="ADAL" clId="{F249931F-CF49-4405-BC21-8182E27291FD}" dt="2025-10-23T05:18:42.100" v="2913"/>
          <ac:spMkLst>
            <pc:docMk/>
            <pc:sldMk cId="2833416506" sldId="258"/>
            <ac:spMk id="490" creationId="{F198AF1A-B22C-5EB0-8E11-2E33413121E9}"/>
          </ac:spMkLst>
        </pc:spChg>
        <pc:spChg chg="mod">
          <ac:chgData name="Appala Srujana" userId="a897cc35-aedc-4025-bce6-6175c0177033" providerId="ADAL" clId="{F249931F-CF49-4405-BC21-8182E27291FD}" dt="2025-10-23T05:18:42.100" v="2914"/>
          <ac:spMkLst>
            <pc:docMk/>
            <pc:sldMk cId="2833416506" sldId="258"/>
            <ac:spMk id="491" creationId="{B5E5AD67-C076-65F9-AB5E-D3A4F2BC26F4}"/>
          </ac:spMkLst>
        </pc:spChg>
        <pc:spChg chg="mod ord">
          <ac:chgData name="Appala Srujana" userId="a897cc35-aedc-4025-bce6-6175c0177033" providerId="ADAL" clId="{F249931F-CF49-4405-BC21-8182E27291FD}" dt="2025-10-23T05:18:42.100" v="2916"/>
          <ac:spMkLst>
            <pc:docMk/>
            <pc:sldMk cId="2833416506" sldId="258"/>
            <ac:spMk id="496" creationId="{B45FA6F9-83B4-153D-12EC-74047E39F048}"/>
          </ac:spMkLst>
        </pc:spChg>
        <pc:spChg chg="mod">
          <ac:chgData name="Appala Srujana" userId="a897cc35-aedc-4025-bce6-6175c0177033" providerId="ADAL" clId="{F249931F-CF49-4405-BC21-8182E27291FD}" dt="2025-10-23T05:18:41.987" v="2539"/>
          <ac:spMkLst>
            <pc:docMk/>
            <pc:sldMk cId="2833416506" sldId="258"/>
            <ac:spMk id="498" creationId="{C9E6D498-AFD8-3E20-4ECA-510E94A1B6C2}"/>
          </ac:spMkLst>
        </pc:spChg>
        <pc:spChg chg="mod ord">
          <ac:chgData name="Appala Srujana" userId="a897cc35-aedc-4025-bce6-6175c0177033" providerId="ADAL" clId="{F249931F-CF49-4405-BC21-8182E27291FD}" dt="2025-10-23T05:18:41.987" v="2541"/>
          <ac:spMkLst>
            <pc:docMk/>
            <pc:sldMk cId="2833416506" sldId="258"/>
            <ac:spMk id="499" creationId="{50961BC7-6067-E320-16EC-E0453138102B}"/>
          </ac:spMkLst>
        </pc:spChg>
        <pc:spChg chg="mod topLvl">
          <ac:chgData name="Appala Srujana" userId="a897cc35-aedc-4025-bce6-6175c0177033" providerId="ADAL" clId="{F249931F-CF49-4405-BC21-8182E27291FD}" dt="2025-10-23T05:18:41.987" v="2542"/>
          <ac:spMkLst>
            <pc:docMk/>
            <pc:sldMk cId="2833416506" sldId="258"/>
            <ac:spMk id="500" creationId="{80C42363-C93C-4DB3-1A62-AA9290B6D0A9}"/>
          </ac:spMkLst>
        </pc:spChg>
        <pc:spChg chg="mod">
          <ac:chgData name="Appala Srujana" userId="a897cc35-aedc-4025-bce6-6175c0177033" providerId="ADAL" clId="{F249931F-CF49-4405-BC21-8182E27291FD}" dt="2025-10-23T05:18:41.987" v="2543"/>
          <ac:spMkLst>
            <pc:docMk/>
            <pc:sldMk cId="2833416506" sldId="258"/>
            <ac:spMk id="502" creationId="{C2F881C4-6C88-DA01-C2F3-B5F072B147F7}"/>
          </ac:spMkLst>
        </pc:spChg>
        <pc:spChg chg="mod ord">
          <ac:chgData name="Appala Srujana" userId="a897cc35-aedc-4025-bce6-6175c0177033" providerId="ADAL" clId="{F249931F-CF49-4405-BC21-8182E27291FD}" dt="2025-10-23T05:18:41.987" v="2545"/>
          <ac:spMkLst>
            <pc:docMk/>
            <pc:sldMk cId="2833416506" sldId="258"/>
            <ac:spMk id="503" creationId="{D2AFD311-2FEE-26B8-0B0E-9661E231C00D}"/>
          </ac:spMkLst>
        </pc:spChg>
        <pc:spChg chg="mod">
          <ac:chgData name="Appala Srujana" userId="a897cc35-aedc-4025-bce6-6175c0177033" providerId="ADAL" clId="{F249931F-CF49-4405-BC21-8182E27291FD}" dt="2025-10-23T05:18:41.987" v="2546"/>
          <ac:spMkLst>
            <pc:docMk/>
            <pc:sldMk cId="2833416506" sldId="258"/>
            <ac:spMk id="504" creationId="{CC63B3AF-C5A1-C77F-3994-834C5AE96311}"/>
          </ac:spMkLst>
        </pc:spChg>
        <pc:spChg chg="mod topLvl">
          <ac:chgData name="Appala Srujana" userId="a897cc35-aedc-4025-bce6-6175c0177033" providerId="ADAL" clId="{F249931F-CF49-4405-BC21-8182E27291FD}" dt="2025-10-23T05:18:41.987" v="2547"/>
          <ac:spMkLst>
            <pc:docMk/>
            <pc:sldMk cId="2833416506" sldId="258"/>
            <ac:spMk id="518" creationId="{C83B2381-8FBB-5C2F-33A0-E5A4F3D474F1}"/>
          </ac:spMkLst>
        </pc:spChg>
        <pc:spChg chg="mod ord">
          <ac:chgData name="Appala Srujana" userId="a897cc35-aedc-4025-bce6-6175c0177033" providerId="ADAL" clId="{F249931F-CF49-4405-BC21-8182E27291FD}" dt="2025-10-23T05:18:41.987" v="2549"/>
          <ac:spMkLst>
            <pc:docMk/>
            <pc:sldMk cId="2833416506" sldId="258"/>
            <ac:spMk id="519" creationId="{70AF4AA7-4434-BF5A-9FEC-9328FEFF634A}"/>
          </ac:spMkLst>
        </pc:spChg>
        <pc:spChg chg="mod topLvl">
          <ac:chgData name="Appala Srujana" userId="a897cc35-aedc-4025-bce6-6175c0177033" providerId="ADAL" clId="{F249931F-CF49-4405-BC21-8182E27291FD}" dt="2025-10-23T05:18:41.987" v="2550"/>
          <ac:spMkLst>
            <pc:docMk/>
            <pc:sldMk cId="2833416506" sldId="258"/>
            <ac:spMk id="520" creationId="{5DE1A0DB-51F4-C9B4-A672-4D14035A83CC}"/>
          </ac:spMkLst>
        </pc:spChg>
        <pc:spChg chg="mod">
          <ac:chgData name="Appala Srujana" userId="a897cc35-aedc-4025-bce6-6175c0177033" providerId="ADAL" clId="{F249931F-CF49-4405-BC21-8182E27291FD}" dt="2025-10-23T05:18:41.987" v="2551"/>
          <ac:spMkLst>
            <pc:docMk/>
            <pc:sldMk cId="2833416506" sldId="258"/>
            <ac:spMk id="526" creationId="{1AB3E8C8-7761-1715-DAB5-878B07168FAD}"/>
          </ac:spMkLst>
        </pc:spChg>
        <pc:spChg chg="mod ord">
          <ac:chgData name="Appala Srujana" userId="a897cc35-aedc-4025-bce6-6175c0177033" providerId="ADAL" clId="{F249931F-CF49-4405-BC21-8182E27291FD}" dt="2025-10-23T05:18:41.987" v="2553"/>
          <ac:spMkLst>
            <pc:docMk/>
            <pc:sldMk cId="2833416506" sldId="258"/>
            <ac:spMk id="527" creationId="{11F7866E-758A-3145-5C48-D1D16B20777B}"/>
          </ac:spMkLst>
        </pc:spChg>
        <pc:spChg chg="mod topLvl">
          <ac:chgData name="Appala Srujana" userId="a897cc35-aedc-4025-bce6-6175c0177033" providerId="ADAL" clId="{F249931F-CF49-4405-BC21-8182E27291FD}" dt="2025-10-23T05:18:41.987" v="2554"/>
          <ac:spMkLst>
            <pc:docMk/>
            <pc:sldMk cId="2833416506" sldId="258"/>
            <ac:spMk id="528" creationId="{064C3A49-4526-62DA-77F7-3D82F53B6768}"/>
          </ac:spMkLst>
        </pc:spChg>
        <pc:spChg chg="mod topLvl">
          <ac:chgData name="Appala Srujana" userId="a897cc35-aedc-4025-bce6-6175c0177033" providerId="ADAL" clId="{F249931F-CF49-4405-BC21-8182E27291FD}" dt="2025-10-23T05:18:41.987" v="2555"/>
          <ac:spMkLst>
            <pc:docMk/>
            <pc:sldMk cId="2833416506" sldId="258"/>
            <ac:spMk id="530" creationId="{578C9582-ECB1-CC6D-4202-EDB55E3FF525}"/>
          </ac:spMkLst>
        </pc:spChg>
        <pc:spChg chg="mod ord topLvl">
          <ac:chgData name="Appala Srujana" userId="a897cc35-aedc-4025-bce6-6175c0177033" providerId="ADAL" clId="{F249931F-CF49-4405-BC21-8182E27291FD}" dt="2025-10-23T05:18:41.987" v="2557"/>
          <ac:spMkLst>
            <pc:docMk/>
            <pc:sldMk cId="2833416506" sldId="258"/>
            <ac:spMk id="531" creationId="{62E3A558-8419-1C6C-438B-91B0589499CC}"/>
          </ac:spMkLst>
        </pc:spChg>
        <pc:spChg chg="mod topLvl">
          <ac:chgData name="Appala Srujana" userId="a897cc35-aedc-4025-bce6-6175c0177033" providerId="ADAL" clId="{F249931F-CF49-4405-BC21-8182E27291FD}" dt="2025-10-23T05:18:41.987" v="2558"/>
          <ac:spMkLst>
            <pc:docMk/>
            <pc:sldMk cId="2833416506" sldId="258"/>
            <ac:spMk id="532" creationId="{D78E1D21-21DD-E4B2-FF97-D73D7ABE8334}"/>
          </ac:spMkLst>
        </pc:spChg>
        <pc:spChg chg="mod">
          <ac:chgData name="Appala Srujana" userId="a897cc35-aedc-4025-bce6-6175c0177033" providerId="ADAL" clId="{F249931F-CF49-4405-BC21-8182E27291FD}" dt="2025-10-23T05:18:41.987" v="2559"/>
          <ac:spMkLst>
            <pc:docMk/>
            <pc:sldMk cId="2833416506" sldId="258"/>
            <ac:spMk id="534" creationId="{1F9A3E5F-ACEA-E456-39C0-704336D77FB3}"/>
          </ac:spMkLst>
        </pc:spChg>
        <pc:spChg chg="mod ord topLvl">
          <ac:chgData name="Appala Srujana" userId="a897cc35-aedc-4025-bce6-6175c0177033" providerId="ADAL" clId="{F249931F-CF49-4405-BC21-8182E27291FD}" dt="2025-10-23T05:18:41.987" v="2561"/>
          <ac:spMkLst>
            <pc:docMk/>
            <pc:sldMk cId="2833416506" sldId="258"/>
            <ac:spMk id="535" creationId="{362C23CB-41A6-056B-993B-0A9EDCE1EDA8}"/>
          </ac:spMkLst>
        </pc:spChg>
        <pc:spChg chg="mod">
          <ac:chgData name="Appala Srujana" userId="a897cc35-aedc-4025-bce6-6175c0177033" providerId="ADAL" clId="{F249931F-CF49-4405-BC21-8182E27291FD}" dt="2025-10-23T05:18:41.987" v="2562"/>
          <ac:spMkLst>
            <pc:docMk/>
            <pc:sldMk cId="2833416506" sldId="258"/>
            <ac:spMk id="536" creationId="{6E057437-FD5E-25B5-4F8E-A23CD7ED2C45}"/>
          </ac:spMkLst>
        </pc:spChg>
        <pc:spChg chg="mod topLvl">
          <ac:chgData name="Appala Srujana" userId="a897cc35-aedc-4025-bce6-6175c0177033" providerId="ADAL" clId="{F249931F-CF49-4405-BC21-8182E27291FD}" dt="2025-10-23T05:18:41.987" v="2563"/>
          <ac:spMkLst>
            <pc:docMk/>
            <pc:sldMk cId="2833416506" sldId="258"/>
            <ac:spMk id="538" creationId="{B06D70DC-958A-7193-7ADC-AFB1DF78D35D}"/>
          </ac:spMkLst>
        </pc:spChg>
        <pc:spChg chg="mod ord topLvl">
          <ac:chgData name="Appala Srujana" userId="a897cc35-aedc-4025-bce6-6175c0177033" providerId="ADAL" clId="{F249931F-CF49-4405-BC21-8182E27291FD}" dt="2025-10-23T05:18:41.987" v="2565"/>
          <ac:spMkLst>
            <pc:docMk/>
            <pc:sldMk cId="2833416506" sldId="258"/>
            <ac:spMk id="539" creationId="{D0ABE69E-2739-6807-8C64-7E19E19C9BE4}"/>
          </ac:spMkLst>
        </pc:spChg>
        <pc:spChg chg="mod">
          <ac:chgData name="Appala Srujana" userId="a897cc35-aedc-4025-bce6-6175c0177033" providerId="ADAL" clId="{F249931F-CF49-4405-BC21-8182E27291FD}" dt="2025-10-23T05:18:41.987" v="2566"/>
          <ac:spMkLst>
            <pc:docMk/>
            <pc:sldMk cId="2833416506" sldId="258"/>
            <ac:spMk id="540" creationId="{43517844-AACA-F801-30AB-4411AA1CBB8F}"/>
          </ac:spMkLst>
        </pc:spChg>
        <pc:spChg chg="mod">
          <ac:chgData name="Appala Srujana" userId="a897cc35-aedc-4025-bce6-6175c0177033" providerId="ADAL" clId="{F249931F-CF49-4405-BC21-8182E27291FD}" dt="2025-10-23T05:18:41.987" v="2567"/>
          <ac:spMkLst>
            <pc:docMk/>
            <pc:sldMk cId="2833416506" sldId="258"/>
            <ac:spMk id="542" creationId="{777FA62E-4B38-F63F-6905-D7B71FF9634D}"/>
          </ac:spMkLst>
        </pc:spChg>
        <pc:spChg chg="mod ord">
          <ac:chgData name="Appala Srujana" userId="a897cc35-aedc-4025-bce6-6175c0177033" providerId="ADAL" clId="{F249931F-CF49-4405-BC21-8182E27291FD}" dt="2025-10-23T05:18:41.987" v="2569"/>
          <ac:spMkLst>
            <pc:docMk/>
            <pc:sldMk cId="2833416506" sldId="258"/>
            <ac:spMk id="543" creationId="{AB177716-8A83-6340-4481-13A2F23448A0}"/>
          </ac:spMkLst>
        </pc:spChg>
        <pc:spChg chg="mod">
          <ac:chgData name="Appala Srujana" userId="a897cc35-aedc-4025-bce6-6175c0177033" providerId="ADAL" clId="{F249931F-CF49-4405-BC21-8182E27291FD}" dt="2025-10-23T05:18:41.987" v="2570"/>
          <ac:spMkLst>
            <pc:docMk/>
            <pc:sldMk cId="2833416506" sldId="258"/>
            <ac:spMk id="544" creationId="{1FA82473-9315-9CBA-C47F-32536546F54D}"/>
          </ac:spMkLst>
        </pc:spChg>
        <pc:spChg chg="mod ord">
          <ac:chgData name="Appala Srujana" userId="a897cc35-aedc-4025-bce6-6175c0177033" providerId="ADAL" clId="{F249931F-CF49-4405-BC21-8182E27291FD}" dt="2025-10-23T05:18:42" v="2574"/>
          <ac:spMkLst>
            <pc:docMk/>
            <pc:sldMk cId="2833416506" sldId="258"/>
            <ac:spMk id="576" creationId="{7FB57407-A74B-FC56-12C8-16C95BCE310D}"/>
          </ac:spMkLst>
        </pc:spChg>
        <pc:spChg chg="mod ord">
          <ac:chgData name="Appala Srujana" userId="a897cc35-aedc-4025-bce6-6175c0177033" providerId="ADAL" clId="{F249931F-CF49-4405-BC21-8182E27291FD}" dt="2025-10-23T05:18:42" v="2576"/>
          <ac:spMkLst>
            <pc:docMk/>
            <pc:sldMk cId="2833416506" sldId="258"/>
            <ac:spMk id="577" creationId="{4D2EAADD-C564-F658-3406-82D084B9E8C3}"/>
          </ac:spMkLst>
        </pc:spChg>
        <pc:spChg chg="mod ord">
          <ac:chgData name="Appala Srujana" userId="a897cc35-aedc-4025-bce6-6175c0177033" providerId="ADAL" clId="{F249931F-CF49-4405-BC21-8182E27291FD}" dt="2025-10-23T05:18:42" v="2578"/>
          <ac:spMkLst>
            <pc:docMk/>
            <pc:sldMk cId="2833416506" sldId="258"/>
            <ac:spMk id="579" creationId="{0B7AA7BC-AC93-FC1E-9F1E-38248FCFA08D}"/>
          </ac:spMkLst>
        </pc:spChg>
        <pc:spChg chg="mod ord">
          <ac:chgData name="Appala Srujana" userId="a897cc35-aedc-4025-bce6-6175c0177033" providerId="ADAL" clId="{F249931F-CF49-4405-BC21-8182E27291FD}" dt="2025-10-23T05:18:42" v="2580"/>
          <ac:spMkLst>
            <pc:docMk/>
            <pc:sldMk cId="2833416506" sldId="258"/>
            <ac:spMk id="580" creationId="{55E1BA97-9371-AE26-A091-30D3C772A948}"/>
          </ac:spMkLst>
        </pc:spChg>
        <pc:spChg chg="mod ord">
          <ac:chgData name="Appala Srujana" userId="a897cc35-aedc-4025-bce6-6175c0177033" providerId="ADAL" clId="{F249931F-CF49-4405-BC21-8182E27291FD}" dt="2025-10-23T05:18:42" v="2582"/>
          <ac:spMkLst>
            <pc:docMk/>
            <pc:sldMk cId="2833416506" sldId="258"/>
            <ac:spMk id="582" creationId="{CE6C5739-6F00-AB7D-25A1-BDA800E32C48}"/>
          </ac:spMkLst>
        </pc:spChg>
        <pc:spChg chg="mod ord">
          <ac:chgData name="Appala Srujana" userId="a897cc35-aedc-4025-bce6-6175c0177033" providerId="ADAL" clId="{F249931F-CF49-4405-BC21-8182E27291FD}" dt="2025-10-23T05:18:42" v="2584"/>
          <ac:spMkLst>
            <pc:docMk/>
            <pc:sldMk cId="2833416506" sldId="258"/>
            <ac:spMk id="583" creationId="{494AEE5A-51A3-7BC4-93FA-E9A098EA17B5}"/>
          </ac:spMkLst>
        </pc:spChg>
        <pc:spChg chg="mod ord">
          <ac:chgData name="Appala Srujana" userId="a897cc35-aedc-4025-bce6-6175c0177033" providerId="ADAL" clId="{F249931F-CF49-4405-BC21-8182E27291FD}" dt="2025-10-23T05:18:42" v="2586"/>
          <ac:spMkLst>
            <pc:docMk/>
            <pc:sldMk cId="2833416506" sldId="258"/>
            <ac:spMk id="585" creationId="{8044CFAC-B388-EB18-0A58-549A6A02FE35}"/>
          </ac:spMkLst>
        </pc:spChg>
        <pc:spChg chg="mod ord">
          <ac:chgData name="Appala Srujana" userId="a897cc35-aedc-4025-bce6-6175c0177033" providerId="ADAL" clId="{F249931F-CF49-4405-BC21-8182E27291FD}" dt="2025-10-23T05:18:42" v="2588"/>
          <ac:spMkLst>
            <pc:docMk/>
            <pc:sldMk cId="2833416506" sldId="258"/>
            <ac:spMk id="586" creationId="{C3814031-5CDC-F235-E87E-F2B48F1EA10D}"/>
          </ac:spMkLst>
        </pc:spChg>
        <pc:spChg chg="mod ord">
          <ac:chgData name="Appala Srujana" userId="a897cc35-aedc-4025-bce6-6175c0177033" providerId="ADAL" clId="{F249931F-CF49-4405-BC21-8182E27291FD}" dt="2025-10-23T05:18:42.100" v="2918"/>
          <ac:spMkLst>
            <pc:docMk/>
            <pc:sldMk cId="2833416506" sldId="258"/>
            <ac:spMk id="590" creationId="{C9D18CD3-8AB3-3807-EFA3-DD3783BE95C8}"/>
          </ac:spMkLst>
        </pc:spChg>
        <pc:spChg chg="mod ord">
          <ac:chgData name="Appala Srujana" userId="a897cc35-aedc-4025-bce6-6175c0177033" providerId="ADAL" clId="{F249931F-CF49-4405-BC21-8182E27291FD}" dt="2025-10-23T05:18:42.100" v="2920"/>
          <ac:spMkLst>
            <pc:docMk/>
            <pc:sldMk cId="2833416506" sldId="258"/>
            <ac:spMk id="591" creationId="{D4614210-9BB2-FB26-DCDB-44FB4D1FEBED}"/>
          </ac:spMkLst>
        </pc:spChg>
        <pc:spChg chg="mod">
          <ac:chgData name="Appala Srujana" userId="a897cc35-aedc-4025-bce6-6175c0177033" providerId="ADAL" clId="{F249931F-CF49-4405-BC21-8182E27291FD}" dt="2025-10-23T05:18:42.100" v="2921"/>
          <ac:spMkLst>
            <pc:docMk/>
            <pc:sldMk cId="2833416506" sldId="258"/>
            <ac:spMk id="592" creationId="{8330DB5F-B918-DD7A-2662-75514BC0AFA7}"/>
          </ac:spMkLst>
        </pc:spChg>
        <pc:spChg chg="mod topLvl">
          <ac:chgData name="Appala Srujana" userId="a897cc35-aedc-4025-bce6-6175c0177033" providerId="ADAL" clId="{F249931F-CF49-4405-BC21-8182E27291FD}" dt="2025-10-23T05:18:54.774" v="2974" actId="165"/>
          <ac:spMkLst>
            <pc:docMk/>
            <pc:sldMk cId="2833416506" sldId="258"/>
            <ac:spMk id="593" creationId="{7556F2BE-31A4-1A88-1E1B-108AA5B952B6}"/>
          </ac:spMkLst>
        </pc:spChg>
        <pc:spChg chg="mod">
          <ac:chgData name="Appala Srujana" userId="a897cc35-aedc-4025-bce6-6175c0177033" providerId="ADAL" clId="{F249931F-CF49-4405-BC21-8182E27291FD}" dt="2025-10-23T05:18:42.100" v="2923"/>
          <ac:spMkLst>
            <pc:docMk/>
            <pc:sldMk cId="2833416506" sldId="258"/>
            <ac:spMk id="594" creationId="{7926E5FA-5D6E-206E-4E1E-CAB68BDDE1E7}"/>
          </ac:spMkLst>
        </pc:spChg>
        <pc:spChg chg="mod">
          <ac:chgData name="Appala Srujana" userId="a897cc35-aedc-4025-bce6-6175c0177033" providerId="ADAL" clId="{F249931F-CF49-4405-BC21-8182E27291FD}" dt="2025-10-23T05:18:42.100" v="2924"/>
          <ac:spMkLst>
            <pc:docMk/>
            <pc:sldMk cId="2833416506" sldId="258"/>
            <ac:spMk id="595" creationId="{0606FAF4-D216-E119-A235-E41954C42422}"/>
          </ac:spMkLst>
        </pc:spChg>
        <pc:spChg chg="mod">
          <ac:chgData name="Appala Srujana" userId="a897cc35-aedc-4025-bce6-6175c0177033" providerId="ADAL" clId="{F249931F-CF49-4405-BC21-8182E27291FD}" dt="2025-10-23T05:18:42.100" v="2925"/>
          <ac:spMkLst>
            <pc:docMk/>
            <pc:sldMk cId="2833416506" sldId="258"/>
            <ac:spMk id="596" creationId="{C8EB24E7-A3D5-2080-6E93-9C74E0E9FAE4}"/>
          </ac:spMkLst>
        </pc:spChg>
        <pc:spChg chg="mod">
          <ac:chgData name="Appala Srujana" userId="a897cc35-aedc-4025-bce6-6175c0177033" providerId="ADAL" clId="{F249931F-CF49-4405-BC21-8182E27291FD}" dt="2025-10-23T05:18:42.100" v="2926"/>
          <ac:spMkLst>
            <pc:docMk/>
            <pc:sldMk cId="2833416506" sldId="258"/>
            <ac:spMk id="597" creationId="{46995741-CABF-0565-A878-40FC0C3426C6}"/>
          </ac:spMkLst>
        </pc:spChg>
        <pc:spChg chg="mod">
          <ac:chgData name="Appala Srujana" userId="a897cc35-aedc-4025-bce6-6175c0177033" providerId="ADAL" clId="{F249931F-CF49-4405-BC21-8182E27291FD}" dt="2025-10-23T05:18:42.114" v="2927"/>
          <ac:spMkLst>
            <pc:docMk/>
            <pc:sldMk cId="2833416506" sldId="258"/>
            <ac:spMk id="598" creationId="{B979C28E-E2C5-29CA-A96D-1C3BF1D408AE}"/>
          </ac:spMkLst>
        </pc:spChg>
        <pc:spChg chg="mod">
          <ac:chgData name="Appala Srujana" userId="a897cc35-aedc-4025-bce6-6175c0177033" providerId="ADAL" clId="{F249931F-CF49-4405-BC21-8182E27291FD}" dt="2025-10-23T05:18:42.114" v="2928"/>
          <ac:spMkLst>
            <pc:docMk/>
            <pc:sldMk cId="2833416506" sldId="258"/>
            <ac:spMk id="599" creationId="{4E202F49-EF67-1BBE-AA77-EA344240A5C6}"/>
          </ac:spMkLst>
        </pc:spChg>
        <pc:spChg chg="mod">
          <ac:chgData name="Appala Srujana" userId="a897cc35-aedc-4025-bce6-6175c0177033" providerId="ADAL" clId="{F249931F-CF49-4405-BC21-8182E27291FD}" dt="2025-10-23T05:18:42.003" v="2598"/>
          <ac:spMkLst>
            <pc:docMk/>
            <pc:sldMk cId="2833416506" sldId="258"/>
            <ac:spMk id="608" creationId="{703FDAEC-18D2-DBB8-06C0-112ACC51B7E9}"/>
          </ac:spMkLst>
        </pc:spChg>
        <pc:spChg chg="mod">
          <ac:chgData name="Appala Srujana" userId="a897cc35-aedc-4025-bce6-6175c0177033" providerId="ADAL" clId="{F249931F-CF49-4405-BC21-8182E27291FD}" dt="2025-10-23T05:18:42.003" v="2599"/>
          <ac:spMkLst>
            <pc:docMk/>
            <pc:sldMk cId="2833416506" sldId="258"/>
            <ac:spMk id="609" creationId="{893B561B-1162-4DAA-DB9C-838180D29B82}"/>
          </ac:spMkLst>
        </pc:spChg>
        <pc:spChg chg="mod">
          <ac:chgData name="Appala Srujana" userId="a897cc35-aedc-4025-bce6-6175c0177033" providerId="ADAL" clId="{F249931F-CF49-4405-BC21-8182E27291FD}" dt="2025-10-23T05:18:42.003" v="2600"/>
          <ac:spMkLst>
            <pc:docMk/>
            <pc:sldMk cId="2833416506" sldId="258"/>
            <ac:spMk id="610" creationId="{CD4D9B78-4722-801B-EDAC-BE39E4557A0A}"/>
          </ac:spMkLst>
        </pc:spChg>
        <pc:spChg chg="mod">
          <ac:chgData name="Appala Srujana" userId="a897cc35-aedc-4025-bce6-6175c0177033" providerId="ADAL" clId="{F249931F-CF49-4405-BC21-8182E27291FD}" dt="2025-10-23T05:18:42.003" v="2601"/>
          <ac:spMkLst>
            <pc:docMk/>
            <pc:sldMk cId="2833416506" sldId="258"/>
            <ac:spMk id="611" creationId="{BB05E19E-BC8D-3BD7-F428-CA4300EE99CF}"/>
          </ac:spMkLst>
        </pc:spChg>
        <pc:spChg chg="mod">
          <ac:chgData name="Appala Srujana" userId="a897cc35-aedc-4025-bce6-6175c0177033" providerId="ADAL" clId="{F249931F-CF49-4405-BC21-8182E27291FD}" dt="2025-10-23T05:18:42.003" v="2602"/>
          <ac:spMkLst>
            <pc:docMk/>
            <pc:sldMk cId="2833416506" sldId="258"/>
            <ac:spMk id="612" creationId="{D7E0CD04-760E-A8C2-5C6F-78AF40F94982}"/>
          </ac:spMkLst>
        </pc:spChg>
        <pc:spChg chg="mod">
          <ac:chgData name="Appala Srujana" userId="a897cc35-aedc-4025-bce6-6175c0177033" providerId="ADAL" clId="{F249931F-CF49-4405-BC21-8182E27291FD}" dt="2025-10-23T05:18:42.003" v="2603"/>
          <ac:spMkLst>
            <pc:docMk/>
            <pc:sldMk cId="2833416506" sldId="258"/>
            <ac:spMk id="613" creationId="{4C9F4F36-034C-C1A6-2796-1B58CADDEBD4}"/>
          </ac:spMkLst>
        </pc:spChg>
        <pc:spChg chg="mod">
          <ac:chgData name="Appala Srujana" userId="a897cc35-aedc-4025-bce6-6175c0177033" providerId="ADAL" clId="{F249931F-CF49-4405-BC21-8182E27291FD}" dt="2025-10-23T05:18:42.003" v="2610"/>
          <ac:spMkLst>
            <pc:docMk/>
            <pc:sldMk cId="2833416506" sldId="258"/>
            <ac:spMk id="632" creationId="{399EE0A6-BFA7-5B77-E326-47593AA8490E}"/>
          </ac:spMkLst>
        </pc:spChg>
        <pc:spChg chg="mod">
          <ac:chgData name="Appala Srujana" userId="a897cc35-aedc-4025-bce6-6175c0177033" providerId="ADAL" clId="{F249931F-CF49-4405-BC21-8182E27291FD}" dt="2025-10-23T05:18:42.003" v="2597"/>
          <ac:spMkLst>
            <pc:docMk/>
            <pc:sldMk cId="2833416506" sldId="258"/>
            <ac:spMk id="652" creationId="{94D76D99-E6B8-CBAA-A165-F1792D65E056}"/>
          </ac:spMkLst>
        </pc:spChg>
        <pc:spChg chg="mod">
          <ac:chgData name="Appala Srujana" userId="a897cc35-aedc-4025-bce6-6175c0177033" providerId="ADAL" clId="{F249931F-CF49-4405-BC21-8182E27291FD}" dt="2025-10-23T05:18:42.003" v="2594"/>
          <ac:spMkLst>
            <pc:docMk/>
            <pc:sldMk cId="2833416506" sldId="258"/>
            <ac:spMk id="654" creationId="{3704EE9B-7382-A62A-CED5-4F7AF81AD8B8}"/>
          </ac:spMkLst>
        </pc:spChg>
        <pc:spChg chg="mod">
          <ac:chgData name="Appala Srujana" userId="a897cc35-aedc-4025-bce6-6175c0177033" providerId="ADAL" clId="{F249931F-CF49-4405-BC21-8182E27291FD}" dt="2025-10-23T05:18:42.003" v="2595"/>
          <ac:spMkLst>
            <pc:docMk/>
            <pc:sldMk cId="2833416506" sldId="258"/>
            <ac:spMk id="655" creationId="{87B37382-FDF5-18E2-B204-AF40375110CD}"/>
          </ac:spMkLst>
        </pc:spChg>
        <pc:spChg chg="mod">
          <ac:chgData name="Appala Srujana" userId="a897cc35-aedc-4025-bce6-6175c0177033" providerId="ADAL" clId="{F249931F-CF49-4405-BC21-8182E27291FD}" dt="2025-10-23T05:18:42.003" v="2596"/>
          <ac:spMkLst>
            <pc:docMk/>
            <pc:sldMk cId="2833416506" sldId="258"/>
            <ac:spMk id="660" creationId="{455B6B92-25DA-B5DE-C671-A3F60BFE69AD}"/>
          </ac:spMkLst>
        </pc:spChg>
        <pc:spChg chg="mod">
          <ac:chgData name="Appala Srujana" userId="a897cc35-aedc-4025-bce6-6175c0177033" providerId="ADAL" clId="{F249931F-CF49-4405-BC21-8182E27291FD}" dt="2025-10-23T05:18:42.003" v="2593"/>
          <ac:spMkLst>
            <pc:docMk/>
            <pc:sldMk cId="2833416506" sldId="258"/>
            <ac:spMk id="672" creationId="{41175000-BF03-0CC2-9475-6B2646FFDBC2}"/>
          </ac:spMkLst>
        </pc:spChg>
        <pc:spChg chg="mod">
          <ac:chgData name="Appala Srujana" userId="a897cc35-aedc-4025-bce6-6175c0177033" providerId="ADAL" clId="{F249931F-CF49-4405-BC21-8182E27291FD}" dt="2025-10-23T05:18:42.003" v="2592"/>
          <ac:spMkLst>
            <pc:docMk/>
            <pc:sldMk cId="2833416506" sldId="258"/>
            <ac:spMk id="686" creationId="{863F8F9D-63BE-50DB-9903-C0176A768654}"/>
          </ac:spMkLst>
        </pc:spChg>
        <pc:spChg chg="mod">
          <ac:chgData name="Appala Srujana" userId="a897cc35-aedc-4025-bce6-6175c0177033" providerId="ADAL" clId="{F249931F-CF49-4405-BC21-8182E27291FD}" dt="2025-10-23T05:18:42.003" v="2611"/>
          <ac:spMkLst>
            <pc:docMk/>
            <pc:sldMk cId="2833416506" sldId="258"/>
            <ac:spMk id="690" creationId="{5956BD13-EF5D-173A-8828-A4CF3EC5B6FB}"/>
          </ac:spMkLst>
        </pc:spChg>
        <pc:spChg chg="mod">
          <ac:chgData name="Appala Srujana" userId="a897cc35-aedc-4025-bce6-6175c0177033" providerId="ADAL" clId="{F249931F-CF49-4405-BC21-8182E27291FD}" dt="2025-10-23T05:18:42.003" v="2612"/>
          <ac:spMkLst>
            <pc:docMk/>
            <pc:sldMk cId="2833416506" sldId="258"/>
            <ac:spMk id="704" creationId="{2C8FE36F-D5DC-AF14-9C05-3D7426C20C11}"/>
          </ac:spMkLst>
        </pc:spChg>
        <pc:spChg chg="mod">
          <ac:chgData name="Appala Srujana" userId="a897cc35-aedc-4025-bce6-6175c0177033" providerId="ADAL" clId="{F249931F-CF49-4405-BC21-8182E27291FD}" dt="2025-10-23T05:18:42.003" v="2614"/>
          <ac:spMkLst>
            <pc:docMk/>
            <pc:sldMk cId="2833416506" sldId="258"/>
            <ac:spMk id="789" creationId="{A60B9DA3-8B2C-0F7C-1FBF-16D47F5D42DE}"/>
          </ac:spMkLst>
        </pc:spChg>
        <pc:spChg chg="mod">
          <ac:chgData name="Appala Srujana" userId="a897cc35-aedc-4025-bce6-6175c0177033" providerId="ADAL" clId="{F249931F-CF49-4405-BC21-8182E27291FD}" dt="2025-10-23T05:18:42.003" v="2615"/>
          <ac:spMkLst>
            <pc:docMk/>
            <pc:sldMk cId="2833416506" sldId="258"/>
            <ac:spMk id="790" creationId="{832C6A5E-ED87-6ADD-BDAF-4B6B1B43E628}"/>
          </ac:spMkLst>
        </pc:spChg>
        <pc:spChg chg="mod">
          <ac:chgData name="Appala Srujana" userId="a897cc35-aedc-4025-bce6-6175c0177033" providerId="ADAL" clId="{F249931F-CF49-4405-BC21-8182E27291FD}" dt="2025-10-23T05:18:42.003" v="2625"/>
          <ac:spMkLst>
            <pc:docMk/>
            <pc:sldMk cId="2833416506" sldId="258"/>
            <ac:spMk id="793" creationId="{0B70684C-78EA-5445-55C0-E33B29674A73}"/>
          </ac:spMkLst>
        </pc:spChg>
        <pc:spChg chg="mod">
          <ac:chgData name="Appala Srujana" userId="a897cc35-aedc-4025-bce6-6175c0177033" providerId="ADAL" clId="{F249931F-CF49-4405-BC21-8182E27291FD}" dt="2025-10-23T05:18:42.003" v="2620"/>
          <ac:spMkLst>
            <pc:docMk/>
            <pc:sldMk cId="2833416506" sldId="258"/>
            <ac:spMk id="794" creationId="{C2040AB6-B5F8-63CC-17C5-775C7221949A}"/>
          </ac:spMkLst>
        </pc:spChg>
        <pc:spChg chg="mod">
          <ac:chgData name="Appala Srujana" userId="a897cc35-aedc-4025-bce6-6175c0177033" providerId="ADAL" clId="{F249931F-CF49-4405-BC21-8182E27291FD}" dt="2025-10-23T05:18:42.003" v="2624"/>
          <ac:spMkLst>
            <pc:docMk/>
            <pc:sldMk cId="2833416506" sldId="258"/>
            <ac:spMk id="795" creationId="{9EC90218-3FCE-813E-E5EB-535209AA74FA}"/>
          </ac:spMkLst>
        </pc:spChg>
        <pc:spChg chg="mod">
          <ac:chgData name="Appala Srujana" userId="a897cc35-aedc-4025-bce6-6175c0177033" providerId="ADAL" clId="{F249931F-CF49-4405-BC21-8182E27291FD}" dt="2025-10-23T05:18:42.003" v="2623"/>
          <ac:spMkLst>
            <pc:docMk/>
            <pc:sldMk cId="2833416506" sldId="258"/>
            <ac:spMk id="796" creationId="{A4DAE9A3-1093-D799-6B01-C1649ECF79B7}"/>
          </ac:spMkLst>
        </pc:spChg>
        <pc:spChg chg="mod">
          <ac:chgData name="Appala Srujana" userId="a897cc35-aedc-4025-bce6-6175c0177033" providerId="ADAL" clId="{F249931F-CF49-4405-BC21-8182E27291FD}" dt="2025-10-23T05:18:42.003" v="2618"/>
          <ac:spMkLst>
            <pc:docMk/>
            <pc:sldMk cId="2833416506" sldId="258"/>
            <ac:spMk id="797" creationId="{C407149C-2C95-CC4E-53E4-47599E9A2642}"/>
          </ac:spMkLst>
        </pc:spChg>
        <pc:spChg chg="mod">
          <ac:chgData name="Appala Srujana" userId="a897cc35-aedc-4025-bce6-6175c0177033" providerId="ADAL" clId="{F249931F-CF49-4405-BC21-8182E27291FD}" dt="2025-10-23T05:18:42.003" v="2622"/>
          <ac:spMkLst>
            <pc:docMk/>
            <pc:sldMk cId="2833416506" sldId="258"/>
            <ac:spMk id="798" creationId="{58F793B2-EF6A-F86D-6839-3C709281702B}"/>
          </ac:spMkLst>
        </pc:spChg>
        <pc:spChg chg="mod">
          <ac:chgData name="Appala Srujana" userId="a897cc35-aedc-4025-bce6-6175c0177033" providerId="ADAL" clId="{F249931F-CF49-4405-BC21-8182E27291FD}" dt="2025-10-23T05:18:42.003" v="2621"/>
          <ac:spMkLst>
            <pc:docMk/>
            <pc:sldMk cId="2833416506" sldId="258"/>
            <ac:spMk id="799" creationId="{83C08454-CD65-4D9B-4F42-29152DE1D9E8}"/>
          </ac:spMkLst>
        </pc:spChg>
        <pc:spChg chg="mod">
          <ac:chgData name="Appala Srujana" userId="a897cc35-aedc-4025-bce6-6175c0177033" providerId="ADAL" clId="{F249931F-CF49-4405-BC21-8182E27291FD}" dt="2025-10-23T05:18:42.003" v="2632"/>
          <ac:spMkLst>
            <pc:docMk/>
            <pc:sldMk cId="2833416506" sldId="258"/>
            <ac:spMk id="804" creationId="{5176AA89-0673-EFD6-F3B7-6681756CF3D6}"/>
          </ac:spMkLst>
        </pc:spChg>
        <pc:spChg chg="mod">
          <ac:chgData name="Appala Srujana" userId="a897cc35-aedc-4025-bce6-6175c0177033" providerId="ADAL" clId="{F249931F-CF49-4405-BC21-8182E27291FD}" dt="2025-10-23T05:18:42.003" v="2633"/>
          <ac:spMkLst>
            <pc:docMk/>
            <pc:sldMk cId="2833416506" sldId="258"/>
            <ac:spMk id="805" creationId="{B81C83D4-483C-8771-FCBB-7E6E7A467C32}"/>
          </ac:spMkLst>
        </pc:spChg>
        <pc:spChg chg="mod">
          <ac:chgData name="Appala Srujana" userId="a897cc35-aedc-4025-bce6-6175c0177033" providerId="ADAL" clId="{F249931F-CF49-4405-BC21-8182E27291FD}" dt="2025-10-23T05:18:42.003" v="2634"/>
          <ac:spMkLst>
            <pc:docMk/>
            <pc:sldMk cId="2833416506" sldId="258"/>
            <ac:spMk id="806" creationId="{12DB7304-E717-6F69-EEF6-C5B8EE55D5B3}"/>
          </ac:spMkLst>
        </pc:spChg>
        <pc:spChg chg="mod">
          <ac:chgData name="Appala Srujana" userId="a897cc35-aedc-4025-bce6-6175c0177033" providerId="ADAL" clId="{F249931F-CF49-4405-BC21-8182E27291FD}" dt="2025-10-23T05:18:42.003" v="2619"/>
          <ac:spMkLst>
            <pc:docMk/>
            <pc:sldMk cId="2833416506" sldId="258"/>
            <ac:spMk id="864" creationId="{44ABCB69-5C40-D097-015D-41817AAD6CBE}"/>
          </ac:spMkLst>
        </pc:spChg>
        <pc:spChg chg="mod">
          <ac:chgData name="Appala Srujana" userId="a897cc35-aedc-4025-bce6-6175c0177033" providerId="ADAL" clId="{F249931F-CF49-4405-BC21-8182E27291FD}" dt="2025-10-23T05:18:42.003" v="2616"/>
          <ac:spMkLst>
            <pc:docMk/>
            <pc:sldMk cId="2833416506" sldId="258"/>
            <ac:spMk id="866" creationId="{D1819FB5-0E92-0821-1FE6-F46EF96F01D2}"/>
          </ac:spMkLst>
        </pc:spChg>
        <pc:spChg chg="mod">
          <ac:chgData name="Appala Srujana" userId="a897cc35-aedc-4025-bce6-6175c0177033" providerId="ADAL" clId="{F249931F-CF49-4405-BC21-8182E27291FD}" dt="2025-10-23T05:18:42.003" v="2617"/>
          <ac:spMkLst>
            <pc:docMk/>
            <pc:sldMk cId="2833416506" sldId="258"/>
            <ac:spMk id="867" creationId="{E401C744-DE32-29D3-D821-88A6024D03A7}"/>
          </ac:spMkLst>
        </pc:spChg>
        <pc:spChg chg="mod ord">
          <ac:chgData name="Appala Srujana" userId="a897cc35-aedc-4025-bce6-6175c0177033" providerId="ADAL" clId="{F249931F-CF49-4405-BC21-8182E27291FD}" dt="2025-10-23T05:18:42.114" v="2930"/>
          <ac:spMkLst>
            <pc:docMk/>
            <pc:sldMk cId="2833416506" sldId="258"/>
            <ac:spMk id="907" creationId="{45EED43D-FCA6-CC87-407B-1A100C1A7381}"/>
          </ac:spMkLst>
        </pc:spChg>
        <pc:spChg chg="mod">
          <ac:chgData name="Appala Srujana" userId="a897cc35-aedc-4025-bce6-6175c0177033" providerId="ADAL" clId="{F249931F-CF49-4405-BC21-8182E27291FD}" dt="2025-10-23T05:18:42.114" v="2937"/>
          <ac:spMkLst>
            <pc:docMk/>
            <pc:sldMk cId="2833416506" sldId="258"/>
            <ac:spMk id="909" creationId="{81461C66-429B-FC2A-01D3-F20A56339B3C}"/>
          </ac:spMkLst>
        </pc:spChg>
        <pc:spChg chg="mod">
          <ac:chgData name="Appala Srujana" userId="a897cc35-aedc-4025-bce6-6175c0177033" providerId="ADAL" clId="{F249931F-CF49-4405-BC21-8182E27291FD}" dt="2025-10-23T05:18:42.114" v="2938"/>
          <ac:spMkLst>
            <pc:docMk/>
            <pc:sldMk cId="2833416506" sldId="258"/>
            <ac:spMk id="910" creationId="{1EE64A9F-BA44-3F51-1CB4-28B846403DAB}"/>
          </ac:spMkLst>
        </pc:spChg>
        <pc:spChg chg="mod">
          <ac:chgData name="Appala Srujana" userId="a897cc35-aedc-4025-bce6-6175c0177033" providerId="ADAL" clId="{F249931F-CF49-4405-BC21-8182E27291FD}" dt="2025-10-23T05:18:42.114" v="2939"/>
          <ac:spMkLst>
            <pc:docMk/>
            <pc:sldMk cId="2833416506" sldId="258"/>
            <ac:spMk id="911" creationId="{AF29F4FC-8391-3845-A0A5-BED5E096DF2B}"/>
          </ac:spMkLst>
        </pc:spChg>
        <pc:spChg chg="mod">
          <ac:chgData name="Appala Srujana" userId="a897cc35-aedc-4025-bce6-6175c0177033" providerId="ADAL" clId="{F249931F-CF49-4405-BC21-8182E27291FD}" dt="2025-10-23T05:18:42.114" v="2940"/>
          <ac:spMkLst>
            <pc:docMk/>
            <pc:sldMk cId="2833416506" sldId="258"/>
            <ac:spMk id="912" creationId="{A7CB6A97-21C9-5D64-CE50-52C02C69042F}"/>
          </ac:spMkLst>
        </pc:spChg>
        <pc:spChg chg="mod">
          <ac:chgData name="Appala Srujana" userId="a897cc35-aedc-4025-bce6-6175c0177033" providerId="ADAL" clId="{F249931F-CF49-4405-BC21-8182E27291FD}" dt="2025-10-23T05:18:42.114" v="2941"/>
          <ac:spMkLst>
            <pc:docMk/>
            <pc:sldMk cId="2833416506" sldId="258"/>
            <ac:spMk id="913" creationId="{4ACD6B0B-803D-8C5E-464B-DEDB0120943D}"/>
          </ac:spMkLst>
        </pc:spChg>
        <pc:spChg chg="mod">
          <ac:chgData name="Appala Srujana" userId="a897cc35-aedc-4025-bce6-6175c0177033" providerId="ADAL" clId="{F249931F-CF49-4405-BC21-8182E27291FD}" dt="2025-10-23T05:18:42.114" v="2942"/>
          <ac:spMkLst>
            <pc:docMk/>
            <pc:sldMk cId="2833416506" sldId="258"/>
            <ac:spMk id="914" creationId="{FE69316A-8FC7-86E3-A8BD-134DB14FA884}"/>
          </ac:spMkLst>
        </pc:spChg>
        <pc:spChg chg="mod">
          <ac:chgData name="Appala Srujana" userId="a897cc35-aedc-4025-bce6-6175c0177033" providerId="ADAL" clId="{F249931F-CF49-4405-BC21-8182E27291FD}" dt="2025-10-23T05:18:42.114" v="2931"/>
          <ac:spMkLst>
            <pc:docMk/>
            <pc:sldMk cId="2833416506" sldId="258"/>
            <ac:spMk id="915" creationId="{89CCCE6E-4738-BA52-5AA6-9FE842E43E7A}"/>
          </ac:spMkLst>
        </pc:spChg>
        <pc:spChg chg="mod">
          <ac:chgData name="Appala Srujana" userId="a897cc35-aedc-4025-bce6-6175c0177033" providerId="ADAL" clId="{F249931F-CF49-4405-BC21-8182E27291FD}" dt="2025-10-23T05:18:42.114" v="2943"/>
          <ac:spMkLst>
            <pc:docMk/>
            <pc:sldMk cId="2833416506" sldId="258"/>
            <ac:spMk id="916" creationId="{EBB0266E-97E9-5272-251A-8CBD0AE93C68}"/>
          </ac:spMkLst>
        </pc:spChg>
        <pc:spChg chg="add del mod modVis">
          <ac:chgData name="Appala Srujana" userId="a897cc35-aedc-4025-bce6-6175c0177033" providerId="ADAL" clId="{F249931F-CF49-4405-BC21-8182E27291FD}" dt="2025-10-23T05:17:57.081" v="1490"/>
          <ac:spMkLst>
            <pc:docMk/>
            <pc:sldMk cId="2833416506" sldId="258"/>
            <ac:spMk id="928" creationId="{722E1773-787A-9146-501D-55083C07B573}"/>
          </ac:spMkLst>
        </pc:spChg>
        <pc:spChg chg="add del mod modVis">
          <ac:chgData name="Appala Srujana" userId="a897cc35-aedc-4025-bce6-6175c0177033" providerId="ADAL" clId="{F249931F-CF49-4405-BC21-8182E27291FD}" dt="2025-10-23T05:18:00.545" v="2036"/>
          <ac:spMkLst>
            <pc:docMk/>
            <pc:sldMk cId="2833416506" sldId="258"/>
            <ac:spMk id="930" creationId="{B7A13149-D856-CDBE-D946-2769503A7D6E}"/>
          </ac:spMkLst>
        </pc:spChg>
        <pc:spChg chg="mod ord">
          <ac:chgData name="Appala Srujana" userId="a897cc35-aedc-4025-bce6-6175c0177033" providerId="ADAL" clId="{F249931F-CF49-4405-BC21-8182E27291FD}" dt="2025-10-23T05:18:42.114" v="2945"/>
          <ac:spMkLst>
            <pc:docMk/>
            <pc:sldMk cId="2833416506" sldId="258"/>
            <ac:spMk id="931" creationId="{6010172E-93F2-7339-9BFC-4A3A224ED78A}"/>
          </ac:spMkLst>
        </pc:spChg>
        <pc:spChg chg="mod ord">
          <ac:chgData name="Appala Srujana" userId="a897cc35-aedc-4025-bce6-6175c0177033" providerId="ADAL" clId="{F249931F-CF49-4405-BC21-8182E27291FD}" dt="2025-10-23T05:18:42.114" v="2947"/>
          <ac:spMkLst>
            <pc:docMk/>
            <pc:sldMk cId="2833416506" sldId="258"/>
            <ac:spMk id="932" creationId="{2FD6106F-FC12-F8AC-2E7C-BA9624CADFC8}"/>
          </ac:spMkLst>
        </pc:spChg>
        <pc:spChg chg="mod">
          <ac:chgData name="Appala Srujana" userId="a897cc35-aedc-4025-bce6-6175c0177033" providerId="ADAL" clId="{F249931F-CF49-4405-BC21-8182E27291FD}" dt="2025-10-23T05:18:42.114" v="2948"/>
          <ac:spMkLst>
            <pc:docMk/>
            <pc:sldMk cId="2833416506" sldId="258"/>
            <ac:spMk id="933" creationId="{BCA1ACBC-7352-8855-6D58-5D72715FCE32}"/>
          </ac:spMkLst>
        </pc:spChg>
        <pc:spChg chg="mod">
          <ac:chgData name="Appala Srujana" userId="a897cc35-aedc-4025-bce6-6175c0177033" providerId="ADAL" clId="{F249931F-CF49-4405-BC21-8182E27291FD}" dt="2025-10-23T05:18:42.114" v="2949"/>
          <ac:spMkLst>
            <pc:docMk/>
            <pc:sldMk cId="2833416506" sldId="258"/>
            <ac:spMk id="934" creationId="{523C35F5-9829-5944-88D8-1A3C04B4D3BC}"/>
          </ac:spMkLst>
        </pc:spChg>
        <pc:spChg chg="mod">
          <ac:chgData name="Appala Srujana" userId="a897cc35-aedc-4025-bce6-6175c0177033" providerId="ADAL" clId="{F249931F-CF49-4405-BC21-8182E27291FD}" dt="2025-10-23T05:18:42.114" v="2950"/>
          <ac:spMkLst>
            <pc:docMk/>
            <pc:sldMk cId="2833416506" sldId="258"/>
            <ac:spMk id="935" creationId="{C3CC992B-2166-8B54-C071-D23191190DCB}"/>
          </ac:spMkLst>
        </pc:spChg>
        <pc:spChg chg="mod">
          <ac:chgData name="Appala Srujana" userId="a897cc35-aedc-4025-bce6-6175c0177033" providerId="ADAL" clId="{F249931F-CF49-4405-BC21-8182E27291FD}" dt="2025-10-23T05:18:42.114" v="2951"/>
          <ac:spMkLst>
            <pc:docMk/>
            <pc:sldMk cId="2833416506" sldId="258"/>
            <ac:spMk id="936" creationId="{2F0568C8-C663-96DC-EEAE-40C24ED7B8A2}"/>
          </ac:spMkLst>
        </pc:spChg>
        <pc:spChg chg="mod">
          <ac:chgData name="Appala Srujana" userId="a897cc35-aedc-4025-bce6-6175c0177033" providerId="ADAL" clId="{F249931F-CF49-4405-BC21-8182E27291FD}" dt="2025-10-23T05:18:42.114" v="2952"/>
          <ac:spMkLst>
            <pc:docMk/>
            <pc:sldMk cId="2833416506" sldId="258"/>
            <ac:spMk id="937" creationId="{14BB8137-C77C-88D0-5605-9E9C89F92688}"/>
          </ac:spMkLst>
        </pc:spChg>
        <pc:spChg chg="mod">
          <ac:chgData name="Appala Srujana" userId="a897cc35-aedc-4025-bce6-6175c0177033" providerId="ADAL" clId="{F249931F-CF49-4405-BC21-8182E27291FD}" dt="2025-10-23T05:18:42.114" v="2953"/>
          <ac:spMkLst>
            <pc:docMk/>
            <pc:sldMk cId="2833416506" sldId="258"/>
            <ac:spMk id="938" creationId="{5ADBEBF9-C89C-8E78-8AA0-ABB30715806C}"/>
          </ac:spMkLst>
        </pc:spChg>
        <pc:spChg chg="mod">
          <ac:chgData name="Appala Srujana" userId="a897cc35-aedc-4025-bce6-6175c0177033" providerId="ADAL" clId="{F249931F-CF49-4405-BC21-8182E27291FD}" dt="2025-10-23T05:18:42.114" v="2954"/>
          <ac:spMkLst>
            <pc:docMk/>
            <pc:sldMk cId="2833416506" sldId="258"/>
            <ac:spMk id="939" creationId="{1F2E2862-5465-7D98-23D1-38CA17E172C8}"/>
          </ac:spMkLst>
        </pc:spChg>
        <pc:spChg chg="mod">
          <ac:chgData name="Appala Srujana" userId="a897cc35-aedc-4025-bce6-6175c0177033" providerId="ADAL" clId="{F249931F-CF49-4405-BC21-8182E27291FD}" dt="2025-10-23T05:18:42.114" v="2955"/>
          <ac:spMkLst>
            <pc:docMk/>
            <pc:sldMk cId="2833416506" sldId="258"/>
            <ac:spMk id="940" creationId="{600D8C99-512F-94F6-57A2-AA24743CC68F}"/>
          </ac:spMkLst>
        </pc:spChg>
        <pc:spChg chg="add del mod modVis">
          <ac:chgData name="Appala Srujana" userId="a897cc35-aedc-4025-bce6-6175c0177033" providerId="ADAL" clId="{F249931F-CF49-4405-BC21-8182E27291FD}" dt="2025-10-23T05:18:35.144" v="2446"/>
          <ac:spMkLst>
            <pc:docMk/>
            <pc:sldMk cId="2833416506" sldId="258"/>
            <ac:spMk id="942" creationId="{9EBF6EC6-454C-90A7-0BAC-173344A9A6BA}"/>
          </ac:spMkLst>
        </pc:spChg>
        <pc:spChg chg="mod ord">
          <ac:chgData name="Appala Srujana" userId="a897cc35-aedc-4025-bce6-6175c0177033" providerId="ADAL" clId="{F249931F-CF49-4405-BC21-8182E27291FD}" dt="2025-10-23T05:18:42.114" v="2957"/>
          <ac:spMkLst>
            <pc:docMk/>
            <pc:sldMk cId="2833416506" sldId="258"/>
            <ac:spMk id="943" creationId="{E3A77B48-E824-9D4D-CE0D-9529420875C0}"/>
          </ac:spMkLst>
        </pc:spChg>
        <pc:spChg chg="mod ord">
          <ac:chgData name="Appala Srujana" userId="a897cc35-aedc-4025-bce6-6175c0177033" providerId="ADAL" clId="{F249931F-CF49-4405-BC21-8182E27291FD}" dt="2025-10-23T05:18:42.114" v="2959"/>
          <ac:spMkLst>
            <pc:docMk/>
            <pc:sldMk cId="2833416506" sldId="258"/>
            <ac:spMk id="944" creationId="{AF5B7DBC-3989-AF45-08A8-9A5C973282F4}"/>
          </ac:spMkLst>
        </pc:spChg>
        <pc:spChg chg="mod">
          <ac:chgData name="Appala Srujana" userId="a897cc35-aedc-4025-bce6-6175c0177033" providerId="ADAL" clId="{F249931F-CF49-4405-BC21-8182E27291FD}" dt="2025-10-23T05:18:42.114" v="2960"/>
          <ac:spMkLst>
            <pc:docMk/>
            <pc:sldMk cId="2833416506" sldId="258"/>
            <ac:spMk id="945" creationId="{905B79A4-A72F-0249-9D3E-9F130A87AE8F}"/>
          </ac:spMkLst>
        </pc:spChg>
        <pc:spChg chg="mod">
          <ac:chgData name="Appala Srujana" userId="a897cc35-aedc-4025-bce6-6175c0177033" providerId="ADAL" clId="{F249931F-CF49-4405-BC21-8182E27291FD}" dt="2025-10-23T05:18:42.114" v="2961"/>
          <ac:spMkLst>
            <pc:docMk/>
            <pc:sldMk cId="2833416506" sldId="258"/>
            <ac:spMk id="946" creationId="{FB46D8BF-48C3-BC2C-F3AC-5E705937E798}"/>
          </ac:spMkLst>
        </pc:spChg>
        <pc:spChg chg="mod">
          <ac:chgData name="Appala Srujana" userId="a897cc35-aedc-4025-bce6-6175c0177033" providerId="ADAL" clId="{F249931F-CF49-4405-BC21-8182E27291FD}" dt="2025-10-23T05:18:42.114" v="2962"/>
          <ac:spMkLst>
            <pc:docMk/>
            <pc:sldMk cId="2833416506" sldId="258"/>
            <ac:spMk id="947" creationId="{B0DDB460-8248-F766-6645-8F6C49E49CFE}"/>
          </ac:spMkLst>
        </pc:spChg>
        <pc:spChg chg="mod">
          <ac:chgData name="Appala Srujana" userId="a897cc35-aedc-4025-bce6-6175c0177033" providerId="ADAL" clId="{F249931F-CF49-4405-BC21-8182E27291FD}" dt="2025-10-23T05:18:42.114" v="2963"/>
          <ac:spMkLst>
            <pc:docMk/>
            <pc:sldMk cId="2833416506" sldId="258"/>
            <ac:spMk id="948" creationId="{69005CF3-1913-538D-7633-6C8A3C7788A6}"/>
          </ac:spMkLst>
        </pc:spChg>
        <pc:spChg chg="mod">
          <ac:chgData name="Appala Srujana" userId="a897cc35-aedc-4025-bce6-6175c0177033" providerId="ADAL" clId="{F249931F-CF49-4405-BC21-8182E27291FD}" dt="2025-10-23T05:18:42.114" v="2964"/>
          <ac:spMkLst>
            <pc:docMk/>
            <pc:sldMk cId="2833416506" sldId="258"/>
            <ac:spMk id="949" creationId="{55066F52-5652-E473-C884-0441B815CB27}"/>
          </ac:spMkLst>
        </pc:spChg>
        <pc:spChg chg="mod">
          <ac:chgData name="Appala Srujana" userId="a897cc35-aedc-4025-bce6-6175c0177033" providerId="ADAL" clId="{F249931F-CF49-4405-BC21-8182E27291FD}" dt="2025-10-23T05:18:42.114" v="2965"/>
          <ac:spMkLst>
            <pc:docMk/>
            <pc:sldMk cId="2833416506" sldId="258"/>
            <ac:spMk id="950" creationId="{F67D677E-DC39-572F-7BB3-A1FC6BA657DC}"/>
          </ac:spMkLst>
        </pc:spChg>
        <pc:spChg chg="mod">
          <ac:chgData name="Appala Srujana" userId="a897cc35-aedc-4025-bce6-6175c0177033" providerId="ADAL" clId="{F249931F-CF49-4405-BC21-8182E27291FD}" dt="2025-10-23T05:18:42.114" v="2966"/>
          <ac:spMkLst>
            <pc:docMk/>
            <pc:sldMk cId="2833416506" sldId="258"/>
            <ac:spMk id="951" creationId="{7192405F-4593-2960-9C67-61952F78EBC8}"/>
          </ac:spMkLst>
        </pc:spChg>
        <pc:spChg chg="mod">
          <ac:chgData name="Appala Srujana" userId="a897cc35-aedc-4025-bce6-6175c0177033" providerId="ADAL" clId="{F249931F-CF49-4405-BC21-8182E27291FD}" dt="2025-10-23T05:18:42.114" v="2967"/>
          <ac:spMkLst>
            <pc:docMk/>
            <pc:sldMk cId="2833416506" sldId="258"/>
            <ac:spMk id="952" creationId="{F7CD7542-92F0-2C8E-6D55-B2FE8198DE1D}"/>
          </ac:spMkLst>
        </pc:spChg>
        <pc:spChg chg="add del mod modVis">
          <ac:chgData name="Appala Srujana" userId="a897cc35-aedc-4025-bce6-6175c0177033" providerId="ADAL" clId="{F249931F-CF49-4405-BC21-8182E27291FD}" dt="2025-10-23T05:18:42.114" v="2969"/>
          <ac:spMkLst>
            <pc:docMk/>
            <pc:sldMk cId="2833416506" sldId="258"/>
            <ac:spMk id="953" creationId="{E95B8975-B392-6611-E542-F406FB083885}"/>
          </ac:spMkLst>
        </pc:spChg>
        <pc:spChg chg="add del mod modVis">
          <ac:chgData name="Appala Srujana" userId="a897cc35-aedc-4025-bce6-6175c0177033" providerId="ADAL" clId="{F249931F-CF49-4405-BC21-8182E27291FD}" dt="2025-10-23T05:19:01.503" v="2997"/>
          <ac:spMkLst>
            <pc:docMk/>
            <pc:sldMk cId="2833416506" sldId="258"/>
            <ac:spMk id="957" creationId="{F0D0C980-D710-D8F3-5690-8D76F7F4768B}"/>
          </ac:spMkLst>
        </pc:spChg>
        <pc:spChg chg="add del mod modVis">
          <ac:chgData name="Appala Srujana" userId="a897cc35-aedc-4025-bce6-6175c0177033" providerId="ADAL" clId="{F249931F-CF49-4405-BC21-8182E27291FD}" dt="2025-10-23T05:19:03.209" v="3023"/>
          <ac:spMkLst>
            <pc:docMk/>
            <pc:sldMk cId="2833416506" sldId="258"/>
            <ac:spMk id="958" creationId="{A6FBBF6C-B854-AD67-8A3F-979C28639701}"/>
          </ac:spMkLst>
        </pc:spChg>
        <pc:spChg chg="add mod">
          <ac:chgData name="Appala Srujana" userId="a897cc35-aedc-4025-bce6-6175c0177033" providerId="ADAL" clId="{F249931F-CF49-4405-BC21-8182E27291FD}" dt="2025-10-23T05:27:18.382" v="7278" actId="1036"/>
          <ac:spMkLst>
            <pc:docMk/>
            <pc:sldMk cId="2833416506" sldId="258"/>
            <ac:spMk id="959" creationId="{E728741B-4983-E3D9-E38C-F6895F20FFD6}"/>
          </ac:spMkLst>
        </pc:spChg>
        <pc:grpChg chg="add del mod">
          <ac:chgData name="Appala Srujana" userId="a897cc35-aedc-4025-bce6-6175c0177033" providerId="ADAL" clId="{F249931F-CF49-4405-BC21-8182E27291FD}" dt="2025-10-23T05:17:39.764" v="936" actId="165"/>
          <ac:grpSpMkLst>
            <pc:docMk/>
            <pc:sldMk cId="2833416506" sldId="258"/>
            <ac:grpSpMk id="2" creationId="{DECC06F9-C9BF-E299-6F30-9FA1C9A76BDD}"/>
          </ac:grpSpMkLst>
        </pc:grpChg>
        <pc:graphicFrameChg chg="mod">
          <ac:chgData name="Appala Srujana" userId="a897cc35-aedc-4025-bce6-6175c0177033" providerId="ADAL" clId="{F249931F-CF49-4405-BC21-8182E27291FD}" dt="2025-10-23T05:19:03.209" v="3025"/>
          <ac:graphicFrameMkLst>
            <pc:docMk/>
            <pc:sldMk cId="2833416506" sldId="258"/>
            <ac:graphicFrameMk id="4" creationId="{BE425039-69B1-8D37-6A65-C4DEDFFA48E6}"/>
          </ac:graphicFrameMkLst>
        </pc:graphicFrameChg>
        <pc:graphicFrameChg chg="del mod">
          <ac:chgData name="Appala Srujana" userId="a897cc35-aedc-4025-bce6-6175c0177033" providerId="ADAL" clId="{F249931F-CF49-4405-BC21-8182E27291FD}" dt="2025-10-23T05:17:56.890" v="1043"/>
          <ac:graphicFrameMkLst>
            <pc:docMk/>
            <pc:sldMk cId="2833416506" sldId="258"/>
            <ac:graphicFrameMk id="818" creationId="{F7AE354C-3F45-2C2E-0986-223CDE6F31F8}"/>
          </ac:graphicFrameMkLst>
        </pc:graphicFrameChg>
        <pc:graphicFrameChg chg="del mod">
          <ac:chgData name="Appala Srujana" userId="a897cc35-aedc-4025-bce6-6175c0177033" providerId="ADAL" clId="{F249931F-CF49-4405-BC21-8182E27291FD}" dt="2025-10-23T05:18:00.355" v="1589"/>
          <ac:graphicFrameMkLst>
            <pc:docMk/>
            <pc:sldMk cId="2833416506" sldId="258"/>
            <ac:graphicFrameMk id="894" creationId="{4FA40E32-23FB-1B69-6FA1-9728CD3EFFA2}"/>
          </ac:graphicFrameMkLst>
        </pc:graphicFrameChg>
        <pc:graphicFrameChg chg="add del mod">
          <ac:chgData name="Appala Srujana" userId="a897cc35-aedc-4025-bce6-6175c0177033" providerId="ADAL" clId="{F249931F-CF49-4405-BC21-8182E27291FD}" dt="2025-10-23T05:18:41.892" v="2499"/>
          <ac:graphicFrameMkLst>
            <pc:docMk/>
            <pc:sldMk cId="2833416506" sldId="258"/>
            <ac:graphicFrameMk id="929" creationId="{F6867D5A-39E9-050B-FDD4-BB10EFD4C1ED}"/>
          </ac:graphicFrameMkLst>
        </pc:graphicFrameChg>
        <pc:graphicFrameChg chg="add del mod">
          <ac:chgData name="Appala Srujana" userId="a897cc35-aedc-4025-bce6-6175c0177033" providerId="ADAL" clId="{F249931F-CF49-4405-BC21-8182E27291FD}" dt="2025-10-23T05:18:41.940" v="2522"/>
          <ac:graphicFrameMkLst>
            <pc:docMk/>
            <pc:sldMk cId="2833416506" sldId="258"/>
            <ac:graphicFrameMk id="941" creationId="{52BE284E-9305-5473-2945-C81BB6BFE6AE}"/>
          </ac:graphicFrameMkLst>
        </pc:graphicFrameChg>
        <pc:graphicFrameChg chg="add mod">
          <ac:chgData name="Appala Srujana" userId="a897cc35-aedc-4025-bce6-6175c0177033" providerId="ADAL" clId="{F249931F-CF49-4405-BC21-8182E27291FD}" dt="2025-10-23T05:18:42.003" v="2591"/>
          <ac:graphicFrameMkLst>
            <pc:docMk/>
            <pc:sldMk cId="2833416506" sldId="258"/>
            <ac:graphicFrameMk id="954" creationId="{E44666E2-A660-C2E5-B077-54CF22E4F436}"/>
          </ac:graphicFrameMkLst>
        </pc:graphicFrameChg>
        <pc:graphicFrameChg chg="add mod">
          <ac:chgData name="Appala Srujana" userId="a897cc35-aedc-4025-bce6-6175c0177033" providerId="ADAL" clId="{F249931F-CF49-4405-BC21-8182E27291FD}" dt="2025-10-23T05:18:42.003" v="2613"/>
          <ac:graphicFrameMkLst>
            <pc:docMk/>
            <pc:sldMk cId="2833416506" sldId="258"/>
            <ac:graphicFrameMk id="955" creationId="{E01A833A-6694-E8C9-7B7C-4ACB711BCAC6}"/>
          </ac:graphicFrameMkLst>
        </pc:graphicFrameChg>
        <pc:cxnChg chg="mod ord">
          <ac:chgData name="Appala Srujana" userId="a897cc35-aedc-4025-bce6-6175c0177033" providerId="ADAL" clId="{F249931F-CF49-4405-BC21-8182E27291FD}" dt="2025-10-23T05:18:42.003" v="2605"/>
          <ac:cxnSpMkLst>
            <pc:docMk/>
            <pc:sldMk cId="2833416506" sldId="258"/>
            <ac:cxnSpMk id="634" creationId="{29332601-F993-FE13-1FB7-959F51E3A883}"/>
          </ac:cxnSpMkLst>
        </pc:cxnChg>
        <pc:cxnChg chg="mod ord">
          <ac:chgData name="Appala Srujana" userId="a897cc35-aedc-4025-bce6-6175c0177033" providerId="ADAL" clId="{F249931F-CF49-4405-BC21-8182E27291FD}" dt="2025-10-23T05:18:42.003" v="2607"/>
          <ac:cxnSpMkLst>
            <pc:docMk/>
            <pc:sldMk cId="2833416506" sldId="258"/>
            <ac:cxnSpMk id="693" creationId="{22613C83-B74D-C647-4B44-80C1EDA59776}"/>
          </ac:cxnSpMkLst>
        </pc:cxnChg>
        <pc:cxnChg chg="mod ord">
          <ac:chgData name="Appala Srujana" userId="a897cc35-aedc-4025-bce6-6175c0177033" providerId="ADAL" clId="{F249931F-CF49-4405-BC21-8182E27291FD}" dt="2025-10-23T05:18:42.003" v="2609"/>
          <ac:cxnSpMkLst>
            <pc:docMk/>
            <pc:sldMk cId="2833416506" sldId="258"/>
            <ac:cxnSpMk id="707" creationId="{D1225900-EC8E-14CC-2E41-BBAA53DE7CBC}"/>
          </ac:cxnSpMkLst>
        </pc:cxnChg>
        <pc:cxnChg chg="mod ord">
          <ac:chgData name="Appala Srujana" userId="a897cc35-aedc-4025-bce6-6175c0177033" providerId="ADAL" clId="{F249931F-CF49-4405-BC21-8182E27291FD}" dt="2025-10-23T05:18:42.003" v="2627"/>
          <ac:cxnSpMkLst>
            <pc:docMk/>
            <pc:sldMk cId="2833416506" sldId="258"/>
            <ac:cxnSpMk id="801" creationId="{0E9DD3D7-B3A7-5DD7-F8B6-908ABB38BD62}"/>
          </ac:cxnSpMkLst>
        </pc:cxnChg>
        <pc:cxnChg chg="mod ord">
          <ac:chgData name="Appala Srujana" userId="a897cc35-aedc-4025-bce6-6175c0177033" providerId="ADAL" clId="{F249931F-CF49-4405-BC21-8182E27291FD}" dt="2025-10-23T05:18:42.003" v="2629"/>
          <ac:cxnSpMkLst>
            <pc:docMk/>
            <pc:sldMk cId="2833416506" sldId="258"/>
            <ac:cxnSpMk id="802" creationId="{60870176-9FAD-DB04-713E-048B5C7D6B11}"/>
          </ac:cxnSpMkLst>
        </pc:cxnChg>
        <pc:cxnChg chg="mod ord">
          <ac:chgData name="Appala Srujana" userId="a897cc35-aedc-4025-bce6-6175c0177033" providerId="ADAL" clId="{F249931F-CF49-4405-BC21-8182E27291FD}" dt="2025-10-23T05:18:42.003" v="2631"/>
          <ac:cxnSpMkLst>
            <pc:docMk/>
            <pc:sldMk cId="2833416506" sldId="258"/>
            <ac:cxnSpMk id="803" creationId="{CFEF49BB-9BDF-79DE-271B-80703DBAD8B1}"/>
          </ac:cxnSpMkLst>
        </pc:cxnChg>
      </pc:sldChg>
      <pc:sldChg chg="addSp delSp modSp add mod">
        <pc:chgData name="Appala Srujana" userId="a897cc35-aedc-4025-bce6-6175c0177033" providerId="ADAL" clId="{F249931F-CF49-4405-BC21-8182E27291FD}" dt="2025-10-23T05:26:38.780" v="7166" actId="1582"/>
        <pc:sldMkLst>
          <pc:docMk/>
          <pc:sldMk cId="2130418808" sldId="260"/>
        </pc:sldMkLst>
        <pc:spChg chg="add del mod">
          <ac:chgData name="Appala Srujana" userId="a897cc35-aedc-4025-bce6-6175c0177033" providerId="ADAL" clId="{F249931F-CF49-4405-BC21-8182E27291FD}" dt="2025-10-23T05:21:50.674" v="3064" actId="478"/>
          <ac:spMkLst>
            <pc:docMk/>
            <pc:sldMk cId="2130418808" sldId="260"/>
            <ac:spMk id="2" creationId="{59695BF2-ED85-7E08-165A-475FAB4C1C64}"/>
          </ac:spMkLst>
        </pc:spChg>
        <pc:spChg chg="mod ord">
          <ac:chgData name="Appala Srujana" userId="a897cc35-aedc-4025-bce6-6175c0177033" providerId="ADAL" clId="{F249931F-CF49-4405-BC21-8182E27291FD}" dt="2025-10-23T05:25:15.408" v="6731"/>
          <ac:spMkLst>
            <pc:docMk/>
            <pc:sldMk cId="2130418808" sldId="260"/>
            <ac:spMk id="3" creationId="{90882CA0-9454-6F52-5D5B-FA81A34EBB60}"/>
          </ac:spMkLst>
        </pc:spChg>
        <pc:spChg chg="del">
          <ac:chgData name="Appala Srujana" userId="a897cc35-aedc-4025-bce6-6175c0177033" providerId="ADAL" clId="{F249931F-CF49-4405-BC21-8182E27291FD}" dt="2025-10-23T05:19:32.346" v="3027" actId="478"/>
          <ac:spMkLst>
            <pc:docMk/>
            <pc:sldMk cId="2130418808" sldId="260"/>
            <ac:spMk id="5" creationId="{2230EF24-A605-CD9A-A8CC-943E91D697FA}"/>
          </ac:spMkLst>
        </pc:spChg>
        <pc:spChg chg="mod ord">
          <ac:chgData name="Appala Srujana" userId="a897cc35-aedc-4025-bce6-6175c0177033" providerId="ADAL" clId="{F249931F-CF49-4405-BC21-8182E27291FD}" dt="2025-10-23T05:25:15.442" v="6830"/>
          <ac:spMkLst>
            <pc:docMk/>
            <pc:sldMk cId="2130418808" sldId="260"/>
            <ac:spMk id="6" creationId="{DD870DFD-D21D-5B4E-B848-50428F1BB9E6}"/>
          </ac:spMkLst>
        </pc:spChg>
        <pc:spChg chg="mod ord">
          <ac:chgData name="Appala Srujana" userId="a897cc35-aedc-4025-bce6-6175c0177033" providerId="ADAL" clId="{F249931F-CF49-4405-BC21-8182E27291FD}" dt="2025-10-23T05:25:15.446" v="6850"/>
          <ac:spMkLst>
            <pc:docMk/>
            <pc:sldMk cId="2130418808" sldId="260"/>
            <ac:spMk id="7" creationId="{0DAEA8A6-0884-E5F8-D44B-2D7C59DCB57D}"/>
          </ac:spMkLst>
        </pc:spChg>
        <pc:spChg chg="mod ord">
          <ac:chgData name="Appala Srujana" userId="a897cc35-aedc-4025-bce6-6175c0177033" providerId="ADAL" clId="{F249931F-CF49-4405-BC21-8182E27291FD}" dt="2025-10-23T05:25:15.450" v="6862"/>
          <ac:spMkLst>
            <pc:docMk/>
            <pc:sldMk cId="2130418808" sldId="260"/>
            <ac:spMk id="8" creationId="{4C691E54-2254-5DD4-DA39-23F90DA70479}"/>
          </ac:spMkLst>
        </pc:spChg>
        <pc:spChg chg="mod ord">
          <ac:chgData name="Appala Srujana" userId="a897cc35-aedc-4025-bce6-6175c0177033" providerId="ADAL" clId="{F249931F-CF49-4405-BC21-8182E27291FD}" dt="2025-10-23T05:25:15.450" v="6896"/>
          <ac:spMkLst>
            <pc:docMk/>
            <pc:sldMk cId="2130418808" sldId="260"/>
            <ac:spMk id="9" creationId="{6FF4BAF3-EE7B-250C-A8D6-74B81C304F8B}"/>
          </ac:spMkLst>
        </pc:spChg>
        <pc:spChg chg="del">
          <ac:chgData name="Appala Srujana" userId="a897cc35-aedc-4025-bce6-6175c0177033" providerId="ADAL" clId="{F249931F-CF49-4405-BC21-8182E27291FD}" dt="2025-10-23T05:19:32.346" v="3027" actId="478"/>
          <ac:spMkLst>
            <pc:docMk/>
            <pc:sldMk cId="2130418808" sldId="260"/>
            <ac:spMk id="10" creationId="{DB3F2109-92B6-3179-0776-4AEBA7A11343}"/>
          </ac:spMkLst>
        </pc:spChg>
        <pc:spChg chg="del">
          <ac:chgData name="Appala Srujana" userId="a897cc35-aedc-4025-bce6-6175c0177033" providerId="ADAL" clId="{F249931F-CF49-4405-BC21-8182E27291FD}" dt="2025-10-23T05:19:32.346" v="3027" actId="478"/>
          <ac:spMkLst>
            <pc:docMk/>
            <pc:sldMk cId="2130418808" sldId="260"/>
            <ac:spMk id="11" creationId="{17CC832B-3DE0-080F-45A1-2C1BA8D9EA43}"/>
          </ac:spMkLst>
        </pc:spChg>
        <pc:spChg chg="mod ord">
          <ac:chgData name="Appala Srujana" userId="a897cc35-aedc-4025-bce6-6175c0177033" providerId="ADAL" clId="{F249931F-CF49-4405-BC21-8182E27291FD}" dt="2025-10-23T05:25:15.466" v="6898"/>
          <ac:spMkLst>
            <pc:docMk/>
            <pc:sldMk cId="2130418808" sldId="260"/>
            <ac:spMk id="12" creationId="{C34ADC05-DF5C-C5A1-0AA1-FA3D535BBC74}"/>
          </ac:spMkLst>
        </pc:spChg>
        <pc:spChg chg="del">
          <ac:chgData name="Appala Srujana" userId="a897cc35-aedc-4025-bce6-6175c0177033" providerId="ADAL" clId="{F249931F-CF49-4405-BC21-8182E27291FD}" dt="2025-10-23T05:19:32.346" v="3027" actId="478"/>
          <ac:spMkLst>
            <pc:docMk/>
            <pc:sldMk cId="2130418808" sldId="260"/>
            <ac:spMk id="13" creationId="{3A0AD1C2-89C4-E58D-EAD2-5AC8AC77C0DE}"/>
          </ac:spMkLst>
        </pc:spChg>
        <pc:spChg chg="mod ord">
          <ac:chgData name="Appala Srujana" userId="a897cc35-aedc-4025-bce6-6175c0177033" providerId="ADAL" clId="{F249931F-CF49-4405-BC21-8182E27291FD}" dt="2025-10-23T05:25:15.466" v="6910"/>
          <ac:spMkLst>
            <pc:docMk/>
            <pc:sldMk cId="2130418808" sldId="260"/>
            <ac:spMk id="14" creationId="{604CD808-A874-0166-0594-F3528610BA82}"/>
          </ac:spMkLst>
        </pc:spChg>
        <pc:spChg chg="mod ord">
          <ac:chgData name="Appala Srujana" userId="a897cc35-aedc-4025-bce6-6175c0177033" providerId="ADAL" clId="{F249931F-CF49-4405-BC21-8182E27291FD}" dt="2025-10-23T05:25:15.466" v="6922"/>
          <ac:spMkLst>
            <pc:docMk/>
            <pc:sldMk cId="2130418808" sldId="260"/>
            <ac:spMk id="15" creationId="{E79091D8-4A3A-ADD1-2612-F5550E48FC5D}"/>
          </ac:spMkLst>
        </pc:spChg>
        <pc:spChg chg="del">
          <ac:chgData name="Appala Srujana" userId="a897cc35-aedc-4025-bce6-6175c0177033" providerId="ADAL" clId="{F249931F-CF49-4405-BC21-8182E27291FD}" dt="2025-10-23T05:19:32.346" v="3027" actId="478"/>
          <ac:spMkLst>
            <pc:docMk/>
            <pc:sldMk cId="2130418808" sldId="260"/>
            <ac:spMk id="16" creationId="{5355CD85-856E-0482-D9EE-73E2B7DEF7B5}"/>
          </ac:spMkLst>
        </pc:spChg>
        <pc:spChg chg="mod ord">
          <ac:chgData name="Appala Srujana" userId="a897cc35-aedc-4025-bce6-6175c0177033" providerId="ADAL" clId="{F249931F-CF49-4405-BC21-8182E27291FD}" dt="2025-10-23T05:25:15.481" v="6954"/>
          <ac:spMkLst>
            <pc:docMk/>
            <pc:sldMk cId="2130418808" sldId="260"/>
            <ac:spMk id="17" creationId="{38FE5A04-99C5-74D4-8CAE-3787C0A3944D}"/>
          </ac:spMkLst>
        </pc:spChg>
        <pc:spChg chg="mod ord">
          <ac:chgData name="Appala Srujana" userId="a897cc35-aedc-4025-bce6-6175c0177033" providerId="ADAL" clId="{F249931F-CF49-4405-BC21-8182E27291FD}" dt="2025-10-23T05:25:15.481" v="6966"/>
          <ac:spMkLst>
            <pc:docMk/>
            <pc:sldMk cId="2130418808" sldId="260"/>
            <ac:spMk id="18" creationId="{584662EF-D979-FACA-C8F4-59C70D3D80E2}"/>
          </ac:spMkLst>
        </pc:spChg>
        <pc:spChg chg="mod ord">
          <ac:chgData name="Appala Srujana" userId="a897cc35-aedc-4025-bce6-6175c0177033" providerId="ADAL" clId="{F249931F-CF49-4405-BC21-8182E27291FD}" dt="2025-10-23T05:25:15.481" v="6978"/>
          <ac:spMkLst>
            <pc:docMk/>
            <pc:sldMk cId="2130418808" sldId="260"/>
            <ac:spMk id="19" creationId="{C779454A-7CDC-3CE3-7782-008C796CC4C7}"/>
          </ac:spMkLst>
        </pc:spChg>
        <pc:spChg chg="mod ord">
          <ac:chgData name="Appala Srujana" userId="a897cc35-aedc-4025-bce6-6175c0177033" providerId="ADAL" clId="{F249931F-CF49-4405-BC21-8182E27291FD}" dt="2025-10-23T05:25:15.481" v="6990"/>
          <ac:spMkLst>
            <pc:docMk/>
            <pc:sldMk cId="2130418808" sldId="260"/>
            <ac:spMk id="20" creationId="{93288886-7429-5B8A-A759-10984C6CC57A}"/>
          </ac:spMkLst>
        </pc:spChg>
        <pc:spChg chg="mod ord">
          <ac:chgData name="Appala Srujana" userId="a897cc35-aedc-4025-bce6-6175c0177033" providerId="ADAL" clId="{F249931F-CF49-4405-BC21-8182E27291FD}" dt="2025-10-23T05:25:15.497" v="7002"/>
          <ac:spMkLst>
            <pc:docMk/>
            <pc:sldMk cId="2130418808" sldId="260"/>
            <ac:spMk id="21" creationId="{23E1EFF7-7584-5DC3-21FD-61822D4316CA}"/>
          </ac:spMkLst>
        </pc:spChg>
        <pc:spChg chg="mod ord">
          <ac:chgData name="Appala Srujana" userId="a897cc35-aedc-4025-bce6-6175c0177033" providerId="ADAL" clId="{F249931F-CF49-4405-BC21-8182E27291FD}" dt="2025-10-23T05:25:15.497" v="7014"/>
          <ac:spMkLst>
            <pc:docMk/>
            <pc:sldMk cId="2130418808" sldId="260"/>
            <ac:spMk id="22" creationId="{917E116B-EC9C-B69E-6314-E27DC0EF2A24}"/>
          </ac:spMkLst>
        </pc:spChg>
        <pc:spChg chg="mod ord">
          <ac:chgData name="Appala Srujana" userId="a897cc35-aedc-4025-bce6-6175c0177033" providerId="ADAL" clId="{F249931F-CF49-4405-BC21-8182E27291FD}" dt="2025-10-23T05:25:15.510" v="7026"/>
          <ac:spMkLst>
            <pc:docMk/>
            <pc:sldMk cId="2130418808" sldId="260"/>
            <ac:spMk id="23" creationId="{BA918FAE-B31A-C3D1-AC97-D9A5DE10EB3F}"/>
          </ac:spMkLst>
        </pc:spChg>
        <pc:spChg chg="mod ord">
          <ac:chgData name="Appala Srujana" userId="a897cc35-aedc-4025-bce6-6175c0177033" providerId="ADAL" clId="{F249931F-CF49-4405-BC21-8182E27291FD}" dt="2025-10-23T05:25:15.529" v="7086"/>
          <ac:spMkLst>
            <pc:docMk/>
            <pc:sldMk cId="2130418808" sldId="260"/>
            <ac:spMk id="24" creationId="{50B138A4-5CDE-63B2-5981-033A2A9F0DD6}"/>
          </ac:spMkLst>
        </pc:spChg>
        <pc:spChg chg="mod ord">
          <ac:chgData name="Appala Srujana" userId="a897cc35-aedc-4025-bce6-6175c0177033" providerId="ADAL" clId="{F249931F-CF49-4405-BC21-8182E27291FD}" dt="2025-10-23T05:25:15.513" v="7038"/>
          <ac:spMkLst>
            <pc:docMk/>
            <pc:sldMk cId="2130418808" sldId="260"/>
            <ac:spMk id="25" creationId="{3239C02F-FB5B-31D1-5300-80F992C47999}"/>
          </ac:spMkLst>
        </pc:spChg>
        <pc:spChg chg="mod ord">
          <ac:chgData name="Appala Srujana" userId="a897cc35-aedc-4025-bce6-6175c0177033" providerId="ADAL" clId="{F249931F-CF49-4405-BC21-8182E27291FD}" dt="2025-10-23T05:25:15.513" v="7050"/>
          <ac:spMkLst>
            <pc:docMk/>
            <pc:sldMk cId="2130418808" sldId="260"/>
            <ac:spMk id="26" creationId="{3C35A776-163F-CDDA-60C7-0D52DEE0F795}"/>
          </ac:spMkLst>
        </pc:spChg>
        <pc:spChg chg="mod ord">
          <ac:chgData name="Appala Srujana" userId="a897cc35-aedc-4025-bce6-6175c0177033" providerId="ADAL" clId="{F249931F-CF49-4405-BC21-8182E27291FD}" dt="2025-10-23T05:25:15.513" v="7062"/>
          <ac:spMkLst>
            <pc:docMk/>
            <pc:sldMk cId="2130418808" sldId="260"/>
            <ac:spMk id="27" creationId="{4525D3F6-1BBB-DDC0-EDC1-DFF11B7BAA18}"/>
          </ac:spMkLst>
        </pc:spChg>
        <pc:spChg chg="mod ord">
          <ac:chgData name="Appala Srujana" userId="a897cc35-aedc-4025-bce6-6175c0177033" providerId="ADAL" clId="{F249931F-CF49-4405-BC21-8182E27291FD}" dt="2025-10-23T05:25:15.513" v="7074"/>
          <ac:spMkLst>
            <pc:docMk/>
            <pc:sldMk cId="2130418808" sldId="260"/>
            <ac:spMk id="28" creationId="{1EDEBC8B-E5F7-8A92-72C2-83238B8B14EF}"/>
          </ac:spMkLst>
        </pc:spChg>
        <pc:spChg chg="mod ord">
          <ac:chgData name="Appala Srujana" userId="a897cc35-aedc-4025-bce6-6175c0177033" providerId="ADAL" clId="{F249931F-CF49-4405-BC21-8182E27291FD}" dt="2025-10-23T05:25:15.466" v="6934"/>
          <ac:spMkLst>
            <pc:docMk/>
            <pc:sldMk cId="2130418808" sldId="260"/>
            <ac:spMk id="29" creationId="{E3AAEC6B-BADD-6983-D48B-3600EFE37BBD}"/>
          </ac:spMkLst>
        </pc:spChg>
        <pc:spChg chg="del">
          <ac:chgData name="Appala Srujana" userId="a897cc35-aedc-4025-bce6-6175c0177033" providerId="ADAL" clId="{F249931F-CF49-4405-BC21-8182E27291FD}" dt="2025-10-23T05:19:33.985" v="3028" actId="478"/>
          <ac:spMkLst>
            <pc:docMk/>
            <pc:sldMk cId="2130418808" sldId="260"/>
            <ac:spMk id="31" creationId="{37D063CB-8FA8-6A6B-8263-137A9010D90E}"/>
          </ac:spMkLst>
        </pc:spChg>
        <pc:spChg chg="mod ord">
          <ac:chgData name="Appala Srujana" userId="a897cc35-aedc-4025-bce6-6175c0177033" providerId="ADAL" clId="{F249931F-CF49-4405-BC21-8182E27291FD}" dt="2025-10-23T05:25:15.450" v="6874"/>
          <ac:spMkLst>
            <pc:docMk/>
            <pc:sldMk cId="2130418808" sldId="260"/>
            <ac:spMk id="33" creationId="{AB645026-3C1B-758D-9A0B-C2D778C6F7D2}"/>
          </ac:spMkLst>
        </pc:spChg>
        <pc:spChg chg="mod ord">
          <ac:chgData name="Appala Srujana" userId="a897cc35-aedc-4025-bce6-6175c0177033" providerId="ADAL" clId="{F249931F-CF49-4405-BC21-8182E27291FD}" dt="2025-10-23T05:25:15.545" v="7126"/>
          <ac:spMkLst>
            <pc:docMk/>
            <pc:sldMk cId="2130418808" sldId="260"/>
            <ac:spMk id="34" creationId="{F97BB51D-FE14-216F-8344-7CB33E0AB925}"/>
          </ac:spMkLst>
        </pc:spChg>
        <pc:spChg chg="add mod ord">
          <ac:chgData name="Appala Srujana" userId="a897cc35-aedc-4025-bce6-6175c0177033" providerId="ADAL" clId="{F249931F-CF49-4405-BC21-8182E27291FD}" dt="2025-10-23T05:26:38.780" v="7166" actId="1582"/>
          <ac:spMkLst>
            <pc:docMk/>
            <pc:sldMk cId="2130418808" sldId="260"/>
            <ac:spMk id="35" creationId="{E4DB3C31-4200-4E7E-5E5F-E4D0B4BCA87E}"/>
          </ac:spMkLst>
        </pc:spChg>
        <pc:spChg chg="mod ord">
          <ac:chgData name="Appala Srujana" userId="a897cc35-aedc-4025-bce6-6175c0177033" providerId="ADAL" clId="{F249931F-CF49-4405-BC21-8182E27291FD}" dt="2025-10-23T05:25:15.442" v="6832"/>
          <ac:spMkLst>
            <pc:docMk/>
            <pc:sldMk cId="2130418808" sldId="260"/>
            <ac:spMk id="68" creationId="{D113F46C-046F-D572-C032-54C87268B27D}"/>
          </ac:spMkLst>
        </pc:spChg>
        <pc:spChg chg="mod ord">
          <ac:chgData name="Appala Srujana" userId="a897cc35-aedc-4025-bce6-6175c0177033" providerId="ADAL" clId="{F249931F-CF49-4405-BC21-8182E27291FD}" dt="2025-10-23T05:25:15.448" v="6852"/>
          <ac:spMkLst>
            <pc:docMk/>
            <pc:sldMk cId="2130418808" sldId="260"/>
            <ac:spMk id="69" creationId="{414AD70E-7F78-2C2A-FA00-A7B46477E3DB}"/>
          </ac:spMkLst>
        </pc:spChg>
        <pc:spChg chg="mod ord">
          <ac:chgData name="Appala Srujana" userId="a897cc35-aedc-4025-bce6-6175c0177033" providerId="ADAL" clId="{F249931F-CF49-4405-BC21-8182E27291FD}" dt="2025-10-23T05:25:15.450" v="6864"/>
          <ac:spMkLst>
            <pc:docMk/>
            <pc:sldMk cId="2130418808" sldId="260"/>
            <ac:spMk id="70" creationId="{F5EB9851-350F-14DA-7533-D95E094EEE7D}"/>
          </ac:spMkLst>
        </pc:spChg>
        <pc:spChg chg="mod ord">
          <ac:chgData name="Appala Srujana" userId="a897cc35-aedc-4025-bce6-6175c0177033" providerId="ADAL" clId="{F249931F-CF49-4405-BC21-8182E27291FD}" dt="2025-10-23T05:25:15.450" v="6886"/>
          <ac:spMkLst>
            <pc:docMk/>
            <pc:sldMk cId="2130418808" sldId="260"/>
            <ac:spMk id="71" creationId="{9C79DFDD-999C-1386-28C8-BCA9C61FF8EE}"/>
          </ac:spMkLst>
        </pc:spChg>
        <pc:spChg chg="mod ord">
          <ac:chgData name="Appala Srujana" userId="a897cc35-aedc-4025-bce6-6175c0177033" providerId="ADAL" clId="{F249931F-CF49-4405-BC21-8182E27291FD}" dt="2025-10-23T05:25:15.466" v="6900"/>
          <ac:spMkLst>
            <pc:docMk/>
            <pc:sldMk cId="2130418808" sldId="260"/>
            <ac:spMk id="74" creationId="{9AFBB290-FCFA-F4C4-D0E3-E3D0ACD2C188}"/>
          </ac:spMkLst>
        </pc:spChg>
        <pc:spChg chg="mod ord">
          <ac:chgData name="Appala Srujana" userId="a897cc35-aedc-4025-bce6-6175c0177033" providerId="ADAL" clId="{F249931F-CF49-4405-BC21-8182E27291FD}" dt="2025-10-23T05:25:15.466" v="6912"/>
          <ac:spMkLst>
            <pc:docMk/>
            <pc:sldMk cId="2130418808" sldId="260"/>
            <ac:spMk id="76" creationId="{536915C9-64CD-1D4D-B0DE-9509E7C09E12}"/>
          </ac:spMkLst>
        </pc:spChg>
        <pc:spChg chg="mod ord">
          <ac:chgData name="Appala Srujana" userId="a897cc35-aedc-4025-bce6-6175c0177033" providerId="ADAL" clId="{F249931F-CF49-4405-BC21-8182E27291FD}" dt="2025-10-23T05:25:15.466" v="6924"/>
          <ac:spMkLst>
            <pc:docMk/>
            <pc:sldMk cId="2130418808" sldId="260"/>
            <ac:spMk id="77" creationId="{A54F440B-11FB-3AEC-3745-659EF70C08F0}"/>
          </ac:spMkLst>
        </pc:spChg>
        <pc:spChg chg="mod ord">
          <ac:chgData name="Appala Srujana" userId="a897cc35-aedc-4025-bce6-6175c0177033" providerId="ADAL" clId="{F249931F-CF49-4405-BC21-8182E27291FD}" dt="2025-10-23T05:25:15.481" v="6956"/>
          <ac:spMkLst>
            <pc:docMk/>
            <pc:sldMk cId="2130418808" sldId="260"/>
            <ac:spMk id="79" creationId="{8DF79C30-8A3B-05F1-D369-A97189A9A134}"/>
          </ac:spMkLst>
        </pc:spChg>
        <pc:spChg chg="mod ord">
          <ac:chgData name="Appala Srujana" userId="a897cc35-aedc-4025-bce6-6175c0177033" providerId="ADAL" clId="{F249931F-CF49-4405-BC21-8182E27291FD}" dt="2025-10-23T05:25:15.481" v="6968"/>
          <ac:spMkLst>
            <pc:docMk/>
            <pc:sldMk cId="2130418808" sldId="260"/>
            <ac:spMk id="80" creationId="{E37DC46F-A335-DB0F-E50B-D548F83F649E}"/>
          </ac:spMkLst>
        </pc:spChg>
        <pc:spChg chg="mod ord">
          <ac:chgData name="Appala Srujana" userId="a897cc35-aedc-4025-bce6-6175c0177033" providerId="ADAL" clId="{F249931F-CF49-4405-BC21-8182E27291FD}" dt="2025-10-23T05:25:15.481" v="6980"/>
          <ac:spMkLst>
            <pc:docMk/>
            <pc:sldMk cId="2130418808" sldId="260"/>
            <ac:spMk id="81" creationId="{909DC540-4C8B-D38C-2A8D-474556CC20F2}"/>
          </ac:spMkLst>
        </pc:spChg>
        <pc:spChg chg="mod ord">
          <ac:chgData name="Appala Srujana" userId="a897cc35-aedc-4025-bce6-6175c0177033" providerId="ADAL" clId="{F249931F-CF49-4405-BC21-8182E27291FD}" dt="2025-10-23T05:25:15.481" v="6992"/>
          <ac:spMkLst>
            <pc:docMk/>
            <pc:sldMk cId="2130418808" sldId="260"/>
            <ac:spMk id="82" creationId="{8184D2DA-975C-65F5-5BFA-DB3DBEF5AF31}"/>
          </ac:spMkLst>
        </pc:spChg>
        <pc:spChg chg="mod ord">
          <ac:chgData name="Appala Srujana" userId="a897cc35-aedc-4025-bce6-6175c0177033" providerId="ADAL" clId="{F249931F-CF49-4405-BC21-8182E27291FD}" dt="2025-10-23T05:25:15.497" v="7004"/>
          <ac:spMkLst>
            <pc:docMk/>
            <pc:sldMk cId="2130418808" sldId="260"/>
            <ac:spMk id="83" creationId="{C594EC0B-30FE-00F8-F3CC-A7985AD9ABE4}"/>
          </ac:spMkLst>
        </pc:spChg>
        <pc:spChg chg="mod ord">
          <ac:chgData name="Appala Srujana" userId="a897cc35-aedc-4025-bce6-6175c0177033" providerId="ADAL" clId="{F249931F-CF49-4405-BC21-8182E27291FD}" dt="2025-10-23T05:25:15.506" v="7016"/>
          <ac:spMkLst>
            <pc:docMk/>
            <pc:sldMk cId="2130418808" sldId="260"/>
            <ac:spMk id="84" creationId="{E939E413-9525-B456-9A7C-9A022D7CC2B5}"/>
          </ac:spMkLst>
        </pc:spChg>
        <pc:spChg chg="mod ord">
          <ac:chgData name="Appala Srujana" userId="a897cc35-aedc-4025-bce6-6175c0177033" providerId="ADAL" clId="{F249931F-CF49-4405-BC21-8182E27291FD}" dt="2025-10-23T05:25:15.510" v="7028"/>
          <ac:spMkLst>
            <pc:docMk/>
            <pc:sldMk cId="2130418808" sldId="260"/>
            <ac:spMk id="85" creationId="{A484DD04-F48A-70B7-B476-BB9E0F574BC2}"/>
          </ac:spMkLst>
        </pc:spChg>
        <pc:spChg chg="mod ord">
          <ac:chgData name="Appala Srujana" userId="a897cc35-aedc-4025-bce6-6175c0177033" providerId="ADAL" clId="{F249931F-CF49-4405-BC21-8182E27291FD}" dt="2025-10-23T05:25:15.529" v="7088"/>
          <ac:spMkLst>
            <pc:docMk/>
            <pc:sldMk cId="2130418808" sldId="260"/>
            <ac:spMk id="86" creationId="{14775F92-FC39-61DC-C1F4-7B23956B99C6}"/>
          </ac:spMkLst>
        </pc:spChg>
        <pc:spChg chg="mod ord">
          <ac:chgData name="Appala Srujana" userId="a897cc35-aedc-4025-bce6-6175c0177033" providerId="ADAL" clId="{F249931F-CF49-4405-BC21-8182E27291FD}" dt="2025-10-23T05:25:15.513" v="7040"/>
          <ac:spMkLst>
            <pc:docMk/>
            <pc:sldMk cId="2130418808" sldId="260"/>
            <ac:spMk id="87" creationId="{123BF2DF-3B40-F0AB-3986-403AD69D4BCB}"/>
          </ac:spMkLst>
        </pc:spChg>
        <pc:spChg chg="mod ord">
          <ac:chgData name="Appala Srujana" userId="a897cc35-aedc-4025-bce6-6175c0177033" providerId="ADAL" clId="{F249931F-CF49-4405-BC21-8182E27291FD}" dt="2025-10-23T05:25:15.513" v="7052"/>
          <ac:spMkLst>
            <pc:docMk/>
            <pc:sldMk cId="2130418808" sldId="260"/>
            <ac:spMk id="88" creationId="{45D63916-2E79-D4AA-115F-0798B1277E19}"/>
          </ac:spMkLst>
        </pc:spChg>
        <pc:spChg chg="mod ord">
          <ac:chgData name="Appala Srujana" userId="a897cc35-aedc-4025-bce6-6175c0177033" providerId="ADAL" clId="{F249931F-CF49-4405-BC21-8182E27291FD}" dt="2025-10-23T05:25:15.513" v="7064"/>
          <ac:spMkLst>
            <pc:docMk/>
            <pc:sldMk cId="2130418808" sldId="260"/>
            <ac:spMk id="89" creationId="{1AA56ECD-F563-2BB7-28E2-1E2A44227A8E}"/>
          </ac:spMkLst>
        </pc:spChg>
        <pc:spChg chg="mod ord">
          <ac:chgData name="Appala Srujana" userId="a897cc35-aedc-4025-bce6-6175c0177033" providerId="ADAL" clId="{F249931F-CF49-4405-BC21-8182E27291FD}" dt="2025-10-23T05:25:15.513" v="7076"/>
          <ac:spMkLst>
            <pc:docMk/>
            <pc:sldMk cId="2130418808" sldId="260"/>
            <ac:spMk id="90" creationId="{936FF463-2905-4A00-C3CB-57D35011D204}"/>
          </ac:spMkLst>
        </pc:spChg>
        <pc:spChg chg="mod ord">
          <ac:chgData name="Appala Srujana" userId="a897cc35-aedc-4025-bce6-6175c0177033" providerId="ADAL" clId="{F249931F-CF49-4405-BC21-8182E27291FD}" dt="2025-10-23T05:25:15.466" v="6936"/>
          <ac:spMkLst>
            <pc:docMk/>
            <pc:sldMk cId="2130418808" sldId="260"/>
            <ac:spMk id="91" creationId="{7D354D1E-B2F0-9EB7-A3DB-383663CEDA10}"/>
          </ac:spMkLst>
        </pc:spChg>
        <pc:spChg chg="mod ord">
          <ac:chgData name="Appala Srujana" userId="a897cc35-aedc-4025-bce6-6175c0177033" providerId="ADAL" clId="{F249931F-CF49-4405-BC21-8182E27291FD}" dt="2025-10-23T05:25:15.547" v="7128"/>
          <ac:spMkLst>
            <pc:docMk/>
            <pc:sldMk cId="2130418808" sldId="260"/>
            <ac:spMk id="95" creationId="{AA8203C7-C0A4-D17B-9C8B-15D6F6B675F7}"/>
          </ac:spMkLst>
        </pc:spChg>
        <pc:spChg chg="mod ord">
          <ac:chgData name="Appala Srujana" userId="a897cc35-aedc-4025-bce6-6175c0177033" providerId="ADAL" clId="{F249931F-CF49-4405-BC21-8182E27291FD}" dt="2025-10-23T05:25:15.450" v="6876"/>
          <ac:spMkLst>
            <pc:docMk/>
            <pc:sldMk cId="2130418808" sldId="260"/>
            <ac:spMk id="96" creationId="{F3B1E6A7-F66E-AE3D-1DE0-266FFC22ED69}"/>
          </ac:spMkLst>
        </pc:spChg>
        <pc:spChg chg="mod ord">
          <ac:chgData name="Appala Srujana" userId="a897cc35-aedc-4025-bce6-6175c0177033" providerId="ADAL" clId="{F249931F-CF49-4405-BC21-8182E27291FD}" dt="2025-10-23T05:25:15.444" v="6834"/>
          <ac:spMkLst>
            <pc:docMk/>
            <pc:sldMk cId="2130418808" sldId="260"/>
            <ac:spMk id="99" creationId="{948A3017-8D5E-4B9F-59DD-B33A97A19CAF}"/>
          </ac:spMkLst>
        </pc:spChg>
        <pc:spChg chg="mod">
          <ac:chgData name="Appala Srujana" userId="a897cc35-aedc-4025-bce6-6175c0177033" providerId="ADAL" clId="{F249931F-CF49-4405-BC21-8182E27291FD}" dt="2025-10-23T05:25:15.448" v="6853"/>
          <ac:spMkLst>
            <pc:docMk/>
            <pc:sldMk cId="2130418808" sldId="260"/>
            <ac:spMk id="100" creationId="{ADA1A40B-450D-B575-5532-B94060B5F290}"/>
          </ac:spMkLst>
        </pc:spChg>
        <pc:spChg chg="mod">
          <ac:chgData name="Appala Srujana" userId="a897cc35-aedc-4025-bce6-6175c0177033" providerId="ADAL" clId="{F249931F-CF49-4405-BC21-8182E27291FD}" dt="2025-10-23T05:25:15.450" v="6865"/>
          <ac:spMkLst>
            <pc:docMk/>
            <pc:sldMk cId="2130418808" sldId="260"/>
            <ac:spMk id="101" creationId="{0B45BE2D-54EB-FFDC-E64C-37C9CDDFEA30}"/>
          </ac:spMkLst>
        </pc:spChg>
        <pc:spChg chg="mod">
          <ac:chgData name="Appala Srujana" userId="a897cc35-aedc-4025-bce6-6175c0177033" providerId="ADAL" clId="{F249931F-CF49-4405-BC21-8182E27291FD}" dt="2025-10-23T05:25:15.450" v="6887"/>
          <ac:spMkLst>
            <pc:docMk/>
            <pc:sldMk cId="2130418808" sldId="260"/>
            <ac:spMk id="102" creationId="{E82D0402-BFE5-D5F0-0F42-3E82A7AD41D0}"/>
          </ac:spMkLst>
        </pc:spChg>
        <pc:spChg chg="mod">
          <ac:chgData name="Appala Srujana" userId="a897cc35-aedc-4025-bce6-6175c0177033" providerId="ADAL" clId="{F249931F-CF49-4405-BC21-8182E27291FD}" dt="2025-10-23T05:25:15.466" v="6901"/>
          <ac:spMkLst>
            <pc:docMk/>
            <pc:sldMk cId="2130418808" sldId="260"/>
            <ac:spMk id="105" creationId="{3922435F-1B5F-90AD-36A1-791886C0964F}"/>
          </ac:spMkLst>
        </pc:spChg>
        <pc:spChg chg="mod">
          <ac:chgData name="Appala Srujana" userId="a897cc35-aedc-4025-bce6-6175c0177033" providerId="ADAL" clId="{F249931F-CF49-4405-BC21-8182E27291FD}" dt="2025-10-23T05:25:15.466" v="6913"/>
          <ac:spMkLst>
            <pc:docMk/>
            <pc:sldMk cId="2130418808" sldId="260"/>
            <ac:spMk id="107" creationId="{A3D23370-6EAA-85AC-143B-2404DC4A2C09}"/>
          </ac:spMkLst>
        </pc:spChg>
        <pc:spChg chg="mod">
          <ac:chgData name="Appala Srujana" userId="a897cc35-aedc-4025-bce6-6175c0177033" providerId="ADAL" clId="{F249931F-CF49-4405-BC21-8182E27291FD}" dt="2025-10-23T05:25:15.466" v="6925"/>
          <ac:spMkLst>
            <pc:docMk/>
            <pc:sldMk cId="2130418808" sldId="260"/>
            <ac:spMk id="108" creationId="{A28C98A7-D5D4-3191-F4FB-812089546264}"/>
          </ac:spMkLst>
        </pc:spChg>
        <pc:spChg chg="mod">
          <ac:chgData name="Appala Srujana" userId="a897cc35-aedc-4025-bce6-6175c0177033" providerId="ADAL" clId="{F249931F-CF49-4405-BC21-8182E27291FD}" dt="2025-10-23T05:25:15.481" v="6957"/>
          <ac:spMkLst>
            <pc:docMk/>
            <pc:sldMk cId="2130418808" sldId="260"/>
            <ac:spMk id="110" creationId="{A40017DA-4522-4503-5868-5AD81EF34815}"/>
          </ac:spMkLst>
        </pc:spChg>
        <pc:spChg chg="mod">
          <ac:chgData name="Appala Srujana" userId="a897cc35-aedc-4025-bce6-6175c0177033" providerId="ADAL" clId="{F249931F-CF49-4405-BC21-8182E27291FD}" dt="2025-10-23T05:25:15.481" v="6969"/>
          <ac:spMkLst>
            <pc:docMk/>
            <pc:sldMk cId="2130418808" sldId="260"/>
            <ac:spMk id="111" creationId="{BEAAB31A-B41F-EDBF-2214-9C14E7F35F2C}"/>
          </ac:spMkLst>
        </pc:spChg>
        <pc:spChg chg="mod">
          <ac:chgData name="Appala Srujana" userId="a897cc35-aedc-4025-bce6-6175c0177033" providerId="ADAL" clId="{F249931F-CF49-4405-BC21-8182E27291FD}" dt="2025-10-23T05:25:15.481" v="6981"/>
          <ac:spMkLst>
            <pc:docMk/>
            <pc:sldMk cId="2130418808" sldId="260"/>
            <ac:spMk id="112" creationId="{3468DA1F-BEAA-5377-F407-DCB73AD7DD0E}"/>
          </ac:spMkLst>
        </pc:spChg>
        <pc:spChg chg="mod">
          <ac:chgData name="Appala Srujana" userId="a897cc35-aedc-4025-bce6-6175c0177033" providerId="ADAL" clId="{F249931F-CF49-4405-BC21-8182E27291FD}" dt="2025-10-23T05:25:15.497" v="6993"/>
          <ac:spMkLst>
            <pc:docMk/>
            <pc:sldMk cId="2130418808" sldId="260"/>
            <ac:spMk id="113" creationId="{DB686480-5DC3-67DF-6656-062E15B279DB}"/>
          </ac:spMkLst>
        </pc:spChg>
        <pc:spChg chg="mod">
          <ac:chgData name="Appala Srujana" userId="a897cc35-aedc-4025-bce6-6175c0177033" providerId="ADAL" clId="{F249931F-CF49-4405-BC21-8182E27291FD}" dt="2025-10-23T05:25:15.497" v="7005"/>
          <ac:spMkLst>
            <pc:docMk/>
            <pc:sldMk cId="2130418808" sldId="260"/>
            <ac:spMk id="114" creationId="{9C566572-A41D-F7AB-281B-99C9F15C550A}"/>
          </ac:spMkLst>
        </pc:spChg>
        <pc:spChg chg="mod">
          <ac:chgData name="Appala Srujana" userId="a897cc35-aedc-4025-bce6-6175c0177033" providerId="ADAL" clId="{F249931F-CF49-4405-BC21-8182E27291FD}" dt="2025-10-23T05:25:15.506" v="7017"/>
          <ac:spMkLst>
            <pc:docMk/>
            <pc:sldMk cId="2130418808" sldId="260"/>
            <ac:spMk id="115" creationId="{861C965C-9786-ECC0-9344-781B034D299F}"/>
          </ac:spMkLst>
        </pc:spChg>
        <pc:spChg chg="mod">
          <ac:chgData name="Appala Srujana" userId="a897cc35-aedc-4025-bce6-6175c0177033" providerId="ADAL" clId="{F249931F-CF49-4405-BC21-8182E27291FD}" dt="2025-10-23T05:25:15.510" v="7029"/>
          <ac:spMkLst>
            <pc:docMk/>
            <pc:sldMk cId="2130418808" sldId="260"/>
            <ac:spMk id="116" creationId="{5935A790-8ECA-DCBD-08AE-8AA1370E394C}"/>
          </ac:spMkLst>
        </pc:spChg>
        <pc:spChg chg="mod">
          <ac:chgData name="Appala Srujana" userId="a897cc35-aedc-4025-bce6-6175c0177033" providerId="ADAL" clId="{F249931F-CF49-4405-BC21-8182E27291FD}" dt="2025-10-23T05:25:15.529" v="7089"/>
          <ac:spMkLst>
            <pc:docMk/>
            <pc:sldMk cId="2130418808" sldId="260"/>
            <ac:spMk id="117" creationId="{5913D266-1C95-C225-CCDA-8D288806457C}"/>
          </ac:spMkLst>
        </pc:spChg>
        <pc:spChg chg="mod">
          <ac:chgData name="Appala Srujana" userId="a897cc35-aedc-4025-bce6-6175c0177033" providerId="ADAL" clId="{F249931F-CF49-4405-BC21-8182E27291FD}" dt="2025-10-23T05:25:15.513" v="7041"/>
          <ac:spMkLst>
            <pc:docMk/>
            <pc:sldMk cId="2130418808" sldId="260"/>
            <ac:spMk id="118" creationId="{276D078D-4D70-E197-EBB7-54CA9F899A27}"/>
          </ac:spMkLst>
        </pc:spChg>
        <pc:spChg chg="mod">
          <ac:chgData name="Appala Srujana" userId="a897cc35-aedc-4025-bce6-6175c0177033" providerId="ADAL" clId="{F249931F-CF49-4405-BC21-8182E27291FD}" dt="2025-10-23T05:25:15.513" v="7053"/>
          <ac:spMkLst>
            <pc:docMk/>
            <pc:sldMk cId="2130418808" sldId="260"/>
            <ac:spMk id="119" creationId="{3CA85B55-1FA9-5E76-8CC5-D0461BD7264B}"/>
          </ac:spMkLst>
        </pc:spChg>
        <pc:spChg chg="mod">
          <ac:chgData name="Appala Srujana" userId="a897cc35-aedc-4025-bce6-6175c0177033" providerId="ADAL" clId="{F249931F-CF49-4405-BC21-8182E27291FD}" dt="2025-10-23T05:25:15.513" v="7065"/>
          <ac:spMkLst>
            <pc:docMk/>
            <pc:sldMk cId="2130418808" sldId="260"/>
            <ac:spMk id="120" creationId="{E4373E00-02EE-4464-A3DB-9D4F456DC942}"/>
          </ac:spMkLst>
        </pc:spChg>
        <pc:spChg chg="mod">
          <ac:chgData name="Appala Srujana" userId="a897cc35-aedc-4025-bce6-6175c0177033" providerId="ADAL" clId="{F249931F-CF49-4405-BC21-8182E27291FD}" dt="2025-10-23T05:25:15.513" v="7077"/>
          <ac:spMkLst>
            <pc:docMk/>
            <pc:sldMk cId="2130418808" sldId="260"/>
            <ac:spMk id="121" creationId="{11E17BB0-E988-45C6-1E13-86074DDDD48C}"/>
          </ac:spMkLst>
        </pc:spChg>
        <pc:spChg chg="mod ord">
          <ac:chgData name="Appala Srujana" userId="a897cc35-aedc-4025-bce6-6175c0177033" providerId="ADAL" clId="{F249931F-CF49-4405-BC21-8182E27291FD}" dt="2025-10-23T05:25:15.466" v="6938"/>
          <ac:spMkLst>
            <pc:docMk/>
            <pc:sldMk cId="2130418808" sldId="260"/>
            <ac:spMk id="122" creationId="{8440449A-722C-F939-7DA5-E0C68F5A6353}"/>
          </ac:spMkLst>
        </pc:spChg>
        <pc:spChg chg="mod">
          <ac:chgData name="Appala Srujana" userId="a897cc35-aedc-4025-bce6-6175c0177033" providerId="ADAL" clId="{F249931F-CF49-4405-BC21-8182E27291FD}" dt="2025-10-23T05:25:15.547" v="7129"/>
          <ac:spMkLst>
            <pc:docMk/>
            <pc:sldMk cId="2130418808" sldId="260"/>
            <ac:spMk id="126" creationId="{20A295F9-1F39-5AEF-0AA6-F92CDDADBB47}"/>
          </ac:spMkLst>
        </pc:spChg>
        <pc:spChg chg="mod">
          <ac:chgData name="Appala Srujana" userId="a897cc35-aedc-4025-bce6-6175c0177033" providerId="ADAL" clId="{F249931F-CF49-4405-BC21-8182E27291FD}" dt="2025-10-23T05:25:15.450" v="6877"/>
          <ac:spMkLst>
            <pc:docMk/>
            <pc:sldMk cId="2130418808" sldId="260"/>
            <ac:spMk id="127" creationId="{87C73A4B-B880-69E3-115E-6D116A8E660A}"/>
          </ac:spMkLst>
        </pc:spChg>
        <pc:spChg chg="mod ord">
          <ac:chgData name="Appala Srujana" userId="a897cc35-aedc-4025-bce6-6175c0177033" providerId="ADAL" clId="{F249931F-CF49-4405-BC21-8182E27291FD}" dt="2025-10-23T05:25:15.444" v="6836"/>
          <ac:spMkLst>
            <pc:docMk/>
            <pc:sldMk cId="2130418808" sldId="260"/>
            <ac:spMk id="130" creationId="{8F80D13D-ACD0-A11E-2993-28C9A41458B3}"/>
          </ac:spMkLst>
        </pc:spChg>
        <pc:spChg chg="mod">
          <ac:chgData name="Appala Srujana" userId="a897cc35-aedc-4025-bce6-6175c0177033" providerId="ADAL" clId="{F249931F-CF49-4405-BC21-8182E27291FD}" dt="2025-10-23T05:25:15.448" v="6854"/>
          <ac:spMkLst>
            <pc:docMk/>
            <pc:sldMk cId="2130418808" sldId="260"/>
            <ac:spMk id="131" creationId="{21086AD4-D9F9-D5BC-381B-1EE37232E3EA}"/>
          </ac:spMkLst>
        </pc:spChg>
        <pc:spChg chg="mod">
          <ac:chgData name="Appala Srujana" userId="a897cc35-aedc-4025-bce6-6175c0177033" providerId="ADAL" clId="{F249931F-CF49-4405-BC21-8182E27291FD}" dt="2025-10-23T05:25:15.450" v="6866"/>
          <ac:spMkLst>
            <pc:docMk/>
            <pc:sldMk cId="2130418808" sldId="260"/>
            <ac:spMk id="132" creationId="{ECA98ED7-20AE-81F6-A992-AD79701BF5A3}"/>
          </ac:spMkLst>
        </pc:spChg>
        <pc:spChg chg="mod">
          <ac:chgData name="Appala Srujana" userId="a897cc35-aedc-4025-bce6-6175c0177033" providerId="ADAL" clId="{F249931F-CF49-4405-BC21-8182E27291FD}" dt="2025-10-23T05:25:15.450" v="6888"/>
          <ac:spMkLst>
            <pc:docMk/>
            <pc:sldMk cId="2130418808" sldId="260"/>
            <ac:spMk id="133" creationId="{4693BE63-DB2E-CC7F-D3B1-5EEA7C6BFD64}"/>
          </ac:spMkLst>
        </pc:spChg>
        <pc:spChg chg="mod">
          <ac:chgData name="Appala Srujana" userId="a897cc35-aedc-4025-bce6-6175c0177033" providerId="ADAL" clId="{F249931F-CF49-4405-BC21-8182E27291FD}" dt="2025-10-23T05:25:15.466" v="6902"/>
          <ac:spMkLst>
            <pc:docMk/>
            <pc:sldMk cId="2130418808" sldId="260"/>
            <ac:spMk id="136" creationId="{690816E7-BC56-BDA9-BA53-0F11D075DF77}"/>
          </ac:spMkLst>
        </pc:spChg>
        <pc:spChg chg="mod">
          <ac:chgData name="Appala Srujana" userId="a897cc35-aedc-4025-bce6-6175c0177033" providerId="ADAL" clId="{F249931F-CF49-4405-BC21-8182E27291FD}" dt="2025-10-23T05:25:15.466" v="6914"/>
          <ac:spMkLst>
            <pc:docMk/>
            <pc:sldMk cId="2130418808" sldId="260"/>
            <ac:spMk id="138" creationId="{4F05053C-DA89-AEF3-815F-0E7212DE8320}"/>
          </ac:spMkLst>
        </pc:spChg>
        <pc:spChg chg="mod">
          <ac:chgData name="Appala Srujana" userId="a897cc35-aedc-4025-bce6-6175c0177033" providerId="ADAL" clId="{F249931F-CF49-4405-BC21-8182E27291FD}" dt="2025-10-23T05:25:15.466" v="6926"/>
          <ac:spMkLst>
            <pc:docMk/>
            <pc:sldMk cId="2130418808" sldId="260"/>
            <ac:spMk id="139" creationId="{401895EF-8AC7-08D3-5424-1220DD87A790}"/>
          </ac:spMkLst>
        </pc:spChg>
        <pc:spChg chg="mod">
          <ac:chgData name="Appala Srujana" userId="a897cc35-aedc-4025-bce6-6175c0177033" providerId="ADAL" clId="{F249931F-CF49-4405-BC21-8182E27291FD}" dt="2025-10-23T05:25:15.481" v="6958"/>
          <ac:spMkLst>
            <pc:docMk/>
            <pc:sldMk cId="2130418808" sldId="260"/>
            <ac:spMk id="141" creationId="{C5D77A15-FAE4-3916-EA8C-22A6765D653F}"/>
          </ac:spMkLst>
        </pc:spChg>
        <pc:spChg chg="mod">
          <ac:chgData name="Appala Srujana" userId="a897cc35-aedc-4025-bce6-6175c0177033" providerId="ADAL" clId="{F249931F-CF49-4405-BC21-8182E27291FD}" dt="2025-10-23T05:25:15.481" v="6970"/>
          <ac:spMkLst>
            <pc:docMk/>
            <pc:sldMk cId="2130418808" sldId="260"/>
            <ac:spMk id="142" creationId="{301526B3-7658-F87C-AB79-2D4F6FAB881B}"/>
          </ac:spMkLst>
        </pc:spChg>
        <pc:spChg chg="mod">
          <ac:chgData name="Appala Srujana" userId="a897cc35-aedc-4025-bce6-6175c0177033" providerId="ADAL" clId="{F249931F-CF49-4405-BC21-8182E27291FD}" dt="2025-10-23T05:25:15.481" v="6982"/>
          <ac:spMkLst>
            <pc:docMk/>
            <pc:sldMk cId="2130418808" sldId="260"/>
            <ac:spMk id="143" creationId="{B6E01120-36B5-7BE7-D82D-251B743A0B7C}"/>
          </ac:spMkLst>
        </pc:spChg>
        <pc:spChg chg="mod">
          <ac:chgData name="Appala Srujana" userId="a897cc35-aedc-4025-bce6-6175c0177033" providerId="ADAL" clId="{F249931F-CF49-4405-BC21-8182E27291FD}" dt="2025-10-23T05:25:15.497" v="6994"/>
          <ac:spMkLst>
            <pc:docMk/>
            <pc:sldMk cId="2130418808" sldId="260"/>
            <ac:spMk id="144" creationId="{14ECDB33-7272-D839-787F-CE53BD788E7F}"/>
          </ac:spMkLst>
        </pc:spChg>
        <pc:spChg chg="mod">
          <ac:chgData name="Appala Srujana" userId="a897cc35-aedc-4025-bce6-6175c0177033" providerId="ADAL" clId="{F249931F-CF49-4405-BC21-8182E27291FD}" dt="2025-10-23T05:25:15.497" v="7006"/>
          <ac:spMkLst>
            <pc:docMk/>
            <pc:sldMk cId="2130418808" sldId="260"/>
            <ac:spMk id="145" creationId="{23486795-B014-6ABA-C964-A336B8B454F9}"/>
          </ac:spMkLst>
        </pc:spChg>
        <pc:spChg chg="mod">
          <ac:chgData name="Appala Srujana" userId="a897cc35-aedc-4025-bce6-6175c0177033" providerId="ADAL" clId="{F249931F-CF49-4405-BC21-8182E27291FD}" dt="2025-10-23T05:25:15.506" v="7018"/>
          <ac:spMkLst>
            <pc:docMk/>
            <pc:sldMk cId="2130418808" sldId="260"/>
            <ac:spMk id="146" creationId="{513877B5-E2C1-6746-DF09-DD42977771F4}"/>
          </ac:spMkLst>
        </pc:spChg>
        <pc:spChg chg="mod">
          <ac:chgData name="Appala Srujana" userId="a897cc35-aedc-4025-bce6-6175c0177033" providerId="ADAL" clId="{F249931F-CF49-4405-BC21-8182E27291FD}" dt="2025-10-23T05:25:15.512" v="7030"/>
          <ac:spMkLst>
            <pc:docMk/>
            <pc:sldMk cId="2130418808" sldId="260"/>
            <ac:spMk id="147" creationId="{524CF74C-94FD-EAEC-A716-ACD5E15E4AB5}"/>
          </ac:spMkLst>
        </pc:spChg>
        <pc:spChg chg="mod">
          <ac:chgData name="Appala Srujana" userId="a897cc35-aedc-4025-bce6-6175c0177033" providerId="ADAL" clId="{F249931F-CF49-4405-BC21-8182E27291FD}" dt="2025-10-23T05:25:15.529" v="7090"/>
          <ac:spMkLst>
            <pc:docMk/>
            <pc:sldMk cId="2130418808" sldId="260"/>
            <ac:spMk id="148" creationId="{BEDCC9CA-6DBA-4AA8-8CDC-E9425155D2D4}"/>
          </ac:spMkLst>
        </pc:spChg>
        <pc:spChg chg="mod">
          <ac:chgData name="Appala Srujana" userId="a897cc35-aedc-4025-bce6-6175c0177033" providerId="ADAL" clId="{F249931F-CF49-4405-BC21-8182E27291FD}" dt="2025-10-23T05:25:15.513" v="7042"/>
          <ac:spMkLst>
            <pc:docMk/>
            <pc:sldMk cId="2130418808" sldId="260"/>
            <ac:spMk id="149" creationId="{875602D5-073B-0751-CFAF-2B61877A6C11}"/>
          </ac:spMkLst>
        </pc:spChg>
        <pc:spChg chg="mod">
          <ac:chgData name="Appala Srujana" userId="a897cc35-aedc-4025-bce6-6175c0177033" providerId="ADAL" clId="{F249931F-CF49-4405-BC21-8182E27291FD}" dt="2025-10-23T05:25:15.513" v="7054"/>
          <ac:spMkLst>
            <pc:docMk/>
            <pc:sldMk cId="2130418808" sldId="260"/>
            <ac:spMk id="150" creationId="{AEDBE792-7B17-EE83-36DA-D4E6C4892158}"/>
          </ac:spMkLst>
        </pc:spChg>
        <pc:spChg chg="mod">
          <ac:chgData name="Appala Srujana" userId="a897cc35-aedc-4025-bce6-6175c0177033" providerId="ADAL" clId="{F249931F-CF49-4405-BC21-8182E27291FD}" dt="2025-10-23T05:25:15.513" v="7066"/>
          <ac:spMkLst>
            <pc:docMk/>
            <pc:sldMk cId="2130418808" sldId="260"/>
            <ac:spMk id="151" creationId="{7C2AF7FE-0683-5F35-A467-F052FC777571}"/>
          </ac:spMkLst>
        </pc:spChg>
        <pc:spChg chg="mod">
          <ac:chgData name="Appala Srujana" userId="a897cc35-aedc-4025-bce6-6175c0177033" providerId="ADAL" clId="{F249931F-CF49-4405-BC21-8182E27291FD}" dt="2025-10-23T05:25:15.529" v="7078"/>
          <ac:spMkLst>
            <pc:docMk/>
            <pc:sldMk cId="2130418808" sldId="260"/>
            <ac:spMk id="152" creationId="{76177103-8079-217E-1C67-59C35BAC4280}"/>
          </ac:spMkLst>
        </pc:spChg>
        <pc:spChg chg="mod ord">
          <ac:chgData name="Appala Srujana" userId="a897cc35-aedc-4025-bce6-6175c0177033" providerId="ADAL" clId="{F249931F-CF49-4405-BC21-8182E27291FD}" dt="2025-10-23T05:25:15.466" v="6940"/>
          <ac:spMkLst>
            <pc:docMk/>
            <pc:sldMk cId="2130418808" sldId="260"/>
            <ac:spMk id="153" creationId="{FC187238-AD8A-6446-BF4B-6391F8B8262C}"/>
          </ac:spMkLst>
        </pc:spChg>
        <pc:spChg chg="mod">
          <ac:chgData name="Appala Srujana" userId="a897cc35-aedc-4025-bce6-6175c0177033" providerId="ADAL" clId="{F249931F-CF49-4405-BC21-8182E27291FD}" dt="2025-10-23T05:25:15.450" v="6878"/>
          <ac:spMkLst>
            <pc:docMk/>
            <pc:sldMk cId="2130418808" sldId="260"/>
            <ac:spMk id="158" creationId="{C2A2B286-4672-BB45-4C72-F7A5E7405D2A}"/>
          </ac:spMkLst>
        </pc:spChg>
        <pc:spChg chg="mod ord">
          <ac:chgData name="Appala Srujana" userId="a897cc35-aedc-4025-bce6-6175c0177033" providerId="ADAL" clId="{F249931F-CF49-4405-BC21-8182E27291FD}" dt="2025-10-23T05:25:15.444" v="6838"/>
          <ac:spMkLst>
            <pc:docMk/>
            <pc:sldMk cId="2130418808" sldId="260"/>
            <ac:spMk id="161" creationId="{9B9A4787-A680-39F3-4CC2-7E1B605113A8}"/>
          </ac:spMkLst>
        </pc:spChg>
        <pc:spChg chg="mod">
          <ac:chgData name="Appala Srujana" userId="a897cc35-aedc-4025-bce6-6175c0177033" providerId="ADAL" clId="{F249931F-CF49-4405-BC21-8182E27291FD}" dt="2025-10-23T05:25:15.448" v="6855"/>
          <ac:spMkLst>
            <pc:docMk/>
            <pc:sldMk cId="2130418808" sldId="260"/>
            <ac:spMk id="162" creationId="{91BE1D8F-1247-2DBF-4879-66BD2B56F0A8}"/>
          </ac:spMkLst>
        </pc:spChg>
        <pc:spChg chg="mod">
          <ac:chgData name="Appala Srujana" userId="a897cc35-aedc-4025-bce6-6175c0177033" providerId="ADAL" clId="{F249931F-CF49-4405-BC21-8182E27291FD}" dt="2025-10-23T05:25:15.450" v="6867"/>
          <ac:spMkLst>
            <pc:docMk/>
            <pc:sldMk cId="2130418808" sldId="260"/>
            <ac:spMk id="163" creationId="{D37C0151-8AD7-B9EA-AA7F-585F88AA9403}"/>
          </ac:spMkLst>
        </pc:spChg>
        <pc:spChg chg="mod">
          <ac:chgData name="Appala Srujana" userId="a897cc35-aedc-4025-bce6-6175c0177033" providerId="ADAL" clId="{F249931F-CF49-4405-BC21-8182E27291FD}" dt="2025-10-23T05:25:15.450" v="6889"/>
          <ac:spMkLst>
            <pc:docMk/>
            <pc:sldMk cId="2130418808" sldId="260"/>
            <ac:spMk id="164" creationId="{445170D4-50B9-964B-9946-5869624A7DBD}"/>
          </ac:spMkLst>
        </pc:spChg>
        <pc:spChg chg="mod">
          <ac:chgData name="Appala Srujana" userId="a897cc35-aedc-4025-bce6-6175c0177033" providerId="ADAL" clId="{F249931F-CF49-4405-BC21-8182E27291FD}" dt="2025-10-23T05:25:15.466" v="6903"/>
          <ac:spMkLst>
            <pc:docMk/>
            <pc:sldMk cId="2130418808" sldId="260"/>
            <ac:spMk id="167" creationId="{628AD505-A171-8FBA-1A93-605DA8AED980}"/>
          </ac:spMkLst>
        </pc:spChg>
        <pc:spChg chg="mod">
          <ac:chgData name="Appala Srujana" userId="a897cc35-aedc-4025-bce6-6175c0177033" providerId="ADAL" clId="{F249931F-CF49-4405-BC21-8182E27291FD}" dt="2025-10-23T05:25:15.466" v="6915"/>
          <ac:spMkLst>
            <pc:docMk/>
            <pc:sldMk cId="2130418808" sldId="260"/>
            <ac:spMk id="169" creationId="{D63954AA-D70D-0525-32F6-F1CF66C7BDDA}"/>
          </ac:spMkLst>
        </pc:spChg>
        <pc:spChg chg="mod">
          <ac:chgData name="Appala Srujana" userId="a897cc35-aedc-4025-bce6-6175c0177033" providerId="ADAL" clId="{F249931F-CF49-4405-BC21-8182E27291FD}" dt="2025-10-23T05:25:15.466" v="6927"/>
          <ac:spMkLst>
            <pc:docMk/>
            <pc:sldMk cId="2130418808" sldId="260"/>
            <ac:spMk id="170" creationId="{917353B9-E133-D2F8-5D81-AACBA1392BCB}"/>
          </ac:spMkLst>
        </pc:spChg>
        <pc:spChg chg="mod">
          <ac:chgData name="Appala Srujana" userId="a897cc35-aedc-4025-bce6-6175c0177033" providerId="ADAL" clId="{F249931F-CF49-4405-BC21-8182E27291FD}" dt="2025-10-23T05:25:15.481" v="6959"/>
          <ac:spMkLst>
            <pc:docMk/>
            <pc:sldMk cId="2130418808" sldId="260"/>
            <ac:spMk id="172" creationId="{917A5C2E-D9C5-FC41-8824-E61380C2EAB3}"/>
          </ac:spMkLst>
        </pc:spChg>
        <pc:spChg chg="mod">
          <ac:chgData name="Appala Srujana" userId="a897cc35-aedc-4025-bce6-6175c0177033" providerId="ADAL" clId="{F249931F-CF49-4405-BC21-8182E27291FD}" dt="2025-10-23T05:25:15.481" v="6971"/>
          <ac:spMkLst>
            <pc:docMk/>
            <pc:sldMk cId="2130418808" sldId="260"/>
            <ac:spMk id="173" creationId="{FF134DF0-3D40-A8E4-0FF4-599C08800490}"/>
          </ac:spMkLst>
        </pc:spChg>
        <pc:spChg chg="mod">
          <ac:chgData name="Appala Srujana" userId="a897cc35-aedc-4025-bce6-6175c0177033" providerId="ADAL" clId="{F249931F-CF49-4405-BC21-8182E27291FD}" dt="2025-10-23T05:25:15.481" v="6983"/>
          <ac:spMkLst>
            <pc:docMk/>
            <pc:sldMk cId="2130418808" sldId="260"/>
            <ac:spMk id="174" creationId="{2341EDDD-0362-0667-DF76-8995FE69B29B}"/>
          </ac:spMkLst>
        </pc:spChg>
        <pc:spChg chg="mod">
          <ac:chgData name="Appala Srujana" userId="a897cc35-aedc-4025-bce6-6175c0177033" providerId="ADAL" clId="{F249931F-CF49-4405-BC21-8182E27291FD}" dt="2025-10-23T05:25:15.497" v="6995"/>
          <ac:spMkLst>
            <pc:docMk/>
            <pc:sldMk cId="2130418808" sldId="260"/>
            <ac:spMk id="175" creationId="{D47210B6-7C35-B526-6C71-FF45C87D5FF6}"/>
          </ac:spMkLst>
        </pc:spChg>
        <pc:spChg chg="mod">
          <ac:chgData name="Appala Srujana" userId="a897cc35-aedc-4025-bce6-6175c0177033" providerId="ADAL" clId="{F249931F-CF49-4405-BC21-8182E27291FD}" dt="2025-10-23T05:25:15.497" v="7007"/>
          <ac:spMkLst>
            <pc:docMk/>
            <pc:sldMk cId="2130418808" sldId="260"/>
            <ac:spMk id="176" creationId="{02DAE038-1C44-ADFB-6023-B7465C97939A}"/>
          </ac:spMkLst>
        </pc:spChg>
        <pc:spChg chg="mod">
          <ac:chgData name="Appala Srujana" userId="a897cc35-aedc-4025-bce6-6175c0177033" providerId="ADAL" clId="{F249931F-CF49-4405-BC21-8182E27291FD}" dt="2025-10-23T05:25:15.506" v="7019"/>
          <ac:spMkLst>
            <pc:docMk/>
            <pc:sldMk cId="2130418808" sldId="260"/>
            <ac:spMk id="177" creationId="{8D6C950F-A4CE-F9D1-F2D8-609490156A66}"/>
          </ac:spMkLst>
        </pc:spChg>
        <pc:spChg chg="mod">
          <ac:chgData name="Appala Srujana" userId="a897cc35-aedc-4025-bce6-6175c0177033" providerId="ADAL" clId="{F249931F-CF49-4405-BC21-8182E27291FD}" dt="2025-10-23T05:25:15.512" v="7031"/>
          <ac:spMkLst>
            <pc:docMk/>
            <pc:sldMk cId="2130418808" sldId="260"/>
            <ac:spMk id="178" creationId="{BEE026EB-8EE7-4528-DCBC-81DCC77B00EC}"/>
          </ac:spMkLst>
        </pc:spChg>
        <pc:spChg chg="mod">
          <ac:chgData name="Appala Srujana" userId="a897cc35-aedc-4025-bce6-6175c0177033" providerId="ADAL" clId="{F249931F-CF49-4405-BC21-8182E27291FD}" dt="2025-10-23T05:25:15.529" v="7091"/>
          <ac:spMkLst>
            <pc:docMk/>
            <pc:sldMk cId="2130418808" sldId="260"/>
            <ac:spMk id="179" creationId="{A6F5B9D2-53E7-A9DF-423E-9CB481A4857B}"/>
          </ac:spMkLst>
        </pc:spChg>
        <pc:spChg chg="mod">
          <ac:chgData name="Appala Srujana" userId="a897cc35-aedc-4025-bce6-6175c0177033" providerId="ADAL" clId="{F249931F-CF49-4405-BC21-8182E27291FD}" dt="2025-10-23T05:25:15.513" v="7043"/>
          <ac:spMkLst>
            <pc:docMk/>
            <pc:sldMk cId="2130418808" sldId="260"/>
            <ac:spMk id="180" creationId="{A1BADE9A-F14D-4AF9-DB9D-93A1FE380ABB}"/>
          </ac:spMkLst>
        </pc:spChg>
        <pc:spChg chg="mod">
          <ac:chgData name="Appala Srujana" userId="a897cc35-aedc-4025-bce6-6175c0177033" providerId="ADAL" clId="{F249931F-CF49-4405-BC21-8182E27291FD}" dt="2025-10-23T05:25:15.513" v="7055"/>
          <ac:spMkLst>
            <pc:docMk/>
            <pc:sldMk cId="2130418808" sldId="260"/>
            <ac:spMk id="181" creationId="{2E121858-6267-5C9A-718D-01573F20D9FA}"/>
          </ac:spMkLst>
        </pc:spChg>
        <pc:spChg chg="mod">
          <ac:chgData name="Appala Srujana" userId="a897cc35-aedc-4025-bce6-6175c0177033" providerId="ADAL" clId="{F249931F-CF49-4405-BC21-8182E27291FD}" dt="2025-10-23T05:25:15.513" v="7067"/>
          <ac:spMkLst>
            <pc:docMk/>
            <pc:sldMk cId="2130418808" sldId="260"/>
            <ac:spMk id="182" creationId="{9646B9E5-2FA9-72EE-9869-CA766FE94061}"/>
          </ac:spMkLst>
        </pc:spChg>
        <pc:spChg chg="mod">
          <ac:chgData name="Appala Srujana" userId="a897cc35-aedc-4025-bce6-6175c0177033" providerId="ADAL" clId="{F249931F-CF49-4405-BC21-8182E27291FD}" dt="2025-10-23T05:25:15.529" v="7079"/>
          <ac:spMkLst>
            <pc:docMk/>
            <pc:sldMk cId="2130418808" sldId="260"/>
            <ac:spMk id="183" creationId="{086AF237-6104-9876-19AF-DE3F5A5955FD}"/>
          </ac:spMkLst>
        </pc:spChg>
        <pc:spChg chg="mod ord">
          <ac:chgData name="Appala Srujana" userId="a897cc35-aedc-4025-bce6-6175c0177033" providerId="ADAL" clId="{F249931F-CF49-4405-BC21-8182E27291FD}" dt="2025-10-23T05:25:15.466" v="6942"/>
          <ac:spMkLst>
            <pc:docMk/>
            <pc:sldMk cId="2130418808" sldId="260"/>
            <ac:spMk id="184" creationId="{4A0F5085-ABEC-E28D-9479-43DD57BC9768}"/>
          </ac:spMkLst>
        </pc:spChg>
        <pc:spChg chg="mod">
          <ac:chgData name="Appala Srujana" userId="a897cc35-aedc-4025-bce6-6175c0177033" providerId="ADAL" clId="{F249931F-CF49-4405-BC21-8182E27291FD}" dt="2025-10-23T05:25:15.450" v="6879"/>
          <ac:spMkLst>
            <pc:docMk/>
            <pc:sldMk cId="2130418808" sldId="260"/>
            <ac:spMk id="189" creationId="{C0AB8C91-40C7-DAEB-4E9F-19A7AD961AC2}"/>
          </ac:spMkLst>
        </pc:spChg>
        <pc:spChg chg="mod ord">
          <ac:chgData name="Appala Srujana" userId="a897cc35-aedc-4025-bce6-6175c0177033" providerId="ADAL" clId="{F249931F-CF49-4405-BC21-8182E27291FD}" dt="2025-10-23T05:25:15.444" v="6840"/>
          <ac:spMkLst>
            <pc:docMk/>
            <pc:sldMk cId="2130418808" sldId="260"/>
            <ac:spMk id="192" creationId="{9400CA9D-C74E-1C75-0B36-79268E4411DA}"/>
          </ac:spMkLst>
        </pc:spChg>
        <pc:spChg chg="mod">
          <ac:chgData name="Appala Srujana" userId="a897cc35-aedc-4025-bce6-6175c0177033" providerId="ADAL" clId="{F249931F-CF49-4405-BC21-8182E27291FD}" dt="2025-10-23T05:25:15.450" v="6856"/>
          <ac:spMkLst>
            <pc:docMk/>
            <pc:sldMk cId="2130418808" sldId="260"/>
            <ac:spMk id="193" creationId="{BEC07C36-8AB7-BCD5-B182-0DEC7115E8A4}"/>
          </ac:spMkLst>
        </pc:spChg>
        <pc:spChg chg="mod">
          <ac:chgData name="Appala Srujana" userId="a897cc35-aedc-4025-bce6-6175c0177033" providerId="ADAL" clId="{F249931F-CF49-4405-BC21-8182E27291FD}" dt="2025-10-23T05:25:15.450" v="6868"/>
          <ac:spMkLst>
            <pc:docMk/>
            <pc:sldMk cId="2130418808" sldId="260"/>
            <ac:spMk id="194" creationId="{68C1D650-5B75-F038-620F-624844FC371D}"/>
          </ac:spMkLst>
        </pc:spChg>
        <pc:spChg chg="mod">
          <ac:chgData name="Appala Srujana" userId="a897cc35-aedc-4025-bce6-6175c0177033" providerId="ADAL" clId="{F249931F-CF49-4405-BC21-8182E27291FD}" dt="2025-10-23T05:25:15.450" v="6890"/>
          <ac:spMkLst>
            <pc:docMk/>
            <pc:sldMk cId="2130418808" sldId="260"/>
            <ac:spMk id="195" creationId="{6AEED33E-BE57-B30E-1BB4-900920A1BE5B}"/>
          </ac:spMkLst>
        </pc:spChg>
        <pc:spChg chg="mod">
          <ac:chgData name="Appala Srujana" userId="a897cc35-aedc-4025-bce6-6175c0177033" providerId="ADAL" clId="{F249931F-CF49-4405-BC21-8182E27291FD}" dt="2025-10-23T05:25:15.466" v="6904"/>
          <ac:spMkLst>
            <pc:docMk/>
            <pc:sldMk cId="2130418808" sldId="260"/>
            <ac:spMk id="198" creationId="{B898D34A-2416-71C4-0AFF-67C710F5F621}"/>
          </ac:spMkLst>
        </pc:spChg>
        <pc:spChg chg="mod">
          <ac:chgData name="Appala Srujana" userId="a897cc35-aedc-4025-bce6-6175c0177033" providerId="ADAL" clId="{F249931F-CF49-4405-BC21-8182E27291FD}" dt="2025-10-23T05:25:15.466" v="6916"/>
          <ac:spMkLst>
            <pc:docMk/>
            <pc:sldMk cId="2130418808" sldId="260"/>
            <ac:spMk id="200" creationId="{10A22A67-520F-5382-3CC6-0D9FEA0402B4}"/>
          </ac:spMkLst>
        </pc:spChg>
        <pc:spChg chg="mod">
          <ac:chgData name="Appala Srujana" userId="a897cc35-aedc-4025-bce6-6175c0177033" providerId="ADAL" clId="{F249931F-CF49-4405-BC21-8182E27291FD}" dt="2025-10-23T05:25:15.466" v="6928"/>
          <ac:spMkLst>
            <pc:docMk/>
            <pc:sldMk cId="2130418808" sldId="260"/>
            <ac:spMk id="201" creationId="{0BDD4724-FDB0-E272-C50A-0E069B3B0D30}"/>
          </ac:spMkLst>
        </pc:spChg>
        <pc:spChg chg="mod">
          <ac:chgData name="Appala Srujana" userId="a897cc35-aedc-4025-bce6-6175c0177033" providerId="ADAL" clId="{F249931F-CF49-4405-BC21-8182E27291FD}" dt="2025-10-23T05:25:15.481" v="6960"/>
          <ac:spMkLst>
            <pc:docMk/>
            <pc:sldMk cId="2130418808" sldId="260"/>
            <ac:spMk id="203" creationId="{3FDFBDA8-3EA0-BCF3-4ADF-E01EC0E375A3}"/>
          </ac:spMkLst>
        </pc:spChg>
        <pc:spChg chg="mod">
          <ac:chgData name="Appala Srujana" userId="a897cc35-aedc-4025-bce6-6175c0177033" providerId="ADAL" clId="{F249931F-CF49-4405-BC21-8182E27291FD}" dt="2025-10-23T05:25:15.481" v="6972"/>
          <ac:spMkLst>
            <pc:docMk/>
            <pc:sldMk cId="2130418808" sldId="260"/>
            <ac:spMk id="204" creationId="{99B5F2C9-8CDB-8D07-0527-D061F2DFDFD9}"/>
          </ac:spMkLst>
        </pc:spChg>
        <pc:spChg chg="mod">
          <ac:chgData name="Appala Srujana" userId="a897cc35-aedc-4025-bce6-6175c0177033" providerId="ADAL" clId="{F249931F-CF49-4405-BC21-8182E27291FD}" dt="2025-10-23T05:25:15.481" v="6984"/>
          <ac:spMkLst>
            <pc:docMk/>
            <pc:sldMk cId="2130418808" sldId="260"/>
            <ac:spMk id="205" creationId="{C3585E4C-4C8C-ABA4-E501-6065539A1C6D}"/>
          </ac:spMkLst>
        </pc:spChg>
        <pc:spChg chg="mod">
          <ac:chgData name="Appala Srujana" userId="a897cc35-aedc-4025-bce6-6175c0177033" providerId="ADAL" clId="{F249931F-CF49-4405-BC21-8182E27291FD}" dt="2025-10-23T05:25:15.497" v="6996"/>
          <ac:spMkLst>
            <pc:docMk/>
            <pc:sldMk cId="2130418808" sldId="260"/>
            <ac:spMk id="206" creationId="{62E3A35C-7655-6B4D-F722-1BCAEA18E8D6}"/>
          </ac:spMkLst>
        </pc:spChg>
        <pc:spChg chg="mod">
          <ac:chgData name="Appala Srujana" userId="a897cc35-aedc-4025-bce6-6175c0177033" providerId="ADAL" clId="{F249931F-CF49-4405-BC21-8182E27291FD}" dt="2025-10-23T05:25:15.497" v="7008"/>
          <ac:spMkLst>
            <pc:docMk/>
            <pc:sldMk cId="2130418808" sldId="260"/>
            <ac:spMk id="207" creationId="{3FFF0ED4-1D16-585A-7AC6-6C6686B9BDA6}"/>
          </ac:spMkLst>
        </pc:spChg>
        <pc:spChg chg="mod">
          <ac:chgData name="Appala Srujana" userId="a897cc35-aedc-4025-bce6-6175c0177033" providerId="ADAL" clId="{F249931F-CF49-4405-BC21-8182E27291FD}" dt="2025-10-23T05:25:15.508" v="7020"/>
          <ac:spMkLst>
            <pc:docMk/>
            <pc:sldMk cId="2130418808" sldId="260"/>
            <ac:spMk id="208" creationId="{C33F2B84-4618-65B1-2663-884D5B082D0B}"/>
          </ac:spMkLst>
        </pc:spChg>
        <pc:spChg chg="mod">
          <ac:chgData name="Appala Srujana" userId="a897cc35-aedc-4025-bce6-6175c0177033" providerId="ADAL" clId="{F249931F-CF49-4405-BC21-8182E27291FD}" dt="2025-10-23T05:25:15.512" v="7032"/>
          <ac:spMkLst>
            <pc:docMk/>
            <pc:sldMk cId="2130418808" sldId="260"/>
            <ac:spMk id="209" creationId="{3A56AC5E-B76B-BEFC-7195-F2D254522EB3}"/>
          </ac:spMkLst>
        </pc:spChg>
        <pc:spChg chg="mod">
          <ac:chgData name="Appala Srujana" userId="a897cc35-aedc-4025-bce6-6175c0177033" providerId="ADAL" clId="{F249931F-CF49-4405-BC21-8182E27291FD}" dt="2025-10-23T05:25:15.529" v="7092"/>
          <ac:spMkLst>
            <pc:docMk/>
            <pc:sldMk cId="2130418808" sldId="260"/>
            <ac:spMk id="210" creationId="{73E5AC23-6072-3E2A-A685-B4D29154F614}"/>
          </ac:spMkLst>
        </pc:spChg>
        <pc:spChg chg="mod">
          <ac:chgData name="Appala Srujana" userId="a897cc35-aedc-4025-bce6-6175c0177033" providerId="ADAL" clId="{F249931F-CF49-4405-BC21-8182E27291FD}" dt="2025-10-23T05:25:15.513" v="7044"/>
          <ac:spMkLst>
            <pc:docMk/>
            <pc:sldMk cId="2130418808" sldId="260"/>
            <ac:spMk id="211" creationId="{FB06388C-6F69-824B-5C4C-000F143FC99F}"/>
          </ac:spMkLst>
        </pc:spChg>
        <pc:spChg chg="mod">
          <ac:chgData name="Appala Srujana" userId="a897cc35-aedc-4025-bce6-6175c0177033" providerId="ADAL" clId="{F249931F-CF49-4405-BC21-8182E27291FD}" dt="2025-10-23T05:25:15.513" v="7056"/>
          <ac:spMkLst>
            <pc:docMk/>
            <pc:sldMk cId="2130418808" sldId="260"/>
            <ac:spMk id="212" creationId="{446C761D-FDAD-AE57-7B27-9D75B4D32572}"/>
          </ac:spMkLst>
        </pc:spChg>
        <pc:spChg chg="mod">
          <ac:chgData name="Appala Srujana" userId="a897cc35-aedc-4025-bce6-6175c0177033" providerId="ADAL" clId="{F249931F-CF49-4405-BC21-8182E27291FD}" dt="2025-10-23T05:25:15.513" v="7068"/>
          <ac:spMkLst>
            <pc:docMk/>
            <pc:sldMk cId="2130418808" sldId="260"/>
            <ac:spMk id="213" creationId="{FBCCFFB0-CBF5-AF11-77C7-557D75FB93D6}"/>
          </ac:spMkLst>
        </pc:spChg>
        <pc:spChg chg="mod">
          <ac:chgData name="Appala Srujana" userId="a897cc35-aedc-4025-bce6-6175c0177033" providerId="ADAL" clId="{F249931F-CF49-4405-BC21-8182E27291FD}" dt="2025-10-23T05:25:15.529" v="7080"/>
          <ac:spMkLst>
            <pc:docMk/>
            <pc:sldMk cId="2130418808" sldId="260"/>
            <ac:spMk id="214" creationId="{43EF8316-BE62-D7E2-CFC5-1AE4231BDC6A}"/>
          </ac:spMkLst>
        </pc:spChg>
        <pc:spChg chg="mod ord">
          <ac:chgData name="Appala Srujana" userId="a897cc35-aedc-4025-bce6-6175c0177033" providerId="ADAL" clId="{F249931F-CF49-4405-BC21-8182E27291FD}" dt="2025-10-23T05:25:15.481" v="6944"/>
          <ac:spMkLst>
            <pc:docMk/>
            <pc:sldMk cId="2130418808" sldId="260"/>
            <ac:spMk id="215" creationId="{41D81086-C527-DA84-FBA9-6E9ABAC9FC35}"/>
          </ac:spMkLst>
        </pc:spChg>
        <pc:spChg chg="mod">
          <ac:chgData name="Appala Srujana" userId="a897cc35-aedc-4025-bce6-6175c0177033" providerId="ADAL" clId="{F249931F-CF49-4405-BC21-8182E27291FD}" dt="2025-10-23T05:25:15.450" v="6880"/>
          <ac:spMkLst>
            <pc:docMk/>
            <pc:sldMk cId="2130418808" sldId="260"/>
            <ac:spMk id="220" creationId="{A8B7C99B-0B02-B5D7-411E-457CE5C470F3}"/>
          </ac:spMkLst>
        </pc:spChg>
        <pc:spChg chg="mod ord">
          <ac:chgData name="Appala Srujana" userId="a897cc35-aedc-4025-bce6-6175c0177033" providerId="ADAL" clId="{F249931F-CF49-4405-BC21-8182E27291FD}" dt="2025-10-23T05:25:15.446" v="6842"/>
          <ac:spMkLst>
            <pc:docMk/>
            <pc:sldMk cId="2130418808" sldId="260"/>
            <ac:spMk id="223" creationId="{77B7D944-01F5-8F0A-E5FA-37ECC69B67A9}"/>
          </ac:spMkLst>
        </pc:spChg>
        <pc:spChg chg="mod">
          <ac:chgData name="Appala Srujana" userId="a897cc35-aedc-4025-bce6-6175c0177033" providerId="ADAL" clId="{F249931F-CF49-4405-BC21-8182E27291FD}" dt="2025-10-23T05:25:15.450" v="6857"/>
          <ac:spMkLst>
            <pc:docMk/>
            <pc:sldMk cId="2130418808" sldId="260"/>
            <ac:spMk id="224" creationId="{BA180D39-84CD-5CA4-5C74-A44C1BEA91B3}"/>
          </ac:spMkLst>
        </pc:spChg>
        <pc:spChg chg="mod">
          <ac:chgData name="Appala Srujana" userId="a897cc35-aedc-4025-bce6-6175c0177033" providerId="ADAL" clId="{F249931F-CF49-4405-BC21-8182E27291FD}" dt="2025-10-23T05:25:15.450" v="6869"/>
          <ac:spMkLst>
            <pc:docMk/>
            <pc:sldMk cId="2130418808" sldId="260"/>
            <ac:spMk id="225" creationId="{3FF06B41-A9F2-6B1D-EDBA-317DFA39B49F}"/>
          </ac:spMkLst>
        </pc:spChg>
        <pc:spChg chg="mod">
          <ac:chgData name="Appala Srujana" userId="a897cc35-aedc-4025-bce6-6175c0177033" providerId="ADAL" clId="{F249931F-CF49-4405-BC21-8182E27291FD}" dt="2025-10-23T05:25:15.450" v="6891"/>
          <ac:spMkLst>
            <pc:docMk/>
            <pc:sldMk cId="2130418808" sldId="260"/>
            <ac:spMk id="226" creationId="{DA52BAB1-E4C9-E3EE-F291-19FC5F3671B9}"/>
          </ac:spMkLst>
        </pc:spChg>
        <pc:spChg chg="mod">
          <ac:chgData name="Appala Srujana" userId="a897cc35-aedc-4025-bce6-6175c0177033" providerId="ADAL" clId="{F249931F-CF49-4405-BC21-8182E27291FD}" dt="2025-10-23T05:25:15.466" v="6905"/>
          <ac:spMkLst>
            <pc:docMk/>
            <pc:sldMk cId="2130418808" sldId="260"/>
            <ac:spMk id="229" creationId="{4AD4E7FE-2DEE-133B-DEF0-F87DAF1A4DD5}"/>
          </ac:spMkLst>
        </pc:spChg>
        <pc:spChg chg="mod">
          <ac:chgData name="Appala Srujana" userId="a897cc35-aedc-4025-bce6-6175c0177033" providerId="ADAL" clId="{F249931F-CF49-4405-BC21-8182E27291FD}" dt="2025-10-23T05:25:15.466" v="6917"/>
          <ac:spMkLst>
            <pc:docMk/>
            <pc:sldMk cId="2130418808" sldId="260"/>
            <ac:spMk id="231" creationId="{7257CE0C-737F-BC8C-8223-86A7701D488A}"/>
          </ac:spMkLst>
        </pc:spChg>
        <pc:spChg chg="mod">
          <ac:chgData name="Appala Srujana" userId="a897cc35-aedc-4025-bce6-6175c0177033" providerId="ADAL" clId="{F249931F-CF49-4405-BC21-8182E27291FD}" dt="2025-10-23T05:25:15.466" v="6929"/>
          <ac:spMkLst>
            <pc:docMk/>
            <pc:sldMk cId="2130418808" sldId="260"/>
            <ac:spMk id="232" creationId="{48832CF8-CAF1-10A9-620F-BDE6EBE43D5D}"/>
          </ac:spMkLst>
        </pc:spChg>
        <pc:spChg chg="mod">
          <ac:chgData name="Appala Srujana" userId="a897cc35-aedc-4025-bce6-6175c0177033" providerId="ADAL" clId="{F249931F-CF49-4405-BC21-8182E27291FD}" dt="2025-10-23T05:25:15.481" v="6961"/>
          <ac:spMkLst>
            <pc:docMk/>
            <pc:sldMk cId="2130418808" sldId="260"/>
            <ac:spMk id="234" creationId="{B8A8ED4D-707F-FF5A-E76A-2DB085F4C3C2}"/>
          </ac:spMkLst>
        </pc:spChg>
        <pc:spChg chg="mod">
          <ac:chgData name="Appala Srujana" userId="a897cc35-aedc-4025-bce6-6175c0177033" providerId="ADAL" clId="{F249931F-CF49-4405-BC21-8182E27291FD}" dt="2025-10-23T05:25:15.481" v="6973"/>
          <ac:spMkLst>
            <pc:docMk/>
            <pc:sldMk cId="2130418808" sldId="260"/>
            <ac:spMk id="235" creationId="{A8257961-493C-5C0E-48C3-4589EF948E8A}"/>
          </ac:spMkLst>
        </pc:spChg>
        <pc:spChg chg="mod">
          <ac:chgData name="Appala Srujana" userId="a897cc35-aedc-4025-bce6-6175c0177033" providerId="ADAL" clId="{F249931F-CF49-4405-BC21-8182E27291FD}" dt="2025-10-23T05:25:15.481" v="6985"/>
          <ac:spMkLst>
            <pc:docMk/>
            <pc:sldMk cId="2130418808" sldId="260"/>
            <ac:spMk id="236" creationId="{B9CC7FAF-9753-DF85-036B-FABE3383CA85}"/>
          </ac:spMkLst>
        </pc:spChg>
        <pc:spChg chg="mod">
          <ac:chgData name="Appala Srujana" userId="a897cc35-aedc-4025-bce6-6175c0177033" providerId="ADAL" clId="{F249931F-CF49-4405-BC21-8182E27291FD}" dt="2025-10-23T05:25:15.497" v="6997"/>
          <ac:spMkLst>
            <pc:docMk/>
            <pc:sldMk cId="2130418808" sldId="260"/>
            <ac:spMk id="237" creationId="{D01320EF-0BB1-46D1-CAEC-EA3491E14E23}"/>
          </ac:spMkLst>
        </pc:spChg>
        <pc:spChg chg="mod">
          <ac:chgData name="Appala Srujana" userId="a897cc35-aedc-4025-bce6-6175c0177033" providerId="ADAL" clId="{F249931F-CF49-4405-BC21-8182E27291FD}" dt="2025-10-23T05:25:15.497" v="7009"/>
          <ac:spMkLst>
            <pc:docMk/>
            <pc:sldMk cId="2130418808" sldId="260"/>
            <ac:spMk id="238" creationId="{1E1A0C6D-B14C-8C07-BEBF-586E39E33215}"/>
          </ac:spMkLst>
        </pc:spChg>
        <pc:spChg chg="mod">
          <ac:chgData name="Appala Srujana" userId="a897cc35-aedc-4025-bce6-6175c0177033" providerId="ADAL" clId="{F249931F-CF49-4405-BC21-8182E27291FD}" dt="2025-10-23T05:25:15.508" v="7021"/>
          <ac:spMkLst>
            <pc:docMk/>
            <pc:sldMk cId="2130418808" sldId="260"/>
            <ac:spMk id="239" creationId="{09AF4317-DAE2-448A-C87E-6BB75E1C6617}"/>
          </ac:spMkLst>
        </pc:spChg>
        <pc:spChg chg="mod">
          <ac:chgData name="Appala Srujana" userId="a897cc35-aedc-4025-bce6-6175c0177033" providerId="ADAL" clId="{F249931F-CF49-4405-BC21-8182E27291FD}" dt="2025-10-23T05:25:15.512" v="7033"/>
          <ac:spMkLst>
            <pc:docMk/>
            <pc:sldMk cId="2130418808" sldId="260"/>
            <ac:spMk id="240" creationId="{FE063A22-EBC4-A6E1-F5A8-BCA33B12008D}"/>
          </ac:spMkLst>
        </pc:spChg>
        <pc:spChg chg="mod">
          <ac:chgData name="Appala Srujana" userId="a897cc35-aedc-4025-bce6-6175c0177033" providerId="ADAL" clId="{F249931F-CF49-4405-BC21-8182E27291FD}" dt="2025-10-23T05:25:15.529" v="7093"/>
          <ac:spMkLst>
            <pc:docMk/>
            <pc:sldMk cId="2130418808" sldId="260"/>
            <ac:spMk id="241" creationId="{361BC478-206F-926A-1AD0-44C6BFA68C55}"/>
          </ac:spMkLst>
        </pc:spChg>
        <pc:spChg chg="mod">
          <ac:chgData name="Appala Srujana" userId="a897cc35-aedc-4025-bce6-6175c0177033" providerId="ADAL" clId="{F249931F-CF49-4405-BC21-8182E27291FD}" dt="2025-10-23T05:25:15.513" v="7045"/>
          <ac:spMkLst>
            <pc:docMk/>
            <pc:sldMk cId="2130418808" sldId="260"/>
            <ac:spMk id="242" creationId="{4BB99BDF-177B-E2FD-4BA6-C390A1866BCB}"/>
          </ac:spMkLst>
        </pc:spChg>
        <pc:spChg chg="mod">
          <ac:chgData name="Appala Srujana" userId="a897cc35-aedc-4025-bce6-6175c0177033" providerId="ADAL" clId="{F249931F-CF49-4405-BC21-8182E27291FD}" dt="2025-10-23T05:25:15.513" v="7057"/>
          <ac:spMkLst>
            <pc:docMk/>
            <pc:sldMk cId="2130418808" sldId="260"/>
            <ac:spMk id="243" creationId="{6DE96725-0523-B895-636E-23E219D55C8E}"/>
          </ac:spMkLst>
        </pc:spChg>
        <pc:spChg chg="mod">
          <ac:chgData name="Appala Srujana" userId="a897cc35-aedc-4025-bce6-6175c0177033" providerId="ADAL" clId="{F249931F-CF49-4405-BC21-8182E27291FD}" dt="2025-10-23T05:25:15.513" v="7069"/>
          <ac:spMkLst>
            <pc:docMk/>
            <pc:sldMk cId="2130418808" sldId="260"/>
            <ac:spMk id="244" creationId="{B390BED0-6842-83D7-F9E5-A6044FB644EC}"/>
          </ac:spMkLst>
        </pc:spChg>
        <pc:spChg chg="mod">
          <ac:chgData name="Appala Srujana" userId="a897cc35-aedc-4025-bce6-6175c0177033" providerId="ADAL" clId="{F249931F-CF49-4405-BC21-8182E27291FD}" dt="2025-10-23T05:25:15.529" v="7081"/>
          <ac:spMkLst>
            <pc:docMk/>
            <pc:sldMk cId="2130418808" sldId="260"/>
            <ac:spMk id="245" creationId="{702C1F93-F316-6D91-3979-DBC711ED4052}"/>
          </ac:spMkLst>
        </pc:spChg>
        <pc:spChg chg="mod ord">
          <ac:chgData name="Appala Srujana" userId="a897cc35-aedc-4025-bce6-6175c0177033" providerId="ADAL" clId="{F249931F-CF49-4405-BC21-8182E27291FD}" dt="2025-10-23T05:25:15.481" v="6946"/>
          <ac:spMkLst>
            <pc:docMk/>
            <pc:sldMk cId="2130418808" sldId="260"/>
            <ac:spMk id="246" creationId="{2EAEE198-57EA-4B72-5356-844230886F63}"/>
          </ac:spMkLst>
        </pc:spChg>
        <pc:spChg chg="mod">
          <ac:chgData name="Appala Srujana" userId="a897cc35-aedc-4025-bce6-6175c0177033" providerId="ADAL" clId="{F249931F-CF49-4405-BC21-8182E27291FD}" dt="2025-10-23T05:25:15.450" v="6881"/>
          <ac:spMkLst>
            <pc:docMk/>
            <pc:sldMk cId="2130418808" sldId="260"/>
            <ac:spMk id="251" creationId="{8E1AE9C8-008B-AE59-EE19-BC919736303B}"/>
          </ac:spMkLst>
        </pc:spChg>
        <pc:spChg chg="mod ord">
          <ac:chgData name="Appala Srujana" userId="a897cc35-aedc-4025-bce6-6175c0177033" providerId="ADAL" clId="{F249931F-CF49-4405-BC21-8182E27291FD}" dt="2025-10-23T05:25:15.446" v="6844"/>
          <ac:spMkLst>
            <pc:docMk/>
            <pc:sldMk cId="2130418808" sldId="260"/>
            <ac:spMk id="254" creationId="{A0465988-A8E9-F906-F81D-8BC1C1B02CFF}"/>
          </ac:spMkLst>
        </pc:spChg>
        <pc:spChg chg="mod">
          <ac:chgData name="Appala Srujana" userId="a897cc35-aedc-4025-bce6-6175c0177033" providerId="ADAL" clId="{F249931F-CF49-4405-BC21-8182E27291FD}" dt="2025-10-23T05:25:15.450" v="6858"/>
          <ac:spMkLst>
            <pc:docMk/>
            <pc:sldMk cId="2130418808" sldId="260"/>
            <ac:spMk id="255" creationId="{2DDDA763-812F-9721-C8ED-50E5A5517C5F}"/>
          </ac:spMkLst>
        </pc:spChg>
        <pc:spChg chg="mod">
          <ac:chgData name="Appala Srujana" userId="a897cc35-aedc-4025-bce6-6175c0177033" providerId="ADAL" clId="{F249931F-CF49-4405-BC21-8182E27291FD}" dt="2025-10-23T05:25:15.450" v="6870"/>
          <ac:spMkLst>
            <pc:docMk/>
            <pc:sldMk cId="2130418808" sldId="260"/>
            <ac:spMk id="256" creationId="{52CFEEF4-3F41-E860-E6D9-5AF68114E540}"/>
          </ac:spMkLst>
        </pc:spChg>
        <pc:spChg chg="mod">
          <ac:chgData name="Appala Srujana" userId="a897cc35-aedc-4025-bce6-6175c0177033" providerId="ADAL" clId="{F249931F-CF49-4405-BC21-8182E27291FD}" dt="2025-10-23T05:25:15.450" v="6892"/>
          <ac:spMkLst>
            <pc:docMk/>
            <pc:sldMk cId="2130418808" sldId="260"/>
            <ac:spMk id="257" creationId="{1D3AE9AA-A555-5AC3-1816-BA61323D6E9E}"/>
          </ac:spMkLst>
        </pc:spChg>
        <pc:spChg chg="mod">
          <ac:chgData name="Appala Srujana" userId="a897cc35-aedc-4025-bce6-6175c0177033" providerId="ADAL" clId="{F249931F-CF49-4405-BC21-8182E27291FD}" dt="2025-10-23T05:25:15.466" v="6906"/>
          <ac:spMkLst>
            <pc:docMk/>
            <pc:sldMk cId="2130418808" sldId="260"/>
            <ac:spMk id="260" creationId="{F2255C8F-66B8-F12E-CEA6-768C98F408E3}"/>
          </ac:spMkLst>
        </pc:spChg>
        <pc:spChg chg="mod">
          <ac:chgData name="Appala Srujana" userId="a897cc35-aedc-4025-bce6-6175c0177033" providerId="ADAL" clId="{F249931F-CF49-4405-BC21-8182E27291FD}" dt="2025-10-23T05:25:15.466" v="6918"/>
          <ac:spMkLst>
            <pc:docMk/>
            <pc:sldMk cId="2130418808" sldId="260"/>
            <ac:spMk id="262" creationId="{B2E09A00-1C93-AAAC-9CF3-911D7204AF2C}"/>
          </ac:spMkLst>
        </pc:spChg>
        <pc:spChg chg="mod">
          <ac:chgData name="Appala Srujana" userId="a897cc35-aedc-4025-bce6-6175c0177033" providerId="ADAL" clId="{F249931F-CF49-4405-BC21-8182E27291FD}" dt="2025-10-23T05:25:15.466" v="6930"/>
          <ac:spMkLst>
            <pc:docMk/>
            <pc:sldMk cId="2130418808" sldId="260"/>
            <ac:spMk id="263" creationId="{9AAA74C4-24F8-4094-E142-A4EE4CB26962}"/>
          </ac:spMkLst>
        </pc:spChg>
        <pc:spChg chg="mod">
          <ac:chgData name="Appala Srujana" userId="a897cc35-aedc-4025-bce6-6175c0177033" providerId="ADAL" clId="{F249931F-CF49-4405-BC21-8182E27291FD}" dt="2025-10-23T05:25:15.481" v="6962"/>
          <ac:spMkLst>
            <pc:docMk/>
            <pc:sldMk cId="2130418808" sldId="260"/>
            <ac:spMk id="265" creationId="{8C8D841D-E4F7-C733-C7B8-AD8287C44E18}"/>
          </ac:spMkLst>
        </pc:spChg>
        <pc:spChg chg="mod">
          <ac:chgData name="Appala Srujana" userId="a897cc35-aedc-4025-bce6-6175c0177033" providerId="ADAL" clId="{F249931F-CF49-4405-BC21-8182E27291FD}" dt="2025-10-23T05:25:15.481" v="6974"/>
          <ac:spMkLst>
            <pc:docMk/>
            <pc:sldMk cId="2130418808" sldId="260"/>
            <ac:spMk id="266" creationId="{CAC59CDD-A290-8F0B-1E4B-E9F4540EBF50}"/>
          </ac:spMkLst>
        </pc:spChg>
        <pc:spChg chg="mod">
          <ac:chgData name="Appala Srujana" userId="a897cc35-aedc-4025-bce6-6175c0177033" providerId="ADAL" clId="{F249931F-CF49-4405-BC21-8182E27291FD}" dt="2025-10-23T05:25:15.481" v="6986"/>
          <ac:spMkLst>
            <pc:docMk/>
            <pc:sldMk cId="2130418808" sldId="260"/>
            <ac:spMk id="267" creationId="{877A2E2D-6455-B97B-1CA9-3DF0AEC55BF9}"/>
          </ac:spMkLst>
        </pc:spChg>
        <pc:spChg chg="mod">
          <ac:chgData name="Appala Srujana" userId="a897cc35-aedc-4025-bce6-6175c0177033" providerId="ADAL" clId="{F249931F-CF49-4405-BC21-8182E27291FD}" dt="2025-10-23T05:25:15.497" v="6998"/>
          <ac:spMkLst>
            <pc:docMk/>
            <pc:sldMk cId="2130418808" sldId="260"/>
            <ac:spMk id="268" creationId="{0E7C7CC1-B2A1-47A7-6617-FFF7966AF22B}"/>
          </ac:spMkLst>
        </pc:spChg>
        <pc:spChg chg="mod">
          <ac:chgData name="Appala Srujana" userId="a897cc35-aedc-4025-bce6-6175c0177033" providerId="ADAL" clId="{F249931F-CF49-4405-BC21-8182E27291FD}" dt="2025-10-23T05:25:15.497" v="7010"/>
          <ac:spMkLst>
            <pc:docMk/>
            <pc:sldMk cId="2130418808" sldId="260"/>
            <ac:spMk id="269" creationId="{77D3410D-3AC4-04D0-2924-FFB84C0D94C2}"/>
          </ac:spMkLst>
        </pc:spChg>
        <pc:spChg chg="mod">
          <ac:chgData name="Appala Srujana" userId="a897cc35-aedc-4025-bce6-6175c0177033" providerId="ADAL" clId="{F249931F-CF49-4405-BC21-8182E27291FD}" dt="2025-10-23T05:25:15.508" v="7022"/>
          <ac:spMkLst>
            <pc:docMk/>
            <pc:sldMk cId="2130418808" sldId="260"/>
            <ac:spMk id="270" creationId="{3149A4A9-8D66-4E9E-A32A-A3695664467A}"/>
          </ac:spMkLst>
        </pc:spChg>
        <pc:spChg chg="mod">
          <ac:chgData name="Appala Srujana" userId="a897cc35-aedc-4025-bce6-6175c0177033" providerId="ADAL" clId="{F249931F-CF49-4405-BC21-8182E27291FD}" dt="2025-10-23T05:25:15.513" v="7034"/>
          <ac:spMkLst>
            <pc:docMk/>
            <pc:sldMk cId="2130418808" sldId="260"/>
            <ac:spMk id="271" creationId="{79DF83AA-8CDE-CFF1-FCAD-8507E1851C8A}"/>
          </ac:spMkLst>
        </pc:spChg>
        <pc:spChg chg="mod">
          <ac:chgData name="Appala Srujana" userId="a897cc35-aedc-4025-bce6-6175c0177033" providerId="ADAL" clId="{F249931F-CF49-4405-BC21-8182E27291FD}" dt="2025-10-23T05:25:15.529" v="7094"/>
          <ac:spMkLst>
            <pc:docMk/>
            <pc:sldMk cId="2130418808" sldId="260"/>
            <ac:spMk id="272" creationId="{20CA6B88-E4EB-D10E-0620-42193F4A97F3}"/>
          </ac:spMkLst>
        </pc:spChg>
        <pc:spChg chg="mod">
          <ac:chgData name="Appala Srujana" userId="a897cc35-aedc-4025-bce6-6175c0177033" providerId="ADAL" clId="{F249931F-CF49-4405-BC21-8182E27291FD}" dt="2025-10-23T05:25:15.513" v="7046"/>
          <ac:spMkLst>
            <pc:docMk/>
            <pc:sldMk cId="2130418808" sldId="260"/>
            <ac:spMk id="273" creationId="{0CEE4443-BAB7-0FDB-7889-ECC64D57AF25}"/>
          </ac:spMkLst>
        </pc:spChg>
        <pc:spChg chg="mod">
          <ac:chgData name="Appala Srujana" userId="a897cc35-aedc-4025-bce6-6175c0177033" providerId="ADAL" clId="{F249931F-CF49-4405-BC21-8182E27291FD}" dt="2025-10-23T05:25:15.513" v="7058"/>
          <ac:spMkLst>
            <pc:docMk/>
            <pc:sldMk cId="2130418808" sldId="260"/>
            <ac:spMk id="274" creationId="{17A7F995-7012-BF4B-1EE6-88DF3D416F19}"/>
          </ac:spMkLst>
        </pc:spChg>
        <pc:spChg chg="mod">
          <ac:chgData name="Appala Srujana" userId="a897cc35-aedc-4025-bce6-6175c0177033" providerId="ADAL" clId="{F249931F-CF49-4405-BC21-8182E27291FD}" dt="2025-10-23T05:25:15.513" v="7070"/>
          <ac:spMkLst>
            <pc:docMk/>
            <pc:sldMk cId="2130418808" sldId="260"/>
            <ac:spMk id="275" creationId="{9E3B5648-B968-FACD-F699-284A0FE87AFD}"/>
          </ac:spMkLst>
        </pc:spChg>
        <pc:spChg chg="mod">
          <ac:chgData name="Appala Srujana" userId="a897cc35-aedc-4025-bce6-6175c0177033" providerId="ADAL" clId="{F249931F-CF49-4405-BC21-8182E27291FD}" dt="2025-10-23T05:25:15.529" v="7082"/>
          <ac:spMkLst>
            <pc:docMk/>
            <pc:sldMk cId="2130418808" sldId="260"/>
            <ac:spMk id="276" creationId="{013597BF-4CE7-B1DF-8F57-15F77CA56AC5}"/>
          </ac:spMkLst>
        </pc:spChg>
        <pc:spChg chg="mod ord">
          <ac:chgData name="Appala Srujana" userId="a897cc35-aedc-4025-bce6-6175c0177033" providerId="ADAL" clId="{F249931F-CF49-4405-BC21-8182E27291FD}" dt="2025-10-23T05:25:15.481" v="6948"/>
          <ac:spMkLst>
            <pc:docMk/>
            <pc:sldMk cId="2130418808" sldId="260"/>
            <ac:spMk id="277" creationId="{84544C44-2DD3-9792-0081-9695B1A149D4}"/>
          </ac:spMkLst>
        </pc:spChg>
        <pc:spChg chg="mod">
          <ac:chgData name="Appala Srujana" userId="a897cc35-aedc-4025-bce6-6175c0177033" providerId="ADAL" clId="{F249931F-CF49-4405-BC21-8182E27291FD}" dt="2025-10-23T05:25:15.450" v="6882"/>
          <ac:spMkLst>
            <pc:docMk/>
            <pc:sldMk cId="2130418808" sldId="260"/>
            <ac:spMk id="282" creationId="{36465DBA-F20B-5830-CFD0-5DBB2C8287AA}"/>
          </ac:spMkLst>
        </pc:spChg>
        <pc:spChg chg="mod ord">
          <ac:chgData name="Appala Srujana" userId="a897cc35-aedc-4025-bce6-6175c0177033" providerId="ADAL" clId="{F249931F-CF49-4405-BC21-8182E27291FD}" dt="2025-10-23T05:25:15.446" v="6846"/>
          <ac:spMkLst>
            <pc:docMk/>
            <pc:sldMk cId="2130418808" sldId="260"/>
            <ac:spMk id="285" creationId="{CC4E04D1-88D1-6F01-4963-D86DEF5D13F0}"/>
          </ac:spMkLst>
        </pc:spChg>
        <pc:spChg chg="mod">
          <ac:chgData name="Appala Srujana" userId="a897cc35-aedc-4025-bce6-6175c0177033" providerId="ADAL" clId="{F249931F-CF49-4405-BC21-8182E27291FD}" dt="2025-10-23T05:25:15.450" v="6859"/>
          <ac:spMkLst>
            <pc:docMk/>
            <pc:sldMk cId="2130418808" sldId="260"/>
            <ac:spMk id="286" creationId="{F52DDCAC-BC61-4845-89F3-FF81859C4D62}"/>
          </ac:spMkLst>
        </pc:spChg>
        <pc:spChg chg="mod">
          <ac:chgData name="Appala Srujana" userId="a897cc35-aedc-4025-bce6-6175c0177033" providerId="ADAL" clId="{F249931F-CF49-4405-BC21-8182E27291FD}" dt="2025-10-23T05:25:15.450" v="6871"/>
          <ac:spMkLst>
            <pc:docMk/>
            <pc:sldMk cId="2130418808" sldId="260"/>
            <ac:spMk id="287" creationId="{53FDB646-E290-A729-30C2-B58655F0E600}"/>
          </ac:spMkLst>
        </pc:spChg>
        <pc:spChg chg="mod">
          <ac:chgData name="Appala Srujana" userId="a897cc35-aedc-4025-bce6-6175c0177033" providerId="ADAL" clId="{F249931F-CF49-4405-BC21-8182E27291FD}" dt="2025-10-23T05:25:15.450" v="6893"/>
          <ac:spMkLst>
            <pc:docMk/>
            <pc:sldMk cId="2130418808" sldId="260"/>
            <ac:spMk id="288" creationId="{02A6EB18-717C-F605-C0F1-17D8E366F66D}"/>
          </ac:spMkLst>
        </pc:spChg>
        <pc:spChg chg="mod">
          <ac:chgData name="Appala Srujana" userId="a897cc35-aedc-4025-bce6-6175c0177033" providerId="ADAL" clId="{F249931F-CF49-4405-BC21-8182E27291FD}" dt="2025-10-23T05:25:15.466" v="6907"/>
          <ac:spMkLst>
            <pc:docMk/>
            <pc:sldMk cId="2130418808" sldId="260"/>
            <ac:spMk id="291" creationId="{1F348F0D-8AAD-24B3-DF0B-464900913ADC}"/>
          </ac:spMkLst>
        </pc:spChg>
        <pc:spChg chg="mod">
          <ac:chgData name="Appala Srujana" userId="a897cc35-aedc-4025-bce6-6175c0177033" providerId="ADAL" clId="{F249931F-CF49-4405-BC21-8182E27291FD}" dt="2025-10-23T05:25:15.466" v="6919"/>
          <ac:spMkLst>
            <pc:docMk/>
            <pc:sldMk cId="2130418808" sldId="260"/>
            <ac:spMk id="293" creationId="{137BE057-C0FC-0445-6E33-11DC6941D76C}"/>
          </ac:spMkLst>
        </pc:spChg>
        <pc:spChg chg="mod">
          <ac:chgData name="Appala Srujana" userId="a897cc35-aedc-4025-bce6-6175c0177033" providerId="ADAL" clId="{F249931F-CF49-4405-BC21-8182E27291FD}" dt="2025-10-23T05:25:15.466" v="6931"/>
          <ac:spMkLst>
            <pc:docMk/>
            <pc:sldMk cId="2130418808" sldId="260"/>
            <ac:spMk id="294" creationId="{D4A51FC3-B5AD-D2BA-A49A-F7DC55C0966E}"/>
          </ac:spMkLst>
        </pc:spChg>
        <pc:spChg chg="mod">
          <ac:chgData name="Appala Srujana" userId="a897cc35-aedc-4025-bce6-6175c0177033" providerId="ADAL" clId="{F249931F-CF49-4405-BC21-8182E27291FD}" dt="2025-10-23T05:25:15.481" v="6963"/>
          <ac:spMkLst>
            <pc:docMk/>
            <pc:sldMk cId="2130418808" sldId="260"/>
            <ac:spMk id="296" creationId="{BB4A7A11-793E-FCA4-6074-8AB2BC14946A}"/>
          </ac:spMkLst>
        </pc:spChg>
        <pc:spChg chg="mod">
          <ac:chgData name="Appala Srujana" userId="a897cc35-aedc-4025-bce6-6175c0177033" providerId="ADAL" clId="{F249931F-CF49-4405-BC21-8182E27291FD}" dt="2025-10-23T05:25:15.481" v="6975"/>
          <ac:spMkLst>
            <pc:docMk/>
            <pc:sldMk cId="2130418808" sldId="260"/>
            <ac:spMk id="297" creationId="{FDD1B819-F6C7-27A1-B56A-16442D3E5B05}"/>
          </ac:spMkLst>
        </pc:spChg>
        <pc:spChg chg="mod">
          <ac:chgData name="Appala Srujana" userId="a897cc35-aedc-4025-bce6-6175c0177033" providerId="ADAL" clId="{F249931F-CF49-4405-BC21-8182E27291FD}" dt="2025-10-23T05:25:15.481" v="6987"/>
          <ac:spMkLst>
            <pc:docMk/>
            <pc:sldMk cId="2130418808" sldId="260"/>
            <ac:spMk id="298" creationId="{8B64049A-B635-BB61-72FF-25F0B4E52C8C}"/>
          </ac:spMkLst>
        </pc:spChg>
        <pc:spChg chg="mod">
          <ac:chgData name="Appala Srujana" userId="a897cc35-aedc-4025-bce6-6175c0177033" providerId="ADAL" clId="{F249931F-CF49-4405-BC21-8182E27291FD}" dt="2025-10-23T05:25:15.497" v="6999"/>
          <ac:spMkLst>
            <pc:docMk/>
            <pc:sldMk cId="2130418808" sldId="260"/>
            <ac:spMk id="299" creationId="{2D9B7561-029A-8FFB-42CA-21E5D20CBC69}"/>
          </ac:spMkLst>
        </pc:spChg>
        <pc:spChg chg="mod">
          <ac:chgData name="Appala Srujana" userId="a897cc35-aedc-4025-bce6-6175c0177033" providerId="ADAL" clId="{F249931F-CF49-4405-BC21-8182E27291FD}" dt="2025-10-23T05:25:15.497" v="7011"/>
          <ac:spMkLst>
            <pc:docMk/>
            <pc:sldMk cId="2130418808" sldId="260"/>
            <ac:spMk id="300" creationId="{D7E882EB-FB69-0D96-3524-2B1345E1EC60}"/>
          </ac:spMkLst>
        </pc:spChg>
        <pc:spChg chg="mod">
          <ac:chgData name="Appala Srujana" userId="a897cc35-aedc-4025-bce6-6175c0177033" providerId="ADAL" clId="{F249931F-CF49-4405-BC21-8182E27291FD}" dt="2025-10-23T05:25:15.508" v="7023"/>
          <ac:spMkLst>
            <pc:docMk/>
            <pc:sldMk cId="2130418808" sldId="260"/>
            <ac:spMk id="301" creationId="{61CA949A-179F-3DFB-E955-AA8C70D1F678}"/>
          </ac:spMkLst>
        </pc:spChg>
        <pc:spChg chg="mod">
          <ac:chgData name="Appala Srujana" userId="a897cc35-aedc-4025-bce6-6175c0177033" providerId="ADAL" clId="{F249931F-CF49-4405-BC21-8182E27291FD}" dt="2025-10-23T05:25:15.513" v="7035"/>
          <ac:spMkLst>
            <pc:docMk/>
            <pc:sldMk cId="2130418808" sldId="260"/>
            <ac:spMk id="302" creationId="{4AF4585B-47C3-54FC-D06C-D42AE5B4796F}"/>
          </ac:spMkLst>
        </pc:spChg>
        <pc:spChg chg="mod">
          <ac:chgData name="Appala Srujana" userId="a897cc35-aedc-4025-bce6-6175c0177033" providerId="ADAL" clId="{F249931F-CF49-4405-BC21-8182E27291FD}" dt="2025-10-23T05:25:15.529" v="7095"/>
          <ac:spMkLst>
            <pc:docMk/>
            <pc:sldMk cId="2130418808" sldId="260"/>
            <ac:spMk id="303" creationId="{1799A05B-23BB-17D5-E15F-CC6AA7A12736}"/>
          </ac:spMkLst>
        </pc:spChg>
        <pc:spChg chg="mod">
          <ac:chgData name="Appala Srujana" userId="a897cc35-aedc-4025-bce6-6175c0177033" providerId="ADAL" clId="{F249931F-CF49-4405-BC21-8182E27291FD}" dt="2025-10-23T05:25:15.513" v="7047"/>
          <ac:spMkLst>
            <pc:docMk/>
            <pc:sldMk cId="2130418808" sldId="260"/>
            <ac:spMk id="304" creationId="{9E1C563E-0B33-26A8-3D36-0828C5F84C37}"/>
          </ac:spMkLst>
        </pc:spChg>
        <pc:spChg chg="mod">
          <ac:chgData name="Appala Srujana" userId="a897cc35-aedc-4025-bce6-6175c0177033" providerId="ADAL" clId="{F249931F-CF49-4405-BC21-8182E27291FD}" dt="2025-10-23T05:25:15.513" v="7059"/>
          <ac:spMkLst>
            <pc:docMk/>
            <pc:sldMk cId="2130418808" sldId="260"/>
            <ac:spMk id="305" creationId="{B9A835FB-C07D-B203-C60B-3D61EC341788}"/>
          </ac:spMkLst>
        </pc:spChg>
        <pc:spChg chg="mod">
          <ac:chgData name="Appala Srujana" userId="a897cc35-aedc-4025-bce6-6175c0177033" providerId="ADAL" clId="{F249931F-CF49-4405-BC21-8182E27291FD}" dt="2025-10-23T05:25:15.513" v="7071"/>
          <ac:spMkLst>
            <pc:docMk/>
            <pc:sldMk cId="2130418808" sldId="260"/>
            <ac:spMk id="306" creationId="{FEB26AFC-4883-8BD0-35D3-67765E68CB8C}"/>
          </ac:spMkLst>
        </pc:spChg>
        <pc:spChg chg="mod">
          <ac:chgData name="Appala Srujana" userId="a897cc35-aedc-4025-bce6-6175c0177033" providerId="ADAL" clId="{F249931F-CF49-4405-BC21-8182E27291FD}" dt="2025-10-23T05:25:15.529" v="7083"/>
          <ac:spMkLst>
            <pc:docMk/>
            <pc:sldMk cId="2130418808" sldId="260"/>
            <ac:spMk id="307" creationId="{A8040E56-05F4-8C47-31DC-FAD8893010DB}"/>
          </ac:spMkLst>
        </pc:spChg>
        <pc:spChg chg="mod ord">
          <ac:chgData name="Appala Srujana" userId="a897cc35-aedc-4025-bce6-6175c0177033" providerId="ADAL" clId="{F249931F-CF49-4405-BC21-8182E27291FD}" dt="2025-10-23T05:25:15.481" v="6950"/>
          <ac:spMkLst>
            <pc:docMk/>
            <pc:sldMk cId="2130418808" sldId="260"/>
            <ac:spMk id="308" creationId="{21BC5FCA-3583-3F5A-E6BD-9D7ED67E74E4}"/>
          </ac:spMkLst>
        </pc:spChg>
        <pc:spChg chg="mod">
          <ac:chgData name="Appala Srujana" userId="a897cc35-aedc-4025-bce6-6175c0177033" providerId="ADAL" clId="{F249931F-CF49-4405-BC21-8182E27291FD}" dt="2025-10-23T05:25:15.450" v="6883"/>
          <ac:spMkLst>
            <pc:docMk/>
            <pc:sldMk cId="2130418808" sldId="260"/>
            <ac:spMk id="313" creationId="{63684CF2-B61F-290A-2625-747F336FFF8D}"/>
          </ac:spMkLst>
        </pc:spChg>
        <pc:spChg chg="mod ord">
          <ac:chgData name="Appala Srujana" userId="a897cc35-aedc-4025-bce6-6175c0177033" providerId="ADAL" clId="{F249931F-CF49-4405-BC21-8182E27291FD}" dt="2025-10-23T05:25:15.446" v="6848"/>
          <ac:spMkLst>
            <pc:docMk/>
            <pc:sldMk cId="2130418808" sldId="260"/>
            <ac:spMk id="316" creationId="{33B91EFC-BF4C-832A-2440-7A314CC4C508}"/>
          </ac:spMkLst>
        </pc:spChg>
        <pc:spChg chg="mod">
          <ac:chgData name="Appala Srujana" userId="a897cc35-aedc-4025-bce6-6175c0177033" providerId="ADAL" clId="{F249931F-CF49-4405-BC21-8182E27291FD}" dt="2025-10-23T05:25:15.450" v="6860"/>
          <ac:spMkLst>
            <pc:docMk/>
            <pc:sldMk cId="2130418808" sldId="260"/>
            <ac:spMk id="317" creationId="{BAF797E1-C20C-CC5A-5BE6-2E17244FC7EA}"/>
          </ac:spMkLst>
        </pc:spChg>
        <pc:spChg chg="mod">
          <ac:chgData name="Appala Srujana" userId="a897cc35-aedc-4025-bce6-6175c0177033" providerId="ADAL" clId="{F249931F-CF49-4405-BC21-8182E27291FD}" dt="2025-10-23T05:25:15.450" v="6872"/>
          <ac:spMkLst>
            <pc:docMk/>
            <pc:sldMk cId="2130418808" sldId="260"/>
            <ac:spMk id="318" creationId="{699F6B4A-08AC-5343-ACD5-CDC175E9CE62}"/>
          </ac:spMkLst>
        </pc:spChg>
        <pc:spChg chg="mod">
          <ac:chgData name="Appala Srujana" userId="a897cc35-aedc-4025-bce6-6175c0177033" providerId="ADAL" clId="{F249931F-CF49-4405-BC21-8182E27291FD}" dt="2025-10-23T05:25:15.450" v="6894"/>
          <ac:spMkLst>
            <pc:docMk/>
            <pc:sldMk cId="2130418808" sldId="260"/>
            <ac:spMk id="319" creationId="{D8DC25D0-783D-2106-9755-D070BE366EE5}"/>
          </ac:spMkLst>
        </pc:spChg>
        <pc:spChg chg="mod">
          <ac:chgData name="Appala Srujana" userId="a897cc35-aedc-4025-bce6-6175c0177033" providerId="ADAL" clId="{F249931F-CF49-4405-BC21-8182E27291FD}" dt="2025-10-23T05:25:15.466" v="6908"/>
          <ac:spMkLst>
            <pc:docMk/>
            <pc:sldMk cId="2130418808" sldId="260"/>
            <ac:spMk id="322" creationId="{9CC25E27-D0CB-AC11-50C0-1B86F1012AEB}"/>
          </ac:spMkLst>
        </pc:spChg>
        <pc:spChg chg="mod">
          <ac:chgData name="Appala Srujana" userId="a897cc35-aedc-4025-bce6-6175c0177033" providerId="ADAL" clId="{F249931F-CF49-4405-BC21-8182E27291FD}" dt="2025-10-23T05:25:15.466" v="6920"/>
          <ac:spMkLst>
            <pc:docMk/>
            <pc:sldMk cId="2130418808" sldId="260"/>
            <ac:spMk id="324" creationId="{E60C751D-DEF7-5788-A222-39623C7776AD}"/>
          </ac:spMkLst>
        </pc:spChg>
        <pc:spChg chg="mod">
          <ac:chgData name="Appala Srujana" userId="a897cc35-aedc-4025-bce6-6175c0177033" providerId="ADAL" clId="{F249931F-CF49-4405-BC21-8182E27291FD}" dt="2025-10-23T05:25:15.466" v="6932"/>
          <ac:spMkLst>
            <pc:docMk/>
            <pc:sldMk cId="2130418808" sldId="260"/>
            <ac:spMk id="325" creationId="{0A217339-B4BB-04FF-9E25-E1DB1D562CFF}"/>
          </ac:spMkLst>
        </pc:spChg>
        <pc:spChg chg="mod">
          <ac:chgData name="Appala Srujana" userId="a897cc35-aedc-4025-bce6-6175c0177033" providerId="ADAL" clId="{F249931F-CF49-4405-BC21-8182E27291FD}" dt="2025-10-23T05:25:15.481" v="6964"/>
          <ac:spMkLst>
            <pc:docMk/>
            <pc:sldMk cId="2130418808" sldId="260"/>
            <ac:spMk id="327" creationId="{4EC797F5-3867-647E-576D-A15DE29AF672}"/>
          </ac:spMkLst>
        </pc:spChg>
        <pc:spChg chg="mod">
          <ac:chgData name="Appala Srujana" userId="a897cc35-aedc-4025-bce6-6175c0177033" providerId="ADAL" clId="{F249931F-CF49-4405-BC21-8182E27291FD}" dt="2025-10-23T05:25:15.481" v="6976"/>
          <ac:spMkLst>
            <pc:docMk/>
            <pc:sldMk cId="2130418808" sldId="260"/>
            <ac:spMk id="328" creationId="{7329EBE9-37E4-11AE-10D1-065F1173BC4C}"/>
          </ac:spMkLst>
        </pc:spChg>
        <pc:spChg chg="mod">
          <ac:chgData name="Appala Srujana" userId="a897cc35-aedc-4025-bce6-6175c0177033" providerId="ADAL" clId="{F249931F-CF49-4405-BC21-8182E27291FD}" dt="2025-10-23T05:25:15.481" v="6988"/>
          <ac:spMkLst>
            <pc:docMk/>
            <pc:sldMk cId="2130418808" sldId="260"/>
            <ac:spMk id="329" creationId="{9F99C172-A320-0B52-C058-569C5DA21E46}"/>
          </ac:spMkLst>
        </pc:spChg>
        <pc:spChg chg="mod">
          <ac:chgData name="Appala Srujana" userId="a897cc35-aedc-4025-bce6-6175c0177033" providerId="ADAL" clId="{F249931F-CF49-4405-BC21-8182E27291FD}" dt="2025-10-23T05:25:15.497" v="7000"/>
          <ac:spMkLst>
            <pc:docMk/>
            <pc:sldMk cId="2130418808" sldId="260"/>
            <ac:spMk id="330" creationId="{43F9DED8-998B-FF51-AA1B-9D1548CE4200}"/>
          </ac:spMkLst>
        </pc:spChg>
        <pc:spChg chg="mod">
          <ac:chgData name="Appala Srujana" userId="a897cc35-aedc-4025-bce6-6175c0177033" providerId="ADAL" clId="{F249931F-CF49-4405-BC21-8182E27291FD}" dt="2025-10-23T05:25:15.497" v="7012"/>
          <ac:spMkLst>
            <pc:docMk/>
            <pc:sldMk cId="2130418808" sldId="260"/>
            <ac:spMk id="331" creationId="{64FC8E4A-1B4B-90D7-58BF-41190DE0A25C}"/>
          </ac:spMkLst>
        </pc:spChg>
        <pc:spChg chg="mod">
          <ac:chgData name="Appala Srujana" userId="a897cc35-aedc-4025-bce6-6175c0177033" providerId="ADAL" clId="{F249931F-CF49-4405-BC21-8182E27291FD}" dt="2025-10-23T05:25:15.510" v="7024"/>
          <ac:spMkLst>
            <pc:docMk/>
            <pc:sldMk cId="2130418808" sldId="260"/>
            <ac:spMk id="332" creationId="{697027A2-CAB4-B897-21B7-6A1FDF83529A}"/>
          </ac:spMkLst>
        </pc:spChg>
        <pc:spChg chg="mod">
          <ac:chgData name="Appala Srujana" userId="a897cc35-aedc-4025-bce6-6175c0177033" providerId="ADAL" clId="{F249931F-CF49-4405-BC21-8182E27291FD}" dt="2025-10-23T05:25:15.513" v="7036"/>
          <ac:spMkLst>
            <pc:docMk/>
            <pc:sldMk cId="2130418808" sldId="260"/>
            <ac:spMk id="333" creationId="{5B7AACF8-E24D-A77B-0194-BF1AA3EB4DB4}"/>
          </ac:spMkLst>
        </pc:spChg>
        <pc:spChg chg="mod">
          <ac:chgData name="Appala Srujana" userId="a897cc35-aedc-4025-bce6-6175c0177033" providerId="ADAL" clId="{F249931F-CF49-4405-BC21-8182E27291FD}" dt="2025-10-23T05:25:15.529" v="7096"/>
          <ac:spMkLst>
            <pc:docMk/>
            <pc:sldMk cId="2130418808" sldId="260"/>
            <ac:spMk id="334" creationId="{C1567355-F8DA-E928-8AF2-47D231F75FC3}"/>
          </ac:spMkLst>
        </pc:spChg>
        <pc:spChg chg="mod">
          <ac:chgData name="Appala Srujana" userId="a897cc35-aedc-4025-bce6-6175c0177033" providerId="ADAL" clId="{F249931F-CF49-4405-BC21-8182E27291FD}" dt="2025-10-23T05:25:15.513" v="7048"/>
          <ac:spMkLst>
            <pc:docMk/>
            <pc:sldMk cId="2130418808" sldId="260"/>
            <ac:spMk id="335" creationId="{904A6321-3A92-6D16-8E40-59DF3AC897CA}"/>
          </ac:spMkLst>
        </pc:spChg>
        <pc:spChg chg="mod">
          <ac:chgData name="Appala Srujana" userId="a897cc35-aedc-4025-bce6-6175c0177033" providerId="ADAL" clId="{F249931F-CF49-4405-BC21-8182E27291FD}" dt="2025-10-23T05:25:15.513" v="7060"/>
          <ac:spMkLst>
            <pc:docMk/>
            <pc:sldMk cId="2130418808" sldId="260"/>
            <ac:spMk id="336" creationId="{7EBF039E-2DEC-6C91-8950-CF653540CC15}"/>
          </ac:spMkLst>
        </pc:spChg>
        <pc:spChg chg="mod">
          <ac:chgData name="Appala Srujana" userId="a897cc35-aedc-4025-bce6-6175c0177033" providerId="ADAL" clId="{F249931F-CF49-4405-BC21-8182E27291FD}" dt="2025-10-23T05:25:15.513" v="7072"/>
          <ac:spMkLst>
            <pc:docMk/>
            <pc:sldMk cId="2130418808" sldId="260"/>
            <ac:spMk id="337" creationId="{18BEA017-C2F2-9C46-90B8-EE2B63566AB3}"/>
          </ac:spMkLst>
        </pc:spChg>
        <pc:spChg chg="mod">
          <ac:chgData name="Appala Srujana" userId="a897cc35-aedc-4025-bce6-6175c0177033" providerId="ADAL" clId="{F249931F-CF49-4405-BC21-8182E27291FD}" dt="2025-10-23T05:25:15.529" v="7084"/>
          <ac:spMkLst>
            <pc:docMk/>
            <pc:sldMk cId="2130418808" sldId="260"/>
            <ac:spMk id="338" creationId="{30C0E0CD-C9E7-BE14-1A72-54F82B5FA89B}"/>
          </ac:spMkLst>
        </pc:spChg>
        <pc:spChg chg="mod ord">
          <ac:chgData name="Appala Srujana" userId="a897cc35-aedc-4025-bce6-6175c0177033" providerId="ADAL" clId="{F249931F-CF49-4405-BC21-8182E27291FD}" dt="2025-10-23T05:25:15.481" v="6952"/>
          <ac:spMkLst>
            <pc:docMk/>
            <pc:sldMk cId="2130418808" sldId="260"/>
            <ac:spMk id="339" creationId="{FF4F2F99-3ABB-710F-1EF4-9F03F9C431D6}"/>
          </ac:spMkLst>
        </pc:spChg>
        <pc:spChg chg="mod">
          <ac:chgData name="Appala Srujana" userId="a897cc35-aedc-4025-bce6-6175c0177033" providerId="ADAL" clId="{F249931F-CF49-4405-BC21-8182E27291FD}" dt="2025-10-23T05:25:15.450" v="6884"/>
          <ac:spMkLst>
            <pc:docMk/>
            <pc:sldMk cId="2130418808" sldId="260"/>
            <ac:spMk id="344" creationId="{B4C06A76-1FBE-CE66-EDC9-E4C78002FA42}"/>
          </ac:spMkLst>
        </pc:spChg>
        <pc:spChg chg="mod ord">
          <ac:chgData name="Appala Srujana" userId="a897cc35-aedc-4025-bce6-6175c0177033" providerId="ADAL" clId="{F249931F-CF49-4405-BC21-8182E27291FD}" dt="2025-10-23T05:25:15.408" v="6733"/>
          <ac:spMkLst>
            <pc:docMk/>
            <pc:sldMk cId="2130418808" sldId="260"/>
            <ac:spMk id="477" creationId="{7392BA0A-CBFA-1BC5-DB8B-4277FC908A80}"/>
          </ac:spMkLst>
        </pc:spChg>
        <pc:spChg chg="mod ord">
          <ac:chgData name="Appala Srujana" userId="a897cc35-aedc-4025-bce6-6175c0177033" providerId="ADAL" clId="{F249931F-CF49-4405-BC21-8182E27291FD}" dt="2025-10-23T05:25:15.438" v="6812"/>
          <ac:spMkLst>
            <pc:docMk/>
            <pc:sldMk cId="2130418808" sldId="260"/>
            <ac:spMk id="478" creationId="{B065A868-385C-8C70-7CA7-AF66AD4B50E6}"/>
          </ac:spMkLst>
        </pc:spChg>
        <pc:spChg chg="mod ord">
          <ac:chgData name="Appala Srujana" userId="a897cc35-aedc-4025-bce6-6175c0177033" providerId="ADAL" clId="{F249931F-CF49-4405-BC21-8182E27291FD}" dt="2025-10-23T05:25:15.529" v="7098"/>
          <ac:spMkLst>
            <pc:docMk/>
            <pc:sldMk cId="2130418808" sldId="260"/>
            <ac:spMk id="482" creationId="{D386B5C0-5373-96AF-0BBD-F5C3ED33998D}"/>
          </ac:spMkLst>
        </pc:spChg>
        <pc:spChg chg="mod ord">
          <ac:chgData name="Appala Srujana" userId="a897cc35-aedc-4025-bce6-6175c0177033" providerId="ADAL" clId="{F249931F-CF49-4405-BC21-8182E27291FD}" dt="2025-10-23T05:25:15.529" v="7100"/>
          <ac:spMkLst>
            <pc:docMk/>
            <pc:sldMk cId="2130418808" sldId="260"/>
            <ac:spMk id="483" creationId="{20200C6E-18CE-0302-4640-B7344E038628}"/>
          </ac:spMkLst>
        </pc:spChg>
        <pc:spChg chg="mod">
          <ac:chgData name="Appala Srujana" userId="a897cc35-aedc-4025-bce6-6175c0177033" providerId="ADAL" clId="{F249931F-CF49-4405-BC21-8182E27291FD}" dt="2025-10-23T05:25:15.538" v="7101"/>
          <ac:spMkLst>
            <pc:docMk/>
            <pc:sldMk cId="2130418808" sldId="260"/>
            <ac:spMk id="484" creationId="{C28D2C26-10E7-FE33-41D1-EE2CCA441AAE}"/>
          </ac:spMkLst>
        </pc:spChg>
        <pc:spChg chg="mod">
          <ac:chgData name="Appala Srujana" userId="a897cc35-aedc-4025-bce6-6175c0177033" providerId="ADAL" clId="{F249931F-CF49-4405-BC21-8182E27291FD}" dt="2025-10-23T05:25:15.538" v="7102"/>
          <ac:spMkLst>
            <pc:docMk/>
            <pc:sldMk cId="2130418808" sldId="260"/>
            <ac:spMk id="485" creationId="{48BFB4D5-1A16-A5DB-C424-49767FEF2248}"/>
          </ac:spMkLst>
        </pc:spChg>
        <pc:spChg chg="mod">
          <ac:chgData name="Appala Srujana" userId="a897cc35-aedc-4025-bce6-6175c0177033" providerId="ADAL" clId="{F249931F-CF49-4405-BC21-8182E27291FD}" dt="2025-10-23T05:25:15.538" v="7103"/>
          <ac:spMkLst>
            <pc:docMk/>
            <pc:sldMk cId="2130418808" sldId="260"/>
            <ac:spMk id="486" creationId="{22519C4D-80A5-BD07-184B-B82FE5BBFD80}"/>
          </ac:spMkLst>
        </pc:spChg>
        <pc:spChg chg="mod">
          <ac:chgData name="Appala Srujana" userId="a897cc35-aedc-4025-bce6-6175c0177033" providerId="ADAL" clId="{F249931F-CF49-4405-BC21-8182E27291FD}" dt="2025-10-23T05:25:15.538" v="7104"/>
          <ac:spMkLst>
            <pc:docMk/>
            <pc:sldMk cId="2130418808" sldId="260"/>
            <ac:spMk id="487" creationId="{7C32C6FB-D377-4201-6114-2E7BF44DA8D9}"/>
          </ac:spMkLst>
        </pc:spChg>
        <pc:spChg chg="mod">
          <ac:chgData name="Appala Srujana" userId="a897cc35-aedc-4025-bce6-6175c0177033" providerId="ADAL" clId="{F249931F-CF49-4405-BC21-8182E27291FD}" dt="2025-10-23T05:25:15.538" v="7105"/>
          <ac:spMkLst>
            <pc:docMk/>
            <pc:sldMk cId="2130418808" sldId="260"/>
            <ac:spMk id="488" creationId="{1F650CDF-8694-98D9-EE64-16967D35E515}"/>
          </ac:spMkLst>
        </pc:spChg>
        <pc:spChg chg="mod">
          <ac:chgData name="Appala Srujana" userId="a897cc35-aedc-4025-bce6-6175c0177033" providerId="ADAL" clId="{F249931F-CF49-4405-BC21-8182E27291FD}" dt="2025-10-23T05:25:15.538" v="7106"/>
          <ac:spMkLst>
            <pc:docMk/>
            <pc:sldMk cId="2130418808" sldId="260"/>
            <ac:spMk id="489" creationId="{22DC37EC-1D2A-9FF9-C49D-2EA0AAFF4602}"/>
          </ac:spMkLst>
        </pc:spChg>
        <pc:spChg chg="mod">
          <ac:chgData name="Appala Srujana" userId="a897cc35-aedc-4025-bce6-6175c0177033" providerId="ADAL" clId="{F249931F-CF49-4405-BC21-8182E27291FD}" dt="2025-10-23T05:25:15.538" v="7107"/>
          <ac:spMkLst>
            <pc:docMk/>
            <pc:sldMk cId="2130418808" sldId="260"/>
            <ac:spMk id="490" creationId="{9BF3BE30-CA35-862B-8992-DE7DED1C4E8F}"/>
          </ac:spMkLst>
        </pc:spChg>
        <pc:spChg chg="mod">
          <ac:chgData name="Appala Srujana" userId="a897cc35-aedc-4025-bce6-6175c0177033" providerId="ADAL" clId="{F249931F-CF49-4405-BC21-8182E27291FD}" dt="2025-10-23T05:25:15.538" v="7108"/>
          <ac:spMkLst>
            <pc:docMk/>
            <pc:sldMk cId="2130418808" sldId="260"/>
            <ac:spMk id="491" creationId="{885578E4-CB75-2F28-C1D7-C2A04DABEA18}"/>
          </ac:spMkLst>
        </pc:spChg>
        <pc:spChg chg="mod ord">
          <ac:chgData name="Appala Srujana" userId="a897cc35-aedc-4025-bce6-6175c0177033" providerId="ADAL" clId="{F249931F-CF49-4405-BC21-8182E27291FD}" dt="2025-10-23T05:25:15.538" v="7110"/>
          <ac:spMkLst>
            <pc:docMk/>
            <pc:sldMk cId="2130418808" sldId="260"/>
            <ac:spMk id="496" creationId="{D0F33AAB-D721-067C-D2C0-DD012FCB9C44}"/>
          </ac:spMkLst>
        </pc:spChg>
        <pc:spChg chg="mod">
          <ac:chgData name="Appala Srujana" userId="a897cc35-aedc-4025-bce6-6175c0177033" providerId="ADAL" clId="{F249931F-CF49-4405-BC21-8182E27291FD}" dt="2025-10-23T05:25:15.426" v="6779"/>
          <ac:spMkLst>
            <pc:docMk/>
            <pc:sldMk cId="2130418808" sldId="260"/>
            <ac:spMk id="498" creationId="{9F2232FA-4262-5835-6956-A2E8B55209EC}"/>
          </ac:spMkLst>
        </pc:spChg>
        <pc:spChg chg="mod ord">
          <ac:chgData name="Appala Srujana" userId="a897cc35-aedc-4025-bce6-6175c0177033" providerId="ADAL" clId="{F249931F-CF49-4405-BC21-8182E27291FD}" dt="2025-10-23T05:25:15.428" v="6781"/>
          <ac:spMkLst>
            <pc:docMk/>
            <pc:sldMk cId="2130418808" sldId="260"/>
            <ac:spMk id="499" creationId="{076065EF-F1F5-4DA0-2D28-842EBD3A44AB}"/>
          </ac:spMkLst>
        </pc:spChg>
        <pc:spChg chg="mod">
          <ac:chgData name="Appala Srujana" userId="a897cc35-aedc-4025-bce6-6175c0177033" providerId="ADAL" clId="{F249931F-CF49-4405-BC21-8182E27291FD}" dt="2025-10-23T05:25:15.428" v="6782"/>
          <ac:spMkLst>
            <pc:docMk/>
            <pc:sldMk cId="2130418808" sldId="260"/>
            <ac:spMk id="500" creationId="{F4C86D60-312E-60B3-E571-6E63186DD115}"/>
          </ac:spMkLst>
        </pc:spChg>
        <pc:spChg chg="mod">
          <ac:chgData name="Appala Srujana" userId="a897cc35-aedc-4025-bce6-6175c0177033" providerId="ADAL" clId="{F249931F-CF49-4405-BC21-8182E27291FD}" dt="2025-10-23T05:25:15.428" v="6783"/>
          <ac:spMkLst>
            <pc:docMk/>
            <pc:sldMk cId="2130418808" sldId="260"/>
            <ac:spMk id="502" creationId="{1BB17E2C-BAA1-A55E-3F17-B5CB98978C03}"/>
          </ac:spMkLst>
        </pc:spChg>
        <pc:spChg chg="mod ord">
          <ac:chgData name="Appala Srujana" userId="a897cc35-aedc-4025-bce6-6175c0177033" providerId="ADAL" clId="{F249931F-CF49-4405-BC21-8182E27291FD}" dt="2025-10-23T05:25:15.428" v="6785"/>
          <ac:spMkLst>
            <pc:docMk/>
            <pc:sldMk cId="2130418808" sldId="260"/>
            <ac:spMk id="503" creationId="{13FEDB6C-B233-94DF-C1AA-182C8EDF33F2}"/>
          </ac:spMkLst>
        </pc:spChg>
        <pc:spChg chg="mod">
          <ac:chgData name="Appala Srujana" userId="a897cc35-aedc-4025-bce6-6175c0177033" providerId="ADAL" clId="{F249931F-CF49-4405-BC21-8182E27291FD}" dt="2025-10-23T05:25:15.430" v="6786"/>
          <ac:spMkLst>
            <pc:docMk/>
            <pc:sldMk cId="2130418808" sldId="260"/>
            <ac:spMk id="504" creationId="{8E15F349-3F2D-3A50-885D-CCED1D466635}"/>
          </ac:spMkLst>
        </pc:spChg>
        <pc:spChg chg="mod">
          <ac:chgData name="Appala Srujana" userId="a897cc35-aedc-4025-bce6-6175c0177033" providerId="ADAL" clId="{F249931F-CF49-4405-BC21-8182E27291FD}" dt="2025-10-23T05:25:15.430" v="6787"/>
          <ac:spMkLst>
            <pc:docMk/>
            <pc:sldMk cId="2130418808" sldId="260"/>
            <ac:spMk id="518" creationId="{AE67711C-8FF9-38C8-EB1E-C228787534D0}"/>
          </ac:spMkLst>
        </pc:spChg>
        <pc:spChg chg="mod ord">
          <ac:chgData name="Appala Srujana" userId="a897cc35-aedc-4025-bce6-6175c0177033" providerId="ADAL" clId="{F249931F-CF49-4405-BC21-8182E27291FD}" dt="2025-10-23T05:25:15.430" v="6789"/>
          <ac:spMkLst>
            <pc:docMk/>
            <pc:sldMk cId="2130418808" sldId="260"/>
            <ac:spMk id="519" creationId="{955846AA-CADA-F7DA-74AF-35EE6A30FC4D}"/>
          </ac:spMkLst>
        </pc:spChg>
        <pc:spChg chg="mod">
          <ac:chgData name="Appala Srujana" userId="a897cc35-aedc-4025-bce6-6175c0177033" providerId="ADAL" clId="{F249931F-CF49-4405-BC21-8182E27291FD}" dt="2025-10-23T05:25:15.430" v="6790"/>
          <ac:spMkLst>
            <pc:docMk/>
            <pc:sldMk cId="2130418808" sldId="260"/>
            <ac:spMk id="520" creationId="{077BDBAC-6D2C-585A-9ED7-5FDA11B0D9CE}"/>
          </ac:spMkLst>
        </pc:spChg>
        <pc:spChg chg="mod">
          <ac:chgData name="Appala Srujana" userId="a897cc35-aedc-4025-bce6-6175c0177033" providerId="ADAL" clId="{F249931F-CF49-4405-BC21-8182E27291FD}" dt="2025-10-23T05:25:15.430" v="6791"/>
          <ac:spMkLst>
            <pc:docMk/>
            <pc:sldMk cId="2130418808" sldId="260"/>
            <ac:spMk id="526" creationId="{ECE02B38-90D7-7DD3-F3CD-C8270AAF3C15}"/>
          </ac:spMkLst>
        </pc:spChg>
        <pc:spChg chg="mod ord">
          <ac:chgData name="Appala Srujana" userId="a897cc35-aedc-4025-bce6-6175c0177033" providerId="ADAL" clId="{F249931F-CF49-4405-BC21-8182E27291FD}" dt="2025-10-23T05:25:15.432" v="6793"/>
          <ac:spMkLst>
            <pc:docMk/>
            <pc:sldMk cId="2130418808" sldId="260"/>
            <ac:spMk id="527" creationId="{BADB1422-B036-DE73-9ADD-2A576A64959B}"/>
          </ac:spMkLst>
        </pc:spChg>
        <pc:spChg chg="mod">
          <ac:chgData name="Appala Srujana" userId="a897cc35-aedc-4025-bce6-6175c0177033" providerId="ADAL" clId="{F249931F-CF49-4405-BC21-8182E27291FD}" dt="2025-10-23T05:25:15.432" v="6794"/>
          <ac:spMkLst>
            <pc:docMk/>
            <pc:sldMk cId="2130418808" sldId="260"/>
            <ac:spMk id="528" creationId="{53608D94-ED4B-9ECC-7BF7-1CE608CC199F}"/>
          </ac:spMkLst>
        </pc:spChg>
        <pc:spChg chg="mod">
          <ac:chgData name="Appala Srujana" userId="a897cc35-aedc-4025-bce6-6175c0177033" providerId="ADAL" clId="{F249931F-CF49-4405-BC21-8182E27291FD}" dt="2025-10-23T05:25:15.432" v="6795"/>
          <ac:spMkLst>
            <pc:docMk/>
            <pc:sldMk cId="2130418808" sldId="260"/>
            <ac:spMk id="530" creationId="{4CFE6BCB-EAAA-38BA-58E3-C4438B626334}"/>
          </ac:spMkLst>
        </pc:spChg>
        <pc:spChg chg="mod ord">
          <ac:chgData name="Appala Srujana" userId="a897cc35-aedc-4025-bce6-6175c0177033" providerId="ADAL" clId="{F249931F-CF49-4405-BC21-8182E27291FD}" dt="2025-10-23T05:25:15.434" v="6797"/>
          <ac:spMkLst>
            <pc:docMk/>
            <pc:sldMk cId="2130418808" sldId="260"/>
            <ac:spMk id="531" creationId="{3FA59743-5D59-6C73-3EEA-0C3723E6F27D}"/>
          </ac:spMkLst>
        </pc:spChg>
        <pc:spChg chg="mod">
          <ac:chgData name="Appala Srujana" userId="a897cc35-aedc-4025-bce6-6175c0177033" providerId="ADAL" clId="{F249931F-CF49-4405-BC21-8182E27291FD}" dt="2025-10-23T05:25:15.434" v="6798"/>
          <ac:spMkLst>
            <pc:docMk/>
            <pc:sldMk cId="2130418808" sldId="260"/>
            <ac:spMk id="532" creationId="{EA504085-6BF0-D077-6783-EA009C7A00F8}"/>
          </ac:spMkLst>
        </pc:spChg>
        <pc:spChg chg="mod">
          <ac:chgData name="Appala Srujana" userId="a897cc35-aedc-4025-bce6-6175c0177033" providerId="ADAL" clId="{F249931F-CF49-4405-BC21-8182E27291FD}" dt="2025-10-23T05:25:15.434" v="6799"/>
          <ac:spMkLst>
            <pc:docMk/>
            <pc:sldMk cId="2130418808" sldId="260"/>
            <ac:spMk id="534" creationId="{C607678D-812D-6CE0-679B-01AC5C204DE2}"/>
          </ac:spMkLst>
        </pc:spChg>
        <pc:spChg chg="mod ord">
          <ac:chgData name="Appala Srujana" userId="a897cc35-aedc-4025-bce6-6175c0177033" providerId="ADAL" clId="{F249931F-CF49-4405-BC21-8182E27291FD}" dt="2025-10-23T05:25:15.434" v="6801"/>
          <ac:spMkLst>
            <pc:docMk/>
            <pc:sldMk cId="2130418808" sldId="260"/>
            <ac:spMk id="535" creationId="{A608138E-C1B2-5994-61CA-022DD7AEAB92}"/>
          </ac:spMkLst>
        </pc:spChg>
        <pc:spChg chg="mod">
          <ac:chgData name="Appala Srujana" userId="a897cc35-aedc-4025-bce6-6175c0177033" providerId="ADAL" clId="{F249931F-CF49-4405-BC21-8182E27291FD}" dt="2025-10-23T05:25:15.434" v="6802"/>
          <ac:spMkLst>
            <pc:docMk/>
            <pc:sldMk cId="2130418808" sldId="260"/>
            <ac:spMk id="536" creationId="{15285DC4-8513-CE20-E9C9-F8F13BF920CF}"/>
          </ac:spMkLst>
        </pc:spChg>
        <pc:spChg chg="mod">
          <ac:chgData name="Appala Srujana" userId="a897cc35-aedc-4025-bce6-6175c0177033" providerId="ADAL" clId="{F249931F-CF49-4405-BC21-8182E27291FD}" dt="2025-10-23T05:25:15.436" v="6803"/>
          <ac:spMkLst>
            <pc:docMk/>
            <pc:sldMk cId="2130418808" sldId="260"/>
            <ac:spMk id="538" creationId="{B84983F3-83B0-8DD4-871C-DE40FAFAEE73}"/>
          </ac:spMkLst>
        </pc:spChg>
        <pc:spChg chg="mod ord">
          <ac:chgData name="Appala Srujana" userId="a897cc35-aedc-4025-bce6-6175c0177033" providerId="ADAL" clId="{F249931F-CF49-4405-BC21-8182E27291FD}" dt="2025-10-23T05:25:15.436" v="6805"/>
          <ac:spMkLst>
            <pc:docMk/>
            <pc:sldMk cId="2130418808" sldId="260"/>
            <ac:spMk id="539" creationId="{0BDF577D-9FFA-2FDE-E9F4-751D6AC3AFCD}"/>
          </ac:spMkLst>
        </pc:spChg>
        <pc:spChg chg="mod">
          <ac:chgData name="Appala Srujana" userId="a897cc35-aedc-4025-bce6-6175c0177033" providerId="ADAL" clId="{F249931F-CF49-4405-BC21-8182E27291FD}" dt="2025-10-23T05:25:15.436" v="6806"/>
          <ac:spMkLst>
            <pc:docMk/>
            <pc:sldMk cId="2130418808" sldId="260"/>
            <ac:spMk id="540" creationId="{5B3A501F-2FBC-0F78-B9A8-0DCD8DFBAC24}"/>
          </ac:spMkLst>
        </pc:spChg>
        <pc:spChg chg="mod">
          <ac:chgData name="Appala Srujana" userId="a897cc35-aedc-4025-bce6-6175c0177033" providerId="ADAL" clId="{F249931F-CF49-4405-BC21-8182E27291FD}" dt="2025-10-23T05:25:15.438" v="6807"/>
          <ac:spMkLst>
            <pc:docMk/>
            <pc:sldMk cId="2130418808" sldId="260"/>
            <ac:spMk id="542" creationId="{0FDE3EFC-AF16-A0EA-8838-1B988CBF104F}"/>
          </ac:spMkLst>
        </pc:spChg>
        <pc:spChg chg="mod ord">
          <ac:chgData name="Appala Srujana" userId="a897cc35-aedc-4025-bce6-6175c0177033" providerId="ADAL" clId="{F249931F-CF49-4405-BC21-8182E27291FD}" dt="2025-10-23T05:25:15.438" v="6809"/>
          <ac:spMkLst>
            <pc:docMk/>
            <pc:sldMk cId="2130418808" sldId="260"/>
            <ac:spMk id="543" creationId="{1A396CC2-5DAE-2040-2E12-F805936968FF}"/>
          </ac:spMkLst>
        </pc:spChg>
        <pc:spChg chg="mod">
          <ac:chgData name="Appala Srujana" userId="a897cc35-aedc-4025-bce6-6175c0177033" providerId="ADAL" clId="{F249931F-CF49-4405-BC21-8182E27291FD}" dt="2025-10-23T05:25:15.438" v="6810"/>
          <ac:spMkLst>
            <pc:docMk/>
            <pc:sldMk cId="2130418808" sldId="260"/>
            <ac:spMk id="544" creationId="{F2A9402D-9B16-95C7-7C35-BDFCE3262E50}"/>
          </ac:spMkLst>
        </pc:spChg>
        <pc:spChg chg="mod ord">
          <ac:chgData name="Appala Srujana" userId="a897cc35-aedc-4025-bce6-6175c0177033" providerId="ADAL" clId="{F249931F-CF49-4405-BC21-8182E27291FD}" dt="2025-10-23T05:25:15.438" v="6814"/>
          <ac:spMkLst>
            <pc:docMk/>
            <pc:sldMk cId="2130418808" sldId="260"/>
            <ac:spMk id="576" creationId="{A57761A8-CCD1-65C1-743E-2735D1426D42}"/>
          </ac:spMkLst>
        </pc:spChg>
        <pc:spChg chg="mod ord">
          <ac:chgData name="Appala Srujana" userId="a897cc35-aedc-4025-bce6-6175c0177033" providerId="ADAL" clId="{F249931F-CF49-4405-BC21-8182E27291FD}" dt="2025-10-23T05:25:15.440" v="6816"/>
          <ac:spMkLst>
            <pc:docMk/>
            <pc:sldMk cId="2130418808" sldId="260"/>
            <ac:spMk id="577" creationId="{37B8B8D4-64F7-E8CD-23E9-B5917A03A91A}"/>
          </ac:spMkLst>
        </pc:spChg>
        <pc:spChg chg="mod ord">
          <ac:chgData name="Appala Srujana" userId="a897cc35-aedc-4025-bce6-6175c0177033" providerId="ADAL" clId="{F249931F-CF49-4405-BC21-8182E27291FD}" dt="2025-10-23T05:25:15.440" v="6818"/>
          <ac:spMkLst>
            <pc:docMk/>
            <pc:sldMk cId="2130418808" sldId="260"/>
            <ac:spMk id="579" creationId="{F2FD4244-73D0-8BFC-C635-62419AA62620}"/>
          </ac:spMkLst>
        </pc:spChg>
        <pc:spChg chg="mod ord">
          <ac:chgData name="Appala Srujana" userId="a897cc35-aedc-4025-bce6-6175c0177033" providerId="ADAL" clId="{F249931F-CF49-4405-BC21-8182E27291FD}" dt="2025-10-23T05:25:15.440" v="6820"/>
          <ac:spMkLst>
            <pc:docMk/>
            <pc:sldMk cId="2130418808" sldId="260"/>
            <ac:spMk id="580" creationId="{526E6602-6CEC-6066-5B4A-8ECCE8130EB6}"/>
          </ac:spMkLst>
        </pc:spChg>
        <pc:spChg chg="mod ord">
          <ac:chgData name="Appala Srujana" userId="a897cc35-aedc-4025-bce6-6175c0177033" providerId="ADAL" clId="{F249931F-CF49-4405-BC21-8182E27291FD}" dt="2025-10-23T05:25:15.440" v="6822"/>
          <ac:spMkLst>
            <pc:docMk/>
            <pc:sldMk cId="2130418808" sldId="260"/>
            <ac:spMk id="582" creationId="{58125EB2-604D-F6EE-88DB-3F737BCE09E1}"/>
          </ac:spMkLst>
        </pc:spChg>
        <pc:spChg chg="mod ord">
          <ac:chgData name="Appala Srujana" userId="a897cc35-aedc-4025-bce6-6175c0177033" providerId="ADAL" clId="{F249931F-CF49-4405-BC21-8182E27291FD}" dt="2025-10-23T05:25:15.442" v="6824"/>
          <ac:spMkLst>
            <pc:docMk/>
            <pc:sldMk cId="2130418808" sldId="260"/>
            <ac:spMk id="583" creationId="{F3D5222C-B0A3-FD6E-0366-C5162C6172D9}"/>
          </ac:spMkLst>
        </pc:spChg>
        <pc:spChg chg="mod ord">
          <ac:chgData name="Appala Srujana" userId="a897cc35-aedc-4025-bce6-6175c0177033" providerId="ADAL" clId="{F249931F-CF49-4405-BC21-8182E27291FD}" dt="2025-10-23T05:25:15.442" v="6826"/>
          <ac:spMkLst>
            <pc:docMk/>
            <pc:sldMk cId="2130418808" sldId="260"/>
            <ac:spMk id="585" creationId="{9D384D2A-E35D-2896-0D8B-829652FEF202}"/>
          </ac:spMkLst>
        </pc:spChg>
        <pc:spChg chg="mod ord">
          <ac:chgData name="Appala Srujana" userId="a897cc35-aedc-4025-bce6-6175c0177033" providerId="ADAL" clId="{F249931F-CF49-4405-BC21-8182E27291FD}" dt="2025-10-23T05:25:15.442" v="6828"/>
          <ac:spMkLst>
            <pc:docMk/>
            <pc:sldMk cId="2130418808" sldId="260"/>
            <ac:spMk id="586" creationId="{E9A71F81-436D-7DE1-4DE5-B1A1C11A0DC2}"/>
          </ac:spMkLst>
        </pc:spChg>
        <pc:spChg chg="mod ord">
          <ac:chgData name="Appala Srujana" userId="a897cc35-aedc-4025-bce6-6175c0177033" providerId="ADAL" clId="{F249931F-CF49-4405-BC21-8182E27291FD}" dt="2025-10-23T05:25:15.538" v="7112"/>
          <ac:spMkLst>
            <pc:docMk/>
            <pc:sldMk cId="2130418808" sldId="260"/>
            <ac:spMk id="590" creationId="{F8A116D3-BA66-DCBE-8C94-1371B04F9992}"/>
          </ac:spMkLst>
        </pc:spChg>
        <pc:spChg chg="mod ord">
          <ac:chgData name="Appala Srujana" userId="a897cc35-aedc-4025-bce6-6175c0177033" providerId="ADAL" clId="{F249931F-CF49-4405-BC21-8182E27291FD}" dt="2025-10-23T05:25:15.538" v="7114"/>
          <ac:spMkLst>
            <pc:docMk/>
            <pc:sldMk cId="2130418808" sldId="260"/>
            <ac:spMk id="591" creationId="{FD690C39-C421-2664-1687-4F8C57DBEA28}"/>
          </ac:spMkLst>
        </pc:spChg>
        <pc:spChg chg="mod">
          <ac:chgData name="Appala Srujana" userId="a897cc35-aedc-4025-bce6-6175c0177033" providerId="ADAL" clId="{F249931F-CF49-4405-BC21-8182E27291FD}" dt="2025-10-23T05:25:15.538" v="7115"/>
          <ac:spMkLst>
            <pc:docMk/>
            <pc:sldMk cId="2130418808" sldId="260"/>
            <ac:spMk id="592" creationId="{FB2368A3-0811-F752-8268-F5680666D9E7}"/>
          </ac:spMkLst>
        </pc:spChg>
        <pc:spChg chg="mod">
          <ac:chgData name="Appala Srujana" userId="a897cc35-aedc-4025-bce6-6175c0177033" providerId="ADAL" clId="{F249931F-CF49-4405-BC21-8182E27291FD}" dt="2025-10-23T05:25:15.538" v="7116"/>
          <ac:spMkLst>
            <pc:docMk/>
            <pc:sldMk cId="2130418808" sldId="260"/>
            <ac:spMk id="593" creationId="{00B3EB36-D7AB-579C-E3EB-D847A23B08EC}"/>
          </ac:spMkLst>
        </pc:spChg>
        <pc:spChg chg="mod">
          <ac:chgData name="Appala Srujana" userId="a897cc35-aedc-4025-bce6-6175c0177033" providerId="ADAL" clId="{F249931F-CF49-4405-BC21-8182E27291FD}" dt="2025-10-23T05:25:15.538" v="7117"/>
          <ac:spMkLst>
            <pc:docMk/>
            <pc:sldMk cId="2130418808" sldId="260"/>
            <ac:spMk id="594" creationId="{551CBB2F-7D9B-3040-CF53-81C7A64DE74C}"/>
          </ac:spMkLst>
        </pc:spChg>
        <pc:spChg chg="mod">
          <ac:chgData name="Appala Srujana" userId="a897cc35-aedc-4025-bce6-6175c0177033" providerId="ADAL" clId="{F249931F-CF49-4405-BC21-8182E27291FD}" dt="2025-10-23T05:25:15.538" v="7118"/>
          <ac:spMkLst>
            <pc:docMk/>
            <pc:sldMk cId="2130418808" sldId="260"/>
            <ac:spMk id="595" creationId="{D1921D64-60A6-AE4B-59AF-4B34049906EE}"/>
          </ac:spMkLst>
        </pc:spChg>
        <pc:spChg chg="mod">
          <ac:chgData name="Appala Srujana" userId="a897cc35-aedc-4025-bce6-6175c0177033" providerId="ADAL" clId="{F249931F-CF49-4405-BC21-8182E27291FD}" dt="2025-10-23T05:25:15.538" v="7119"/>
          <ac:spMkLst>
            <pc:docMk/>
            <pc:sldMk cId="2130418808" sldId="260"/>
            <ac:spMk id="596" creationId="{F11F1E3F-E735-7CA8-F2B6-DF22BF964D60}"/>
          </ac:spMkLst>
        </pc:spChg>
        <pc:spChg chg="mod">
          <ac:chgData name="Appala Srujana" userId="a897cc35-aedc-4025-bce6-6175c0177033" providerId="ADAL" clId="{F249931F-CF49-4405-BC21-8182E27291FD}" dt="2025-10-23T05:25:15.538" v="7120"/>
          <ac:spMkLst>
            <pc:docMk/>
            <pc:sldMk cId="2130418808" sldId="260"/>
            <ac:spMk id="597" creationId="{BC9F07B4-F676-CC8A-A67A-7EAA0E9D20D7}"/>
          </ac:spMkLst>
        </pc:spChg>
        <pc:spChg chg="mod">
          <ac:chgData name="Appala Srujana" userId="a897cc35-aedc-4025-bce6-6175c0177033" providerId="ADAL" clId="{F249931F-CF49-4405-BC21-8182E27291FD}" dt="2025-10-23T05:25:15.545" v="7121"/>
          <ac:spMkLst>
            <pc:docMk/>
            <pc:sldMk cId="2130418808" sldId="260"/>
            <ac:spMk id="598" creationId="{256C2C77-5948-E16B-7201-0AD92EA62A33}"/>
          </ac:spMkLst>
        </pc:spChg>
        <pc:spChg chg="mod">
          <ac:chgData name="Appala Srujana" userId="a897cc35-aedc-4025-bce6-6175c0177033" providerId="ADAL" clId="{F249931F-CF49-4405-BC21-8182E27291FD}" dt="2025-10-23T05:25:15.545" v="7122"/>
          <ac:spMkLst>
            <pc:docMk/>
            <pc:sldMk cId="2130418808" sldId="260"/>
            <ac:spMk id="599" creationId="{642B2773-36CA-6D6C-A691-44AB7F94A4D9}"/>
          </ac:spMkLst>
        </pc:spChg>
        <pc:spChg chg="mod">
          <ac:chgData name="Appala Srujana" userId="a897cc35-aedc-4025-bce6-6175c0177033" providerId="ADAL" clId="{F249931F-CF49-4405-BC21-8182E27291FD}" dt="2025-10-23T05:25:15.412" v="6741"/>
          <ac:spMkLst>
            <pc:docMk/>
            <pc:sldMk cId="2130418808" sldId="260"/>
            <ac:spMk id="608" creationId="{9972A629-4E4F-8699-BFDB-D7BB5E7CCFAB}"/>
          </ac:spMkLst>
        </pc:spChg>
        <pc:spChg chg="mod">
          <ac:chgData name="Appala Srujana" userId="a897cc35-aedc-4025-bce6-6175c0177033" providerId="ADAL" clId="{F249931F-CF49-4405-BC21-8182E27291FD}" dt="2025-10-23T05:25:15.412" v="6742"/>
          <ac:spMkLst>
            <pc:docMk/>
            <pc:sldMk cId="2130418808" sldId="260"/>
            <ac:spMk id="609" creationId="{0A21BA58-2170-058A-9084-50C9B9B5C64A}"/>
          </ac:spMkLst>
        </pc:spChg>
        <pc:spChg chg="mod">
          <ac:chgData name="Appala Srujana" userId="a897cc35-aedc-4025-bce6-6175c0177033" providerId="ADAL" clId="{F249931F-CF49-4405-BC21-8182E27291FD}" dt="2025-10-23T05:25:15.414" v="6743"/>
          <ac:spMkLst>
            <pc:docMk/>
            <pc:sldMk cId="2130418808" sldId="260"/>
            <ac:spMk id="610" creationId="{E29B42ED-4CBA-CCB7-8C9B-92DED9D2AC9E}"/>
          </ac:spMkLst>
        </pc:spChg>
        <pc:spChg chg="mod">
          <ac:chgData name="Appala Srujana" userId="a897cc35-aedc-4025-bce6-6175c0177033" providerId="ADAL" clId="{F249931F-CF49-4405-BC21-8182E27291FD}" dt="2025-10-23T05:25:15.414" v="6744"/>
          <ac:spMkLst>
            <pc:docMk/>
            <pc:sldMk cId="2130418808" sldId="260"/>
            <ac:spMk id="611" creationId="{00B675F2-C149-A003-4EE9-D45ED57BD2E4}"/>
          </ac:spMkLst>
        </pc:spChg>
        <pc:spChg chg="mod">
          <ac:chgData name="Appala Srujana" userId="a897cc35-aedc-4025-bce6-6175c0177033" providerId="ADAL" clId="{F249931F-CF49-4405-BC21-8182E27291FD}" dt="2025-10-23T05:25:15.414" v="6745"/>
          <ac:spMkLst>
            <pc:docMk/>
            <pc:sldMk cId="2130418808" sldId="260"/>
            <ac:spMk id="612" creationId="{A63D949A-EBF3-220E-E94B-AF9DC39BF7A9}"/>
          </ac:spMkLst>
        </pc:spChg>
        <pc:spChg chg="mod">
          <ac:chgData name="Appala Srujana" userId="a897cc35-aedc-4025-bce6-6175c0177033" providerId="ADAL" clId="{F249931F-CF49-4405-BC21-8182E27291FD}" dt="2025-10-23T05:25:15.414" v="6746"/>
          <ac:spMkLst>
            <pc:docMk/>
            <pc:sldMk cId="2130418808" sldId="260"/>
            <ac:spMk id="613" creationId="{B639C312-B572-E687-A44D-6C8C20F355B5}"/>
          </ac:spMkLst>
        </pc:spChg>
        <pc:spChg chg="mod">
          <ac:chgData name="Appala Srujana" userId="a897cc35-aedc-4025-bce6-6175c0177033" providerId="ADAL" clId="{F249931F-CF49-4405-BC21-8182E27291FD}" dt="2025-10-23T05:25:15.416" v="6753"/>
          <ac:spMkLst>
            <pc:docMk/>
            <pc:sldMk cId="2130418808" sldId="260"/>
            <ac:spMk id="632" creationId="{68D19FE5-8E42-05E9-01B3-A5A1CC0B0D81}"/>
          </ac:spMkLst>
        </pc:spChg>
        <pc:spChg chg="mod">
          <ac:chgData name="Appala Srujana" userId="a897cc35-aedc-4025-bce6-6175c0177033" providerId="ADAL" clId="{F249931F-CF49-4405-BC21-8182E27291FD}" dt="2025-10-23T05:25:15.412" v="6740"/>
          <ac:spMkLst>
            <pc:docMk/>
            <pc:sldMk cId="2130418808" sldId="260"/>
            <ac:spMk id="652" creationId="{8224961F-2884-2DA1-58CE-8C4F9836BE55}"/>
          </ac:spMkLst>
        </pc:spChg>
        <pc:spChg chg="mod">
          <ac:chgData name="Appala Srujana" userId="a897cc35-aedc-4025-bce6-6175c0177033" providerId="ADAL" clId="{F249931F-CF49-4405-BC21-8182E27291FD}" dt="2025-10-23T05:25:15.410" v="6737"/>
          <ac:spMkLst>
            <pc:docMk/>
            <pc:sldMk cId="2130418808" sldId="260"/>
            <ac:spMk id="654" creationId="{4E52AEB1-0290-77AE-88CB-52B11B75C03D}"/>
          </ac:spMkLst>
        </pc:spChg>
        <pc:spChg chg="mod">
          <ac:chgData name="Appala Srujana" userId="a897cc35-aedc-4025-bce6-6175c0177033" providerId="ADAL" clId="{F249931F-CF49-4405-BC21-8182E27291FD}" dt="2025-10-23T05:25:15.412" v="6738"/>
          <ac:spMkLst>
            <pc:docMk/>
            <pc:sldMk cId="2130418808" sldId="260"/>
            <ac:spMk id="655" creationId="{1AD4A341-87C7-0B1D-F9E5-12A7CA3EF696}"/>
          </ac:spMkLst>
        </pc:spChg>
        <pc:spChg chg="mod">
          <ac:chgData name="Appala Srujana" userId="a897cc35-aedc-4025-bce6-6175c0177033" providerId="ADAL" clId="{F249931F-CF49-4405-BC21-8182E27291FD}" dt="2025-10-23T05:25:15.412" v="6739"/>
          <ac:spMkLst>
            <pc:docMk/>
            <pc:sldMk cId="2130418808" sldId="260"/>
            <ac:spMk id="660" creationId="{4EA86240-50A4-A433-4F02-27B33ABCC995}"/>
          </ac:spMkLst>
        </pc:spChg>
        <pc:spChg chg="mod">
          <ac:chgData name="Appala Srujana" userId="a897cc35-aedc-4025-bce6-6175c0177033" providerId="ADAL" clId="{F249931F-CF49-4405-BC21-8182E27291FD}" dt="2025-10-23T05:25:15.410" v="6736"/>
          <ac:spMkLst>
            <pc:docMk/>
            <pc:sldMk cId="2130418808" sldId="260"/>
            <ac:spMk id="672" creationId="{5B86F60A-DF50-A0F3-279F-C3F912982BF4}"/>
          </ac:spMkLst>
        </pc:spChg>
        <pc:spChg chg="mod">
          <ac:chgData name="Appala Srujana" userId="a897cc35-aedc-4025-bce6-6175c0177033" providerId="ADAL" clId="{F249931F-CF49-4405-BC21-8182E27291FD}" dt="2025-10-23T05:25:15.410" v="6735"/>
          <ac:spMkLst>
            <pc:docMk/>
            <pc:sldMk cId="2130418808" sldId="260"/>
            <ac:spMk id="686" creationId="{A141B855-94DD-667A-078F-B713082386C5}"/>
          </ac:spMkLst>
        </pc:spChg>
        <pc:spChg chg="mod">
          <ac:chgData name="Appala Srujana" userId="a897cc35-aedc-4025-bce6-6175c0177033" providerId="ADAL" clId="{F249931F-CF49-4405-BC21-8182E27291FD}" dt="2025-10-23T05:25:15.416" v="6754"/>
          <ac:spMkLst>
            <pc:docMk/>
            <pc:sldMk cId="2130418808" sldId="260"/>
            <ac:spMk id="690" creationId="{F6C302A6-275B-BD3C-58CB-B6E2F9162637}"/>
          </ac:spMkLst>
        </pc:spChg>
        <pc:spChg chg="mod">
          <ac:chgData name="Appala Srujana" userId="a897cc35-aedc-4025-bce6-6175c0177033" providerId="ADAL" clId="{F249931F-CF49-4405-BC21-8182E27291FD}" dt="2025-10-23T05:25:15.416" v="6755"/>
          <ac:spMkLst>
            <pc:docMk/>
            <pc:sldMk cId="2130418808" sldId="260"/>
            <ac:spMk id="704" creationId="{211DCC36-1CEB-0506-5091-14871533A44A}"/>
          </ac:spMkLst>
        </pc:spChg>
        <pc:spChg chg="mod">
          <ac:chgData name="Appala Srujana" userId="a897cc35-aedc-4025-bce6-6175c0177033" providerId="ADAL" clId="{F249931F-CF49-4405-BC21-8182E27291FD}" dt="2025-10-23T05:25:15.418" v="6757"/>
          <ac:spMkLst>
            <pc:docMk/>
            <pc:sldMk cId="2130418808" sldId="260"/>
            <ac:spMk id="789" creationId="{12C8D971-4987-5A98-9E1C-3C32E85C8218}"/>
          </ac:spMkLst>
        </pc:spChg>
        <pc:spChg chg="mod">
          <ac:chgData name="Appala Srujana" userId="a897cc35-aedc-4025-bce6-6175c0177033" providerId="ADAL" clId="{F249931F-CF49-4405-BC21-8182E27291FD}" dt="2025-10-23T05:25:15.418" v="6758"/>
          <ac:spMkLst>
            <pc:docMk/>
            <pc:sldMk cId="2130418808" sldId="260"/>
            <ac:spMk id="790" creationId="{CDCFE79A-8451-BB13-B98A-C8CE4138AAB1}"/>
          </ac:spMkLst>
        </pc:spChg>
        <pc:spChg chg="mod">
          <ac:chgData name="Appala Srujana" userId="a897cc35-aedc-4025-bce6-6175c0177033" providerId="ADAL" clId="{F249931F-CF49-4405-BC21-8182E27291FD}" dt="2025-10-23T05:25:15.424" v="6768"/>
          <ac:spMkLst>
            <pc:docMk/>
            <pc:sldMk cId="2130418808" sldId="260"/>
            <ac:spMk id="793" creationId="{C043272D-520E-7D32-C0C3-5C57ED95F033}"/>
          </ac:spMkLst>
        </pc:spChg>
        <pc:spChg chg="mod">
          <ac:chgData name="Appala Srujana" userId="a897cc35-aedc-4025-bce6-6175c0177033" providerId="ADAL" clId="{F249931F-CF49-4405-BC21-8182E27291FD}" dt="2025-10-23T05:25:15.422" v="6763"/>
          <ac:spMkLst>
            <pc:docMk/>
            <pc:sldMk cId="2130418808" sldId="260"/>
            <ac:spMk id="794" creationId="{14A2D111-F397-2308-8BAF-FEA329FB9211}"/>
          </ac:spMkLst>
        </pc:spChg>
        <pc:spChg chg="mod">
          <ac:chgData name="Appala Srujana" userId="a897cc35-aedc-4025-bce6-6175c0177033" providerId="ADAL" clId="{F249931F-CF49-4405-BC21-8182E27291FD}" dt="2025-10-23T05:25:15.424" v="6767"/>
          <ac:spMkLst>
            <pc:docMk/>
            <pc:sldMk cId="2130418808" sldId="260"/>
            <ac:spMk id="795" creationId="{D7404B7B-5B4A-FE97-CEF8-4D5514421321}"/>
          </ac:spMkLst>
        </pc:spChg>
        <pc:spChg chg="mod">
          <ac:chgData name="Appala Srujana" userId="a897cc35-aedc-4025-bce6-6175c0177033" providerId="ADAL" clId="{F249931F-CF49-4405-BC21-8182E27291FD}" dt="2025-10-23T05:25:15.422" v="6766"/>
          <ac:spMkLst>
            <pc:docMk/>
            <pc:sldMk cId="2130418808" sldId="260"/>
            <ac:spMk id="796" creationId="{6F0774CE-A87B-A03C-9899-FB140A889FC1}"/>
          </ac:spMkLst>
        </pc:spChg>
        <pc:spChg chg="mod">
          <ac:chgData name="Appala Srujana" userId="a897cc35-aedc-4025-bce6-6175c0177033" providerId="ADAL" clId="{F249931F-CF49-4405-BC21-8182E27291FD}" dt="2025-10-23T05:25:15.418" v="6761"/>
          <ac:spMkLst>
            <pc:docMk/>
            <pc:sldMk cId="2130418808" sldId="260"/>
            <ac:spMk id="797" creationId="{5798086A-8D81-6C2F-9EF9-0E760DEF98B9}"/>
          </ac:spMkLst>
        </pc:spChg>
        <pc:spChg chg="mod">
          <ac:chgData name="Appala Srujana" userId="a897cc35-aedc-4025-bce6-6175c0177033" providerId="ADAL" clId="{F249931F-CF49-4405-BC21-8182E27291FD}" dt="2025-10-23T05:25:15.422" v="6765"/>
          <ac:spMkLst>
            <pc:docMk/>
            <pc:sldMk cId="2130418808" sldId="260"/>
            <ac:spMk id="798" creationId="{487E0EFC-99DF-1124-D9B3-0E6C45EF05CB}"/>
          </ac:spMkLst>
        </pc:spChg>
        <pc:spChg chg="mod">
          <ac:chgData name="Appala Srujana" userId="a897cc35-aedc-4025-bce6-6175c0177033" providerId="ADAL" clId="{F249931F-CF49-4405-BC21-8182E27291FD}" dt="2025-10-23T05:25:15.422" v="6764"/>
          <ac:spMkLst>
            <pc:docMk/>
            <pc:sldMk cId="2130418808" sldId="260"/>
            <ac:spMk id="799" creationId="{02FB1DF8-0D25-929A-4102-FDF3925E9C93}"/>
          </ac:spMkLst>
        </pc:spChg>
        <pc:spChg chg="mod">
          <ac:chgData name="Appala Srujana" userId="a897cc35-aedc-4025-bce6-6175c0177033" providerId="ADAL" clId="{F249931F-CF49-4405-BC21-8182E27291FD}" dt="2025-10-23T05:25:15.426" v="6775"/>
          <ac:spMkLst>
            <pc:docMk/>
            <pc:sldMk cId="2130418808" sldId="260"/>
            <ac:spMk id="804" creationId="{AAD2076A-70D0-ADDC-C13A-CE36A03CA0A6}"/>
          </ac:spMkLst>
        </pc:spChg>
        <pc:spChg chg="mod">
          <ac:chgData name="Appala Srujana" userId="a897cc35-aedc-4025-bce6-6175c0177033" providerId="ADAL" clId="{F249931F-CF49-4405-BC21-8182E27291FD}" dt="2025-10-23T05:25:15.426" v="6776"/>
          <ac:spMkLst>
            <pc:docMk/>
            <pc:sldMk cId="2130418808" sldId="260"/>
            <ac:spMk id="805" creationId="{479EFDBB-01BF-5D78-D871-F515BFC96013}"/>
          </ac:spMkLst>
        </pc:spChg>
        <pc:spChg chg="mod">
          <ac:chgData name="Appala Srujana" userId="a897cc35-aedc-4025-bce6-6175c0177033" providerId="ADAL" clId="{F249931F-CF49-4405-BC21-8182E27291FD}" dt="2025-10-23T05:25:15.426" v="6777"/>
          <ac:spMkLst>
            <pc:docMk/>
            <pc:sldMk cId="2130418808" sldId="260"/>
            <ac:spMk id="806" creationId="{9C866099-7353-B237-7B0F-DA783D4084ED}"/>
          </ac:spMkLst>
        </pc:spChg>
        <pc:spChg chg="mod">
          <ac:chgData name="Appala Srujana" userId="a897cc35-aedc-4025-bce6-6175c0177033" providerId="ADAL" clId="{F249931F-CF49-4405-BC21-8182E27291FD}" dt="2025-10-23T05:25:15.418" v="6762"/>
          <ac:spMkLst>
            <pc:docMk/>
            <pc:sldMk cId="2130418808" sldId="260"/>
            <ac:spMk id="864" creationId="{81D13388-E2A3-29C8-987B-5FFBBDC960E3}"/>
          </ac:spMkLst>
        </pc:spChg>
        <pc:spChg chg="mod">
          <ac:chgData name="Appala Srujana" userId="a897cc35-aedc-4025-bce6-6175c0177033" providerId="ADAL" clId="{F249931F-CF49-4405-BC21-8182E27291FD}" dt="2025-10-23T05:25:15.418" v="6759"/>
          <ac:spMkLst>
            <pc:docMk/>
            <pc:sldMk cId="2130418808" sldId="260"/>
            <ac:spMk id="866" creationId="{7BD2E834-A73C-9E15-C0FC-2EBDB85447F3}"/>
          </ac:spMkLst>
        </pc:spChg>
        <pc:spChg chg="mod">
          <ac:chgData name="Appala Srujana" userId="a897cc35-aedc-4025-bce6-6175c0177033" providerId="ADAL" clId="{F249931F-CF49-4405-BC21-8182E27291FD}" dt="2025-10-23T05:25:15.418" v="6760"/>
          <ac:spMkLst>
            <pc:docMk/>
            <pc:sldMk cId="2130418808" sldId="260"/>
            <ac:spMk id="867" creationId="{45E520C3-C4B9-B9DE-21C8-2CA613BE164A}"/>
          </ac:spMkLst>
        </pc:spChg>
        <pc:spChg chg="mod ord">
          <ac:chgData name="Appala Srujana" userId="a897cc35-aedc-4025-bce6-6175c0177033" providerId="ADAL" clId="{F249931F-CF49-4405-BC21-8182E27291FD}" dt="2025-10-23T05:25:15.545" v="7124"/>
          <ac:spMkLst>
            <pc:docMk/>
            <pc:sldMk cId="2130418808" sldId="260"/>
            <ac:spMk id="907" creationId="{2340CF6E-803A-73E9-F548-A4B9581F537F}"/>
          </ac:spMkLst>
        </pc:spChg>
        <pc:spChg chg="mod">
          <ac:chgData name="Appala Srujana" userId="a897cc35-aedc-4025-bce6-6175c0177033" providerId="ADAL" clId="{F249931F-CF49-4405-BC21-8182E27291FD}" dt="2025-10-23T05:25:15.547" v="7130"/>
          <ac:spMkLst>
            <pc:docMk/>
            <pc:sldMk cId="2130418808" sldId="260"/>
            <ac:spMk id="909" creationId="{92F17FE7-BB2C-1B48-BB04-373F1828AD50}"/>
          </ac:spMkLst>
        </pc:spChg>
        <pc:spChg chg="mod">
          <ac:chgData name="Appala Srujana" userId="a897cc35-aedc-4025-bce6-6175c0177033" providerId="ADAL" clId="{F249931F-CF49-4405-BC21-8182E27291FD}" dt="2025-10-23T05:25:15.547" v="7131"/>
          <ac:spMkLst>
            <pc:docMk/>
            <pc:sldMk cId="2130418808" sldId="260"/>
            <ac:spMk id="910" creationId="{0771F997-686C-E528-5AF6-D1B2929D4056}"/>
          </ac:spMkLst>
        </pc:spChg>
        <pc:spChg chg="mod">
          <ac:chgData name="Appala Srujana" userId="a897cc35-aedc-4025-bce6-6175c0177033" providerId="ADAL" clId="{F249931F-CF49-4405-BC21-8182E27291FD}" dt="2025-10-23T05:25:15.549" v="7132"/>
          <ac:spMkLst>
            <pc:docMk/>
            <pc:sldMk cId="2130418808" sldId="260"/>
            <ac:spMk id="911" creationId="{B82F503D-0C99-954F-4425-5F050E89C986}"/>
          </ac:spMkLst>
        </pc:spChg>
        <pc:spChg chg="mod">
          <ac:chgData name="Appala Srujana" userId="a897cc35-aedc-4025-bce6-6175c0177033" providerId="ADAL" clId="{F249931F-CF49-4405-BC21-8182E27291FD}" dt="2025-10-23T05:25:15.549" v="7133"/>
          <ac:spMkLst>
            <pc:docMk/>
            <pc:sldMk cId="2130418808" sldId="260"/>
            <ac:spMk id="912" creationId="{2BB7B972-5E1F-BE0C-C8B4-D5C75A4BE821}"/>
          </ac:spMkLst>
        </pc:spChg>
        <pc:spChg chg="mod">
          <ac:chgData name="Appala Srujana" userId="a897cc35-aedc-4025-bce6-6175c0177033" providerId="ADAL" clId="{F249931F-CF49-4405-BC21-8182E27291FD}" dt="2025-10-23T05:25:15.549" v="7134"/>
          <ac:spMkLst>
            <pc:docMk/>
            <pc:sldMk cId="2130418808" sldId="260"/>
            <ac:spMk id="913" creationId="{BC1331ED-1105-617B-26EF-CC8CDD7B4D04}"/>
          </ac:spMkLst>
        </pc:spChg>
        <pc:spChg chg="mod">
          <ac:chgData name="Appala Srujana" userId="a897cc35-aedc-4025-bce6-6175c0177033" providerId="ADAL" clId="{F249931F-CF49-4405-BC21-8182E27291FD}" dt="2025-10-23T05:25:15.549" v="7135"/>
          <ac:spMkLst>
            <pc:docMk/>
            <pc:sldMk cId="2130418808" sldId="260"/>
            <ac:spMk id="914" creationId="{4ADEB597-ABBD-1B0C-391D-5D1A77EF0A80}"/>
          </ac:spMkLst>
        </pc:spChg>
        <pc:spChg chg="mod">
          <ac:chgData name="Appala Srujana" userId="a897cc35-aedc-4025-bce6-6175c0177033" providerId="ADAL" clId="{F249931F-CF49-4405-BC21-8182E27291FD}" dt="2025-10-23T05:25:15.426" v="6778"/>
          <ac:spMkLst>
            <pc:docMk/>
            <pc:sldMk cId="2130418808" sldId="260"/>
            <ac:spMk id="915" creationId="{F3E1E847-4F2E-593C-6961-073E8A422180}"/>
          </ac:spMkLst>
        </pc:spChg>
        <pc:spChg chg="mod">
          <ac:chgData name="Appala Srujana" userId="a897cc35-aedc-4025-bce6-6175c0177033" providerId="ADAL" clId="{F249931F-CF49-4405-BC21-8182E27291FD}" dt="2025-10-23T05:25:15.549" v="7136"/>
          <ac:spMkLst>
            <pc:docMk/>
            <pc:sldMk cId="2130418808" sldId="260"/>
            <ac:spMk id="916" creationId="{4724999E-FC3A-0490-B9E5-000446606E86}"/>
          </ac:spMkLst>
        </pc:spChg>
        <pc:spChg chg="mod">
          <ac:chgData name="Appala Srujana" userId="a897cc35-aedc-4025-bce6-6175c0177033" providerId="ADAL" clId="{F249931F-CF49-4405-BC21-8182E27291FD}" dt="2025-10-23T05:22:47.906" v="4054" actId="208"/>
          <ac:spMkLst>
            <pc:docMk/>
            <pc:sldMk cId="2130418808" sldId="260"/>
            <ac:spMk id="928" creationId="{086134D5-637C-4977-03F5-35435691001B}"/>
          </ac:spMkLst>
        </pc:spChg>
        <pc:spChg chg="mod">
          <ac:chgData name="Appala Srujana" userId="a897cc35-aedc-4025-bce6-6175c0177033" providerId="ADAL" clId="{F249931F-CF49-4405-BC21-8182E27291FD}" dt="2025-10-23T05:22:42.585" v="4053" actId="14100"/>
          <ac:spMkLst>
            <pc:docMk/>
            <pc:sldMk cId="2130418808" sldId="260"/>
            <ac:spMk id="929" creationId="{A51119B7-8C76-399E-178B-F152F0D0B80F}"/>
          </ac:spMkLst>
        </pc:spChg>
        <pc:spChg chg="mod">
          <ac:chgData name="Appala Srujana" userId="a897cc35-aedc-4025-bce6-6175c0177033" providerId="ADAL" clId="{F249931F-CF49-4405-BC21-8182E27291FD}" dt="2025-10-23T05:22:42.585" v="4053" actId="14100"/>
          <ac:spMkLst>
            <pc:docMk/>
            <pc:sldMk cId="2130418808" sldId="260"/>
            <ac:spMk id="930" creationId="{1C7A9D08-A4FF-6AD4-468F-56598F6632DE}"/>
          </ac:spMkLst>
        </pc:spChg>
        <pc:spChg chg="mod ord">
          <ac:chgData name="Appala Srujana" userId="a897cc35-aedc-4025-bce6-6175c0177033" providerId="ADAL" clId="{F249931F-CF49-4405-BC21-8182E27291FD}" dt="2025-10-23T05:25:15.551" v="7138"/>
          <ac:spMkLst>
            <pc:docMk/>
            <pc:sldMk cId="2130418808" sldId="260"/>
            <ac:spMk id="931" creationId="{FACC2B73-B083-85CE-DDA9-E1D4C1ACC46C}"/>
          </ac:spMkLst>
        </pc:spChg>
        <pc:spChg chg="mod ord">
          <ac:chgData name="Appala Srujana" userId="a897cc35-aedc-4025-bce6-6175c0177033" providerId="ADAL" clId="{F249931F-CF49-4405-BC21-8182E27291FD}" dt="2025-10-23T05:25:15.551" v="7140"/>
          <ac:spMkLst>
            <pc:docMk/>
            <pc:sldMk cId="2130418808" sldId="260"/>
            <ac:spMk id="932" creationId="{D5122982-B5A2-2A20-A3A0-CFB8BE7F7C64}"/>
          </ac:spMkLst>
        </pc:spChg>
        <pc:spChg chg="mod">
          <ac:chgData name="Appala Srujana" userId="a897cc35-aedc-4025-bce6-6175c0177033" providerId="ADAL" clId="{F249931F-CF49-4405-BC21-8182E27291FD}" dt="2025-10-23T05:25:15.551" v="7141"/>
          <ac:spMkLst>
            <pc:docMk/>
            <pc:sldMk cId="2130418808" sldId="260"/>
            <ac:spMk id="933" creationId="{02B87D89-87F1-4520-69D5-4A1BF5F0C9F3}"/>
          </ac:spMkLst>
        </pc:spChg>
        <pc:spChg chg="mod">
          <ac:chgData name="Appala Srujana" userId="a897cc35-aedc-4025-bce6-6175c0177033" providerId="ADAL" clId="{F249931F-CF49-4405-BC21-8182E27291FD}" dt="2025-10-23T05:25:15.551" v="7142"/>
          <ac:spMkLst>
            <pc:docMk/>
            <pc:sldMk cId="2130418808" sldId="260"/>
            <ac:spMk id="934" creationId="{CB58DB46-ACFA-E8D2-EF0A-945AF7502277}"/>
          </ac:spMkLst>
        </pc:spChg>
        <pc:spChg chg="mod">
          <ac:chgData name="Appala Srujana" userId="a897cc35-aedc-4025-bce6-6175c0177033" providerId="ADAL" clId="{F249931F-CF49-4405-BC21-8182E27291FD}" dt="2025-10-23T05:25:15.553" v="7143"/>
          <ac:spMkLst>
            <pc:docMk/>
            <pc:sldMk cId="2130418808" sldId="260"/>
            <ac:spMk id="935" creationId="{9089AB2A-FB37-8DA9-7111-D9D4577F96BF}"/>
          </ac:spMkLst>
        </pc:spChg>
        <pc:spChg chg="mod">
          <ac:chgData name="Appala Srujana" userId="a897cc35-aedc-4025-bce6-6175c0177033" providerId="ADAL" clId="{F249931F-CF49-4405-BC21-8182E27291FD}" dt="2025-10-23T05:25:15.553" v="7144"/>
          <ac:spMkLst>
            <pc:docMk/>
            <pc:sldMk cId="2130418808" sldId="260"/>
            <ac:spMk id="936" creationId="{E5460215-BB9B-18C3-0236-EB8800DF0C69}"/>
          </ac:spMkLst>
        </pc:spChg>
        <pc:spChg chg="mod">
          <ac:chgData name="Appala Srujana" userId="a897cc35-aedc-4025-bce6-6175c0177033" providerId="ADAL" clId="{F249931F-CF49-4405-BC21-8182E27291FD}" dt="2025-10-23T05:25:15.553" v="7145"/>
          <ac:spMkLst>
            <pc:docMk/>
            <pc:sldMk cId="2130418808" sldId="260"/>
            <ac:spMk id="937" creationId="{24F17555-51B7-9426-9E3F-5EA045779CD6}"/>
          </ac:spMkLst>
        </pc:spChg>
        <pc:spChg chg="mod">
          <ac:chgData name="Appala Srujana" userId="a897cc35-aedc-4025-bce6-6175c0177033" providerId="ADAL" clId="{F249931F-CF49-4405-BC21-8182E27291FD}" dt="2025-10-23T05:25:15.553" v="7146"/>
          <ac:spMkLst>
            <pc:docMk/>
            <pc:sldMk cId="2130418808" sldId="260"/>
            <ac:spMk id="938" creationId="{4C32E5FE-4AE7-F960-E3D5-0BB61F98E0B1}"/>
          </ac:spMkLst>
        </pc:spChg>
        <pc:spChg chg="mod">
          <ac:chgData name="Appala Srujana" userId="a897cc35-aedc-4025-bce6-6175c0177033" providerId="ADAL" clId="{F249931F-CF49-4405-BC21-8182E27291FD}" dt="2025-10-23T05:25:15.553" v="7147"/>
          <ac:spMkLst>
            <pc:docMk/>
            <pc:sldMk cId="2130418808" sldId="260"/>
            <ac:spMk id="939" creationId="{E1059835-5FD7-4442-7A8E-9DABF8EFD0D7}"/>
          </ac:spMkLst>
        </pc:spChg>
        <pc:spChg chg="mod">
          <ac:chgData name="Appala Srujana" userId="a897cc35-aedc-4025-bce6-6175c0177033" providerId="ADAL" clId="{F249931F-CF49-4405-BC21-8182E27291FD}" dt="2025-10-23T05:25:15.553" v="7148"/>
          <ac:spMkLst>
            <pc:docMk/>
            <pc:sldMk cId="2130418808" sldId="260"/>
            <ac:spMk id="940" creationId="{408031BB-D232-F0B3-6BD9-3A6F9B63637D}"/>
          </ac:spMkLst>
        </pc:spChg>
        <pc:spChg chg="mod">
          <ac:chgData name="Appala Srujana" userId="a897cc35-aedc-4025-bce6-6175c0177033" providerId="ADAL" clId="{F249931F-CF49-4405-BC21-8182E27291FD}" dt="2025-10-23T05:24:06.557" v="6260" actId="207"/>
          <ac:spMkLst>
            <pc:docMk/>
            <pc:sldMk cId="2130418808" sldId="260"/>
            <ac:spMk id="941" creationId="{135D539F-D65F-E232-B8DC-B8E0FD078CB2}"/>
          </ac:spMkLst>
        </pc:spChg>
        <pc:spChg chg="add del mod modVis">
          <ac:chgData name="Appala Srujana" userId="a897cc35-aedc-4025-bce6-6175c0177033" providerId="ADAL" clId="{F249931F-CF49-4405-BC21-8182E27291FD}" dt="2025-10-23T05:22:10.173" v="3541"/>
          <ac:spMkLst>
            <pc:docMk/>
            <pc:sldMk cId="2130418808" sldId="260"/>
            <ac:spMk id="942" creationId="{01C8009D-49F7-7851-7479-EC0116A3FCA8}"/>
          </ac:spMkLst>
        </pc:spChg>
        <pc:spChg chg="mod ord">
          <ac:chgData name="Appala Srujana" userId="a897cc35-aedc-4025-bce6-6175c0177033" providerId="ADAL" clId="{F249931F-CF49-4405-BC21-8182E27291FD}" dt="2025-10-23T05:25:15.553" v="7150"/>
          <ac:spMkLst>
            <pc:docMk/>
            <pc:sldMk cId="2130418808" sldId="260"/>
            <ac:spMk id="943" creationId="{93A1FBD9-3721-12B5-6DDF-D0891A7FBBA9}"/>
          </ac:spMkLst>
        </pc:spChg>
        <pc:spChg chg="mod ord">
          <ac:chgData name="Appala Srujana" userId="a897cc35-aedc-4025-bce6-6175c0177033" providerId="ADAL" clId="{F249931F-CF49-4405-BC21-8182E27291FD}" dt="2025-10-23T05:25:15.556" v="7152"/>
          <ac:spMkLst>
            <pc:docMk/>
            <pc:sldMk cId="2130418808" sldId="260"/>
            <ac:spMk id="944" creationId="{DDE5DC13-B489-C5A1-1C0B-B52D8B4C5AE0}"/>
          </ac:spMkLst>
        </pc:spChg>
        <pc:spChg chg="mod">
          <ac:chgData name="Appala Srujana" userId="a897cc35-aedc-4025-bce6-6175c0177033" providerId="ADAL" clId="{F249931F-CF49-4405-BC21-8182E27291FD}" dt="2025-10-23T05:25:15.556" v="7153"/>
          <ac:spMkLst>
            <pc:docMk/>
            <pc:sldMk cId="2130418808" sldId="260"/>
            <ac:spMk id="945" creationId="{FB761BAF-3D00-1279-9F79-A21B8CBD6537}"/>
          </ac:spMkLst>
        </pc:spChg>
        <pc:spChg chg="mod">
          <ac:chgData name="Appala Srujana" userId="a897cc35-aedc-4025-bce6-6175c0177033" providerId="ADAL" clId="{F249931F-CF49-4405-BC21-8182E27291FD}" dt="2025-10-23T05:25:15.556" v="7154"/>
          <ac:spMkLst>
            <pc:docMk/>
            <pc:sldMk cId="2130418808" sldId="260"/>
            <ac:spMk id="946" creationId="{A94C8567-8065-7BEE-B062-966D2574A4A8}"/>
          </ac:spMkLst>
        </pc:spChg>
        <pc:spChg chg="mod">
          <ac:chgData name="Appala Srujana" userId="a897cc35-aedc-4025-bce6-6175c0177033" providerId="ADAL" clId="{F249931F-CF49-4405-BC21-8182E27291FD}" dt="2025-10-23T05:25:15.556" v="7155"/>
          <ac:spMkLst>
            <pc:docMk/>
            <pc:sldMk cId="2130418808" sldId="260"/>
            <ac:spMk id="947" creationId="{83EE5A90-17BA-0F8F-A845-6205E011EDD1}"/>
          </ac:spMkLst>
        </pc:spChg>
        <pc:spChg chg="mod">
          <ac:chgData name="Appala Srujana" userId="a897cc35-aedc-4025-bce6-6175c0177033" providerId="ADAL" clId="{F249931F-CF49-4405-BC21-8182E27291FD}" dt="2025-10-23T05:25:15.556" v="7156"/>
          <ac:spMkLst>
            <pc:docMk/>
            <pc:sldMk cId="2130418808" sldId="260"/>
            <ac:spMk id="948" creationId="{11313A6D-0B2F-5824-7E87-AB66042512A2}"/>
          </ac:spMkLst>
        </pc:spChg>
        <pc:spChg chg="mod">
          <ac:chgData name="Appala Srujana" userId="a897cc35-aedc-4025-bce6-6175c0177033" providerId="ADAL" clId="{F249931F-CF49-4405-BC21-8182E27291FD}" dt="2025-10-23T05:25:15.558" v="7157"/>
          <ac:spMkLst>
            <pc:docMk/>
            <pc:sldMk cId="2130418808" sldId="260"/>
            <ac:spMk id="949" creationId="{A445CF54-4A97-343A-A85E-678F864CBADA}"/>
          </ac:spMkLst>
        </pc:spChg>
        <pc:spChg chg="mod">
          <ac:chgData name="Appala Srujana" userId="a897cc35-aedc-4025-bce6-6175c0177033" providerId="ADAL" clId="{F249931F-CF49-4405-BC21-8182E27291FD}" dt="2025-10-23T05:25:15.558" v="7158"/>
          <ac:spMkLst>
            <pc:docMk/>
            <pc:sldMk cId="2130418808" sldId="260"/>
            <ac:spMk id="950" creationId="{88734B84-2BBC-AE11-6397-1F6A48EA8D92}"/>
          </ac:spMkLst>
        </pc:spChg>
        <pc:spChg chg="mod">
          <ac:chgData name="Appala Srujana" userId="a897cc35-aedc-4025-bce6-6175c0177033" providerId="ADAL" clId="{F249931F-CF49-4405-BC21-8182E27291FD}" dt="2025-10-23T05:25:15.558" v="7159"/>
          <ac:spMkLst>
            <pc:docMk/>
            <pc:sldMk cId="2130418808" sldId="260"/>
            <ac:spMk id="951" creationId="{D365C1B7-94DA-6536-0AE5-5AACA98EA743}"/>
          </ac:spMkLst>
        </pc:spChg>
        <pc:spChg chg="mod">
          <ac:chgData name="Appala Srujana" userId="a897cc35-aedc-4025-bce6-6175c0177033" providerId="ADAL" clId="{F249931F-CF49-4405-BC21-8182E27291FD}" dt="2025-10-23T05:25:15.558" v="7160"/>
          <ac:spMkLst>
            <pc:docMk/>
            <pc:sldMk cId="2130418808" sldId="260"/>
            <ac:spMk id="952" creationId="{1ACB4790-BBDD-95DF-C58E-2C9F054049F3}"/>
          </ac:spMkLst>
        </pc:spChg>
        <pc:spChg chg="add del mod modVis">
          <ac:chgData name="Appala Srujana" userId="a897cc35-aedc-4025-bce6-6175c0177033" providerId="ADAL" clId="{F249931F-CF49-4405-BC21-8182E27291FD}" dt="2025-10-23T05:23:03.942" v="5091"/>
          <ac:spMkLst>
            <pc:docMk/>
            <pc:sldMk cId="2130418808" sldId="260"/>
            <ac:spMk id="953" creationId="{27CE1BD2-143C-3517-3299-F2D5CA3AC420}"/>
          </ac:spMkLst>
        </pc:spChg>
        <pc:spChg chg="add del mod modVis">
          <ac:chgData name="Appala Srujana" userId="a897cc35-aedc-4025-bce6-6175c0177033" providerId="ADAL" clId="{F249931F-CF49-4405-BC21-8182E27291FD}" dt="2025-10-23T05:23:10.730" v="5696"/>
          <ac:spMkLst>
            <pc:docMk/>
            <pc:sldMk cId="2130418808" sldId="260"/>
            <ac:spMk id="957" creationId="{7476540B-A849-B95F-1C9D-8C9D50C4F557}"/>
          </ac:spMkLst>
        </pc:spChg>
        <pc:spChg chg="add del mod modVis">
          <ac:chgData name="Appala Srujana" userId="a897cc35-aedc-4025-bce6-6175c0177033" providerId="ADAL" clId="{F249931F-CF49-4405-BC21-8182E27291FD}" dt="2025-10-23T05:23:11.829" v="6256"/>
          <ac:spMkLst>
            <pc:docMk/>
            <pc:sldMk cId="2130418808" sldId="260"/>
            <ac:spMk id="959" creationId="{FDA38C8E-A757-3DB3-EEF0-DF85FC1E45AA}"/>
          </ac:spMkLst>
        </pc:spChg>
        <pc:grpChg chg="add mod">
          <ac:chgData name="Appala Srujana" userId="a897cc35-aedc-4025-bce6-6175c0177033" providerId="ADAL" clId="{F249931F-CF49-4405-BC21-8182E27291FD}" dt="2025-10-23T05:25:15.403" v="6727"/>
          <ac:grpSpMkLst>
            <pc:docMk/>
            <pc:sldMk cId="2130418808" sldId="260"/>
            <ac:grpSpMk id="30" creationId="{7902A306-A600-7D54-9562-6E7EC9D3A9B0}"/>
          </ac:grpSpMkLst>
        </pc:grpChg>
        <pc:graphicFrameChg chg="mod">
          <ac:chgData name="Appala Srujana" userId="a897cc35-aedc-4025-bce6-6175c0177033" providerId="ADAL" clId="{F249931F-CF49-4405-BC21-8182E27291FD}" dt="2025-10-23T05:25:15.560" v="7162"/>
          <ac:graphicFrameMkLst>
            <pc:docMk/>
            <pc:sldMk cId="2130418808" sldId="260"/>
            <ac:graphicFrameMk id="4" creationId="{AC6851C7-C609-5D12-A549-1D4FCACAEB94}"/>
          </ac:graphicFrameMkLst>
        </pc:graphicFrameChg>
        <pc:graphicFrameChg chg="add mod">
          <ac:chgData name="Appala Srujana" userId="a897cc35-aedc-4025-bce6-6175c0177033" providerId="ADAL" clId="{F249931F-CF49-4405-BC21-8182E27291FD}" dt="2025-10-23T05:25:15.410" v="6734"/>
          <ac:graphicFrameMkLst>
            <pc:docMk/>
            <pc:sldMk cId="2130418808" sldId="260"/>
            <ac:graphicFrameMk id="32" creationId="{8A71F512-3A49-B53E-413D-5847DAC08152}"/>
          </ac:graphicFrameMkLst>
        </pc:graphicFrameChg>
        <pc:graphicFrameChg chg="del mod">
          <ac:chgData name="Appala Srujana" userId="a897cc35-aedc-4025-bce6-6175c0177033" providerId="ADAL" clId="{F249931F-CF49-4405-BC21-8182E27291FD}" dt="2025-10-23T05:23:10.523" v="5194"/>
          <ac:graphicFrameMkLst>
            <pc:docMk/>
            <pc:sldMk cId="2130418808" sldId="260"/>
            <ac:graphicFrameMk id="954" creationId="{31C8282D-92D5-8EFC-9A7B-7BF171A58E32}"/>
          </ac:graphicFrameMkLst>
        </pc:graphicFrameChg>
        <pc:graphicFrameChg chg="del mod">
          <ac:chgData name="Appala Srujana" userId="a897cc35-aedc-4025-bce6-6175c0177033" providerId="ADAL" clId="{F249931F-CF49-4405-BC21-8182E27291FD}" dt="2025-10-23T05:23:03.733" v="4589"/>
          <ac:graphicFrameMkLst>
            <pc:docMk/>
            <pc:sldMk cId="2130418808" sldId="260"/>
            <ac:graphicFrameMk id="955" creationId="{FAA55F07-D512-802B-8554-B1A6DDBAFCE9}"/>
          </ac:graphicFrameMkLst>
        </pc:graphicFrameChg>
        <pc:graphicFrameChg chg="add mod">
          <ac:chgData name="Appala Srujana" userId="a897cc35-aedc-4025-bce6-6175c0177033" providerId="ADAL" clId="{F249931F-CF49-4405-BC21-8182E27291FD}" dt="2025-10-23T05:25:15.418" v="6756"/>
          <ac:graphicFrameMkLst>
            <pc:docMk/>
            <pc:sldMk cId="2130418808" sldId="260"/>
            <ac:graphicFrameMk id="956" creationId="{90D149A6-0959-1822-EC25-CF601636470C}"/>
          </ac:graphicFrameMkLst>
        </pc:graphicFrameChg>
        <pc:graphicFrameChg chg="add del mod">
          <ac:chgData name="Appala Srujana" userId="a897cc35-aedc-4025-bce6-6175c0177033" providerId="ADAL" clId="{F249931F-CF49-4405-BC21-8182E27291FD}" dt="2025-10-23T05:23:11.623" v="5757"/>
          <ac:graphicFrameMkLst>
            <pc:docMk/>
            <pc:sldMk cId="2130418808" sldId="260"/>
            <ac:graphicFrameMk id="958" creationId="{F741940E-A590-83E8-3803-6104A287B4A9}"/>
          </ac:graphicFrameMkLst>
        </pc:graphicFrameChg>
        <pc:cxnChg chg="mod ord">
          <ac:chgData name="Appala Srujana" userId="a897cc35-aedc-4025-bce6-6175c0177033" providerId="ADAL" clId="{F249931F-CF49-4405-BC21-8182E27291FD}" dt="2025-10-23T05:25:15.414" v="6748"/>
          <ac:cxnSpMkLst>
            <pc:docMk/>
            <pc:sldMk cId="2130418808" sldId="260"/>
            <ac:cxnSpMk id="634" creationId="{14565A0F-31CF-F791-A968-1DA80095FF70}"/>
          </ac:cxnSpMkLst>
        </pc:cxnChg>
        <pc:cxnChg chg="mod ord">
          <ac:chgData name="Appala Srujana" userId="a897cc35-aedc-4025-bce6-6175c0177033" providerId="ADAL" clId="{F249931F-CF49-4405-BC21-8182E27291FD}" dt="2025-10-23T05:25:15.416" v="6750"/>
          <ac:cxnSpMkLst>
            <pc:docMk/>
            <pc:sldMk cId="2130418808" sldId="260"/>
            <ac:cxnSpMk id="693" creationId="{A24B8CDD-14DB-6FFE-300B-1D2E6E5A13E5}"/>
          </ac:cxnSpMkLst>
        </pc:cxnChg>
        <pc:cxnChg chg="mod ord">
          <ac:chgData name="Appala Srujana" userId="a897cc35-aedc-4025-bce6-6175c0177033" providerId="ADAL" clId="{F249931F-CF49-4405-BC21-8182E27291FD}" dt="2025-10-23T05:25:15.416" v="6752"/>
          <ac:cxnSpMkLst>
            <pc:docMk/>
            <pc:sldMk cId="2130418808" sldId="260"/>
            <ac:cxnSpMk id="707" creationId="{0ED3356A-E8AD-AFC6-F25A-29032E6FE669}"/>
          </ac:cxnSpMkLst>
        </pc:cxnChg>
        <pc:cxnChg chg="mod ord">
          <ac:chgData name="Appala Srujana" userId="a897cc35-aedc-4025-bce6-6175c0177033" providerId="ADAL" clId="{F249931F-CF49-4405-BC21-8182E27291FD}" dt="2025-10-23T05:25:15.424" v="6770"/>
          <ac:cxnSpMkLst>
            <pc:docMk/>
            <pc:sldMk cId="2130418808" sldId="260"/>
            <ac:cxnSpMk id="801" creationId="{C6995239-23DD-D888-362C-E5962DBAB127}"/>
          </ac:cxnSpMkLst>
        </pc:cxnChg>
        <pc:cxnChg chg="mod ord">
          <ac:chgData name="Appala Srujana" userId="a897cc35-aedc-4025-bce6-6175c0177033" providerId="ADAL" clId="{F249931F-CF49-4405-BC21-8182E27291FD}" dt="2025-10-23T05:25:15.424" v="6772"/>
          <ac:cxnSpMkLst>
            <pc:docMk/>
            <pc:sldMk cId="2130418808" sldId="260"/>
            <ac:cxnSpMk id="802" creationId="{97E3767C-7987-E3DE-C332-7A836C78755C}"/>
          </ac:cxnSpMkLst>
        </pc:cxnChg>
        <pc:cxnChg chg="mod ord">
          <ac:chgData name="Appala Srujana" userId="a897cc35-aedc-4025-bce6-6175c0177033" providerId="ADAL" clId="{F249931F-CF49-4405-BC21-8182E27291FD}" dt="2025-10-23T05:25:15.424" v="6774"/>
          <ac:cxnSpMkLst>
            <pc:docMk/>
            <pc:sldMk cId="2130418808" sldId="260"/>
            <ac:cxnSpMk id="803" creationId="{512A08A0-AFC1-436E-877B-BC7D0D40AE22}"/>
          </ac:cxnSpMkLst>
        </pc:cxnChg>
      </pc:sldChg>
    </pc:docChg>
  </pc:docChgLst>
  <pc:docChgLst>
    <pc:chgData name="Simhadri Gangadhar" userId="5fc6e080-1216-40e4-a991-a4a24835f32b" providerId="ADAL" clId="{CEFB5C2A-32BA-470A-A892-26100A3094A6}"/>
    <pc:docChg chg="custSel modSld">
      <pc:chgData name="Simhadri Gangadhar" userId="5fc6e080-1216-40e4-a991-a4a24835f32b" providerId="ADAL" clId="{CEFB5C2A-32BA-470A-A892-26100A3094A6}" dt="2025-10-23T08:42:50.091" v="37"/>
      <pc:docMkLst>
        <pc:docMk/>
      </pc:docMkLst>
      <pc:sldChg chg="modSp mod">
        <pc:chgData name="Simhadri Gangadhar" userId="5fc6e080-1216-40e4-a991-a4a24835f32b" providerId="ADAL" clId="{CEFB5C2A-32BA-470A-A892-26100A3094A6}" dt="2025-10-23T08:42:09.568" v="31" actId="14100"/>
        <pc:sldMkLst>
          <pc:docMk/>
          <pc:sldMk cId="479191838" sldId="256"/>
        </pc:sldMkLst>
        <pc:spChg chg="mod">
          <ac:chgData name="Simhadri Gangadhar" userId="5fc6e080-1216-40e4-a991-a4a24835f32b" providerId="ADAL" clId="{CEFB5C2A-32BA-470A-A892-26100A3094A6}" dt="2025-10-23T08:42:09.568" v="31" actId="14100"/>
          <ac:spMkLst>
            <pc:docMk/>
            <pc:sldMk cId="479191838" sldId="256"/>
            <ac:spMk id="326" creationId="{E174267F-3A1C-EB74-93C9-B738151CD328}"/>
          </ac:spMkLst>
        </pc:spChg>
      </pc:sldChg>
      <pc:sldChg chg="modSp mod">
        <pc:chgData name="Simhadri Gangadhar" userId="5fc6e080-1216-40e4-a991-a4a24835f32b" providerId="ADAL" clId="{CEFB5C2A-32BA-470A-A892-26100A3094A6}" dt="2025-10-23T08:42:50.091" v="37"/>
        <pc:sldMkLst>
          <pc:docMk/>
          <pc:sldMk cId="537986554" sldId="261"/>
        </pc:sldMkLst>
        <pc:spChg chg="mod">
          <ac:chgData name="Simhadri Gangadhar" userId="5fc6e080-1216-40e4-a991-a4a24835f32b" providerId="ADAL" clId="{CEFB5C2A-32BA-470A-A892-26100A3094A6}" dt="2025-10-23T08:42:50.091" v="37"/>
          <ac:spMkLst>
            <pc:docMk/>
            <pc:sldMk cId="537986554" sldId="261"/>
            <ac:spMk id="326" creationId="{5F058A6F-22F8-7B1C-DB35-51F001AF0440}"/>
          </ac:spMkLst>
        </pc:spChg>
      </pc:sldChg>
    </pc:docChg>
  </pc:docChgLst>
  <pc:docChgLst>
    <pc:chgData name="Bishal Ganguly2" userId="d759f705-629c-4441-b705-ea2fdbd522aa" providerId="ADAL" clId="{44CB5224-51B6-481C-9677-C70530AFE879}"/>
    <pc:docChg chg="custSel modSld">
      <pc:chgData name="Bishal Ganguly2" userId="d759f705-629c-4441-b705-ea2fdbd522aa" providerId="ADAL" clId="{44CB5224-51B6-481C-9677-C70530AFE879}" dt="2025-10-23T01:29:23.743" v="522"/>
      <pc:docMkLst>
        <pc:docMk/>
      </pc:docMkLst>
      <pc:sldChg chg="addSp delSp modSp mod">
        <pc:chgData name="Bishal Ganguly2" userId="d759f705-629c-4441-b705-ea2fdbd522aa" providerId="ADAL" clId="{44CB5224-51B6-481C-9677-C70530AFE879}" dt="2025-10-23T01:29:23.743" v="522"/>
        <pc:sldMkLst>
          <pc:docMk/>
          <pc:sldMk cId="479191838" sldId="256"/>
        </pc:sldMkLst>
        <pc:spChg chg="mod">
          <ac:chgData name="Bishal Ganguly2" userId="d759f705-629c-4441-b705-ea2fdbd522aa" providerId="ADAL" clId="{44CB5224-51B6-481C-9677-C70530AFE879}" dt="2025-10-23T01:29:23.698" v="499" actId="948"/>
          <ac:spMkLst>
            <pc:docMk/>
            <pc:sldMk cId="479191838" sldId="256"/>
            <ac:spMk id="2" creationId="{4B753305-937B-163B-ECAD-86761C5BADD2}"/>
          </ac:spMkLst>
        </pc:spChg>
        <pc:spChg chg="mod">
          <ac:chgData name="Bishal Ganguly2" userId="d759f705-629c-4441-b705-ea2fdbd522aa" providerId="ADAL" clId="{44CB5224-51B6-481C-9677-C70530AFE879}" dt="2025-10-23T01:29:23.462" v="263"/>
          <ac:spMkLst>
            <pc:docMk/>
            <pc:sldMk cId="479191838" sldId="256"/>
            <ac:spMk id="3" creationId="{9A3E48AB-E6DA-A254-3D41-964DCBF6F130}"/>
          </ac:spMkLst>
        </pc:spChg>
        <pc:spChg chg="mod">
          <ac:chgData name="Bishal Ganguly2" userId="d759f705-629c-4441-b705-ea2fdbd522aa" providerId="ADAL" clId="{44CB5224-51B6-481C-9677-C70530AFE879}" dt="2025-10-23T01:29:23.386" v="163" actId="947"/>
          <ac:spMkLst>
            <pc:docMk/>
            <pc:sldMk cId="479191838" sldId="256"/>
            <ac:spMk id="4" creationId="{C80C2CDF-BB8D-7D88-247B-7040CE893D3D}"/>
          </ac:spMkLst>
        </pc:spChg>
        <pc:spChg chg="mod">
          <ac:chgData name="Bishal Ganguly2" userId="d759f705-629c-4441-b705-ea2fdbd522aa" providerId="ADAL" clId="{44CB5224-51B6-481C-9677-C70530AFE879}" dt="2025-10-23T01:29:23.496" v="297"/>
          <ac:spMkLst>
            <pc:docMk/>
            <pc:sldMk cId="479191838" sldId="256"/>
            <ac:spMk id="6" creationId="{A326B85F-0529-8704-DADA-0E265B2B3F11}"/>
          </ac:spMkLst>
        </pc:spChg>
        <pc:spChg chg="add del mod modVis">
          <ac:chgData name="Bishal Ganguly2" userId="d759f705-629c-4441-b705-ea2fdbd522aa" providerId="ADAL" clId="{44CB5224-51B6-481C-9677-C70530AFE879}" dt="2025-10-23T01:29:23.743" v="520"/>
          <ac:spMkLst>
            <pc:docMk/>
            <pc:sldMk cId="479191838" sldId="256"/>
            <ac:spMk id="7" creationId="{73F788FE-528E-9FB7-4436-0423BA806478}"/>
          </ac:spMkLst>
        </pc:spChg>
        <pc:spChg chg="mod">
          <ac:chgData name="Bishal Ganguly2" userId="d759f705-629c-4441-b705-ea2fdbd522aa" providerId="ADAL" clId="{44CB5224-51B6-481C-9677-C70530AFE879}" dt="2025-10-23T01:29:23.553" v="359" actId="947"/>
          <ac:spMkLst>
            <pc:docMk/>
            <pc:sldMk cId="479191838" sldId="256"/>
            <ac:spMk id="8" creationId="{E27C6431-1CC2-6964-933F-15ADB9A4BCA5}"/>
          </ac:spMkLst>
        </pc:spChg>
        <pc:spChg chg="mod">
          <ac:chgData name="Bishal Ganguly2" userId="d759f705-629c-4441-b705-ea2fdbd522aa" providerId="ADAL" clId="{44CB5224-51B6-481C-9677-C70530AFE879}" dt="2025-10-23T01:29:23.176" v="1" actId="947"/>
          <ac:spMkLst>
            <pc:docMk/>
            <pc:sldMk cId="479191838" sldId="256"/>
            <ac:spMk id="18" creationId="{D1FF08C9-8FE3-FACA-EE46-6DF3E3C4AA34}"/>
          </ac:spMkLst>
        </pc:spChg>
        <pc:spChg chg="mod">
          <ac:chgData name="Bishal Ganguly2" userId="d759f705-629c-4441-b705-ea2fdbd522aa" providerId="ADAL" clId="{44CB5224-51B6-481C-9677-C70530AFE879}" dt="2025-10-23T01:29:23.470" v="265"/>
          <ac:spMkLst>
            <pc:docMk/>
            <pc:sldMk cId="479191838" sldId="256"/>
            <ac:spMk id="20" creationId="{8317ACFD-5C49-DFA4-DD4E-73785CCC1E40}"/>
          </ac:spMkLst>
        </pc:spChg>
        <pc:spChg chg="mod">
          <ac:chgData name="Bishal Ganguly2" userId="d759f705-629c-4441-b705-ea2fdbd522aa" providerId="ADAL" clId="{44CB5224-51B6-481C-9677-C70530AFE879}" dt="2025-10-23T01:29:23.390" v="165" actId="947"/>
          <ac:spMkLst>
            <pc:docMk/>
            <pc:sldMk cId="479191838" sldId="256"/>
            <ac:spMk id="21" creationId="{965685C3-16DB-C1A2-8C2E-20098157C2E9}"/>
          </ac:spMkLst>
        </pc:spChg>
        <pc:spChg chg="mod">
          <ac:chgData name="Bishal Ganguly2" userId="d759f705-629c-4441-b705-ea2fdbd522aa" providerId="ADAL" clId="{44CB5224-51B6-481C-9677-C70530AFE879}" dt="2025-10-23T01:29:23.522" v="327"/>
          <ac:spMkLst>
            <pc:docMk/>
            <pc:sldMk cId="479191838" sldId="256"/>
            <ac:spMk id="23" creationId="{0845FB53-C9A7-AC67-FCBB-B8697E8D4E41}"/>
          </ac:spMkLst>
        </pc:spChg>
        <pc:spChg chg="mod">
          <ac:chgData name="Bishal Ganguly2" userId="d759f705-629c-4441-b705-ea2fdbd522aa" providerId="ADAL" clId="{44CB5224-51B6-481C-9677-C70530AFE879}" dt="2025-10-23T01:29:23.526" v="329"/>
          <ac:spMkLst>
            <pc:docMk/>
            <pc:sldMk cId="479191838" sldId="256"/>
            <ac:spMk id="24" creationId="{D1838F45-91A8-C12C-AF8B-78923E2FB635}"/>
          </ac:spMkLst>
        </pc:spChg>
        <pc:spChg chg="mod">
          <ac:chgData name="Bishal Ganguly2" userId="d759f705-629c-4441-b705-ea2fdbd522aa" providerId="ADAL" clId="{44CB5224-51B6-481C-9677-C70530AFE879}" dt="2025-10-23T01:29:23.200" v="5"/>
          <ac:spMkLst>
            <pc:docMk/>
            <pc:sldMk cId="479191838" sldId="256"/>
            <ac:spMk id="25" creationId="{9F066712-E467-E876-5984-B16DB469080D}"/>
          </ac:spMkLst>
        </pc:spChg>
        <pc:spChg chg="mod">
          <ac:chgData name="Bishal Ganguly2" userId="d759f705-629c-4441-b705-ea2fdbd522aa" providerId="ADAL" clId="{44CB5224-51B6-481C-9677-C70530AFE879}" dt="2025-10-23T01:29:23.528" v="331"/>
          <ac:spMkLst>
            <pc:docMk/>
            <pc:sldMk cId="479191838" sldId="256"/>
            <ac:spMk id="26" creationId="{D5E1F0E3-65F6-3278-3733-944733F6C53F}"/>
          </ac:spMkLst>
        </pc:spChg>
        <pc:spChg chg="mod">
          <ac:chgData name="Bishal Ganguly2" userId="d759f705-629c-4441-b705-ea2fdbd522aa" providerId="ADAL" clId="{44CB5224-51B6-481C-9677-C70530AFE879}" dt="2025-10-23T01:29:23.647" v="462" actId="947"/>
          <ac:spMkLst>
            <pc:docMk/>
            <pc:sldMk cId="479191838" sldId="256"/>
            <ac:spMk id="27" creationId="{EC7569DC-2598-6133-8E49-4C316059C18B}"/>
          </ac:spMkLst>
        </pc:spChg>
        <pc:spChg chg="mod">
          <ac:chgData name="Bishal Ganguly2" userId="d759f705-629c-4441-b705-ea2fdbd522aa" providerId="ADAL" clId="{44CB5224-51B6-481C-9677-C70530AFE879}" dt="2025-10-23T01:29:23.647" v="460" actId="947"/>
          <ac:spMkLst>
            <pc:docMk/>
            <pc:sldMk cId="479191838" sldId="256"/>
            <ac:spMk id="28" creationId="{E8831E95-80A2-8ABE-C703-392545C7254D}"/>
          </ac:spMkLst>
        </pc:spChg>
        <pc:spChg chg="mod">
          <ac:chgData name="Bishal Ganguly2" userId="d759f705-629c-4441-b705-ea2fdbd522aa" providerId="ADAL" clId="{44CB5224-51B6-481C-9677-C70530AFE879}" dt="2025-10-23T01:29:23.216" v="19"/>
          <ac:spMkLst>
            <pc:docMk/>
            <pc:sldMk cId="479191838" sldId="256"/>
            <ac:spMk id="32" creationId="{792D0B3B-8D57-51C8-F7BF-7BDFF8F0C17F}"/>
          </ac:spMkLst>
        </pc:spChg>
        <pc:spChg chg="mod">
          <ac:chgData name="Bishal Ganguly2" userId="d759f705-629c-4441-b705-ea2fdbd522aa" providerId="ADAL" clId="{44CB5224-51B6-481C-9677-C70530AFE879}" dt="2025-10-23T01:29:23.427" v="219" actId="947"/>
          <ac:spMkLst>
            <pc:docMk/>
            <pc:sldMk cId="479191838" sldId="256"/>
            <ac:spMk id="33" creationId="{D3CD00E0-8EA7-DE21-782E-EAF903BE7135}"/>
          </ac:spMkLst>
        </pc:spChg>
        <pc:spChg chg="mod">
          <ac:chgData name="Bishal Ganguly2" userId="d759f705-629c-4441-b705-ea2fdbd522aa" providerId="ADAL" clId="{44CB5224-51B6-481C-9677-C70530AFE879}" dt="2025-10-23T01:29:23.427" v="221" actId="947"/>
          <ac:spMkLst>
            <pc:docMk/>
            <pc:sldMk cId="479191838" sldId="256"/>
            <ac:spMk id="34" creationId="{1549EF73-564B-D155-0BD7-91EBD687154D}"/>
          </ac:spMkLst>
        </pc:spChg>
        <pc:spChg chg="mod">
          <ac:chgData name="Bishal Ganguly2" userId="d759f705-629c-4441-b705-ea2fdbd522aa" providerId="ADAL" clId="{44CB5224-51B6-481C-9677-C70530AFE879}" dt="2025-10-23T01:29:23.427" v="223" actId="947"/>
          <ac:spMkLst>
            <pc:docMk/>
            <pc:sldMk cId="479191838" sldId="256"/>
            <ac:spMk id="37" creationId="{A8537400-F558-21F9-A27F-FEEDBEFFC896}"/>
          </ac:spMkLst>
        </pc:spChg>
        <pc:spChg chg="mod">
          <ac:chgData name="Bishal Ganguly2" userId="d759f705-629c-4441-b705-ea2fdbd522aa" providerId="ADAL" clId="{44CB5224-51B6-481C-9677-C70530AFE879}" dt="2025-10-23T01:29:23.427" v="225" actId="947"/>
          <ac:spMkLst>
            <pc:docMk/>
            <pc:sldMk cId="479191838" sldId="256"/>
            <ac:spMk id="38" creationId="{F3D9D70C-D023-1713-690D-4D9396492C60}"/>
          </ac:spMkLst>
        </pc:spChg>
        <pc:spChg chg="mod">
          <ac:chgData name="Bishal Ganguly2" userId="d759f705-629c-4441-b705-ea2fdbd522aa" providerId="ADAL" clId="{44CB5224-51B6-481C-9677-C70530AFE879}" dt="2025-10-23T01:29:23.427" v="227" actId="947"/>
          <ac:spMkLst>
            <pc:docMk/>
            <pc:sldMk cId="479191838" sldId="256"/>
            <ac:spMk id="41" creationId="{8924FAD0-F956-CCA3-32AD-6CEB5C9808EF}"/>
          </ac:spMkLst>
        </pc:spChg>
        <pc:spChg chg="mod">
          <ac:chgData name="Bishal Ganguly2" userId="d759f705-629c-4441-b705-ea2fdbd522aa" providerId="ADAL" clId="{44CB5224-51B6-481C-9677-C70530AFE879}" dt="2025-10-23T01:29:23.427" v="229" actId="947"/>
          <ac:spMkLst>
            <pc:docMk/>
            <pc:sldMk cId="479191838" sldId="256"/>
            <ac:spMk id="42" creationId="{A3CDCB62-881B-ADCF-98CA-EF43D9981F96}"/>
          </ac:spMkLst>
        </pc:spChg>
        <pc:spChg chg="mod">
          <ac:chgData name="Bishal Ganguly2" userId="d759f705-629c-4441-b705-ea2fdbd522aa" providerId="ADAL" clId="{44CB5224-51B6-481C-9677-C70530AFE879}" dt="2025-10-23T01:29:23.427" v="231" actId="947"/>
          <ac:spMkLst>
            <pc:docMk/>
            <pc:sldMk cId="479191838" sldId="256"/>
            <ac:spMk id="45" creationId="{375D6DDC-4F1F-32C2-1F93-7EF625A1C095}"/>
          </ac:spMkLst>
        </pc:spChg>
        <pc:spChg chg="mod">
          <ac:chgData name="Bishal Ganguly2" userId="d759f705-629c-4441-b705-ea2fdbd522aa" providerId="ADAL" clId="{44CB5224-51B6-481C-9677-C70530AFE879}" dt="2025-10-23T01:29:23.443" v="233" actId="947"/>
          <ac:spMkLst>
            <pc:docMk/>
            <pc:sldMk cId="479191838" sldId="256"/>
            <ac:spMk id="46" creationId="{5C788A27-3729-09AE-D43C-9AD7F1427B58}"/>
          </ac:spMkLst>
        </pc:spChg>
        <pc:spChg chg="mod">
          <ac:chgData name="Bishal Ganguly2" userId="d759f705-629c-4441-b705-ea2fdbd522aa" providerId="ADAL" clId="{44CB5224-51B6-481C-9677-C70530AFE879}" dt="2025-10-23T01:29:23.647" v="458" actId="947"/>
          <ac:spMkLst>
            <pc:docMk/>
            <pc:sldMk cId="479191838" sldId="256"/>
            <ac:spMk id="49" creationId="{E4299D83-9CE1-B483-A5A6-54907BCEA623}"/>
          </ac:spMkLst>
        </pc:spChg>
        <pc:spChg chg="mod">
          <ac:chgData name="Bishal Ganguly2" userId="d759f705-629c-4441-b705-ea2fdbd522aa" providerId="ADAL" clId="{44CB5224-51B6-481C-9677-C70530AFE879}" dt="2025-10-23T01:29:23.647" v="456" actId="947"/>
          <ac:spMkLst>
            <pc:docMk/>
            <pc:sldMk cId="479191838" sldId="256"/>
            <ac:spMk id="53" creationId="{EE5C8A0D-A1ED-30CC-80B7-99F0675A964F}"/>
          </ac:spMkLst>
        </pc:spChg>
        <pc:spChg chg="mod">
          <ac:chgData name="Bishal Ganguly2" userId="d759f705-629c-4441-b705-ea2fdbd522aa" providerId="ADAL" clId="{44CB5224-51B6-481C-9677-C70530AFE879}" dt="2025-10-23T01:29:23.646" v="454" actId="947"/>
          <ac:spMkLst>
            <pc:docMk/>
            <pc:sldMk cId="479191838" sldId="256"/>
            <ac:spMk id="54" creationId="{56975525-44DA-5ED2-3B18-FE29B84C5568}"/>
          </ac:spMkLst>
        </pc:spChg>
        <pc:spChg chg="mod">
          <ac:chgData name="Bishal Ganguly2" userId="d759f705-629c-4441-b705-ea2fdbd522aa" providerId="ADAL" clId="{44CB5224-51B6-481C-9677-C70530AFE879}" dt="2025-10-23T01:29:23.644" v="452"/>
          <ac:spMkLst>
            <pc:docMk/>
            <pc:sldMk cId="479191838" sldId="256"/>
            <ac:spMk id="55" creationId="{F661063D-9635-73D4-A77F-8E9C64F20AFC}"/>
          </ac:spMkLst>
        </pc:spChg>
        <pc:spChg chg="mod">
          <ac:chgData name="Bishal Ganguly2" userId="d759f705-629c-4441-b705-ea2fdbd522aa" providerId="ADAL" clId="{44CB5224-51B6-481C-9677-C70530AFE879}" dt="2025-10-23T01:29:23.475" v="271" actId="947"/>
          <ac:spMkLst>
            <pc:docMk/>
            <pc:sldMk cId="479191838" sldId="256"/>
            <ac:spMk id="61" creationId="{354DF8B0-1FBF-20E1-BB60-CDAA8DCFFC16}"/>
          </ac:spMkLst>
        </pc:spChg>
        <pc:spChg chg="mod">
          <ac:chgData name="Bishal Ganguly2" userId="d759f705-629c-4441-b705-ea2fdbd522aa" providerId="ADAL" clId="{44CB5224-51B6-481C-9677-C70530AFE879}" dt="2025-10-23T01:29:23.443" v="235" actId="947"/>
          <ac:spMkLst>
            <pc:docMk/>
            <pc:sldMk cId="479191838" sldId="256"/>
            <ac:spMk id="62" creationId="{163CBAEB-285D-9D93-641A-0BB78396A794}"/>
          </ac:spMkLst>
        </pc:spChg>
        <pc:spChg chg="mod">
          <ac:chgData name="Bishal Ganguly2" userId="d759f705-629c-4441-b705-ea2fdbd522aa" providerId="ADAL" clId="{44CB5224-51B6-481C-9677-C70530AFE879}" dt="2025-10-23T01:29:23.447" v="237" actId="947"/>
          <ac:spMkLst>
            <pc:docMk/>
            <pc:sldMk cId="479191838" sldId="256"/>
            <ac:spMk id="63" creationId="{6BEDE1B2-362A-3CA5-274E-618EFACCD011}"/>
          </ac:spMkLst>
        </pc:spChg>
        <pc:spChg chg="mod">
          <ac:chgData name="Bishal Ganguly2" userId="d759f705-629c-4441-b705-ea2fdbd522aa" providerId="ADAL" clId="{44CB5224-51B6-481C-9677-C70530AFE879}" dt="2025-10-23T01:29:23.447" v="239" actId="947"/>
          <ac:spMkLst>
            <pc:docMk/>
            <pc:sldMk cId="479191838" sldId="256"/>
            <ac:spMk id="66" creationId="{44284BEF-6B68-12C3-5831-B6D559F02457}"/>
          </ac:spMkLst>
        </pc:spChg>
        <pc:spChg chg="mod">
          <ac:chgData name="Bishal Ganguly2" userId="d759f705-629c-4441-b705-ea2fdbd522aa" providerId="ADAL" clId="{44CB5224-51B6-481C-9677-C70530AFE879}" dt="2025-10-23T01:29:23.447" v="241" actId="947"/>
          <ac:spMkLst>
            <pc:docMk/>
            <pc:sldMk cId="479191838" sldId="256"/>
            <ac:spMk id="67" creationId="{9B078049-479E-F301-D0AA-35F71F564247}"/>
          </ac:spMkLst>
        </pc:spChg>
        <pc:spChg chg="mod">
          <ac:chgData name="Bishal Ganguly2" userId="d759f705-629c-4441-b705-ea2fdbd522aa" providerId="ADAL" clId="{44CB5224-51B6-481C-9677-C70530AFE879}" dt="2025-10-23T01:29:23.447" v="243" actId="947"/>
          <ac:spMkLst>
            <pc:docMk/>
            <pc:sldMk cId="479191838" sldId="256"/>
            <ac:spMk id="70" creationId="{E3883E95-E723-FA8F-4FD9-20EAEA4563B5}"/>
          </ac:spMkLst>
        </pc:spChg>
        <pc:spChg chg="mod">
          <ac:chgData name="Bishal Ganguly2" userId="d759f705-629c-4441-b705-ea2fdbd522aa" providerId="ADAL" clId="{44CB5224-51B6-481C-9677-C70530AFE879}" dt="2025-10-23T01:29:23.447" v="245" actId="947"/>
          <ac:spMkLst>
            <pc:docMk/>
            <pc:sldMk cId="479191838" sldId="256"/>
            <ac:spMk id="71" creationId="{ECF9729E-1261-8071-2A8D-CE8EEEF3C0BA}"/>
          </ac:spMkLst>
        </pc:spChg>
        <pc:spChg chg="mod">
          <ac:chgData name="Bishal Ganguly2" userId="d759f705-629c-4441-b705-ea2fdbd522aa" providerId="ADAL" clId="{44CB5224-51B6-481C-9677-C70530AFE879}" dt="2025-10-23T01:29:23.447" v="247" actId="947"/>
          <ac:spMkLst>
            <pc:docMk/>
            <pc:sldMk cId="479191838" sldId="256"/>
            <ac:spMk id="74" creationId="{30A2497A-B8EA-BBC9-7A13-AD783F590E7F}"/>
          </ac:spMkLst>
        </pc:spChg>
        <pc:spChg chg="mod">
          <ac:chgData name="Bishal Ganguly2" userId="d759f705-629c-4441-b705-ea2fdbd522aa" providerId="ADAL" clId="{44CB5224-51B6-481C-9677-C70530AFE879}" dt="2025-10-23T01:29:23.447" v="249" actId="947"/>
          <ac:spMkLst>
            <pc:docMk/>
            <pc:sldMk cId="479191838" sldId="256"/>
            <ac:spMk id="75" creationId="{88445527-DAF6-D485-7531-EE08D2979460}"/>
          </ac:spMkLst>
        </pc:spChg>
        <pc:spChg chg="mod">
          <ac:chgData name="Bishal Ganguly2" userId="d759f705-629c-4441-b705-ea2fdbd522aa" providerId="ADAL" clId="{44CB5224-51B6-481C-9677-C70530AFE879}" dt="2025-10-23T01:29:23.647" v="464" actId="947"/>
          <ac:spMkLst>
            <pc:docMk/>
            <pc:sldMk cId="479191838" sldId="256"/>
            <ac:spMk id="79" creationId="{1C5C84EC-F439-09DE-2FE3-8CCB479E1C47}"/>
          </ac:spMkLst>
        </pc:spChg>
        <pc:spChg chg="mod">
          <ac:chgData name="Bishal Ganguly2" userId="d759f705-629c-4441-b705-ea2fdbd522aa" providerId="ADAL" clId="{44CB5224-51B6-481C-9677-C70530AFE879}" dt="2025-10-23T01:29:23.647" v="466" actId="947"/>
          <ac:spMkLst>
            <pc:docMk/>
            <pc:sldMk cId="479191838" sldId="256"/>
            <ac:spMk id="80" creationId="{3FA6DECC-F82E-12C9-795B-B69B83F328EA}"/>
          </ac:spMkLst>
        </pc:spChg>
        <pc:spChg chg="mod">
          <ac:chgData name="Bishal Ganguly2" userId="d759f705-629c-4441-b705-ea2fdbd522aa" providerId="ADAL" clId="{44CB5224-51B6-481C-9677-C70530AFE879}" dt="2025-10-23T01:29:23.663" v="478"/>
          <ac:spMkLst>
            <pc:docMk/>
            <pc:sldMk cId="479191838" sldId="256"/>
            <ac:spMk id="81" creationId="{0E522927-6DF9-F110-C29D-AB62A0C1AB03}"/>
          </ac:spMkLst>
        </pc:spChg>
        <pc:spChg chg="mod">
          <ac:chgData name="Bishal Ganguly2" userId="d759f705-629c-4441-b705-ea2fdbd522aa" providerId="ADAL" clId="{44CB5224-51B6-481C-9677-C70530AFE879}" dt="2025-10-23T01:29:23.647" v="468" actId="947"/>
          <ac:spMkLst>
            <pc:docMk/>
            <pc:sldMk cId="479191838" sldId="256"/>
            <ac:spMk id="82" creationId="{F00F83FA-CD26-D9E5-C365-5F5FE4221678}"/>
          </ac:spMkLst>
        </pc:spChg>
        <pc:spChg chg="mod">
          <ac:chgData name="Bishal Ganguly2" userId="d759f705-629c-4441-b705-ea2fdbd522aa" providerId="ADAL" clId="{44CB5224-51B6-481C-9677-C70530AFE879}" dt="2025-10-23T01:29:23.447" v="251" actId="947"/>
          <ac:spMkLst>
            <pc:docMk/>
            <pc:sldMk cId="479191838" sldId="256"/>
            <ac:spMk id="83" creationId="{FECD3B10-8C36-01EC-9AEE-75E3C58976AF}"/>
          </ac:spMkLst>
        </pc:spChg>
        <pc:spChg chg="mod">
          <ac:chgData name="Bishal Ganguly2" userId="d759f705-629c-4441-b705-ea2fdbd522aa" providerId="ADAL" clId="{44CB5224-51B6-481C-9677-C70530AFE879}" dt="2025-10-23T01:29:23.459" v="253" actId="947"/>
          <ac:spMkLst>
            <pc:docMk/>
            <pc:sldMk cId="479191838" sldId="256"/>
            <ac:spMk id="84" creationId="{8CCD743D-2364-D58D-9059-FBF3D3D69AAE}"/>
          </ac:spMkLst>
        </pc:spChg>
        <pc:spChg chg="mod">
          <ac:chgData name="Bishal Ganguly2" userId="d759f705-629c-4441-b705-ea2fdbd522aa" providerId="ADAL" clId="{44CB5224-51B6-481C-9677-C70530AFE879}" dt="2025-10-23T01:29:23.647" v="470" actId="947"/>
          <ac:spMkLst>
            <pc:docMk/>
            <pc:sldMk cId="479191838" sldId="256"/>
            <ac:spMk id="85" creationId="{67CA420D-F5FB-A9C6-7746-5D33A8DAEE26}"/>
          </ac:spMkLst>
        </pc:spChg>
        <pc:spChg chg="mod">
          <ac:chgData name="Bishal Ganguly2" userId="d759f705-629c-4441-b705-ea2fdbd522aa" providerId="ADAL" clId="{44CB5224-51B6-481C-9677-C70530AFE879}" dt="2025-10-23T01:29:23.663" v="476"/>
          <ac:spMkLst>
            <pc:docMk/>
            <pc:sldMk cId="479191838" sldId="256"/>
            <ac:spMk id="86" creationId="{218948A6-E69A-87BA-A443-A54D876010D5}"/>
          </ac:spMkLst>
        </pc:spChg>
        <pc:spChg chg="mod">
          <ac:chgData name="Bishal Ganguly2" userId="d759f705-629c-4441-b705-ea2fdbd522aa" providerId="ADAL" clId="{44CB5224-51B6-481C-9677-C70530AFE879}" dt="2025-10-23T01:29:23.459" v="255" actId="947"/>
          <ac:spMkLst>
            <pc:docMk/>
            <pc:sldMk cId="479191838" sldId="256"/>
            <ac:spMk id="87" creationId="{6A6D132E-546F-6350-35E7-FE97CB5783E4}"/>
          </ac:spMkLst>
        </pc:spChg>
        <pc:spChg chg="mod">
          <ac:chgData name="Bishal Ganguly2" userId="d759f705-629c-4441-b705-ea2fdbd522aa" providerId="ADAL" clId="{44CB5224-51B6-481C-9677-C70530AFE879}" dt="2025-10-23T01:29:23.462" v="257" actId="947"/>
          <ac:spMkLst>
            <pc:docMk/>
            <pc:sldMk cId="479191838" sldId="256"/>
            <ac:spMk id="88" creationId="{DB8870EE-CBDB-0392-9A13-CFD1AD647289}"/>
          </ac:spMkLst>
        </pc:spChg>
        <pc:spChg chg="mod">
          <ac:chgData name="Bishal Ganguly2" userId="d759f705-629c-4441-b705-ea2fdbd522aa" providerId="ADAL" clId="{44CB5224-51B6-481C-9677-C70530AFE879}" dt="2025-10-23T01:29:23.530" v="335" actId="947"/>
          <ac:spMkLst>
            <pc:docMk/>
            <pc:sldMk cId="479191838" sldId="256"/>
            <ac:spMk id="89" creationId="{9068847D-11D3-21DB-268E-EB596CFBD00C}"/>
          </ac:spMkLst>
        </pc:spChg>
        <pc:spChg chg="mod">
          <ac:chgData name="Bishal Ganguly2" userId="d759f705-629c-4441-b705-ea2fdbd522aa" providerId="ADAL" clId="{44CB5224-51B6-481C-9677-C70530AFE879}" dt="2025-10-23T01:29:23.530" v="333" actId="947"/>
          <ac:spMkLst>
            <pc:docMk/>
            <pc:sldMk cId="479191838" sldId="256"/>
            <ac:spMk id="90" creationId="{8C7AAFD4-0EB9-68E0-FAFC-1BC766CB9DDC}"/>
          </ac:spMkLst>
        </pc:spChg>
        <pc:spChg chg="mod">
          <ac:chgData name="Bishal Ganguly2" userId="d759f705-629c-4441-b705-ea2fdbd522aa" providerId="ADAL" clId="{44CB5224-51B6-481C-9677-C70530AFE879}" dt="2025-10-23T01:29:23.581" v="386" actId="947"/>
          <ac:spMkLst>
            <pc:docMk/>
            <pc:sldMk cId="479191838" sldId="256"/>
            <ac:spMk id="92" creationId="{0F90988F-7C7E-3F28-21EC-E82BED8EAFB7}"/>
          </ac:spMkLst>
        </pc:spChg>
        <pc:spChg chg="mod">
          <ac:chgData name="Bishal Ganguly2" userId="d759f705-629c-4441-b705-ea2fdbd522aa" providerId="ADAL" clId="{44CB5224-51B6-481C-9677-C70530AFE879}" dt="2025-10-23T01:29:23.579" v="384" actId="947"/>
          <ac:spMkLst>
            <pc:docMk/>
            <pc:sldMk cId="479191838" sldId="256"/>
            <ac:spMk id="93" creationId="{226C02D6-7CA8-6036-1AAC-D22F2186316A}"/>
          </ac:spMkLst>
        </pc:spChg>
        <pc:spChg chg="mod">
          <ac:chgData name="Bishal Ganguly2" userId="d759f705-629c-4441-b705-ea2fdbd522aa" providerId="ADAL" clId="{44CB5224-51B6-481C-9677-C70530AFE879}" dt="2025-10-23T01:29:23.577" v="382" actId="947"/>
          <ac:spMkLst>
            <pc:docMk/>
            <pc:sldMk cId="479191838" sldId="256"/>
            <ac:spMk id="95" creationId="{D7D9A535-168E-CB8A-EE57-44603BB7C68C}"/>
          </ac:spMkLst>
        </pc:spChg>
        <pc:spChg chg="mod">
          <ac:chgData name="Bishal Ganguly2" userId="d759f705-629c-4441-b705-ea2fdbd522aa" providerId="ADAL" clId="{44CB5224-51B6-481C-9677-C70530AFE879}" dt="2025-10-23T01:29:23.532" v="337"/>
          <ac:spMkLst>
            <pc:docMk/>
            <pc:sldMk cId="479191838" sldId="256"/>
            <ac:spMk id="96" creationId="{80140E06-56CE-954E-489D-0D31979540DD}"/>
          </ac:spMkLst>
        </pc:spChg>
        <pc:spChg chg="mod">
          <ac:chgData name="Bishal Ganguly2" userId="d759f705-629c-4441-b705-ea2fdbd522aa" providerId="ADAL" clId="{44CB5224-51B6-481C-9677-C70530AFE879}" dt="2025-10-23T01:29:23.663" v="474"/>
          <ac:spMkLst>
            <pc:docMk/>
            <pc:sldMk cId="479191838" sldId="256"/>
            <ac:spMk id="97" creationId="{196325E7-DD35-A4A6-3307-6E4FF00EFDE7}"/>
          </ac:spMkLst>
        </pc:spChg>
        <pc:spChg chg="mod">
          <ac:chgData name="Bishal Ganguly2" userId="d759f705-629c-4441-b705-ea2fdbd522aa" providerId="ADAL" clId="{44CB5224-51B6-481C-9677-C70530AFE879}" dt="2025-10-23T01:29:23.575" v="380" actId="947"/>
          <ac:spMkLst>
            <pc:docMk/>
            <pc:sldMk cId="479191838" sldId="256"/>
            <ac:spMk id="99" creationId="{755535A0-36FC-C609-AB00-5F8FE4EA7493}"/>
          </ac:spMkLst>
        </pc:spChg>
        <pc:spChg chg="mod">
          <ac:chgData name="Bishal Ganguly2" userId="d759f705-629c-4441-b705-ea2fdbd522aa" providerId="ADAL" clId="{44CB5224-51B6-481C-9677-C70530AFE879}" dt="2025-10-23T01:29:23.573" v="378"/>
          <ac:spMkLst>
            <pc:docMk/>
            <pc:sldMk cId="479191838" sldId="256"/>
            <ac:spMk id="100" creationId="{08D45E89-9396-BEB6-0DAF-B85D8FD1661A}"/>
          </ac:spMkLst>
        </pc:spChg>
        <pc:spChg chg="mod">
          <ac:chgData name="Bishal Ganguly2" userId="d759f705-629c-4441-b705-ea2fdbd522aa" providerId="ADAL" clId="{44CB5224-51B6-481C-9677-C70530AFE879}" dt="2025-10-23T01:29:23.571" v="376"/>
          <ac:spMkLst>
            <pc:docMk/>
            <pc:sldMk cId="479191838" sldId="256"/>
            <ac:spMk id="101" creationId="{59E8A165-D17F-063E-D0E0-9EC1E90C1740}"/>
          </ac:spMkLst>
        </pc:spChg>
        <pc:spChg chg="mod">
          <ac:chgData name="Bishal Ganguly2" userId="d759f705-629c-4441-b705-ea2fdbd522aa" providerId="ADAL" clId="{44CB5224-51B6-481C-9677-C70530AFE879}" dt="2025-10-23T01:29:23.238" v="43" actId="947"/>
          <ac:spMkLst>
            <pc:docMk/>
            <pc:sldMk cId="479191838" sldId="256"/>
            <ac:spMk id="102" creationId="{7B648146-226D-0A99-E866-0C80C7699E3E}"/>
          </ac:spMkLst>
        </pc:spChg>
        <pc:spChg chg="mod">
          <ac:chgData name="Bishal Ganguly2" userId="d759f705-629c-4441-b705-ea2fdbd522aa" providerId="ADAL" clId="{44CB5224-51B6-481C-9677-C70530AFE879}" dt="2025-10-23T01:29:23.238" v="41" actId="947"/>
          <ac:spMkLst>
            <pc:docMk/>
            <pc:sldMk cId="479191838" sldId="256"/>
            <ac:spMk id="103" creationId="{542C210F-FB1B-4EF3-0F69-B5214670969D}"/>
          </ac:spMkLst>
        </pc:spChg>
        <pc:spChg chg="mod">
          <ac:chgData name="Bishal Ganguly2" userId="d759f705-629c-4441-b705-ea2fdbd522aa" providerId="ADAL" clId="{44CB5224-51B6-481C-9677-C70530AFE879}" dt="2025-10-23T01:29:23.571" v="374" actId="947"/>
          <ac:spMkLst>
            <pc:docMk/>
            <pc:sldMk cId="479191838" sldId="256"/>
            <ac:spMk id="106" creationId="{0B509C48-E391-7DD9-18FC-A05F386F8744}"/>
          </ac:spMkLst>
        </pc:spChg>
        <pc:spChg chg="mod">
          <ac:chgData name="Bishal Ganguly2" userId="d759f705-629c-4441-b705-ea2fdbd522aa" providerId="ADAL" clId="{44CB5224-51B6-481C-9677-C70530AFE879}" dt="2025-10-23T01:29:23.569" v="372"/>
          <ac:spMkLst>
            <pc:docMk/>
            <pc:sldMk cId="479191838" sldId="256"/>
            <ac:spMk id="107" creationId="{DC5B6ED8-428D-36C1-1DC4-200A6D98BC10}"/>
          </ac:spMkLst>
        </pc:spChg>
        <pc:spChg chg="mod">
          <ac:chgData name="Bishal Ganguly2" userId="d759f705-629c-4441-b705-ea2fdbd522aa" providerId="ADAL" clId="{44CB5224-51B6-481C-9677-C70530AFE879}" dt="2025-10-23T01:29:23.566" v="370"/>
          <ac:spMkLst>
            <pc:docMk/>
            <pc:sldMk cId="479191838" sldId="256"/>
            <ac:spMk id="108" creationId="{34E919FD-CDC4-8646-024C-C48496A21774}"/>
          </ac:spMkLst>
        </pc:spChg>
        <pc:spChg chg="mod">
          <ac:chgData name="Bishal Ganguly2" userId="d759f705-629c-4441-b705-ea2fdbd522aa" providerId="ADAL" clId="{44CB5224-51B6-481C-9677-C70530AFE879}" dt="2025-10-23T01:29:23.228" v="39" actId="947"/>
          <ac:spMkLst>
            <pc:docMk/>
            <pc:sldMk cId="479191838" sldId="256"/>
            <ac:spMk id="110" creationId="{91B9DC64-EEDD-061F-06B1-261270AF3FD5}"/>
          </ac:spMkLst>
        </pc:spChg>
        <pc:spChg chg="mod">
          <ac:chgData name="Bishal Ganguly2" userId="d759f705-629c-4441-b705-ea2fdbd522aa" providerId="ADAL" clId="{44CB5224-51B6-481C-9677-C70530AFE879}" dt="2025-10-23T01:29:23.228" v="37"/>
          <ac:spMkLst>
            <pc:docMk/>
            <pc:sldMk cId="479191838" sldId="256"/>
            <ac:spMk id="111" creationId="{8FEAAF65-E189-2E57-6B23-F61E632FE3D9}"/>
          </ac:spMkLst>
        </pc:spChg>
        <pc:spChg chg="mod">
          <ac:chgData name="Bishal Ganguly2" userId="d759f705-629c-4441-b705-ea2fdbd522aa" providerId="ADAL" clId="{44CB5224-51B6-481C-9677-C70530AFE879}" dt="2025-10-23T01:29:23.228" v="35"/>
          <ac:spMkLst>
            <pc:docMk/>
            <pc:sldMk cId="479191838" sldId="256"/>
            <ac:spMk id="112" creationId="{2FCEF942-6DAB-DF90-C952-5BE6D146E0DE}"/>
          </ac:spMkLst>
        </pc:spChg>
        <pc:spChg chg="mod">
          <ac:chgData name="Bishal Ganguly2" userId="d759f705-629c-4441-b705-ea2fdbd522aa" providerId="ADAL" clId="{44CB5224-51B6-481C-9677-C70530AFE879}" dt="2025-10-23T01:29:23.564" v="368"/>
          <ac:spMkLst>
            <pc:docMk/>
            <pc:sldMk cId="479191838" sldId="256"/>
            <ac:spMk id="116" creationId="{20F093EC-36DA-F972-A1E5-D77B8D4FFEEB}"/>
          </ac:spMkLst>
        </pc:spChg>
        <pc:spChg chg="mod">
          <ac:chgData name="Bishal Ganguly2" userId="d759f705-629c-4441-b705-ea2fdbd522aa" providerId="ADAL" clId="{44CB5224-51B6-481C-9677-C70530AFE879}" dt="2025-10-23T01:29:23.392" v="167" actId="947"/>
          <ac:spMkLst>
            <pc:docMk/>
            <pc:sldMk cId="479191838" sldId="256"/>
            <ac:spMk id="122" creationId="{5ED6DE99-5BE1-D3FB-E96A-A3971F9E3498}"/>
          </ac:spMkLst>
        </pc:spChg>
        <pc:spChg chg="mod">
          <ac:chgData name="Bishal Ganguly2" userId="d759f705-629c-4441-b705-ea2fdbd522aa" providerId="ADAL" clId="{44CB5224-51B6-481C-9677-C70530AFE879}" dt="2025-10-23T01:29:23.394" v="169" actId="947"/>
          <ac:spMkLst>
            <pc:docMk/>
            <pc:sldMk cId="479191838" sldId="256"/>
            <ac:spMk id="123" creationId="{8B4C8EBA-24E1-B038-41C5-7873C4A14403}"/>
          </ac:spMkLst>
        </pc:spChg>
        <pc:spChg chg="mod">
          <ac:chgData name="Bishal Ganguly2" userId="d759f705-629c-4441-b705-ea2fdbd522aa" providerId="ADAL" clId="{44CB5224-51B6-481C-9677-C70530AFE879}" dt="2025-10-23T01:29:23.395" v="171" actId="947"/>
          <ac:spMkLst>
            <pc:docMk/>
            <pc:sldMk cId="479191838" sldId="256"/>
            <ac:spMk id="128" creationId="{9521B6D1-B892-35FE-2AA1-CD981260385C}"/>
          </ac:spMkLst>
        </pc:spChg>
        <pc:spChg chg="mod">
          <ac:chgData name="Bishal Ganguly2" userId="d759f705-629c-4441-b705-ea2fdbd522aa" providerId="ADAL" clId="{44CB5224-51B6-481C-9677-C70530AFE879}" dt="2025-10-23T01:29:23.397" v="173" actId="947"/>
          <ac:spMkLst>
            <pc:docMk/>
            <pc:sldMk cId="479191838" sldId="256"/>
            <ac:spMk id="129" creationId="{8FC357C4-7580-6971-BBFB-A092B7B7B315}"/>
          </ac:spMkLst>
        </pc:spChg>
        <pc:spChg chg="mod">
          <ac:chgData name="Bishal Ganguly2" userId="d759f705-629c-4441-b705-ea2fdbd522aa" providerId="ADAL" clId="{44CB5224-51B6-481C-9677-C70530AFE879}" dt="2025-10-23T01:29:23.397" v="175" actId="947"/>
          <ac:spMkLst>
            <pc:docMk/>
            <pc:sldMk cId="479191838" sldId="256"/>
            <ac:spMk id="131" creationId="{6FD822C5-54EC-AEEE-C6A5-6E709CA29129}"/>
          </ac:spMkLst>
        </pc:spChg>
        <pc:spChg chg="mod">
          <ac:chgData name="Bishal Ganguly2" userId="d759f705-629c-4441-b705-ea2fdbd522aa" providerId="ADAL" clId="{44CB5224-51B6-481C-9677-C70530AFE879}" dt="2025-10-23T01:29:23.564" v="366"/>
          <ac:spMkLst>
            <pc:docMk/>
            <pc:sldMk cId="479191838" sldId="256"/>
            <ac:spMk id="132" creationId="{889695E6-6283-9403-DEAD-35C7C8D41CE8}"/>
          </ac:spMkLst>
        </pc:spChg>
        <pc:spChg chg="mod">
          <ac:chgData name="Bishal Ganguly2" userId="d759f705-629c-4441-b705-ea2fdbd522aa" providerId="ADAL" clId="{44CB5224-51B6-481C-9677-C70530AFE879}" dt="2025-10-23T01:29:23.399" v="177" actId="947"/>
          <ac:spMkLst>
            <pc:docMk/>
            <pc:sldMk cId="479191838" sldId="256"/>
            <ac:spMk id="133" creationId="{BD467252-7E03-031D-11F3-316F5FD0C06B}"/>
          </ac:spMkLst>
        </pc:spChg>
        <pc:spChg chg="mod">
          <ac:chgData name="Bishal Ganguly2" userId="d759f705-629c-4441-b705-ea2fdbd522aa" providerId="ADAL" clId="{44CB5224-51B6-481C-9677-C70530AFE879}" dt="2025-10-23T01:29:23.401" v="179" actId="947"/>
          <ac:spMkLst>
            <pc:docMk/>
            <pc:sldMk cId="479191838" sldId="256"/>
            <ac:spMk id="134" creationId="{9F8079B2-6E08-87A1-5B22-7F05BCC92C0B}"/>
          </ac:spMkLst>
        </pc:spChg>
        <pc:spChg chg="mod">
          <ac:chgData name="Bishal Ganguly2" userId="d759f705-629c-4441-b705-ea2fdbd522aa" providerId="ADAL" clId="{44CB5224-51B6-481C-9677-C70530AFE879}" dt="2025-10-23T01:29:23.501" v="299" actId="947"/>
          <ac:spMkLst>
            <pc:docMk/>
            <pc:sldMk cId="479191838" sldId="256"/>
            <ac:spMk id="135" creationId="{44815B65-0A84-4F94-6A1A-9189B0044C26}"/>
          </ac:spMkLst>
        </pc:spChg>
        <pc:spChg chg="mod">
          <ac:chgData name="Bishal Ganguly2" userId="d759f705-629c-4441-b705-ea2fdbd522aa" providerId="ADAL" clId="{44CB5224-51B6-481C-9677-C70530AFE879}" dt="2025-10-23T01:29:23.403" v="181" actId="947"/>
          <ac:spMkLst>
            <pc:docMk/>
            <pc:sldMk cId="479191838" sldId="256"/>
            <ac:spMk id="136" creationId="{6BCE86C4-9080-A68C-E276-EB6C81A686E9}"/>
          </ac:spMkLst>
        </pc:spChg>
        <pc:spChg chg="mod">
          <ac:chgData name="Bishal Ganguly2" userId="d759f705-629c-4441-b705-ea2fdbd522aa" providerId="ADAL" clId="{44CB5224-51B6-481C-9677-C70530AFE879}" dt="2025-10-23T01:29:23.403" v="183" actId="947"/>
          <ac:spMkLst>
            <pc:docMk/>
            <pc:sldMk cId="479191838" sldId="256"/>
            <ac:spMk id="137" creationId="{60F82661-2F4A-E1A2-F2DE-39EB93152F1A}"/>
          </ac:spMkLst>
        </pc:spChg>
        <pc:spChg chg="mod">
          <ac:chgData name="Bishal Ganguly2" userId="d759f705-629c-4441-b705-ea2fdbd522aa" providerId="ADAL" clId="{44CB5224-51B6-481C-9677-C70530AFE879}" dt="2025-10-23T01:29:23.405" v="185" actId="947"/>
          <ac:spMkLst>
            <pc:docMk/>
            <pc:sldMk cId="479191838" sldId="256"/>
            <ac:spMk id="138" creationId="{9F0AB795-5949-9706-7BE3-6AB9E20D23B7}"/>
          </ac:spMkLst>
        </pc:spChg>
        <pc:spChg chg="mod">
          <ac:chgData name="Bishal Ganguly2" userId="d759f705-629c-4441-b705-ea2fdbd522aa" providerId="ADAL" clId="{44CB5224-51B6-481C-9677-C70530AFE879}" dt="2025-10-23T01:29:23.407" v="187" actId="947"/>
          <ac:spMkLst>
            <pc:docMk/>
            <pc:sldMk cId="479191838" sldId="256"/>
            <ac:spMk id="139" creationId="{2358BB32-9FC5-11B3-3768-F56C62605062}"/>
          </ac:spMkLst>
        </pc:spChg>
        <pc:spChg chg="mod">
          <ac:chgData name="Bishal Ganguly2" userId="d759f705-629c-4441-b705-ea2fdbd522aa" providerId="ADAL" clId="{44CB5224-51B6-481C-9677-C70530AFE879}" dt="2025-10-23T01:29:23.409" v="189" actId="947"/>
          <ac:spMkLst>
            <pc:docMk/>
            <pc:sldMk cId="479191838" sldId="256"/>
            <ac:spMk id="140" creationId="{8D302A16-5451-B941-3C85-A66D86440E03}"/>
          </ac:spMkLst>
        </pc:spChg>
        <pc:spChg chg="mod">
          <ac:chgData name="Bishal Ganguly2" userId="d759f705-629c-4441-b705-ea2fdbd522aa" providerId="ADAL" clId="{44CB5224-51B6-481C-9677-C70530AFE879}" dt="2025-10-23T01:29:23.409" v="191" actId="947"/>
          <ac:spMkLst>
            <pc:docMk/>
            <pc:sldMk cId="479191838" sldId="256"/>
            <ac:spMk id="141" creationId="{2A3A623E-0F34-556B-D623-44A2B3FD89F6}"/>
          </ac:spMkLst>
        </pc:spChg>
        <pc:spChg chg="mod">
          <ac:chgData name="Bishal Ganguly2" userId="d759f705-629c-4441-b705-ea2fdbd522aa" providerId="ADAL" clId="{44CB5224-51B6-481C-9677-C70530AFE879}" dt="2025-10-23T01:29:23.411" v="193" actId="947"/>
          <ac:spMkLst>
            <pc:docMk/>
            <pc:sldMk cId="479191838" sldId="256"/>
            <ac:spMk id="142" creationId="{6089ABE8-A869-3014-8740-00A3DB1EAB16}"/>
          </ac:spMkLst>
        </pc:spChg>
        <pc:spChg chg="mod">
          <ac:chgData name="Bishal Ganguly2" userId="d759f705-629c-4441-b705-ea2fdbd522aa" providerId="ADAL" clId="{44CB5224-51B6-481C-9677-C70530AFE879}" dt="2025-10-23T01:29:23.413" v="195" actId="947"/>
          <ac:spMkLst>
            <pc:docMk/>
            <pc:sldMk cId="479191838" sldId="256"/>
            <ac:spMk id="143" creationId="{5EAAF2B9-8FE2-FF28-9FC2-9F7F9813E713}"/>
          </ac:spMkLst>
        </pc:spChg>
        <pc:spChg chg="mod">
          <ac:chgData name="Bishal Ganguly2" userId="d759f705-629c-4441-b705-ea2fdbd522aa" providerId="ADAL" clId="{44CB5224-51B6-481C-9677-C70530AFE879}" dt="2025-10-23T01:29:23.415" v="197" actId="947"/>
          <ac:spMkLst>
            <pc:docMk/>
            <pc:sldMk cId="479191838" sldId="256"/>
            <ac:spMk id="144" creationId="{C335EEC2-81B0-4629-E916-9C32F9DDF9B5}"/>
          </ac:spMkLst>
        </pc:spChg>
        <pc:spChg chg="mod">
          <ac:chgData name="Bishal Ganguly2" userId="d759f705-629c-4441-b705-ea2fdbd522aa" providerId="ADAL" clId="{44CB5224-51B6-481C-9677-C70530AFE879}" dt="2025-10-23T01:29:23.417" v="199" actId="947"/>
          <ac:spMkLst>
            <pc:docMk/>
            <pc:sldMk cId="479191838" sldId="256"/>
            <ac:spMk id="145" creationId="{116741D9-0AFA-6E33-AE63-CDF58DE73790}"/>
          </ac:spMkLst>
        </pc:spChg>
        <pc:spChg chg="mod">
          <ac:chgData name="Bishal Ganguly2" userId="d759f705-629c-4441-b705-ea2fdbd522aa" providerId="ADAL" clId="{44CB5224-51B6-481C-9677-C70530AFE879}" dt="2025-10-23T01:29:23.417" v="201" actId="947"/>
          <ac:spMkLst>
            <pc:docMk/>
            <pc:sldMk cId="479191838" sldId="256"/>
            <ac:spMk id="146" creationId="{A90A95AE-BE1B-3787-5DE4-1CF620BCC059}"/>
          </ac:spMkLst>
        </pc:spChg>
        <pc:spChg chg="mod">
          <ac:chgData name="Bishal Ganguly2" userId="d759f705-629c-4441-b705-ea2fdbd522aa" providerId="ADAL" clId="{44CB5224-51B6-481C-9677-C70530AFE879}" dt="2025-10-23T01:29:23.419" v="203" actId="947"/>
          <ac:spMkLst>
            <pc:docMk/>
            <pc:sldMk cId="479191838" sldId="256"/>
            <ac:spMk id="147" creationId="{E9E77ADC-3377-D189-CDC7-3E9705552A1E}"/>
          </ac:spMkLst>
        </pc:spChg>
        <pc:spChg chg="mod">
          <ac:chgData name="Bishal Ganguly2" userId="d759f705-629c-4441-b705-ea2fdbd522aa" providerId="ADAL" clId="{44CB5224-51B6-481C-9677-C70530AFE879}" dt="2025-10-23T01:29:23.421" v="205" actId="947"/>
          <ac:spMkLst>
            <pc:docMk/>
            <pc:sldMk cId="479191838" sldId="256"/>
            <ac:spMk id="148" creationId="{BFC0EBB5-93A4-D2EB-61A0-F7FBCFAC5305}"/>
          </ac:spMkLst>
        </pc:spChg>
        <pc:spChg chg="mod">
          <ac:chgData name="Bishal Ganguly2" userId="d759f705-629c-4441-b705-ea2fdbd522aa" providerId="ADAL" clId="{44CB5224-51B6-481C-9677-C70530AFE879}" dt="2025-10-23T01:29:23.423" v="207" actId="947"/>
          <ac:spMkLst>
            <pc:docMk/>
            <pc:sldMk cId="479191838" sldId="256"/>
            <ac:spMk id="149" creationId="{9C64D31E-8D44-3DD8-B938-A855BFC5D13A}"/>
          </ac:spMkLst>
        </pc:spChg>
        <pc:spChg chg="mod">
          <ac:chgData name="Bishal Ganguly2" userId="d759f705-629c-4441-b705-ea2fdbd522aa" providerId="ADAL" clId="{44CB5224-51B6-481C-9677-C70530AFE879}" dt="2025-10-23T01:29:23.423" v="209" actId="947"/>
          <ac:spMkLst>
            <pc:docMk/>
            <pc:sldMk cId="479191838" sldId="256"/>
            <ac:spMk id="150" creationId="{7D554212-DE14-CEED-0DDE-C7278006FE22}"/>
          </ac:spMkLst>
        </pc:spChg>
        <pc:spChg chg="mod">
          <ac:chgData name="Bishal Ganguly2" userId="d759f705-629c-4441-b705-ea2fdbd522aa" providerId="ADAL" clId="{44CB5224-51B6-481C-9677-C70530AFE879}" dt="2025-10-23T01:29:23.425" v="211" actId="947"/>
          <ac:spMkLst>
            <pc:docMk/>
            <pc:sldMk cId="479191838" sldId="256"/>
            <ac:spMk id="151" creationId="{95ADE053-6FD0-C12D-3F2C-1EBDF9DEF7C6}"/>
          </ac:spMkLst>
        </pc:spChg>
        <pc:spChg chg="mod">
          <ac:chgData name="Bishal Ganguly2" userId="d759f705-629c-4441-b705-ea2fdbd522aa" providerId="ADAL" clId="{44CB5224-51B6-481C-9677-C70530AFE879}" dt="2025-10-23T01:29:23.427" v="213" actId="947"/>
          <ac:spMkLst>
            <pc:docMk/>
            <pc:sldMk cId="479191838" sldId="256"/>
            <ac:spMk id="152" creationId="{DD956A38-7233-CDF1-601F-EFCE64E2B8D2}"/>
          </ac:spMkLst>
        </pc:spChg>
        <pc:spChg chg="mod">
          <ac:chgData name="Bishal Ganguly2" userId="d759f705-629c-4441-b705-ea2fdbd522aa" providerId="ADAL" clId="{44CB5224-51B6-481C-9677-C70530AFE879}" dt="2025-10-23T01:29:23.427" v="215" actId="947"/>
          <ac:spMkLst>
            <pc:docMk/>
            <pc:sldMk cId="479191838" sldId="256"/>
            <ac:spMk id="153" creationId="{2CCA1979-2C72-A07D-46EA-21741CE5B795}"/>
          </ac:spMkLst>
        </pc:spChg>
        <pc:spChg chg="mod">
          <ac:chgData name="Bishal Ganguly2" userId="d759f705-629c-4441-b705-ea2fdbd522aa" providerId="ADAL" clId="{44CB5224-51B6-481C-9677-C70530AFE879}" dt="2025-10-23T01:29:23.427" v="217" actId="947"/>
          <ac:spMkLst>
            <pc:docMk/>
            <pc:sldMk cId="479191838" sldId="256"/>
            <ac:spMk id="154" creationId="{37860FF1-564E-1A25-9370-2ACD5FB7FB41}"/>
          </ac:spMkLst>
        </pc:spChg>
        <pc:spChg chg="mod">
          <ac:chgData name="Bishal Ganguly2" userId="d759f705-629c-4441-b705-ea2fdbd522aa" providerId="ADAL" clId="{44CB5224-51B6-481C-9677-C70530AFE879}" dt="2025-10-23T01:29:23.558" v="363"/>
          <ac:spMkLst>
            <pc:docMk/>
            <pc:sldMk cId="479191838" sldId="256"/>
            <ac:spMk id="155" creationId="{C46605F2-BFBF-E1F5-0B13-059CC2D3EC09}"/>
          </ac:spMkLst>
        </pc:spChg>
        <pc:spChg chg="mod">
          <ac:chgData name="Bishal Ganguly2" userId="d759f705-629c-4441-b705-ea2fdbd522aa" providerId="ADAL" clId="{44CB5224-51B6-481C-9677-C70530AFE879}" dt="2025-10-23T01:29:23.546" v="351" actId="947"/>
          <ac:spMkLst>
            <pc:docMk/>
            <pc:sldMk cId="479191838" sldId="256"/>
            <ac:spMk id="156" creationId="{8B35ECAB-1B2C-A8C8-49D8-584C20B76EB1}"/>
          </ac:spMkLst>
        </pc:spChg>
        <pc:spChg chg="mod">
          <ac:chgData name="Bishal Ganguly2" userId="d759f705-629c-4441-b705-ea2fdbd522aa" providerId="ADAL" clId="{44CB5224-51B6-481C-9677-C70530AFE879}" dt="2025-10-23T01:29:23.542" v="347" actId="947"/>
          <ac:spMkLst>
            <pc:docMk/>
            <pc:sldMk cId="479191838" sldId="256"/>
            <ac:spMk id="157" creationId="{D614F04F-88EA-EE23-9BF1-9281EADAE32A}"/>
          </ac:spMkLst>
        </pc:spChg>
        <pc:spChg chg="mod">
          <ac:chgData name="Bishal Ganguly2" userId="d759f705-629c-4441-b705-ea2fdbd522aa" providerId="ADAL" clId="{44CB5224-51B6-481C-9677-C70530AFE879}" dt="2025-10-23T01:29:23.534" v="339" actId="947"/>
          <ac:spMkLst>
            <pc:docMk/>
            <pc:sldMk cId="479191838" sldId="256"/>
            <ac:spMk id="158" creationId="{9F263B31-53DD-A2FB-5E88-73E2D6A98D07}"/>
          </ac:spMkLst>
        </pc:spChg>
        <pc:spChg chg="mod">
          <ac:chgData name="Bishal Ganguly2" userId="d759f705-629c-4441-b705-ea2fdbd522aa" providerId="ADAL" clId="{44CB5224-51B6-481C-9677-C70530AFE879}" dt="2025-10-23T01:29:23.538" v="343" actId="947"/>
          <ac:spMkLst>
            <pc:docMk/>
            <pc:sldMk cId="479191838" sldId="256"/>
            <ac:spMk id="159" creationId="{34926A56-D8DF-AFEA-9E12-81176C3D5069}"/>
          </ac:spMkLst>
        </pc:spChg>
        <pc:spChg chg="mod">
          <ac:chgData name="Bishal Ganguly2" userId="d759f705-629c-4441-b705-ea2fdbd522aa" providerId="ADAL" clId="{44CB5224-51B6-481C-9677-C70530AFE879}" dt="2025-10-23T01:29:23.210" v="15"/>
          <ac:spMkLst>
            <pc:docMk/>
            <pc:sldMk cId="479191838" sldId="256"/>
            <ac:spMk id="160" creationId="{3AC39311-71A2-2B4E-80FD-0FAC7F9634B1}"/>
          </ac:spMkLst>
        </pc:spChg>
        <pc:spChg chg="mod">
          <ac:chgData name="Bishal Ganguly2" userId="d759f705-629c-4441-b705-ea2fdbd522aa" providerId="ADAL" clId="{44CB5224-51B6-481C-9677-C70530AFE879}" dt="2025-10-23T01:29:23.216" v="17"/>
          <ac:spMkLst>
            <pc:docMk/>
            <pc:sldMk cId="479191838" sldId="256"/>
            <ac:spMk id="161" creationId="{DAB11C35-ADEB-D155-C346-9C329AA624E4}"/>
          </ac:spMkLst>
        </pc:spChg>
        <pc:spChg chg="mod">
          <ac:chgData name="Bishal Ganguly2" userId="d759f705-629c-4441-b705-ea2fdbd522aa" providerId="ADAL" clId="{44CB5224-51B6-481C-9677-C70530AFE879}" dt="2025-10-23T01:29:23.208" v="13" actId="947"/>
          <ac:spMkLst>
            <pc:docMk/>
            <pc:sldMk cId="479191838" sldId="256"/>
            <ac:spMk id="162" creationId="{B588E021-4520-721F-CC71-59A62ADC0E8A}"/>
          </ac:spMkLst>
        </pc:spChg>
        <pc:spChg chg="mod">
          <ac:chgData name="Bishal Ganguly2" userId="d759f705-629c-4441-b705-ea2fdbd522aa" providerId="ADAL" clId="{44CB5224-51B6-481C-9677-C70530AFE879}" dt="2025-10-23T01:29:23.557" v="361"/>
          <ac:spMkLst>
            <pc:docMk/>
            <pc:sldMk cId="479191838" sldId="256"/>
            <ac:spMk id="163" creationId="{6E995534-C1B6-ED98-9A66-3862B64D9ADC}"/>
          </ac:spMkLst>
        </pc:spChg>
        <pc:spChg chg="mod">
          <ac:chgData name="Bishal Ganguly2" userId="d759f705-629c-4441-b705-ea2fdbd522aa" providerId="ADAL" clId="{44CB5224-51B6-481C-9677-C70530AFE879}" dt="2025-10-23T01:29:23.647" v="472"/>
          <ac:spMkLst>
            <pc:docMk/>
            <pc:sldMk cId="479191838" sldId="256"/>
            <ac:spMk id="169" creationId="{0B97D7C5-C4D1-3879-4C36-DFB023AA1A95}"/>
          </ac:spMkLst>
        </pc:spChg>
        <pc:spChg chg="mod">
          <ac:chgData name="Bishal Ganguly2" userId="d759f705-629c-4441-b705-ea2fdbd522aa" providerId="ADAL" clId="{44CB5224-51B6-481C-9677-C70530AFE879}" dt="2025-10-23T01:29:23.663" v="488"/>
          <ac:spMkLst>
            <pc:docMk/>
            <pc:sldMk cId="479191838" sldId="256"/>
            <ac:spMk id="182" creationId="{F57532AE-D11F-BA78-FC98-C3173160D698}"/>
          </ac:spMkLst>
        </pc:spChg>
        <pc:spChg chg="mod">
          <ac:chgData name="Bishal Ganguly2" userId="d759f705-629c-4441-b705-ea2fdbd522aa" providerId="ADAL" clId="{44CB5224-51B6-481C-9677-C70530AFE879}" dt="2025-10-23T01:29:23.663" v="486"/>
          <ac:spMkLst>
            <pc:docMk/>
            <pc:sldMk cId="479191838" sldId="256"/>
            <ac:spMk id="183" creationId="{56BD38F6-E9E4-3FFF-764D-9A797E89A6D1}"/>
          </ac:spMkLst>
        </pc:spChg>
        <pc:spChg chg="mod">
          <ac:chgData name="Bishal Ganguly2" userId="d759f705-629c-4441-b705-ea2fdbd522aa" providerId="ADAL" clId="{44CB5224-51B6-481C-9677-C70530AFE879}" dt="2025-10-23T01:29:23.663" v="484"/>
          <ac:spMkLst>
            <pc:docMk/>
            <pc:sldMk cId="479191838" sldId="256"/>
            <ac:spMk id="184" creationId="{9494BD00-B874-BD05-7333-C7A84D8740F5}"/>
          </ac:spMkLst>
        </pc:spChg>
        <pc:spChg chg="mod">
          <ac:chgData name="Bishal Ganguly2" userId="d759f705-629c-4441-b705-ea2fdbd522aa" providerId="ADAL" clId="{44CB5224-51B6-481C-9677-C70530AFE879}" dt="2025-10-23T01:29:23.663" v="482"/>
          <ac:spMkLst>
            <pc:docMk/>
            <pc:sldMk cId="479191838" sldId="256"/>
            <ac:spMk id="186" creationId="{1D01AC36-BF10-E766-5A77-1287C141C81D}"/>
          </ac:spMkLst>
        </pc:spChg>
        <pc:spChg chg="mod">
          <ac:chgData name="Bishal Ganguly2" userId="d759f705-629c-4441-b705-ea2fdbd522aa" providerId="ADAL" clId="{44CB5224-51B6-481C-9677-C70530AFE879}" dt="2025-10-23T01:29:23.663" v="480"/>
          <ac:spMkLst>
            <pc:docMk/>
            <pc:sldMk cId="479191838" sldId="256"/>
            <ac:spMk id="188" creationId="{FB1FC810-F6BB-CB02-213F-C49C5346C762}"/>
          </ac:spMkLst>
        </pc:spChg>
        <pc:spChg chg="mod">
          <ac:chgData name="Bishal Ganguly2" userId="d759f705-629c-4441-b705-ea2fdbd522aa" providerId="ADAL" clId="{44CB5224-51B6-481C-9677-C70530AFE879}" dt="2025-10-23T01:29:23.680" v="498"/>
          <ac:spMkLst>
            <pc:docMk/>
            <pc:sldMk cId="479191838" sldId="256"/>
            <ac:spMk id="198" creationId="{F73C1388-B823-89F6-408B-E3DCC5025586}"/>
          </ac:spMkLst>
        </pc:spChg>
        <pc:spChg chg="mod">
          <ac:chgData name="Bishal Ganguly2" userId="d759f705-629c-4441-b705-ea2fdbd522aa" providerId="ADAL" clId="{44CB5224-51B6-481C-9677-C70530AFE879}" dt="2025-10-23T01:29:23.680" v="496"/>
          <ac:spMkLst>
            <pc:docMk/>
            <pc:sldMk cId="479191838" sldId="256"/>
            <ac:spMk id="199" creationId="{4EFD25B8-2553-8193-923D-ED20CFB759D1}"/>
          </ac:spMkLst>
        </pc:spChg>
        <pc:spChg chg="mod">
          <ac:chgData name="Bishal Ganguly2" userId="d759f705-629c-4441-b705-ea2fdbd522aa" providerId="ADAL" clId="{44CB5224-51B6-481C-9677-C70530AFE879}" dt="2025-10-23T01:29:23.228" v="33" actId="947"/>
          <ac:spMkLst>
            <pc:docMk/>
            <pc:sldMk cId="479191838" sldId="256"/>
            <ac:spMk id="200" creationId="{D162A755-70B5-9720-D160-02185DA4B539}"/>
          </ac:spMkLst>
        </pc:spChg>
        <pc:spChg chg="mod">
          <ac:chgData name="Bishal Ganguly2" userId="d759f705-629c-4441-b705-ea2fdbd522aa" providerId="ADAL" clId="{44CB5224-51B6-481C-9677-C70530AFE879}" dt="2025-10-23T01:29:23.228" v="31" actId="947"/>
          <ac:spMkLst>
            <pc:docMk/>
            <pc:sldMk cId="479191838" sldId="256"/>
            <ac:spMk id="201" creationId="{3245ED82-2C97-5D26-F34A-540FBC629EC8}"/>
          </ac:spMkLst>
        </pc:spChg>
        <pc:spChg chg="mod">
          <ac:chgData name="Bishal Ganguly2" userId="d759f705-629c-4441-b705-ea2fdbd522aa" providerId="ADAL" clId="{44CB5224-51B6-481C-9677-C70530AFE879}" dt="2025-10-23T01:29:23.680" v="494"/>
          <ac:spMkLst>
            <pc:docMk/>
            <pc:sldMk cId="479191838" sldId="256"/>
            <ac:spMk id="202" creationId="{1BE78383-8492-50B9-80CC-5B2BB2D07D47}"/>
          </ac:spMkLst>
        </pc:spChg>
        <pc:spChg chg="mod">
          <ac:chgData name="Bishal Ganguly2" userId="d759f705-629c-4441-b705-ea2fdbd522aa" providerId="ADAL" clId="{44CB5224-51B6-481C-9677-C70530AFE879}" dt="2025-10-23T01:29:23.663" v="492"/>
          <ac:spMkLst>
            <pc:docMk/>
            <pc:sldMk cId="479191838" sldId="256"/>
            <ac:spMk id="204" creationId="{79416FE1-E5CE-1D10-D3CE-C6264706681F}"/>
          </ac:spMkLst>
        </pc:spChg>
        <pc:spChg chg="mod">
          <ac:chgData name="Bishal Ganguly2" userId="d759f705-629c-4441-b705-ea2fdbd522aa" providerId="ADAL" clId="{44CB5224-51B6-481C-9677-C70530AFE879}" dt="2025-10-23T01:29:23.663" v="490"/>
          <ac:spMkLst>
            <pc:docMk/>
            <pc:sldMk cId="479191838" sldId="256"/>
            <ac:spMk id="206" creationId="{73800B2B-FAC2-A4DB-8C16-E53CB8DAE95E}"/>
          </ac:spMkLst>
        </pc:spChg>
        <pc:spChg chg="mod">
          <ac:chgData name="Bishal Ganguly2" userId="d759f705-629c-4441-b705-ea2fdbd522aa" providerId="ADAL" clId="{44CB5224-51B6-481C-9677-C70530AFE879}" dt="2025-10-23T01:29:23.490" v="289" actId="947"/>
          <ac:spMkLst>
            <pc:docMk/>
            <pc:sldMk cId="479191838" sldId="256"/>
            <ac:spMk id="209" creationId="{EE9D55EB-E6F2-5076-5780-326AD1E12ABA}"/>
          </ac:spMkLst>
        </pc:spChg>
        <pc:spChg chg="mod">
          <ac:chgData name="Bishal Ganguly2" userId="d759f705-629c-4441-b705-ea2fdbd522aa" providerId="ADAL" clId="{44CB5224-51B6-481C-9677-C70530AFE879}" dt="2025-10-23T01:29:23.227" v="29" actId="947"/>
          <ac:spMkLst>
            <pc:docMk/>
            <pc:sldMk cId="479191838" sldId="256"/>
            <ac:spMk id="210" creationId="{396BA320-1117-4A98-DC4E-910046C07DEC}"/>
          </ac:spMkLst>
        </pc:spChg>
        <pc:spChg chg="mod">
          <ac:chgData name="Bishal Ganguly2" userId="d759f705-629c-4441-b705-ea2fdbd522aa" providerId="ADAL" clId="{44CB5224-51B6-481C-9677-C70530AFE879}" dt="2025-10-23T01:29:23.221" v="27"/>
          <ac:spMkLst>
            <pc:docMk/>
            <pc:sldMk cId="479191838" sldId="256"/>
            <ac:spMk id="211" creationId="{4AC444C2-6BAC-6D16-1E80-1C56614E334B}"/>
          </ac:spMkLst>
        </pc:spChg>
        <pc:spChg chg="mod">
          <ac:chgData name="Bishal Ganguly2" userId="d759f705-629c-4441-b705-ea2fdbd522aa" providerId="ADAL" clId="{44CB5224-51B6-481C-9677-C70530AFE879}" dt="2025-10-23T01:29:23.462" v="259" actId="947"/>
          <ac:spMkLst>
            <pc:docMk/>
            <pc:sldMk cId="479191838" sldId="256"/>
            <ac:spMk id="212" creationId="{583C3C43-02C4-0D31-B1D1-ADA370610192}"/>
          </ac:spMkLst>
        </pc:spChg>
        <pc:spChg chg="mod">
          <ac:chgData name="Bishal Ganguly2" userId="d759f705-629c-4441-b705-ea2fdbd522aa" providerId="ADAL" clId="{44CB5224-51B6-481C-9677-C70530AFE879}" dt="2025-10-23T01:29:23.462" v="261" actId="947"/>
          <ac:spMkLst>
            <pc:docMk/>
            <pc:sldMk cId="479191838" sldId="256"/>
            <ac:spMk id="213" creationId="{044EAB49-682F-DE40-F7A4-9A756E5C9924}"/>
          </ac:spMkLst>
        </pc:spChg>
        <pc:spChg chg="mod">
          <ac:chgData name="Bishal Ganguly2" userId="d759f705-629c-4441-b705-ea2fdbd522aa" providerId="ADAL" clId="{44CB5224-51B6-481C-9677-C70530AFE879}" dt="2025-10-23T01:29:23.221" v="25"/>
          <ac:spMkLst>
            <pc:docMk/>
            <pc:sldMk cId="479191838" sldId="256"/>
            <ac:spMk id="214" creationId="{98A649AE-DE43-D422-7E93-5CE52A231E0C}"/>
          </ac:spMkLst>
        </pc:spChg>
        <pc:spChg chg="mod">
          <ac:chgData name="Bishal Ganguly2" userId="d759f705-629c-4441-b705-ea2fdbd522aa" providerId="ADAL" clId="{44CB5224-51B6-481C-9677-C70530AFE879}" dt="2025-10-23T01:29:23.496" v="293" actId="947"/>
          <ac:spMkLst>
            <pc:docMk/>
            <pc:sldMk cId="479191838" sldId="256"/>
            <ac:spMk id="216" creationId="{BB981A28-FE71-6D08-9017-02C389B342FC}"/>
          </ac:spMkLst>
        </pc:spChg>
        <pc:spChg chg="mod">
          <ac:chgData name="Bishal Ganguly2" userId="d759f705-629c-4441-b705-ea2fdbd522aa" providerId="ADAL" clId="{44CB5224-51B6-481C-9677-C70530AFE879}" dt="2025-10-23T01:29:23.496" v="295" actId="947"/>
          <ac:spMkLst>
            <pc:docMk/>
            <pc:sldMk cId="479191838" sldId="256"/>
            <ac:spMk id="217" creationId="{2A56DE2B-0EB6-6132-A888-11C641B6FD98}"/>
          </ac:spMkLst>
        </pc:spChg>
        <pc:spChg chg="mod">
          <ac:chgData name="Bishal Ganguly2" userId="d759f705-629c-4441-b705-ea2fdbd522aa" providerId="ADAL" clId="{44CB5224-51B6-481C-9677-C70530AFE879}" dt="2025-10-23T01:29:23.253" v="61" actId="947"/>
          <ac:spMkLst>
            <pc:docMk/>
            <pc:sldMk cId="479191838" sldId="256"/>
            <ac:spMk id="219" creationId="{9B32DA65-18FF-EA6F-D541-FD1E701C3D5F}"/>
          </ac:spMkLst>
        </pc:spChg>
        <pc:spChg chg="mod">
          <ac:chgData name="Bishal Ganguly2" userId="d759f705-629c-4441-b705-ea2fdbd522aa" providerId="ADAL" clId="{44CB5224-51B6-481C-9677-C70530AFE879}" dt="2025-10-23T01:29:23.253" v="59" actId="947"/>
          <ac:spMkLst>
            <pc:docMk/>
            <pc:sldMk cId="479191838" sldId="256"/>
            <ac:spMk id="220" creationId="{04AA8A5B-E46D-160C-FBB0-B01FB134F8B3}"/>
          </ac:spMkLst>
        </pc:spChg>
        <pc:spChg chg="mod">
          <ac:chgData name="Bishal Ganguly2" userId="d759f705-629c-4441-b705-ea2fdbd522aa" providerId="ADAL" clId="{44CB5224-51B6-481C-9677-C70530AFE879}" dt="2025-10-23T01:29:23.470" v="267"/>
          <ac:spMkLst>
            <pc:docMk/>
            <pc:sldMk cId="479191838" sldId="256"/>
            <ac:spMk id="221" creationId="{FEF14C56-4566-F333-841B-231693C47446}"/>
          </ac:spMkLst>
        </pc:spChg>
        <pc:spChg chg="mod">
          <ac:chgData name="Bishal Ganguly2" userId="d759f705-629c-4441-b705-ea2fdbd522aa" providerId="ADAL" clId="{44CB5224-51B6-481C-9677-C70530AFE879}" dt="2025-10-23T01:29:23.475" v="269" actId="947"/>
          <ac:spMkLst>
            <pc:docMk/>
            <pc:sldMk cId="479191838" sldId="256"/>
            <ac:spMk id="222" creationId="{B2A415C9-F28E-8F9B-D79C-8F4B96735A4F}"/>
          </ac:spMkLst>
        </pc:spChg>
        <pc:spChg chg="mod">
          <ac:chgData name="Bishal Ganguly2" userId="d759f705-629c-4441-b705-ea2fdbd522aa" providerId="ADAL" clId="{44CB5224-51B6-481C-9677-C70530AFE879}" dt="2025-10-23T01:29:23.253" v="57" actId="947"/>
          <ac:spMkLst>
            <pc:docMk/>
            <pc:sldMk cId="479191838" sldId="256"/>
            <ac:spMk id="224" creationId="{CEAD3F1D-46BB-C0FB-BBC4-4682C87885E2}"/>
          </ac:spMkLst>
        </pc:spChg>
        <pc:spChg chg="mod">
          <ac:chgData name="Bishal Ganguly2" userId="d759f705-629c-4441-b705-ea2fdbd522aa" providerId="ADAL" clId="{44CB5224-51B6-481C-9677-C70530AFE879}" dt="2025-10-23T01:29:23.242" v="55"/>
          <ac:spMkLst>
            <pc:docMk/>
            <pc:sldMk cId="479191838" sldId="256"/>
            <ac:spMk id="225" creationId="{538C6BAA-A631-A8F5-13D2-517E25AA22BC}"/>
          </ac:spMkLst>
        </pc:spChg>
        <pc:spChg chg="mod">
          <ac:chgData name="Bishal Ganguly2" userId="d759f705-629c-4441-b705-ea2fdbd522aa" providerId="ADAL" clId="{44CB5224-51B6-481C-9677-C70530AFE879}" dt="2025-10-23T01:29:23.475" v="273" actId="947"/>
          <ac:spMkLst>
            <pc:docMk/>
            <pc:sldMk cId="479191838" sldId="256"/>
            <ac:spMk id="226" creationId="{C5314009-62BF-B606-6D5A-1FC93ECAC803}"/>
          </ac:spMkLst>
        </pc:spChg>
        <pc:spChg chg="mod">
          <ac:chgData name="Bishal Ganguly2" userId="d759f705-629c-4441-b705-ea2fdbd522aa" providerId="ADAL" clId="{44CB5224-51B6-481C-9677-C70530AFE879}" dt="2025-10-23T01:29:23.475" v="275"/>
          <ac:spMkLst>
            <pc:docMk/>
            <pc:sldMk cId="479191838" sldId="256"/>
            <ac:spMk id="227" creationId="{D493AA8F-BC37-6098-E919-E672C5526B74}"/>
          </ac:spMkLst>
        </pc:spChg>
        <pc:spChg chg="mod">
          <ac:chgData name="Bishal Ganguly2" userId="d759f705-629c-4441-b705-ea2fdbd522aa" providerId="ADAL" clId="{44CB5224-51B6-481C-9677-C70530AFE879}" dt="2025-10-23T01:29:23.481" v="277"/>
          <ac:spMkLst>
            <pc:docMk/>
            <pc:sldMk cId="479191838" sldId="256"/>
            <ac:spMk id="228" creationId="{BB62AADB-CCCF-DA8A-3BC9-F4B85DE13AB8}"/>
          </ac:spMkLst>
        </pc:spChg>
        <pc:spChg chg="mod">
          <ac:chgData name="Bishal Ganguly2" userId="d759f705-629c-4441-b705-ea2fdbd522aa" providerId="ADAL" clId="{44CB5224-51B6-481C-9677-C70530AFE879}" dt="2025-10-23T01:29:23.481" v="279"/>
          <ac:spMkLst>
            <pc:docMk/>
            <pc:sldMk cId="479191838" sldId="256"/>
            <ac:spMk id="229" creationId="{C97DCF0A-38CC-B58A-B11D-B7E439FE0171}"/>
          </ac:spMkLst>
        </pc:spChg>
        <pc:spChg chg="mod">
          <ac:chgData name="Bishal Ganguly2" userId="d759f705-629c-4441-b705-ea2fdbd522aa" providerId="ADAL" clId="{44CB5224-51B6-481C-9677-C70530AFE879}" dt="2025-10-23T01:29:23.481" v="281"/>
          <ac:spMkLst>
            <pc:docMk/>
            <pc:sldMk cId="479191838" sldId="256"/>
            <ac:spMk id="230" creationId="{4A434C8D-2058-3D0A-989B-37B27314678B}"/>
          </ac:spMkLst>
        </pc:spChg>
        <pc:spChg chg="mod">
          <ac:chgData name="Bishal Ganguly2" userId="d759f705-629c-4441-b705-ea2fdbd522aa" providerId="ADAL" clId="{44CB5224-51B6-481C-9677-C70530AFE879}" dt="2025-10-23T01:29:23.550" v="357"/>
          <ac:spMkLst>
            <pc:docMk/>
            <pc:sldMk cId="479191838" sldId="256"/>
            <ac:spMk id="232" creationId="{47E6959E-C0F8-4E81-874F-69E6A8302B66}"/>
          </ac:spMkLst>
        </pc:spChg>
        <pc:spChg chg="mod">
          <ac:chgData name="Bishal Ganguly2" userId="d759f705-629c-4441-b705-ea2fdbd522aa" providerId="ADAL" clId="{44CB5224-51B6-481C-9677-C70530AFE879}" dt="2025-10-23T01:29:23.550" v="355"/>
          <ac:spMkLst>
            <pc:docMk/>
            <pc:sldMk cId="479191838" sldId="256"/>
            <ac:spMk id="233" creationId="{0588C6ED-E08C-F7C8-09C1-E832839A034F}"/>
          </ac:spMkLst>
        </pc:spChg>
        <pc:spChg chg="mod">
          <ac:chgData name="Bishal Ganguly2" userId="d759f705-629c-4441-b705-ea2fdbd522aa" providerId="ADAL" clId="{44CB5224-51B6-481C-9677-C70530AFE879}" dt="2025-10-23T01:29:23.501" v="301" actId="947"/>
          <ac:spMkLst>
            <pc:docMk/>
            <pc:sldMk cId="479191838" sldId="256"/>
            <ac:spMk id="234" creationId="{D9956721-A0E9-303C-ED9C-7C7C8EA14CD7}"/>
          </ac:spMkLst>
        </pc:spChg>
        <pc:spChg chg="mod">
          <ac:chgData name="Bishal Ganguly2" userId="d759f705-629c-4441-b705-ea2fdbd522aa" providerId="ADAL" clId="{44CB5224-51B6-481C-9677-C70530AFE879}" dt="2025-10-23T01:29:23.221" v="23"/>
          <ac:spMkLst>
            <pc:docMk/>
            <pc:sldMk cId="479191838" sldId="256"/>
            <ac:spMk id="235" creationId="{54395974-D8EC-A130-8DE1-629905835D59}"/>
          </ac:spMkLst>
        </pc:spChg>
        <pc:spChg chg="mod">
          <ac:chgData name="Bishal Ganguly2" userId="d759f705-629c-4441-b705-ea2fdbd522aa" providerId="ADAL" clId="{44CB5224-51B6-481C-9677-C70530AFE879}" dt="2025-10-23T01:29:23.501" v="303" actId="947"/>
          <ac:spMkLst>
            <pc:docMk/>
            <pc:sldMk cId="479191838" sldId="256"/>
            <ac:spMk id="239" creationId="{B39C4BDE-3EF0-4987-00C1-9C74B4A40E75}"/>
          </ac:spMkLst>
        </pc:spChg>
        <pc:spChg chg="mod">
          <ac:chgData name="Bishal Ganguly2" userId="d759f705-629c-4441-b705-ea2fdbd522aa" providerId="ADAL" clId="{44CB5224-51B6-481C-9677-C70530AFE879}" dt="2025-10-23T01:29:23.509" v="309"/>
          <ac:spMkLst>
            <pc:docMk/>
            <pc:sldMk cId="479191838" sldId="256"/>
            <ac:spMk id="240" creationId="{C2970E33-B56F-4F67-3C50-8F80B02D3709}"/>
          </ac:spMkLst>
        </pc:spChg>
        <pc:spChg chg="mod">
          <ac:chgData name="Bishal Ganguly2" userId="d759f705-629c-4441-b705-ea2fdbd522aa" providerId="ADAL" clId="{44CB5224-51B6-481C-9677-C70530AFE879}" dt="2025-10-23T01:29:23.506" v="307"/>
          <ac:spMkLst>
            <pc:docMk/>
            <pc:sldMk cId="479191838" sldId="256"/>
            <ac:spMk id="241" creationId="{5471208E-AB7A-ECCE-906B-80EB9E2DA2B0}"/>
          </ac:spMkLst>
        </pc:spChg>
        <pc:spChg chg="mod">
          <ac:chgData name="Bishal Ganguly2" userId="d759f705-629c-4441-b705-ea2fdbd522aa" providerId="ADAL" clId="{44CB5224-51B6-481C-9677-C70530AFE879}" dt="2025-10-23T01:29:23.519" v="321"/>
          <ac:spMkLst>
            <pc:docMk/>
            <pc:sldMk cId="479191838" sldId="256"/>
            <ac:spMk id="244" creationId="{314F5087-BF73-AEB2-A607-267C498B2991}"/>
          </ac:spMkLst>
        </pc:spChg>
        <pc:spChg chg="mod">
          <ac:chgData name="Bishal Ganguly2" userId="d759f705-629c-4441-b705-ea2fdbd522aa" providerId="ADAL" clId="{44CB5224-51B6-481C-9677-C70530AFE879}" dt="2025-10-23T01:29:23.518" v="319"/>
          <ac:spMkLst>
            <pc:docMk/>
            <pc:sldMk cId="479191838" sldId="256"/>
            <ac:spMk id="245" creationId="{2D2DB2A4-889E-C0D8-2EF5-4F278BE4FC44}"/>
          </ac:spMkLst>
        </pc:spChg>
        <pc:spChg chg="mod">
          <ac:chgData name="Bishal Ganguly2" userId="d759f705-629c-4441-b705-ea2fdbd522aa" providerId="ADAL" clId="{44CB5224-51B6-481C-9677-C70530AFE879}" dt="2025-10-23T01:29:23.514" v="315"/>
          <ac:spMkLst>
            <pc:docMk/>
            <pc:sldMk cId="479191838" sldId="256"/>
            <ac:spMk id="250" creationId="{875DF738-6551-F16E-9E45-649E218508B0}"/>
          </ac:spMkLst>
        </pc:spChg>
        <pc:spChg chg="mod">
          <ac:chgData name="Bishal Ganguly2" userId="d759f705-629c-4441-b705-ea2fdbd522aa" providerId="ADAL" clId="{44CB5224-51B6-481C-9677-C70530AFE879}" dt="2025-10-23T01:29:23.512" v="313"/>
          <ac:spMkLst>
            <pc:docMk/>
            <pc:sldMk cId="479191838" sldId="256"/>
            <ac:spMk id="251" creationId="{85D63AFB-5586-EB47-B785-0A06B5E753E9}"/>
          </ac:spMkLst>
        </pc:spChg>
        <pc:spChg chg="mod">
          <ac:chgData name="Bishal Ganguly2" userId="d759f705-629c-4441-b705-ea2fdbd522aa" providerId="ADAL" clId="{44CB5224-51B6-481C-9677-C70530AFE879}" dt="2025-10-23T01:29:23.204" v="7" actId="947"/>
          <ac:spMkLst>
            <pc:docMk/>
            <pc:sldMk cId="479191838" sldId="256"/>
            <ac:spMk id="256" creationId="{43811543-06F8-D248-38E2-8D181B376547}"/>
          </ac:spMkLst>
        </pc:spChg>
        <pc:spChg chg="mod">
          <ac:chgData name="Bishal Ganguly2" userId="d759f705-629c-4441-b705-ea2fdbd522aa" providerId="ADAL" clId="{44CB5224-51B6-481C-9677-C70530AFE879}" dt="2025-10-23T01:29:23.206" v="9"/>
          <ac:spMkLst>
            <pc:docMk/>
            <pc:sldMk cId="479191838" sldId="256"/>
            <ac:spMk id="258" creationId="{924E032E-DD39-37C1-1579-714AB83BFB36}"/>
          </ac:spMkLst>
        </pc:spChg>
        <pc:spChg chg="mod">
          <ac:chgData name="Bishal Ganguly2" userId="d759f705-629c-4441-b705-ea2fdbd522aa" providerId="ADAL" clId="{44CB5224-51B6-481C-9677-C70530AFE879}" dt="2025-10-23T01:29:23.505" v="305"/>
          <ac:spMkLst>
            <pc:docMk/>
            <pc:sldMk cId="479191838" sldId="256"/>
            <ac:spMk id="266" creationId="{C051483D-7765-7933-9344-1BBD5CACE3F5}"/>
          </ac:spMkLst>
        </pc:spChg>
        <pc:spChg chg="mod">
          <ac:chgData name="Bishal Ganguly2" userId="d759f705-629c-4441-b705-ea2fdbd522aa" providerId="ADAL" clId="{44CB5224-51B6-481C-9677-C70530AFE879}" dt="2025-10-23T01:29:23.509" v="311"/>
          <ac:spMkLst>
            <pc:docMk/>
            <pc:sldMk cId="479191838" sldId="256"/>
            <ac:spMk id="267" creationId="{05E9175B-6479-A6BE-3D77-BDF420DCABB9}"/>
          </ac:spMkLst>
        </pc:spChg>
        <pc:spChg chg="mod">
          <ac:chgData name="Bishal Ganguly2" userId="d759f705-629c-4441-b705-ea2fdbd522aa" providerId="ADAL" clId="{44CB5224-51B6-481C-9677-C70530AFE879}" dt="2025-10-23T01:29:23.515" v="317" actId="947"/>
          <ac:spMkLst>
            <pc:docMk/>
            <pc:sldMk cId="479191838" sldId="256"/>
            <ac:spMk id="270" creationId="{A388A148-1FB3-1651-723D-ABF7E5E150C4}"/>
          </ac:spMkLst>
        </pc:spChg>
        <pc:spChg chg="mod">
          <ac:chgData name="Bishal Ganguly2" userId="d759f705-629c-4441-b705-ea2fdbd522aa" providerId="ADAL" clId="{44CB5224-51B6-481C-9677-C70530AFE879}" dt="2025-10-23T01:29:23.548" v="353" actId="947"/>
          <ac:spMkLst>
            <pc:docMk/>
            <pc:sldMk cId="479191838" sldId="256"/>
            <ac:spMk id="285" creationId="{1A9B407E-B579-4186-6781-92394E264E74}"/>
          </ac:spMkLst>
        </pc:spChg>
        <pc:spChg chg="mod">
          <ac:chgData name="Bishal Ganguly2" userId="d759f705-629c-4441-b705-ea2fdbd522aa" providerId="ADAL" clId="{44CB5224-51B6-481C-9677-C70530AFE879}" dt="2025-10-23T01:29:23.544" v="349" actId="947"/>
          <ac:spMkLst>
            <pc:docMk/>
            <pc:sldMk cId="479191838" sldId="256"/>
            <ac:spMk id="286" creationId="{DC24F4B5-77F5-D195-B826-468CDD12BEAD}"/>
          </ac:spMkLst>
        </pc:spChg>
        <pc:spChg chg="mod">
          <ac:chgData name="Bishal Ganguly2" userId="d759f705-629c-4441-b705-ea2fdbd522aa" providerId="ADAL" clId="{44CB5224-51B6-481C-9677-C70530AFE879}" dt="2025-10-23T01:29:23.536" v="341" actId="947"/>
          <ac:spMkLst>
            <pc:docMk/>
            <pc:sldMk cId="479191838" sldId="256"/>
            <ac:spMk id="287" creationId="{2B92CC7E-D640-964E-F4E2-9039E2EBD5EC}"/>
          </ac:spMkLst>
        </pc:spChg>
        <pc:spChg chg="mod">
          <ac:chgData name="Bishal Ganguly2" userId="d759f705-629c-4441-b705-ea2fdbd522aa" providerId="ADAL" clId="{44CB5224-51B6-481C-9677-C70530AFE879}" dt="2025-10-23T01:29:23.540" v="345" actId="947"/>
          <ac:spMkLst>
            <pc:docMk/>
            <pc:sldMk cId="479191838" sldId="256"/>
            <ac:spMk id="288" creationId="{64B2A320-C91D-4E75-8888-9F0D770F240F}"/>
          </ac:spMkLst>
        </pc:spChg>
        <pc:spChg chg="mod">
          <ac:chgData name="Bishal Ganguly2" userId="d759f705-629c-4441-b705-ea2fdbd522aa" providerId="ADAL" clId="{44CB5224-51B6-481C-9677-C70530AFE879}" dt="2025-10-23T01:29:23.522" v="325"/>
          <ac:spMkLst>
            <pc:docMk/>
            <pc:sldMk cId="479191838" sldId="256"/>
            <ac:spMk id="292" creationId="{51B36668-00B8-74DB-1B3C-B66550F4471A}"/>
          </ac:spMkLst>
        </pc:spChg>
        <pc:spChg chg="mod">
          <ac:chgData name="Bishal Ganguly2" userId="d759f705-629c-4441-b705-ea2fdbd522aa" providerId="ADAL" clId="{44CB5224-51B6-481C-9677-C70530AFE879}" dt="2025-10-23T01:29:23.521" v="323"/>
          <ac:spMkLst>
            <pc:docMk/>
            <pc:sldMk cId="479191838" sldId="256"/>
            <ac:spMk id="293" creationId="{027C4A31-5D32-624D-39B7-8F148BBB53BC}"/>
          </ac:spMkLst>
        </pc:spChg>
        <pc:spChg chg="mod">
          <ac:chgData name="Bishal Ganguly2" userId="d759f705-629c-4441-b705-ea2fdbd522aa" providerId="ADAL" clId="{44CB5224-51B6-481C-9677-C70530AFE879}" dt="2025-10-23T01:29:23.242" v="53" actId="947"/>
          <ac:spMkLst>
            <pc:docMk/>
            <pc:sldMk cId="479191838" sldId="256"/>
            <ac:spMk id="302" creationId="{97C18B00-CC39-257C-B2E7-0D549BDE47DB}"/>
          </ac:spMkLst>
        </pc:spChg>
        <pc:spChg chg="mod">
          <ac:chgData name="Bishal Ganguly2" userId="d759f705-629c-4441-b705-ea2fdbd522aa" providerId="ADAL" clId="{44CB5224-51B6-481C-9677-C70530AFE879}" dt="2025-10-23T01:29:23.242" v="51" actId="947"/>
          <ac:spMkLst>
            <pc:docMk/>
            <pc:sldMk cId="479191838" sldId="256"/>
            <ac:spMk id="303" creationId="{B6F3A2EA-6DF7-BC19-706E-5E36D4CEEDAE}"/>
          </ac:spMkLst>
        </pc:spChg>
        <pc:spChg chg="mod">
          <ac:chgData name="Bishal Ganguly2" userId="d759f705-629c-4441-b705-ea2fdbd522aa" providerId="ADAL" clId="{44CB5224-51B6-481C-9677-C70530AFE879}" dt="2025-10-23T01:29:23.242" v="49"/>
          <ac:spMkLst>
            <pc:docMk/>
            <pc:sldMk cId="479191838" sldId="256"/>
            <ac:spMk id="306" creationId="{C54BE486-EC08-FE67-506F-115F50EC66C7}"/>
          </ac:spMkLst>
        </pc:spChg>
        <pc:spChg chg="mod">
          <ac:chgData name="Bishal Ganguly2" userId="d759f705-629c-4441-b705-ea2fdbd522aa" providerId="ADAL" clId="{44CB5224-51B6-481C-9677-C70530AFE879}" dt="2025-10-23T01:29:23.242" v="47"/>
          <ac:spMkLst>
            <pc:docMk/>
            <pc:sldMk cId="479191838" sldId="256"/>
            <ac:spMk id="307" creationId="{9EF30DA2-7C5B-B458-E2D9-4A815D70E0DA}"/>
          </ac:spMkLst>
        </pc:spChg>
        <pc:spChg chg="mod">
          <ac:chgData name="Bishal Ganguly2" userId="d759f705-629c-4441-b705-ea2fdbd522aa" providerId="ADAL" clId="{44CB5224-51B6-481C-9677-C70530AFE879}" dt="2025-10-23T01:29:23.242" v="45" actId="947"/>
          <ac:spMkLst>
            <pc:docMk/>
            <pc:sldMk cId="479191838" sldId="256"/>
            <ac:spMk id="308" creationId="{6BCEB958-0286-1EAD-A611-C5462C9AD50C}"/>
          </ac:spMkLst>
        </pc:spChg>
        <pc:spChg chg="mod">
          <ac:chgData name="Bishal Ganguly2" userId="d759f705-629c-4441-b705-ea2fdbd522aa" providerId="ADAL" clId="{44CB5224-51B6-481C-9677-C70530AFE879}" dt="2025-10-23T01:29:23.253" v="71" actId="947"/>
          <ac:spMkLst>
            <pc:docMk/>
            <pc:sldMk cId="479191838" sldId="256"/>
            <ac:spMk id="309" creationId="{A01542BB-EF0F-DBA3-E93A-2C68AE60628A}"/>
          </ac:spMkLst>
        </pc:spChg>
        <pc:spChg chg="mod">
          <ac:chgData name="Bishal Ganguly2" userId="d759f705-629c-4441-b705-ea2fdbd522aa" providerId="ADAL" clId="{44CB5224-51B6-481C-9677-C70530AFE879}" dt="2025-10-23T01:29:23.253" v="65" actId="947"/>
          <ac:spMkLst>
            <pc:docMk/>
            <pc:sldMk cId="479191838" sldId="256"/>
            <ac:spMk id="313" creationId="{CA2B379C-785D-3378-AA87-801EC5BCFD45}"/>
          </ac:spMkLst>
        </pc:spChg>
        <pc:spChg chg="mod">
          <ac:chgData name="Bishal Ganguly2" userId="d759f705-629c-4441-b705-ea2fdbd522aa" providerId="ADAL" clId="{44CB5224-51B6-481C-9677-C70530AFE879}" dt="2025-10-23T01:29:23.253" v="63" actId="947"/>
          <ac:spMkLst>
            <pc:docMk/>
            <pc:sldMk cId="479191838" sldId="256"/>
            <ac:spMk id="314" creationId="{12824240-0872-4214-483A-05E3E6BD01CE}"/>
          </ac:spMkLst>
        </pc:spChg>
        <pc:spChg chg="mod">
          <ac:chgData name="Bishal Ganguly2" userId="d759f705-629c-4441-b705-ea2fdbd522aa" providerId="ADAL" clId="{44CB5224-51B6-481C-9677-C70530AFE879}" dt="2025-10-23T01:29:23.253" v="69" actId="947"/>
          <ac:spMkLst>
            <pc:docMk/>
            <pc:sldMk cId="479191838" sldId="256"/>
            <ac:spMk id="315" creationId="{2F1CF3FA-51AD-9669-2C58-4232373B88B8}"/>
          </ac:spMkLst>
        </pc:spChg>
        <pc:spChg chg="mod">
          <ac:chgData name="Bishal Ganguly2" userId="d759f705-629c-4441-b705-ea2fdbd522aa" providerId="ADAL" clId="{44CB5224-51B6-481C-9677-C70530AFE879}" dt="2025-10-23T01:29:23.253" v="67" actId="947"/>
          <ac:spMkLst>
            <pc:docMk/>
            <pc:sldMk cId="479191838" sldId="256"/>
            <ac:spMk id="316" creationId="{B9F0CCF6-F139-6787-F786-4C0ED032D4C8}"/>
          </ac:spMkLst>
        </pc:spChg>
        <pc:spChg chg="mod">
          <ac:chgData name="Bishal Ganguly2" userId="d759f705-629c-4441-b705-ea2fdbd522aa" providerId="ADAL" clId="{44CB5224-51B6-481C-9677-C70530AFE879}" dt="2025-10-23T01:29:23.269" v="73" actId="947"/>
          <ac:spMkLst>
            <pc:docMk/>
            <pc:sldMk cId="479191838" sldId="256"/>
            <ac:spMk id="318" creationId="{320D9A06-60D1-D0EF-4939-FC9D17F6C018}"/>
          </ac:spMkLst>
        </pc:spChg>
        <pc:spChg chg="mod">
          <ac:chgData name="Bishal Ganguly2" userId="d759f705-629c-4441-b705-ea2fdbd522aa" providerId="ADAL" clId="{44CB5224-51B6-481C-9677-C70530AFE879}" dt="2025-10-23T01:29:23.485" v="283" actId="947"/>
          <ac:spMkLst>
            <pc:docMk/>
            <pc:sldMk cId="479191838" sldId="256"/>
            <ac:spMk id="320" creationId="{AE7EACBB-FBBC-7D77-67FE-5FE024465E17}"/>
          </ac:spMkLst>
        </pc:spChg>
        <pc:spChg chg="mod">
          <ac:chgData name="Bishal Ganguly2" userId="d759f705-629c-4441-b705-ea2fdbd522aa" providerId="ADAL" clId="{44CB5224-51B6-481C-9677-C70530AFE879}" dt="2025-10-23T01:29:23.487" v="285" actId="947"/>
          <ac:spMkLst>
            <pc:docMk/>
            <pc:sldMk cId="479191838" sldId="256"/>
            <ac:spMk id="321" creationId="{F5916BE6-A42E-5A6A-54E4-7DD023E97E37}"/>
          </ac:spMkLst>
        </pc:spChg>
        <pc:spChg chg="mod">
          <ac:chgData name="Bishal Ganguly2" userId="d759f705-629c-4441-b705-ea2fdbd522aa" providerId="ADAL" clId="{44CB5224-51B6-481C-9677-C70530AFE879}" dt="2025-10-23T01:29:23.490" v="287" actId="947"/>
          <ac:spMkLst>
            <pc:docMk/>
            <pc:sldMk cId="479191838" sldId="256"/>
            <ac:spMk id="322" creationId="{42A9A003-9A67-27BD-CEFF-7015CBA90AFC}"/>
          </ac:spMkLst>
        </pc:spChg>
        <pc:spChg chg="mod">
          <ac:chgData name="Bishal Ganguly2" userId="d759f705-629c-4441-b705-ea2fdbd522aa" providerId="ADAL" clId="{44CB5224-51B6-481C-9677-C70530AFE879}" dt="2025-10-23T01:29:23.490" v="291" actId="947"/>
          <ac:spMkLst>
            <pc:docMk/>
            <pc:sldMk cId="479191838" sldId="256"/>
            <ac:spMk id="326" creationId="{E174267F-3A1C-EB74-93C9-B738151CD328}"/>
          </ac:spMkLst>
        </pc:spChg>
        <pc:spChg chg="mod">
          <ac:chgData name="Bishal Ganguly2" userId="d759f705-629c-4441-b705-ea2fdbd522aa" providerId="ADAL" clId="{44CB5224-51B6-481C-9677-C70530AFE879}" dt="2025-10-23T01:29:23.206" v="11"/>
          <ac:spMkLst>
            <pc:docMk/>
            <pc:sldMk cId="479191838" sldId="256"/>
            <ac:spMk id="327" creationId="{62CFE102-1A61-7130-F490-E755B18EEEB8}"/>
          </ac:spMkLst>
        </pc:spChg>
        <pc:spChg chg="mod">
          <ac:chgData name="Bishal Ganguly2" userId="d759f705-629c-4441-b705-ea2fdbd522aa" providerId="ADAL" clId="{44CB5224-51B6-481C-9677-C70530AFE879}" dt="2025-10-23T01:29:23.278" v="85"/>
          <ac:spMkLst>
            <pc:docMk/>
            <pc:sldMk cId="479191838" sldId="256"/>
            <ac:spMk id="341" creationId="{AADBDDE7-E4A3-E3EC-1AF2-C2D0C5AB5B13}"/>
          </ac:spMkLst>
        </pc:spChg>
        <pc:spChg chg="mod">
          <ac:chgData name="Bishal Ganguly2" userId="d759f705-629c-4441-b705-ea2fdbd522aa" providerId="ADAL" clId="{44CB5224-51B6-481C-9677-C70530AFE879}" dt="2025-10-23T01:29:23.278" v="83"/>
          <ac:spMkLst>
            <pc:docMk/>
            <pc:sldMk cId="479191838" sldId="256"/>
            <ac:spMk id="342" creationId="{9AE1E8F5-A9DD-F18E-FCF6-4B0167FF4E51}"/>
          </ac:spMkLst>
        </pc:spChg>
        <pc:spChg chg="mod">
          <ac:chgData name="Bishal Ganguly2" userId="d759f705-629c-4441-b705-ea2fdbd522aa" providerId="ADAL" clId="{44CB5224-51B6-481C-9677-C70530AFE879}" dt="2025-10-23T01:29:23.278" v="81"/>
          <ac:spMkLst>
            <pc:docMk/>
            <pc:sldMk cId="479191838" sldId="256"/>
            <ac:spMk id="349" creationId="{F9161408-5970-6611-9879-97F700767B00}"/>
          </ac:spMkLst>
        </pc:spChg>
        <pc:spChg chg="mod">
          <ac:chgData name="Bishal Ganguly2" userId="d759f705-629c-4441-b705-ea2fdbd522aa" providerId="ADAL" clId="{44CB5224-51B6-481C-9677-C70530AFE879}" dt="2025-10-23T01:29:23.269" v="75" actId="947"/>
          <ac:spMkLst>
            <pc:docMk/>
            <pc:sldMk cId="479191838" sldId="256"/>
            <ac:spMk id="350" creationId="{A86C9A99-2110-0B4E-6AEB-D18FE00DA5CB}"/>
          </ac:spMkLst>
        </pc:spChg>
        <pc:spChg chg="mod">
          <ac:chgData name="Bishal Ganguly2" userId="d759f705-629c-4441-b705-ea2fdbd522aa" providerId="ADAL" clId="{44CB5224-51B6-481C-9677-C70530AFE879}" dt="2025-10-23T01:29:23.269" v="77" actId="947"/>
          <ac:spMkLst>
            <pc:docMk/>
            <pc:sldMk cId="479191838" sldId="256"/>
            <ac:spMk id="351" creationId="{1E7ED9EE-B6F8-F7F6-165F-DB1E7EE22EAB}"/>
          </ac:spMkLst>
        </pc:spChg>
        <pc:spChg chg="mod">
          <ac:chgData name="Bishal Ganguly2" userId="d759f705-629c-4441-b705-ea2fdbd522aa" providerId="ADAL" clId="{44CB5224-51B6-481C-9677-C70530AFE879}" dt="2025-10-23T01:29:23.220" v="21"/>
          <ac:spMkLst>
            <pc:docMk/>
            <pc:sldMk cId="479191838" sldId="256"/>
            <ac:spMk id="352" creationId="{23A6FCA0-6F73-0CED-B23E-3D9A65EFDCFE}"/>
          </ac:spMkLst>
        </pc:spChg>
        <pc:spChg chg="mod">
          <ac:chgData name="Bishal Ganguly2" userId="d759f705-629c-4441-b705-ea2fdbd522aa" providerId="ADAL" clId="{44CB5224-51B6-481C-9677-C70530AFE879}" dt="2025-10-23T01:29:23.278" v="79"/>
          <ac:spMkLst>
            <pc:docMk/>
            <pc:sldMk cId="479191838" sldId="256"/>
            <ac:spMk id="354" creationId="{6F6C0257-9E92-39BE-2BE5-E73A141BBEF2}"/>
          </ac:spMkLst>
        </pc:spChg>
        <pc:spChg chg="mod">
          <ac:chgData name="Bishal Ganguly2" userId="d759f705-629c-4441-b705-ea2fdbd522aa" providerId="ADAL" clId="{44CB5224-51B6-481C-9677-C70530AFE879}" dt="2025-10-23T01:29:23.278" v="87"/>
          <ac:spMkLst>
            <pc:docMk/>
            <pc:sldMk cId="479191838" sldId="256"/>
            <ac:spMk id="355" creationId="{C9031D1B-0D26-E55D-2EB1-3A2354772CBD}"/>
          </ac:spMkLst>
        </pc:spChg>
        <pc:spChg chg="mod">
          <ac:chgData name="Bishal Ganguly2" userId="d759f705-629c-4441-b705-ea2fdbd522aa" providerId="ADAL" clId="{44CB5224-51B6-481C-9677-C70530AFE879}" dt="2025-10-23T01:29:23.286" v="89"/>
          <ac:spMkLst>
            <pc:docMk/>
            <pc:sldMk cId="479191838" sldId="256"/>
            <ac:spMk id="383" creationId="{FDAF34B7-2879-97DD-7A75-ACC88A5906B0}"/>
          </ac:spMkLst>
        </pc:spChg>
        <pc:spChg chg="mod">
          <ac:chgData name="Bishal Ganguly2" userId="d759f705-629c-4441-b705-ea2fdbd522aa" providerId="ADAL" clId="{44CB5224-51B6-481C-9677-C70530AFE879}" dt="2025-10-23T01:29:23.295" v="97"/>
          <ac:spMkLst>
            <pc:docMk/>
            <pc:sldMk cId="479191838" sldId="256"/>
            <ac:spMk id="385" creationId="{BD2BCA7B-E014-8E63-3632-05454E04A9E2}"/>
          </ac:spMkLst>
        </pc:spChg>
        <pc:spChg chg="mod">
          <ac:chgData name="Bishal Ganguly2" userId="d759f705-629c-4441-b705-ea2fdbd522aa" providerId="ADAL" clId="{44CB5224-51B6-481C-9677-C70530AFE879}" dt="2025-10-23T01:29:23.288" v="91"/>
          <ac:spMkLst>
            <pc:docMk/>
            <pc:sldMk cId="479191838" sldId="256"/>
            <ac:spMk id="386" creationId="{4BD2B3B3-11C1-0B84-94E6-D822203B8329}"/>
          </ac:spMkLst>
        </pc:spChg>
        <pc:spChg chg="mod">
          <ac:chgData name="Bishal Ganguly2" userId="d759f705-629c-4441-b705-ea2fdbd522aa" providerId="ADAL" clId="{44CB5224-51B6-481C-9677-C70530AFE879}" dt="2025-10-23T01:29:23.295" v="99"/>
          <ac:spMkLst>
            <pc:docMk/>
            <pc:sldMk cId="479191838" sldId="256"/>
            <ac:spMk id="390" creationId="{4E07E7C7-EFCC-096D-CA13-EE2F0FFE8359}"/>
          </ac:spMkLst>
        </pc:spChg>
        <pc:spChg chg="mod">
          <ac:chgData name="Bishal Ganguly2" userId="d759f705-629c-4441-b705-ea2fdbd522aa" providerId="ADAL" clId="{44CB5224-51B6-481C-9677-C70530AFE879}" dt="2025-10-23T01:29:23.295" v="101"/>
          <ac:spMkLst>
            <pc:docMk/>
            <pc:sldMk cId="479191838" sldId="256"/>
            <ac:spMk id="392" creationId="{28B512F6-B922-F2B3-1016-3F8407C6B6CF}"/>
          </ac:spMkLst>
        </pc:spChg>
        <pc:spChg chg="mod">
          <ac:chgData name="Bishal Ganguly2" userId="d759f705-629c-4441-b705-ea2fdbd522aa" providerId="ADAL" clId="{44CB5224-51B6-481C-9677-C70530AFE879}" dt="2025-10-23T01:29:23.301" v="103"/>
          <ac:spMkLst>
            <pc:docMk/>
            <pc:sldMk cId="479191838" sldId="256"/>
            <ac:spMk id="393" creationId="{49C8314E-3683-55A9-431C-64CECEB15CE0}"/>
          </ac:spMkLst>
        </pc:spChg>
        <pc:spChg chg="mod">
          <ac:chgData name="Bishal Ganguly2" userId="d759f705-629c-4441-b705-ea2fdbd522aa" providerId="ADAL" clId="{44CB5224-51B6-481C-9677-C70530AFE879}" dt="2025-10-23T01:29:23.305" v="109"/>
          <ac:spMkLst>
            <pc:docMk/>
            <pc:sldMk cId="479191838" sldId="256"/>
            <ac:spMk id="397" creationId="{A9890EB7-C418-1FA9-D21B-D53CBF18CBCB}"/>
          </ac:spMkLst>
        </pc:spChg>
        <pc:spChg chg="mod">
          <ac:chgData name="Bishal Ganguly2" userId="d759f705-629c-4441-b705-ea2fdbd522aa" providerId="ADAL" clId="{44CB5224-51B6-481C-9677-C70530AFE879}" dt="2025-10-23T01:29:23.333" v="111"/>
          <ac:spMkLst>
            <pc:docMk/>
            <pc:sldMk cId="479191838" sldId="256"/>
            <ac:spMk id="399" creationId="{4F2EEA34-14F8-2112-38D0-2C7F46A89BCF}"/>
          </ac:spMkLst>
        </pc:spChg>
        <pc:spChg chg="mod">
          <ac:chgData name="Bishal Ganguly2" userId="d759f705-629c-4441-b705-ea2fdbd522aa" providerId="ADAL" clId="{44CB5224-51B6-481C-9677-C70530AFE879}" dt="2025-10-23T01:29:23.341" v="113"/>
          <ac:spMkLst>
            <pc:docMk/>
            <pc:sldMk cId="479191838" sldId="256"/>
            <ac:spMk id="400" creationId="{7C66D4CE-A3BC-E991-A0B2-2F394A7049DF}"/>
          </ac:spMkLst>
        </pc:spChg>
        <pc:spChg chg="mod">
          <ac:chgData name="Bishal Ganguly2" userId="d759f705-629c-4441-b705-ea2fdbd522aa" providerId="ADAL" clId="{44CB5224-51B6-481C-9677-C70530AFE879}" dt="2025-10-23T01:29:23.292" v="95"/>
          <ac:spMkLst>
            <pc:docMk/>
            <pc:sldMk cId="479191838" sldId="256"/>
            <ac:spMk id="413" creationId="{83D8039B-2DD7-F090-F0E4-2DE15E08D265}"/>
          </ac:spMkLst>
        </pc:spChg>
        <pc:spChg chg="mod">
          <ac:chgData name="Bishal Ganguly2" userId="d759f705-629c-4441-b705-ea2fdbd522aa" providerId="ADAL" clId="{44CB5224-51B6-481C-9677-C70530AFE879}" dt="2025-10-23T01:29:23.290" v="93" actId="947"/>
          <ac:spMkLst>
            <pc:docMk/>
            <pc:sldMk cId="479191838" sldId="256"/>
            <ac:spMk id="414" creationId="{C06F8EB3-B2E0-E875-B984-C177252699E4}"/>
          </ac:spMkLst>
        </pc:spChg>
        <pc:spChg chg="mod">
          <ac:chgData name="Bishal Ganguly2" userId="d759f705-629c-4441-b705-ea2fdbd522aa" providerId="ADAL" clId="{44CB5224-51B6-481C-9677-C70530AFE879}" dt="2025-10-23T01:29:23.303" v="107"/>
          <ac:spMkLst>
            <pc:docMk/>
            <pc:sldMk cId="479191838" sldId="256"/>
            <ac:spMk id="416" creationId="{687A53D9-F4F7-70CA-BFDE-CBE3DBEDD058}"/>
          </ac:spMkLst>
        </pc:spChg>
        <pc:spChg chg="mod">
          <ac:chgData name="Bishal Ganguly2" userId="d759f705-629c-4441-b705-ea2fdbd522aa" providerId="ADAL" clId="{44CB5224-51B6-481C-9677-C70530AFE879}" dt="2025-10-23T01:29:23.303" v="105" actId="947"/>
          <ac:spMkLst>
            <pc:docMk/>
            <pc:sldMk cId="479191838" sldId="256"/>
            <ac:spMk id="417" creationId="{4747AA2B-A444-83C1-8E13-16301883628F}"/>
          </ac:spMkLst>
        </pc:spChg>
        <pc:spChg chg="mod">
          <ac:chgData name="Bishal Ganguly2" userId="d759f705-629c-4441-b705-ea2fdbd522aa" providerId="ADAL" clId="{44CB5224-51B6-481C-9677-C70530AFE879}" dt="2025-10-23T01:29:23.345" v="117"/>
          <ac:spMkLst>
            <pc:docMk/>
            <pc:sldMk cId="479191838" sldId="256"/>
            <ac:spMk id="419" creationId="{20B0136A-BC0D-222E-B888-3D04B40108CA}"/>
          </ac:spMkLst>
        </pc:spChg>
        <pc:spChg chg="mod">
          <ac:chgData name="Bishal Ganguly2" userId="d759f705-629c-4441-b705-ea2fdbd522aa" providerId="ADAL" clId="{44CB5224-51B6-481C-9677-C70530AFE879}" dt="2025-10-23T01:29:23.343" v="115"/>
          <ac:spMkLst>
            <pc:docMk/>
            <pc:sldMk cId="479191838" sldId="256"/>
            <ac:spMk id="420" creationId="{EACA98CD-25BC-54BE-B37A-2657A3C9EE3E}"/>
          </ac:spMkLst>
        </pc:spChg>
        <pc:spChg chg="mod">
          <ac:chgData name="Bishal Ganguly2" userId="d759f705-629c-4441-b705-ea2fdbd522aa" providerId="ADAL" clId="{44CB5224-51B6-481C-9677-C70530AFE879}" dt="2025-10-23T01:29:23.347" v="119" actId="947"/>
          <ac:spMkLst>
            <pc:docMk/>
            <pc:sldMk cId="479191838" sldId="256"/>
            <ac:spMk id="435" creationId="{8A7528D8-90BA-C252-838F-A5AB60F0D4FD}"/>
          </ac:spMkLst>
        </pc:spChg>
        <pc:spChg chg="mod">
          <ac:chgData name="Bishal Ganguly2" userId="d759f705-629c-4441-b705-ea2fdbd522aa" providerId="ADAL" clId="{44CB5224-51B6-481C-9677-C70530AFE879}" dt="2025-10-23T01:29:23.348" v="121" actId="947"/>
          <ac:spMkLst>
            <pc:docMk/>
            <pc:sldMk cId="479191838" sldId="256"/>
            <ac:spMk id="436" creationId="{94563880-CF7A-85EB-093C-B061318E26EF}"/>
          </ac:spMkLst>
        </pc:spChg>
        <pc:spChg chg="mod">
          <ac:chgData name="Bishal Ganguly2" userId="d759f705-629c-4441-b705-ea2fdbd522aa" providerId="ADAL" clId="{44CB5224-51B6-481C-9677-C70530AFE879}" dt="2025-10-23T01:29:23.366" v="139"/>
          <ac:spMkLst>
            <pc:docMk/>
            <pc:sldMk cId="479191838" sldId="256"/>
            <ac:spMk id="441" creationId="{D4FC508F-EB4A-8C80-6EFC-D65B4A9E7E0F}"/>
          </ac:spMkLst>
        </pc:spChg>
        <pc:spChg chg="mod">
          <ac:chgData name="Bishal Ganguly2" userId="d759f705-629c-4441-b705-ea2fdbd522aa" providerId="ADAL" clId="{44CB5224-51B6-481C-9677-C70530AFE879}" dt="2025-10-23T01:29:23.368" v="141"/>
          <ac:spMkLst>
            <pc:docMk/>
            <pc:sldMk cId="479191838" sldId="256"/>
            <ac:spMk id="442" creationId="{7A6C708A-8278-A1CF-60B6-FFCFEF75BF70}"/>
          </ac:spMkLst>
        </pc:spChg>
        <pc:spChg chg="mod">
          <ac:chgData name="Bishal Ganguly2" userId="d759f705-629c-4441-b705-ea2fdbd522aa" providerId="ADAL" clId="{44CB5224-51B6-481C-9677-C70530AFE879}" dt="2025-10-23T01:29:23.368" v="143"/>
          <ac:spMkLst>
            <pc:docMk/>
            <pc:sldMk cId="479191838" sldId="256"/>
            <ac:spMk id="443" creationId="{781ED631-AF99-9325-5E6F-C88C10D54F97}"/>
          </ac:spMkLst>
        </pc:spChg>
        <pc:spChg chg="mod">
          <ac:chgData name="Bishal Ganguly2" userId="d759f705-629c-4441-b705-ea2fdbd522aa" providerId="ADAL" clId="{44CB5224-51B6-481C-9677-C70530AFE879}" dt="2025-10-23T01:29:23.360" v="133"/>
          <ac:spMkLst>
            <pc:docMk/>
            <pc:sldMk cId="479191838" sldId="256"/>
            <ac:spMk id="447" creationId="{4C19612E-752D-BCDF-49BB-1C3C0BA9B40F}"/>
          </ac:spMkLst>
        </pc:spChg>
        <pc:spChg chg="mod">
          <ac:chgData name="Bishal Ganguly2" userId="d759f705-629c-4441-b705-ea2fdbd522aa" providerId="ADAL" clId="{44CB5224-51B6-481C-9677-C70530AFE879}" dt="2025-10-23T01:29:23.362" v="135"/>
          <ac:spMkLst>
            <pc:docMk/>
            <pc:sldMk cId="479191838" sldId="256"/>
            <ac:spMk id="448" creationId="{8FFC1276-C3CE-A584-C124-5D3B63D01C44}"/>
          </ac:spMkLst>
        </pc:spChg>
        <pc:spChg chg="mod">
          <ac:chgData name="Bishal Ganguly2" userId="d759f705-629c-4441-b705-ea2fdbd522aa" providerId="ADAL" clId="{44CB5224-51B6-481C-9677-C70530AFE879}" dt="2025-10-23T01:29:23.366" v="137"/>
          <ac:spMkLst>
            <pc:docMk/>
            <pc:sldMk cId="479191838" sldId="256"/>
            <ac:spMk id="449" creationId="{47698768-CF06-4021-42D0-7D3D3E837FAC}"/>
          </ac:spMkLst>
        </pc:spChg>
        <pc:spChg chg="mod">
          <ac:chgData name="Bishal Ganguly2" userId="d759f705-629c-4441-b705-ea2fdbd522aa" providerId="ADAL" clId="{44CB5224-51B6-481C-9677-C70530AFE879}" dt="2025-10-23T01:29:23.642" v="450" actId="947"/>
          <ac:spMkLst>
            <pc:docMk/>
            <pc:sldMk cId="479191838" sldId="256"/>
            <ac:spMk id="450" creationId="{AAAB44EE-70C1-5205-B0B0-6D2D869E944F}"/>
          </ac:spMkLst>
        </pc:spChg>
        <pc:spChg chg="mod">
          <ac:chgData name="Bishal Ganguly2" userId="d759f705-629c-4441-b705-ea2fdbd522aa" providerId="ADAL" clId="{44CB5224-51B6-481C-9677-C70530AFE879}" dt="2025-10-23T01:29:23.640" v="448" actId="947"/>
          <ac:spMkLst>
            <pc:docMk/>
            <pc:sldMk cId="479191838" sldId="256"/>
            <ac:spMk id="451" creationId="{C92CD979-64C8-EDA0-9892-810C4871DB03}"/>
          </ac:spMkLst>
        </pc:spChg>
        <pc:spChg chg="mod">
          <ac:chgData name="Bishal Ganguly2" userId="d759f705-629c-4441-b705-ea2fdbd522aa" providerId="ADAL" clId="{44CB5224-51B6-481C-9677-C70530AFE879}" dt="2025-10-23T01:29:23.640" v="446" actId="947"/>
          <ac:spMkLst>
            <pc:docMk/>
            <pc:sldMk cId="479191838" sldId="256"/>
            <ac:spMk id="452" creationId="{F59DE4DB-2926-9D6B-04A2-0A9FB3881B62}"/>
          </ac:spMkLst>
        </pc:spChg>
        <pc:spChg chg="mod">
          <ac:chgData name="Bishal Ganguly2" userId="d759f705-629c-4441-b705-ea2fdbd522aa" providerId="ADAL" clId="{44CB5224-51B6-481C-9677-C70530AFE879}" dt="2025-10-23T01:29:23.354" v="127"/>
          <ac:spMkLst>
            <pc:docMk/>
            <pc:sldMk cId="479191838" sldId="256"/>
            <ac:spMk id="453" creationId="{C1C49B70-08B3-5B44-0E26-7AFA0F516C34}"/>
          </ac:spMkLst>
        </pc:spChg>
        <pc:spChg chg="mod">
          <ac:chgData name="Bishal Ganguly2" userId="d759f705-629c-4441-b705-ea2fdbd522aa" providerId="ADAL" clId="{44CB5224-51B6-481C-9677-C70530AFE879}" dt="2025-10-23T01:29:23.354" v="129"/>
          <ac:spMkLst>
            <pc:docMk/>
            <pc:sldMk cId="479191838" sldId="256"/>
            <ac:spMk id="454" creationId="{929D6BE3-E616-6D3A-9382-1499FE8F5B72}"/>
          </ac:spMkLst>
        </pc:spChg>
        <pc:spChg chg="mod">
          <ac:chgData name="Bishal Ganguly2" userId="d759f705-629c-4441-b705-ea2fdbd522aa" providerId="ADAL" clId="{44CB5224-51B6-481C-9677-C70530AFE879}" dt="2025-10-23T01:29:23.360" v="131"/>
          <ac:spMkLst>
            <pc:docMk/>
            <pc:sldMk cId="479191838" sldId="256"/>
            <ac:spMk id="455" creationId="{CA4E0001-563F-89A4-B27E-C11F652584C8}"/>
          </ac:spMkLst>
        </pc:spChg>
        <pc:spChg chg="mod">
          <ac:chgData name="Bishal Ganguly2" userId="d759f705-629c-4441-b705-ea2fdbd522aa" providerId="ADAL" clId="{44CB5224-51B6-481C-9677-C70530AFE879}" dt="2025-10-23T01:29:23.638" v="444" actId="947"/>
          <ac:spMkLst>
            <pc:docMk/>
            <pc:sldMk cId="479191838" sldId="256"/>
            <ac:spMk id="456" creationId="{7AFC4A43-EDA4-E5AB-53B4-ECE02652A432}"/>
          </ac:spMkLst>
        </pc:spChg>
        <pc:spChg chg="mod">
          <ac:chgData name="Bishal Ganguly2" userId="d759f705-629c-4441-b705-ea2fdbd522aa" providerId="ADAL" clId="{44CB5224-51B6-481C-9677-C70530AFE879}" dt="2025-10-23T01:29:23.636" v="442" actId="947"/>
          <ac:spMkLst>
            <pc:docMk/>
            <pc:sldMk cId="479191838" sldId="256"/>
            <ac:spMk id="457" creationId="{446FD308-428D-B60A-6ACA-07A0D539930D}"/>
          </ac:spMkLst>
        </pc:spChg>
        <pc:spChg chg="mod">
          <ac:chgData name="Bishal Ganguly2" userId="d759f705-629c-4441-b705-ea2fdbd522aa" providerId="ADAL" clId="{44CB5224-51B6-481C-9677-C70530AFE879}" dt="2025-10-23T01:29:23.634" v="440" actId="947"/>
          <ac:spMkLst>
            <pc:docMk/>
            <pc:sldMk cId="479191838" sldId="256"/>
            <ac:spMk id="458" creationId="{9251A885-E04E-65DA-26C1-40B064868E73}"/>
          </ac:spMkLst>
        </pc:spChg>
        <pc:spChg chg="mod">
          <ac:chgData name="Bishal Ganguly2" userId="d759f705-629c-4441-b705-ea2fdbd522aa" providerId="ADAL" clId="{44CB5224-51B6-481C-9677-C70530AFE879}" dt="2025-10-23T01:29:23.350" v="123"/>
          <ac:spMkLst>
            <pc:docMk/>
            <pc:sldMk cId="479191838" sldId="256"/>
            <ac:spMk id="459" creationId="{1A1F5691-1673-68B5-6750-C1B57E4C4BA9}"/>
          </ac:spMkLst>
        </pc:spChg>
        <pc:spChg chg="mod">
          <ac:chgData name="Bishal Ganguly2" userId="d759f705-629c-4441-b705-ea2fdbd522aa" providerId="ADAL" clId="{44CB5224-51B6-481C-9677-C70530AFE879}" dt="2025-10-23T01:29:23.632" v="438" actId="947"/>
          <ac:spMkLst>
            <pc:docMk/>
            <pc:sldMk cId="479191838" sldId="256"/>
            <ac:spMk id="460" creationId="{43DD4973-FFF1-BE1E-F6C2-165B185E2E05}"/>
          </ac:spMkLst>
        </pc:spChg>
        <pc:spChg chg="mod">
          <ac:chgData name="Bishal Ganguly2" userId="d759f705-629c-4441-b705-ea2fdbd522aa" providerId="ADAL" clId="{44CB5224-51B6-481C-9677-C70530AFE879}" dt="2025-10-23T01:29:23.368" v="149"/>
          <ac:spMkLst>
            <pc:docMk/>
            <pc:sldMk cId="479191838" sldId="256"/>
            <ac:spMk id="461" creationId="{1055EC14-75CB-CB17-17AF-0E54961777E6}"/>
          </ac:spMkLst>
        </pc:spChg>
        <pc:spChg chg="mod">
          <ac:chgData name="Bishal Ganguly2" userId="d759f705-629c-4441-b705-ea2fdbd522aa" providerId="ADAL" clId="{44CB5224-51B6-481C-9677-C70530AFE879}" dt="2025-10-23T01:29:23.352" v="125"/>
          <ac:spMkLst>
            <pc:docMk/>
            <pc:sldMk cId="479191838" sldId="256"/>
            <ac:spMk id="462" creationId="{645203C2-BA64-1B99-FA20-187CF0028A83}"/>
          </ac:spMkLst>
        </pc:spChg>
        <pc:spChg chg="mod">
          <ac:chgData name="Bishal Ganguly2" userId="d759f705-629c-4441-b705-ea2fdbd522aa" providerId="ADAL" clId="{44CB5224-51B6-481C-9677-C70530AFE879}" dt="2025-10-23T01:29:23.630" v="436" actId="947"/>
          <ac:spMkLst>
            <pc:docMk/>
            <pc:sldMk cId="479191838" sldId="256"/>
            <ac:spMk id="463" creationId="{4FC37F19-B107-7A40-C2C8-8B6436A6A6C9}"/>
          </ac:spMkLst>
        </pc:spChg>
        <pc:spChg chg="mod">
          <ac:chgData name="Bishal Ganguly2" userId="d759f705-629c-4441-b705-ea2fdbd522aa" providerId="ADAL" clId="{44CB5224-51B6-481C-9677-C70530AFE879}" dt="2025-10-23T01:29:23.368" v="147"/>
          <ac:spMkLst>
            <pc:docMk/>
            <pc:sldMk cId="479191838" sldId="256"/>
            <ac:spMk id="466" creationId="{5EC44139-B192-01C3-8FD1-286C410E2659}"/>
          </ac:spMkLst>
        </pc:spChg>
        <pc:spChg chg="mod">
          <ac:chgData name="Bishal Ganguly2" userId="d759f705-629c-4441-b705-ea2fdbd522aa" providerId="ADAL" clId="{44CB5224-51B6-481C-9677-C70530AFE879}" dt="2025-10-23T01:29:23.368" v="145"/>
          <ac:spMkLst>
            <pc:docMk/>
            <pc:sldMk cId="479191838" sldId="256"/>
            <ac:spMk id="467" creationId="{26834EE1-9746-87E0-AE50-8DC06D272D93}"/>
          </ac:spMkLst>
        </pc:spChg>
        <pc:spChg chg="mod">
          <ac:chgData name="Bishal Ganguly2" userId="d759f705-629c-4441-b705-ea2fdbd522aa" providerId="ADAL" clId="{44CB5224-51B6-481C-9677-C70530AFE879}" dt="2025-10-23T01:29:23.379" v="153"/>
          <ac:spMkLst>
            <pc:docMk/>
            <pc:sldMk cId="479191838" sldId="256"/>
            <ac:spMk id="469" creationId="{0AD14633-1276-C74B-F8B9-0BD5C1945CEF}"/>
          </ac:spMkLst>
        </pc:spChg>
        <pc:spChg chg="mod">
          <ac:chgData name="Bishal Ganguly2" userId="d759f705-629c-4441-b705-ea2fdbd522aa" providerId="ADAL" clId="{44CB5224-51B6-481C-9677-C70530AFE879}" dt="2025-10-23T01:29:23.379" v="151"/>
          <ac:spMkLst>
            <pc:docMk/>
            <pc:sldMk cId="479191838" sldId="256"/>
            <ac:spMk id="470" creationId="{D986BBEF-3F5A-E954-CC60-3957DD9AE633}"/>
          </ac:spMkLst>
        </pc:spChg>
        <pc:spChg chg="mod">
          <ac:chgData name="Bishal Ganguly2" userId="d759f705-629c-4441-b705-ea2fdbd522aa" providerId="ADAL" clId="{44CB5224-51B6-481C-9677-C70530AFE879}" dt="2025-10-23T01:29:23.384" v="157"/>
          <ac:spMkLst>
            <pc:docMk/>
            <pc:sldMk cId="479191838" sldId="256"/>
            <ac:spMk id="472" creationId="{186B0502-E458-26E9-C0FB-EEA5B7DD2A68}"/>
          </ac:spMkLst>
        </pc:spChg>
        <pc:spChg chg="mod">
          <ac:chgData name="Bishal Ganguly2" userId="d759f705-629c-4441-b705-ea2fdbd522aa" providerId="ADAL" clId="{44CB5224-51B6-481C-9677-C70530AFE879}" dt="2025-10-23T01:29:23.382" v="155"/>
          <ac:spMkLst>
            <pc:docMk/>
            <pc:sldMk cId="479191838" sldId="256"/>
            <ac:spMk id="473" creationId="{F72AC665-2A51-4F43-921D-6C489F10DF22}"/>
          </ac:spMkLst>
        </pc:spChg>
        <pc:spChg chg="mod">
          <ac:chgData name="Bishal Ganguly2" userId="d759f705-629c-4441-b705-ea2fdbd522aa" providerId="ADAL" clId="{44CB5224-51B6-481C-9677-C70530AFE879}" dt="2025-10-23T01:29:23.386" v="161"/>
          <ac:spMkLst>
            <pc:docMk/>
            <pc:sldMk cId="479191838" sldId="256"/>
            <ac:spMk id="477" creationId="{FFABFA03-291F-DCB8-00A7-CC417A454EDA}"/>
          </ac:spMkLst>
        </pc:spChg>
        <pc:spChg chg="mod">
          <ac:chgData name="Bishal Ganguly2" userId="d759f705-629c-4441-b705-ea2fdbd522aa" providerId="ADAL" clId="{44CB5224-51B6-481C-9677-C70530AFE879}" dt="2025-10-23T01:29:23.384" v="159"/>
          <ac:spMkLst>
            <pc:docMk/>
            <pc:sldMk cId="479191838" sldId="256"/>
            <ac:spMk id="478" creationId="{FB840157-C6EF-A3FB-6505-87F37A98252C}"/>
          </ac:spMkLst>
        </pc:spChg>
        <pc:spChg chg="mod">
          <ac:chgData name="Bishal Ganguly2" userId="d759f705-629c-4441-b705-ea2fdbd522aa" providerId="ADAL" clId="{44CB5224-51B6-481C-9677-C70530AFE879}" dt="2025-10-23T01:29:23.628" v="434" actId="947"/>
          <ac:spMkLst>
            <pc:docMk/>
            <pc:sldMk cId="479191838" sldId="256"/>
            <ac:spMk id="479" creationId="{31EFAE79-685D-1A95-C83F-FEA91E68F0A7}"/>
          </ac:spMkLst>
        </pc:spChg>
        <pc:spChg chg="mod">
          <ac:chgData name="Bishal Ganguly2" userId="d759f705-629c-4441-b705-ea2fdbd522aa" providerId="ADAL" clId="{44CB5224-51B6-481C-9677-C70530AFE879}" dt="2025-10-23T01:29:23.626" v="432" actId="947"/>
          <ac:spMkLst>
            <pc:docMk/>
            <pc:sldMk cId="479191838" sldId="256"/>
            <ac:spMk id="480" creationId="{85144CDB-A076-7A63-E318-5777275549C6}"/>
          </ac:spMkLst>
        </pc:spChg>
        <pc:spChg chg="mod">
          <ac:chgData name="Bishal Ganguly2" userId="d759f705-629c-4441-b705-ea2fdbd522aa" providerId="ADAL" clId="{44CB5224-51B6-481C-9677-C70530AFE879}" dt="2025-10-23T01:29:23.624" v="430" actId="947"/>
          <ac:spMkLst>
            <pc:docMk/>
            <pc:sldMk cId="479191838" sldId="256"/>
            <ac:spMk id="481" creationId="{014F6C62-D9C3-F348-AAB7-5D8CB5140800}"/>
          </ac:spMkLst>
        </pc:spChg>
        <pc:spChg chg="mod">
          <ac:chgData name="Bishal Ganguly2" userId="d759f705-629c-4441-b705-ea2fdbd522aa" providerId="ADAL" clId="{44CB5224-51B6-481C-9677-C70530AFE879}" dt="2025-10-23T01:29:23.622" v="428" actId="947"/>
          <ac:spMkLst>
            <pc:docMk/>
            <pc:sldMk cId="479191838" sldId="256"/>
            <ac:spMk id="483" creationId="{4E4745D8-1F66-E89E-9B26-615ADE726422}"/>
          </ac:spMkLst>
        </pc:spChg>
        <pc:spChg chg="mod">
          <ac:chgData name="Bishal Ganguly2" userId="d759f705-629c-4441-b705-ea2fdbd522aa" providerId="ADAL" clId="{44CB5224-51B6-481C-9677-C70530AFE879}" dt="2025-10-23T01:29:23.620" v="426" actId="947"/>
          <ac:spMkLst>
            <pc:docMk/>
            <pc:sldMk cId="479191838" sldId="256"/>
            <ac:spMk id="484" creationId="{FA37B397-11B5-4AD6-F5E2-A8D5682F610C}"/>
          </ac:spMkLst>
        </pc:spChg>
        <pc:spChg chg="mod">
          <ac:chgData name="Bishal Ganguly2" userId="d759f705-629c-4441-b705-ea2fdbd522aa" providerId="ADAL" clId="{44CB5224-51B6-481C-9677-C70530AFE879}" dt="2025-10-23T01:29:23.618" v="424" actId="947"/>
          <ac:spMkLst>
            <pc:docMk/>
            <pc:sldMk cId="479191838" sldId="256"/>
            <ac:spMk id="485" creationId="{09867701-5066-1152-68FC-4E3CF8B6C190}"/>
          </ac:spMkLst>
        </pc:spChg>
        <pc:spChg chg="mod">
          <ac:chgData name="Bishal Ganguly2" userId="d759f705-629c-4441-b705-ea2fdbd522aa" providerId="ADAL" clId="{44CB5224-51B6-481C-9677-C70530AFE879}" dt="2025-10-23T01:29:23.616" v="422"/>
          <ac:spMkLst>
            <pc:docMk/>
            <pc:sldMk cId="479191838" sldId="256"/>
            <ac:spMk id="487" creationId="{7CB7721A-5384-0764-E86C-13BE289A1F39}"/>
          </ac:spMkLst>
        </pc:spChg>
        <pc:spChg chg="mod">
          <ac:chgData name="Bishal Ganguly2" userId="d759f705-629c-4441-b705-ea2fdbd522aa" providerId="ADAL" clId="{44CB5224-51B6-481C-9677-C70530AFE879}" dt="2025-10-23T01:29:23.614" v="420" actId="947"/>
          <ac:spMkLst>
            <pc:docMk/>
            <pc:sldMk cId="479191838" sldId="256"/>
            <ac:spMk id="489" creationId="{D55A0A02-8F3D-48CE-6E77-7D67430F5AC4}"/>
          </ac:spMkLst>
        </pc:spChg>
        <pc:spChg chg="mod">
          <ac:chgData name="Bishal Ganguly2" userId="d759f705-629c-4441-b705-ea2fdbd522aa" providerId="ADAL" clId="{44CB5224-51B6-481C-9677-C70530AFE879}" dt="2025-10-23T01:29:23.612" v="418"/>
          <ac:spMkLst>
            <pc:docMk/>
            <pc:sldMk cId="479191838" sldId="256"/>
            <ac:spMk id="491" creationId="{8AF83FB9-45C4-2608-9EB4-25500997A074}"/>
          </ac:spMkLst>
        </pc:spChg>
        <pc:spChg chg="mod">
          <ac:chgData name="Bishal Ganguly2" userId="d759f705-629c-4441-b705-ea2fdbd522aa" providerId="ADAL" clId="{44CB5224-51B6-481C-9677-C70530AFE879}" dt="2025-10-23T01:29:23.610" v="416"/>
          <ac:spMkLst>
            <pc:docMk/>
            <pc:sldMk cId="479191838" sldId="256"/>
            <ac:spMk id="492" creationId="{DA810A91-5B07-DD90-B984-CA883D15D75C}"/>
          </ac:spMkLst>
        </pc:spChg>
        <pc:spChg chg="mod">
          <ac:chgData name="Bishal Ganguly2" userId="d759f705-629c-4441-b705-ea2fdbd522aa" providerId="ADAL" clId="{44CB5224-51B6-481C-9677-C70530AFE879}" dt="2025-10-23T01:29:23.610" v="414" actId="947"/>
          <ac:spMkLst>
            <pc:docMk/>
            <pc:sldMk cId="479191838" sldId="256"/>
            <ac:spMk id="493" creationId="{DF9FAA95-E183-C805-A765-1975B5CBA8E3}"/>
          </ac:spMkLst>
        </pc:spChg>
        <pc:spChg chg="mod">
          <ac:chgData name="Bishal Ganguly2" userId="d759f705-629c-4441-b705-ea2fdbd522aa" providerId="ADAL" clId="{44CB5224-51B6-481C-9677-C70530AFE879}" dt="2025-10-23T01:29:23.608" v="412" actId="947"/>
          <ac:spMkLst>
            <pc:docMk/>
            <pc:sldMk cId="479191838" sldId="256"/>
            <ac:spMk id="494" creationId="{BA8174A9-63DD-EAA9-0B5C-7207A33A6441}"/>
          </ac:spMkLst>
        </pc:spChg>
        <pc:spChg chg="mod">
          <ac:chgData name="Bishal Ganguly2" userId="d759f705-629c-4441-b705-ea2fdbd522aa" providerId="ADAL" clId="{44CB5224-51B6-481C-9677-C70530AFE879}" dt="2025-10-23T01:29:23.606" v="410" actId="947"/>
          <ac:spMkLst>
            <pc:docMk/>
            <pc:sldMk cId="479191838" sldId="256"/>
            <ac:spMk id="495" creationId="{E8578E7B-E4D2-2FF1-1ECA-85350328142D}"/>
          </ac:spMkLst>
        </pc:spChg>
        <pc:spChg chg="mod">
          <ac:chgData name="Bishal Ganguly2" userId="d759f705-629c-4441-b705-ea2fdbd522aa" providerId="ADAL" clId="{44CB5224-51B6-481C-9677-C70530AFE879}" dt="2025-10-23T01:29:23.604" v="408" actId="947"/>
          <ac:spMkLst>
            <pc:docMk/>
            <pc:sldMk cId="479191838" sldId="256"/>
            <ac:spMk id="496" creationId="{5CCF5E10-D7A7-34CA-BB56-C8B572AA811E}"/>
          </ac:spMkLst>
        </pc:spChg>
        <pc:spChg chg="mod">
          <ac:chgData name="Bishal Ganguly2" userId="d759f705-629c-4441-b705-ea2fdbd522aa" providerId="ADAL" clId="{44CB5224-51B6-481C-9677-C70530AFE879}" dt="2025-10-23T01:29:23.602" v="406" actId="947"/>
          <ac:spMkLst>
            <pc:docMk/>
            <pc:sldMk cId="479191838" sldId="256"/>
            <ac:spMk id="497" creationId="{8AD4B252-0640-BBC5-1C26-7FDDB76923F4}"/>
          </ac:spMkLst>
        </pc:spChg>
        <pc:spChg chg="mod">
          <ac:chgData name="Bishal Ganguly2" userId="d759f705-629c-4441-b705-ea2fdbd522aa" providerId="ADAL" clId="{44CB5224-51B6-481C-9677-C70530AFE879}" dt="2025-10-23T01:29:23.600" v="404" actId="947"/>
          <ac:spMkLst>
            <pc:docMk/>
            <pc:sldMk cId="479191838" sldId="256"/>
            <ac:spMk id="499" creationId="{3C8A2DE1-52D5-F264-5C54-A3889A82A002}"/>
          </ac:spMkLst>
        </pc:spChg>
        <pc:spChg chg="mod">
          <ac:chgData name="Bishal Ganguly2" userId="d759f705-629c-4441-b705-ea2fdbd522aa" providerId="ADAL" clId="{44CB5224-51B6-481C-9677-C70530AFE879}" dt="2025-10-23T01:29:23.598" v="402" actId="947"/>
          <ac:spMkLst>
            <pc:docMk/>
            <pc:sldMk cId="479191838" sldId="256"/>
            <ac:spMk id="500" creationId="{E1580870-13F7-B878-B68E-5BE129B9A6FC}"/>
          </ac:spMkLst>
        </pc:spChg>
        <pc:spChg chg="mod">
          <ac:chgData name="Bishal Ganguly2" userId="d759f705-629c-4441-b705-ea2fdbd522aa" providerId="ADAL" clId="{44CB5224-51B6-481C-9677-C70530AFE879}" dt="2025-10-23T01:29:23.596" v="400" actId="947"/>
          <ac:spMkLst>
            <pc:docMk/>
            <pc:sldMk cId="479191838" sldId="256"/>
            <ac:spMk id="501" creationId="{7C2F2E03-091D-1B9A-3B0D-9581F02671DE}"/>
          </ac:spMkLst>
        </pc:spChg>
        <pc:spChg chg="mod">
          <ac:chgData name="Bishal Ganguly2" userId="d759f705-629c-4441-b705-ea2fdbd522aa" providerId="ADAL" clId="{44CB5224-51B6-481C-9677-C70530AFE879}" dt="2025-10-23T01:29:23.592" v="398" actId="947"/>
          <ac:spMkLst>
            <pc:docMk/>
            <pc:sldMk cId="479191838" sldId="256"/>
            <ac:spMk id="503" creationId="{3783120D-561E-FD48-ADDA-3F080D120EA4}"/>
          </ac:spMkLst>
        </pc:spChg>
        <pc:spChg chg="mod">
          <ac:chgData name="Bishal Ganguly2" userId="d759f705-629c-4441-b705-ea2fdbd522aa" providerId="ADAL" clId="{44CB5224-51B6-481C-9677-C70530AFE879}" dt="2025-10-23T01:29:23.590" v="396" actId="947"/>
          <ac:spMkLst>
            <pc:docMk/>
            <pc:sldMk cId="479191838" sldId="256"/>
            <ac:spMk id="504" creationId="{7789B1C5-3292-11E7-ED3F-C7AE1E9AFCBF}"/>
          </ac:spMkLst>
        </pc:spChg>
        <pc:spChg chg="mod">
          <ac:chgData name="Bishal Ganguly2" userId="d759f705-629c-4441-b705-ea2fdbd522aa" providerId="ADAL" clId="{44CB5224-51B6-481C-9677-C70530AFE879}" dt="2025-10-23T01:29:23.588" v="394" actId="947"/>
          <ac:spMkLst>
            <pc:docMk/>
            <pc:sldMk cId="479191838" sldId="256"/>
            <ac:spMk id="505" creationId="{8C9E63E1-2AA9-01A0-D3FF-59C9311EB00A}"/>
          </ac:spMkLst>
        </pc:spChg>
        <pc:spChg chg="mod">
          <ac:chgData name="Bishal Ganguly2" userId="d759f705-629c-4441-b705-ea2fdbd522aa" providerId="ADAL" clId="{44CB5224-51B6-481C-9677-C70530AFE879}" dt="2025-10-23T01:29:23.586" v="392" actId="947"/>
          <ac:spMkLst>
            <pc:docMk/>
            <pc:sldMk cId="479191838" sldId="256"/>
            <ac:spMk id="508" creationId="{A5AA7EB0-675C-36FA-F10A-B323A1F1549A}"/>
          </ac:spMkLst>
        </pc:spChg>
        <pc:spChg chg="mod">
          <ac:chgData name="Bishal Ganguly2" userId="d759f705-629c-4441-b705-ea2fdbd522aa" providerId="ADAL" clId="{44CB5224-51B6-481C-9677-C70530AFE879}" dt="2025-10-23T01:29:23.584" v="390"/>
          <ac:spMkLst>
            <pc:docMk/>
            <pc:sldMk cId="479191838" sldId="256"/>
            <ac:spMk id="509" creationId="{63321B38-4E80-ADD9-4048-7933CF82F9E0}"/>
          </ac:spMkLst>
        </pc:spChg>
        <pc:spChg chg="mod">
          <ac:chgData name="Bishal Ganguly2" userId="d759f705-629c-4441-b705-ea2fdbd522aa" providerId="ADAL" clId="{44CB5224-51B6-481C-9677-C70530AFE879}" dt="2025-10-23T01:29:23.583" v="388"/>
          <ac:spMkLst>
            <pc:docMk/>
            <pc:sldMk cId="479191838" sldId="256"/>
            <ac:spMk id="510" creationId="{6696BDB3-A6F1-7FDB-0761-F8B2CE62DE99}"/>
          </ac:spMkLst>
        </pc:spChg>
        <pc:grpChg chg="mod">
          <ac:chgData name="Bishal Ganguly2" userId="d759f705-629c-4441-b705-ea2fdbd522aa" providerId="ADAL" clId="{44CB5224-51B6-481C-9677-C70530AFE879}" dt="2025-10-23T01:29:23.269" v="78"/>
          <ac:grpSpMkLst>
            <pc:docMk/>
            <pc:sldMk cId="479191838" sldId="256"/>
            <ac:grpSpMk id="340" creationId="{CCECFFAD-AC5B-DED2-E965-ECDE24E64983}"/>
          </ac:grpSpMkLst>
        </pc:grpChg>
        <pc:grpChg chg="mod">
          <ac:chgData name="Bishal Ganguly2" userId="d759f705-629c-4441-b705-ea2fdbd522aa" providerId="ADAL" clId="{44CB5224-51B6-481C-9677-C70530AFE879}" dt="2025-10-23T01:29:23.269" v="78"/>
          <ac:grpSpMkLst>
            <pc:docMk/>
            <pc:sldMk cId="479191838" sldId="256"/>
            <ac:grpSpMk id="381" creationId="{8119C9FB-2025-84C6-85AE-AE9733310D7B}"/>
          </ac:grpSpMkLst>
        </pc:grpChg>
        <pc:graphicFrameChg chg="mod">
          <ac:chgData name="Bishal Ganguly2" userId="d759f705-629c-4441-b705-ea2fdbd522aa" providerId="ADAL" clId="{44CB5224-51B6-481C-9677-C70530AFE879}" dt="2025-10-23T01:29:23.743" v="522"/>
          <ac:graphicFrameMkLst>
            <pc:docMk/>
            <pc:sldMk cId="479191838" sldId="256"/>
            <ac:graphicFrameMk id="5" creationId="{506490FD-B0CC-2E01-EBB2-01144A771A80}"/>
          </ac:graphicFrameMkLst>
        </pc:graphicFrameChg>
      </pc:sldChg>
    </pc:docChg>
  </pc:docChgLst>
  <pc:docChgLst>
    <pc:chgData name="Vuppalur Lakshmi Samyuktha" userId="97253fd7-19f2-4e22-9389-6c2008099fc7" providerId="ADAL" clId="{0130BCA8-60CB-44A7-A887-1EB0F407AE50}"/>
    <pc:docChg chg="modSld">
      <pc:chgData name="Vuppalur Lakshmi Samyuktha" userId="97253fd7-19f2-4e22-9389-6c2008099fc7" providerId="ADAL" clId="{0130BCA8-60CB-44A7-A887-1EB0F407AE50}" dt="2025-10-23T07:39:19.461" v="3" actId="14100"/>
      <pc:docMkLst>
        <pc:docMk/>
      </pc:docMkLst>
      <pc:sldChg chg="modSp mod">
        <pc:chgData name="Vuppalur Lakshmi Samyuktha" userId="97253fd7-19f2-4e22-9389-6c2008099fc7" providerId="ADAL" clId="{0130BCA8-60CB-44A7-A887-1EB0F407AE50}" dt="2025-10-23T07:39:19.461" v="3" actId="14100"/>
        <pc:sldMkLst>
          <pc:docMk/>
          <pc:sldMk cId="479191838" sldId="256"/>
        </pc:sldMkLst>
        <pc:grpChg chg="mod">
          <ac:chgData name="Vuppalur Lakshmi Samyuktha" userId="97253fd7-19f2-4e22-9389-6c2008099fc7" providerId="ADAL" clId="{0130BCA8-60CB-44A7-A887-1EB0F407AE50}" dt="2025-10-23T07:39:19.461" v="3" actId="14100"/>
          <ac:grpSpMkLst>
            <pc:docMk/>
            <pc:sldMk cId="479191838" sldId="256"/>
            <ac:grpSpMk id="30" creationId="{8DFC978C-A385-4A44-C9FA-FE1E6E88F1C5}"/>
          </ac:grpSpMkLst>
        </pc:grpChg>
      </pc:sldChg>
    </pc:docChg>
  </pc:docChgLst>
  <pc:docChgLst>
    <pc:chgData name="Atchi Padmarani" userId="fe059d67-2bf4-46a8-ba9e-d5041048c89a" providerId="ADAL" clId="{BE86370A-B29F-4F42-BC7C-8661773008D0}"/>
    <pc:docChg chg="undo redo custSel addSld delSld modSld delMainMaster modSection">
      <pc:chgData name="Atchi Padmarani" userId="fe059d67-2bf4-46a8-ba9e-d5041048c89a" providerId="ADAL" clId="{BE86370A-B29F-4F42-BC7C-8661773008D0}" dt="2025-10-23T05:50:26.373" v="9249" actId="478"/>
      <pc:docMkLst>
        <pc:docMk/>
      </pc:docMkLst>
      <pc:sldChg chg="addSp delSp modSp mod chgLayout">
        <pc:chgData name="Atchi Padmarani" userId="fe059d67-2bf4-46a8-ba9e-d5041048c89a" providerId="ADAL" clId="{BE86370A-B29F-4F42-BC7C-8661773008D0}" dt="2025-10-23T05:39:29.812" v="7706"/>
        <pc:sldMkLst>
          <pc:docMk/>
          <pc:sldMk cId="479191838" sldId="256"/>
        </pc:sldMkLst>
        <pc:spChg chg="mod ord">
          <ac:chgData name="Atchi Padmarani" userId="fe059d67-2bf4-46a8-ba9e-d5041048c89a" providerId="ADAL" clId="{BE86370A-B29F-4F42-BC7C-8661773008D0}" dt="2025-10-23T05:37:04.605" v="7155"/>
          <ac:spMkLst>
            <pc:docMk/>
            <pc:sldMk cId="479191838" sldId="256"/>
            <ac:spMk id="2" creationId="{4B753305-937B-163B-ECAD-86761C5BADD2}"/>
          </ac:spMkLst>
        </pc:spChg>
        <pc:spChg chg="mod">
          <ac:chgData name="Atchi Padmarani" userId="fe059d67-2bf4-46a8-ba9e-d5041048c89a" providerId="ADAL" clId="{BE86370A-B29F-4F42-BC7C-8661773008D0}" dt="2025-10-23T05:37:04.712" v="7452"/>
          <ac:spMkLst>
            <pc:docMk/>
            <pc:sldMk cId="479191838" sldId="256"/>
            <ac:spMk id="3" creationId="{9A3E48AB-E6DA-A254-3D41-964DCBF6F130}"/>
          </ac:spMkLst>
        </pc:spChg>
        <pc:spChg chg="mod ord">
          <ac:chgData name="Atchi Padmarani" userId="fe059d67-2bf4-46a8-ba9e-d5041048c89a" providerId="ADAL" clId="{BE86370A-B29F-4F42-BC7C-8661773008D0}" dt="2025-10-23T05:37:04.672" v="7337"/>
          <ac:spMkLst>
            <pc:docMk/>
            <pc:sldMk cId="479191838" sldId="256"/>
            <ac:spMk id="4" creationId="{C80C2CDF-BB8D-7D88-247B-7040CE893D3D}"/>
          </ac:spMkLst>
        </pc:spChg>
        <pc:spChg chg="mod">
          <ac:chgData name="Atchi Padmarani" userId="fe059d67-2bf4-46a8-ba9e-d5041048c89a" providerId="ADAL" clId="{BE86370A-B29F-4F42-BC7C-8661773008D0}" dt="2025-10-23T05:37:04.725" v="7479"/>
          <ac:spMkLst>
            <pc:docMk/>
            <pc:sldMk cId="479191838" sldId="256"/>
            <ac:spMk id="6" creationId="{A326B85F-0529-8704-DADA-0E265B2B3F11}"/>
          </ac:spMkLst>
        </pc:spChg>
        <pc:spChg chg="add mod">
          <ac:chgData name="Atchi Padmarani" userId="fe059d67-2bf4-46a8-ba9e-d5041048c89a" providerId="ADAL" clId="{BE86370A-B29F-4F42-BC7C-8661773008D0}" dt="2025-10-23T04:35:07.885" v="3"/>
          <ac:spMkLst>
            <pc:docMk/>
            <pc:sldMk cId="479191838" sldId="256"/>
            <ac:spMk id="7" creationId="{453438A7-9E18-C53D-1228-1284773CEF8A}"/>
          </ac:spMkLst>
        </pc:spChg>
        <pc:spChg chg="mod ord">
          <ac:chgData name="Atchi Padmarani" userId="fe059d67-2bf4-46a8-ba9e-d5041048c89a" providerId="ADAL" clId="{BE86370A-B29F-4F42-BC7C-8661773008D0}" dt="2025-10-23T05:37:04.605" v="7161"/>
          <ac:spMkLst>
            <pc:docMk/>
            <pc:sldMk cId="479191838" sldId="256"/>
            <ac:spMk id="8" creationId="{E27C6431-1CC2-6964-933F-15ADB9A4BCA5}"/>
          </ac:spMkLst>
        </pc:spChg>
        <pc:spChg chg="add del mod">
          <ac:chgData name="Atchi Padmarani" userId="fe059d67-2bf4-46a8-ba9e-d5041048c89a" providerId="ADAL" clId="{BE86370A-B29F-4F42-BC7C-8661773008D0}" dt="2025-10-23T04:35:12.543" v="6" actId="6264"/>
          <ac:spMkLst>
            <pc:docMk/>
            <pc:sldMk cId="479191838" sldId="256"/>
            <ac:spMk id="9" creationId="{BE194725-3F85-87B6-B67E-312C9EE1B6E7}"/>
          </ac:spMkLst>
        </pc:spChg>
        <pc:spChg chg="add del mod modVis">
          <ac:chgData name="Atchi Padmarani" userId="fe059d67-2bf4-46a8-ba9e-d5041048c89a" providerId="ADAL" clId="{BE86370A-B29F-4F42-BC7C-8661773008D0}" dt="2025-10-23T04:35:12.834" v="28"/>
          <ac:spMkLst>
            <pc:docMk/>
            <pc:sldMk cId="479191838" sldId="256"/>
            <ac:spMk id="12" creationId="{663AAB72-18BC-BA0A-C30A-44953679836B}"/>
          </ac:spMkLst>
        </pc:spChg>
        <pc:spChg chg="del">
          <ac:chgData name="Atchi Padmarani" userId="fe059d67-2bf4-46a8-ba9e-d5041048c89a" providerId="ADAL" clId="{BE86370A-B29F-4F42-BC7C-8661773008D0}" dt="2025-10-23T04:35:34.727" v="58" actId="478"/>
          <ac:spMkLst>
            <pc:docMk/>
            <pc:sldMk cId="479191838" sldId="256"/>
            <ac:spMk id="18" creationId="{D1FF08C9-8FE3-FACA-EE46-6DF3E3C4AA34}"/>
          </ac:spMkLst>
        </pc:spChg>
        <pc:spChg chg="mod">
          <ac:chgData name="Atchi Padmarani" userId="fe059d67-2bf4-46a8-ba9e-d5041048c89a" providerId="ADAL" clId="{BE86370A-B29F-4F42-BC7C-8661773008D0}" dt="2025-10-23T05:37:04.712" v="7453"/>
          <ac:spMkLst>
            <pc:docMk/>
            <pc:sldMk cId="479191838" sldId="256"/>
            <ac:spMk id="20" creationId="{8317ACFD-5C49-DFA4-DD4E-73785CCC1E40}"/>
          </ac:spMkLst>
        </pc:spChg>
        <pc:spChg chg="mod ord">
          <ac:chgData name="Atchi Padmarani" userId="fe059d67-2bf4-46a8-ba9e-d5041048c89a" providerId="ADAL" clId="{BE86370A-B29F-4F42-BC7C-8661773008D0}" dt="2025-10-23T05:37:04.672" v="7339"/>
          <ac:spMkLst>
            <pc:docMk/>
            <pc:sldMk cId="479191838" sldId="256"/>
            <ac:spMk id="21" creationId="{965685C3-16DB-C1A2-8C2E-20098157C2E9}"/>
          </ac:spMkLst>
        </pc:spChg>
        <pc:spChg chg="add del mod modVis">
          <ac:chgData name="Atchi Padmarani" userId="fe059d67-2bf4-46a8-ba9e-d5041048c89a" providerId="ADAL" clId="{BE86370A-B29F-4F42-BC7C-8661773008D0}" dt="2025-10-23T04:35:18.761" v="55"/>
          <ac:spMkLst>
            <pc:docMk/>
            <pc:sldMk cId="479191838" sldId="256"/>
            <ac:spMk id="22" creationId="{85E8488E-E9B4-33E3-7055-FFEBA18B6364}"/>
          </ac:spMkLst>
        </pc:spChg>
        <pc:spChg chg="mod topLvl">
          <ac:chgData name="Atchi Padmarani" userId="fe059d67-2bf4-46a8-ba9e-d5041048c89a" providerId="ADAL" clId="{BE86370A-B29F-4F42-BC7C-8661773008D0}" dt="2025-10-23T05:37:04.742" v="7513"/>
          <ac:spMkLst>
            <pc:docMk/>
            <pc:sldMk cId="479191838" sldId="256"/>
            <ac:spMk id="23" creationId="{0845FB53-C9A7-AC67-FCBB-B8697E8D4E41}"/>
          </ac:spMkLst>
        </pc:spChg>
        <pc:spChg chg="mod topLvl">
          <ac:chgData name="Atchi Padmarani" userId="fe059d67-2bf4-46a8-ba9e-d5041048c89a" providerId="ADAL" clId="{BE86370A-B29F-4F42-BC7C-8661773008D0}" dt="2025-10-23T05:37:04.743" v="7514"/>
          <ac:spMkLst>
            <pc:docMk/>
            <pc:sldMk cId="479191838" sldId="256"/>
            <ac:spMk id="24" creationId="{D1838F45-91A8-C12C-AF8B-78923E2FB635}"/>
          </ac:spMkLst>
        </pc:spChg>
        <pc:spChg chg="mod">
          <ac:chgData name="Atchi Padmarani" userId="fe059d67-2bf4-46a8-ba9e-d5041048c89a" providerId="ADAL" clId="{BE86370A-B29F-4F42-BC7C-8661773008D0}" dt="2025-10-23T05:37:04.605" v="7156"/>
          <ac:spMkLst>
            <pc:docMk/>
            <pc:sldMk cId="479191838" sldId="256"/>
            <ac:spMk id="25" creationId="{9F066712-E467-E876-5984-B16DB469080D}"/>
          </ac:spMkLst>
        </pc:spChg>
        <pc:spChg chg="mod topLvl">
          <ac:chgData name="Atchi Padmarani" userId="fe059d67-2bf4-46a8-ba9e-d5041048c89a" providerId="ADAL" clId="{BE86370A-B29F-4F42-BC7C-8661773008D0}" dt="2025-10-23T05:37:04.743" v="7515"/>
          <ac:spMkLst>
            <pc:docMk/>
            <pc:sldMk cId="479191838" sldId="256"/>
            <ac:spMk id="26" creationId="{D5E1F0E3-65F6-3278-3733-944733F6C53F}"/>
          </ac:spMkLst>
        </pc:spChg>
        <pc:spChg chg="mod ord">
          <ac:chgData name="Atchi Padmarani" userId="fe059d67-2bf4-46a8-ba9e-d5041048c89a" providerId="ADAL" clId="{BE86370A-B29F-4F42-BC7C-8661773008D0}" dt="2025-10-23T05:37:04.605" v="7163"/>
          <ac:spMkLst>
            <pc:docMk/>
            <pc:sldMk cId="479191838" sldId="256"/>
            <ac:spMk id="27" creationId="{EC7569DC-2598-6133-8E49-4C316059C18B}"/>
          </ac:spMkLst>
        </pc:spChg>
        <pc:spChg chg="mod ord">
          <ac:chgData name="Atchi Padmarani" userId="fe059d67-2bf4-46a8-ba9e-d5041048c89a" providerId="ADAL" clId="{BE86370A-B29F-4F42-BC7C-8661773008D0}" dt="2025-10-23T05:37:04.605" v="7165"/>
          <ac:spMkLst>
            <pc:docMk/>
            <pc:sldMk cId="479191838" sldId="256"/>
            <ac:spMk id="28" creationId="{E8831E95-80A2-8ABE-C703-392545C7254D}"/>
          </ac:spMkLst>
        </pc:spChg>
        <pc:spChg chg="mod">
          <ac:chgData name="Atchi Padmarani" userId="fe059d67-2bf4-46a8-ba9e-d5041048c89a" providerId="ADAL" clId="{BE86370A-B29F-4F42-BC7C-8661773008D0}" dt="2025-10-23T04:40:25.346" v="171"/>
          <ac:spMkLst>
            <pc:docMk/>
            <pc:sldMk cId="479191838" sldId="256"/>
            <ac:spMk id="31" creationId="{EBF47FED-CDDA-CA77-1E70-38D366D9F1BA}"/>
          </ac:spMkLst>
        </pc:spChg>
        <pc:spChg chg="mod ord">
          <ac:chgData name="Atchi Padmarani" userId="fe059d67-2bf4-46a8-ba9e-d5041048c89a" providerId="ADAL" clId="{BE86370A-B29F-4F42-BC7C-8661773008D0}" dt="2025-10-23T05:37:04.694" v="7391"/>
          <ac:spMkLst>
            <pc:docMk/>
            <pc:sldMk cId="479191838" sldId="256"/>
            <ac:spMk id="33" creationId="{D3CD00E0-8EA7-DE21-782E-EAF903BE7135}"/>
          </ac:spMkLst>
        </pc:spChg>
        <pc:spChg chg="mod ord">
          <ac:chgData name="Atchi Padmarani" userId="fe059d67-2bf4-46a8-ba9e-d5041048c89a" providerId="ADAL" clId="{BE86370A-B29F-4F42-BC7C-8661773008D0}" dt="2025-10-23T05:37:04.694" v="7393"/>
          <ac:spMkLst>
            <pc:docMk/>
            <pc:sldMk cId="479191838" sldId="256"/>
            <ac:spMk id="34" creationId="{1549EF73-564B-D155-0BD7-91EBD687154D}"/>
          </ac:spMkLst>
        </pc:spChg>
        <pc:spChg chg="mod">
          <ac:chgData name="Atchi Padmarani" userId="fe059d67-2bf4-46a8-ba9e-d5041048c89a" providerId="ADAL" clId="{BE86370A-B29F-4F42-BC7C-8661773008D0}" dt="2025-10-23T04:40:25.346" v="171"/>
          <ac:spMkLst>
            <pc:docMk/>
            <pc:sldMk cId="479191838" sldId="256"/>
            <ac:spMk id="36" creationId="{09A2258D-B792-D525-AFC2-0D11CADF4087}"/>
          </ac:spMkLst>
        </pc:spChg>
        <pc:spChg chg="mod ord topLvl">
          <ac:chgData name="Atchi Padmarani" userId="fe059d67-2bf4-46a8-ba9e-d5041048c89a" providerId="ADAL" clId="{BE86370A-B29F-4F42-BC7C-8661773008D0}" dt="2025-10-23T05:37:04.695" v="7395"/>
          <ac:spMkLst>
            <pc:docMk/>
            <pc:sldMk cId="479191838" sldId="256"/>
            <ac:spMk id="37" creationId="{A8537400-F558-21F9-A27F-FEEDBEFFC896}"/>
          </ac:spMkLst>
        </pc:spChg>
        <pc:spChg chg="mod ord">
          <ac:chgData name="Atchi Padmarani" userId="fe059d67-2bf4-46a8-ba9e-d5041048c89a" providerId="ADAL" clId="{BE86370A-B29F-4F42-BC7C-8661773008D0}" dt="2025-10-23T05:37:04.696" v="7397"/>
          <ac:spMkLst>
            <pc:docMk/>
            <pc:sldMk cId="479191838" sldId="256"/>
            <ac:spMk id="38" creationId="{F3D9D70C-D023-1713-690D-4D9396492C60}"/>
          </ac:spMkLst>
        </pc:spChg>
        <pc:spChg chg="mod">
          <ac:chgData name="Atchi Padmarani" userId="fe059d67-2bf4-46a8-ba9e-d5041048c89a" providerId="ADAL" clId="{BE86370A-B29F-4F42-BC7C-8661773008D0}" dt="2025-10-23T04:40:25.346" v="171"/>
          <ac:spMkLst>
            <pc:docMk/>
            <pc:sldMk cId="479191838" sldId="256"/>
            <ac:spMk id="39" creationId="{A0FE8C0F-2178-11C2-9140-B5962CB0AA7E}"/>
          </ac:spMkLst>
        </pc:spChg>
        <pc:spChg chg="mod ord">
          <ac:chgData name="Atchi Padmarani" userId="fe059d67-2bf4-46a8-ba9e-d5041048c89a" providerId="ADAL" clId="{BE86370A-B29F-4F42-BC7C-8661773008D0}" dt="2025-10-23T05:37:04.696" v="7399"/>
          <ac:spMkLst>
            <pc:docMk/>
            <pc:sldMk cId="479191838" sldId="256"/>
            <ac:spMk id="41" creationId="{8924FAD0-F956-CCA3-32AD-6CEB5C9808EF}"/>
          </ac:spMkLst>
        </pc:spChg>
        <pc:spChg chg="mod ord">
          <ac:chgData name="Atchi Padmarani" userId="fe059d67-2bf4-46a8-ba9e-d5041048c89a" providerId="ADAL" clId="{BE86370A-B29F-4F42-BC7C-8661773008D0}" dt="2025-10-23T05:37:04.697" v="7401"/>
          <ac:spMkLst>
            <pc:docMk/>
            <pc:sldMk cId="479191838" sldId="256"/>
            <ac:spMk id="42" creationId="{A3CDCB62-881B-ADCF-98CA-EF43D9981F96}"/>
          </ac:spMkLst>
        </pc:spChg>
        <pc:spChg chg="add mod ord">
          <ac:chgData name="Atchi Padmarani" userId="fe059d67-2bf4-46a8-ba9e-d5041048c89a" providerId="ADAL" clId="{BE86370A-B29F-4F42-BC7C-8661773008D0}" dt="2025-10-23T05:37:04.743" v="7525"/>
          <ac:spMkLst>
            <pc:docMk/>
            <pc:sldMk cId="479191838" sldId="256"/>
            <ac:spMk id="43" creationId="{678F2298-0875-71C1-2BBE-14C1937A3C47}"/>
          </ac:spMkLst>
        </pc:spChg>
        <pc:spChg chg="add mod ord">
          <ac:chgData name="Atchi Padmarani" userId="fe059d67-2bf4-46a8-ba9e-d5041048c89a" providerId="ADAL" clId="{BE86370A-B29F-4F42-BC7C-8661773008D0}" dt="2025-10-23T05:06:13.731" v="4387" actId="1037"/>
          <ac:spMkLst>
            <pc:docMk/>
            <pc:sldMk cId="479191838" sldId="256"/>
            <ac:spMk id="44" creationId="{11420B74-1D51-CE01-A817-301EADBB13AC}"/>
          </ac:spMkLst>
        </pc:spChg>
        <pc:spChg chg="mod ord">
          <ac:chgData name="Atchi Padmarani" userId="fe059d67-2bf4-46a8-ba9e-d5041048c89a" providerId="ADAL" clId="{BE86370A-B29F-4F42-BC7C-8661773008D0}" dt="2025-10-23T05:37:04.698" v="7403"/>
          <ac:spMkLst>
            <pc:docMk/>
            <pc:sldMk cId="479191838" sldId="256"/>
            <ac:spMk id="45" creationId="{375D6DDC-4F1F-32C2-1F93-7EF625A1C095}"/>
          </ac:spMkLst>
        </pc:spChg>
        <pc:spChg chg="mod ord">
          <ac:chgData name="Atchi Padmarani" userId="fe059d67-2bf4-46a8-ba9e-d5041048c89a" providerId="ADAL" clId="{BE86370A-B29F-4F42-BC7C-8661773008D0}" dt="2025-10-23T05:37:04.698" v="7405"/>
          <ac:spMkLst>
            <pc:docMk/>
            <pc:sldMk cId="479191838" sldId="256"/>
            <ac:spMk id="46" creationId="{5C788A27-3729-09AE-D43C-9AD7F1427B58}"/>
          </ac:spMkLst>
        </pc:spChg>
        <pc:spChg chg="mod ord topLvl">
          <ac:chgData name="Atchi Padmarani" userId="fe059d67-2bf4-46a8-ba9e-d5041048c89a" providerId="ADAL" clId="{BE86370A-B29F-4F42-BC7C-8661773008D0}" dt="2025-10-23T05:37:04.605" v="7167"/>
          <ac:spMkLst>
            <pc:docMk/>
            <pc:sldMk cId="479191838" sldId="256"/>
            <ac:spMk id="49" creationId="{E4299D83-9CE1-B483-A5A6-54907BCEA623}"/>
          </ac:spMkLst>
        </pc:spChg>
        <pc:spChg chg="mod ord">
          <ac:chgData name="Atchi Padmarani" userId="fe059d67-2bf4-46a8-ba9e-d5041048c89a" providerId="ADAL" clId="{BE86370A-B29F-4F42-BC7C-8661773008D0}" dt="2025-10-23T05:37:04.605" v="7169"/>
          <ac:spMkLst>
            <pc:docMk/>
            <pc:sldMk cId="479191838" sldId="256"/>
            <ac:spMk id="53" creationId="{EE5C8A0D-A1ED-30CC-80B7-99F0675A964F}"/>
          </ac:spMkLst>
        </pc:spChg>
        <pc:spChg chg="mod ord topLvl">
          <ac:chgData name="Atchi Padmarani" userId="fe059d67-2bf4-46a8-ba9e-d5041048c89a" providerId="ADAL" clId="{BE86370A-B29F-4F42-BC7C-8661773008D0}" dt="2025-10-23T05:37:04.605" v="7185"/>
          <ac:spMkLst>
            <pc:docMk/>
            <pc:sldMk cId="479191838" sldId="256"/>
            <ac:spMk id="54" creationId="{56975525-44DA-5ED2-3B18-FE29B84C5568}"/>
          </ac:spMkLst>
        </pc:spChg>
        <pc:spChg chg="del mod">
          <ac:chgData name="Atchi Padmarani" userId="fe059d67-2bf4-46a8-ba9e-d5041048c89a" providerId="ADAL" clId="{BE86370A-B29F-4F42-BC7C-8661773008D0}" dt="2025-10-23T04:54:25.309" v="1778" actId="478"/>
          <ac:spMkLst>
            <pc:docMk/>
            <pc:sldMk cId="479191838" sldId="256"/>
            <ac:spMk id="55" creationId="{F661063D-9635-73D4-A77F-8E9C64F20AFC}"/>
          </ac:spMkLst>
        </pc:spChg>
        <pc:spChg chg="mod ord">
          <ac:chgData name="Atchi Padmarani" userId="fe059d67-2bf4-46a8-ba9e-d5041048c89a" providerId="ADAL" clId="{BE86370A-B29F-4F42-BC7C-8661773008D0}" dt="2025-10-23T05:37:04.716" v="7458"/>
          <ac:spMkLst>
            <pc:docMk/>
            <pc:sldMk cId="479191838" sldId="256"/>
            <ac:spMk id="61" creationId="{354DF8B0-1FBF-20E1-BB60-CDAA8DCFFC16}"/>
          </ac:spMkLst>
        </pc:spChg>
        <pc:spChg chg="mod ord">
          <ac:chgData name="Atchi Padmarani" userId="fe059d67-2bf4-46a8-ba9e-d5041048c89a" providerId="ADAL" clId="{BE86370A-B29F-4F42-BC7C-8661773008D0}" dt="2025-10-23T05:37:04.699" v="7411"/>
          <ac:spMkLst>
            <pc:docMk/>
            <pc:sldMk cId="479191838" sldId="256"/>
            <ac:spMk id="62" creationId="{163CBAEB-285D-9D93-641A-0BB78396A794}"/>
          </ac:spMkLst>
        </pc:spChg>
        <pc:spChg chg="mod ord">
          <ac:chgData name="Atchi Padmarani" userId="fe059d67-2bf4-46a8-ba9e-d5041048c89a" providerId="ADAL" clId="{BE86370A-B29F-4F42-BC7C-8661773008D0}" dt="2025-10-23T05:37:04.701" v="7413"/>
          <ac:spMkLst>
            <pc:docMk/>
            <pc:sldMk cId="479191838" sldId="256"/>
            <ac:spMk id="63" creationId="{6BEDE1B2-362A-3CA5-274E-618EFACCD011}"/>
          </ac:spMkLst>
        </pc:spChg>
        <pc:spChg chg="mod ord">
          <ac:chgData name="Atchi Padmarani" userId="fe059d67-2bf4-46a8-ba9e-d5041048c89a" providerId="ADAL" clId="{BE86370A-B29F-4F42-BC7C-8661773008D0}" dt="2025-10-23T05:37:04.701" v="7415"/>
          <ac:spMkLst>
            <pc:docMk/>
            <pc:sldMk cId="479191838" sldId="256"/>
            <ac:spMk id="66" creationId="{44284BEF-6B68-12C3-5831-B6D559F02457}"/>
          </ac:spMkLst>
        </pc:spChg>
        <pc:spChg chg="mod ord">
          <ac:chgData name="Atchi Padmarani" userId="fe059d67-2bf4-46a8-ba9e-d5041048c89a" providerId="ADAL" clId="{BE86370A-B29F-4F42-BC7C-8661773008D0}" dt="2025-10-23T05:37:04.701" v="7417"/>
          <ac:spMkLst>
            <pc:docMk/>
            <pc:sldMk cId="479191838" sldId="256"/>
            <ac:spMk id="67" creationId="{9B078049-479E-F301-D0AA-35F71F564247}"/>
          </ac:spMkLst>
        </pc:spChg>
        <pc:spChg chg="mod ord">
          <ac:chgData name="Atchi Padmarani" userId="fe059d67-2bf4-46a8-ba9e-d5041048c89a" providerId="ADAL" clId="{BE86370A-B29F-4F42-BC7C-8661773008D0}" dt="2025-10-23T05:37:04.701" v="7419"/>
          <ac:spMkLst>
            <pc:docMk/>
            <pc:sldMk cId="479191838" sldId="256"/>
            <ac:spMk id="70" creationId="{E3883E95-E723-FA8F-4FD9-20EAEA4563B5}"/>
          </ac:spMkLst>
        </pc:spChg>
        <pc:spChg chg="mod ord">
          <ac:chgData name="Atchi Padmarani" userId="fe059d67-2bf4-46a8-ba9e-d5041048c89a" providerId="ADAL" clId="{BE86370A-B29F-4F42-BC7C-8661773008D0}" dt="2025-10-23T05:37:04.701" v="7421"/>
          <ac:spMkLst>
            <pc:docMk/>
            <pc:sldMk cId="479191838" sldId="256"/>
            <ac:spMk id="71" creationId="{ECF9729E-1261-8071-2A8D-CE8EEEF3C0BA}"/>
          </ac:spMkLst>
        </pc:spChg>
        <pc:spChg chg="mod ord">
          <ac:chgData name="Atchi Padmarani" userId="fe059d67-2bf4-46a8-ba9e-d5041048c89a" providerId="ADAL" clId="{BE86370A-B29F-4F42-BC7C-8661773008D0}" dt="2025-10-23T05:37:04.701" v="7423"/>
          <ac:spMkLst>
            <pc:docMk/>
            <pc:sldMk cId="479191838" sldId="256"/>
            <ac:spMk id="74" creationId="{30A2497A-B8EA-BBC9-7A13-AD783F590E7F}"/>
          </ac:spMkLst>
        </pc:spChg>
        <pc:spChg chg="mod ord">
          <ac:chgData name="Atchi Padmarani" userId="fe059d67-2bf4-46a8-ba9e-d5041048c89a" providerId="ADAL" clId="{BE86370A-B29F-4F42-BC7C-8661773008D0}" dt="2025-10-23T05:37:04.701" v="7425"/>
          <ac:spMkLst>
            <pc:docMk/>
            <pc:sldMk cId="479191838" sldId="256"/>
            <ac:spMk id="75" creationId="{88445527-DAF6-D485-7531-EE08D2979460}"/>
          </ac:spMkLst>
        </pc:spChg>
        <pc:spChg chg="mod ord">
          <ac:chgData name="Atchi Padmarani" userId="fe059d67-2bf4-46a8-ba9e-d5041048c89a" providerId="ADAL" clId="{BE86370A-B29F-4F42-BC7C-8661773008D0}" dt="2025-10-23T05:37:04.732" v="7498"/>
          <ac:spMkLst>
            <pc:docMk/>
            <pc:sldMk cId="479191838" sldId="256"/>
            <ac:spMk id="79" creationId="{1C5C84EC-F439-09DE-2FE3-8CCB479E1C47}"/>
          </ac:spMkLst>
        </pc:spChg>
        <pc:spChg chg="mod ord">
          <ac:chgData name="Atchi Padmarani" userId="fe059d67-2bf4-46a8-ba9e-d5041048c89a" providerId="ADAL" clId="{BE86370A-B29F-4F42-BC7C-8661773008D0}" dt="2025-10-23T05:37:04.732" v="7500"/>
          <ac:spMkLst>
            <pc:docMk/>
            <pc:sldMk cId="479191838" sldId="256"/>
            <ac:spMk id="80" creationId="{3FA6DECC-F82E-12C9-795B-B69B83F328EA}"/>
          </ac:spMkLst>
        </pc:spChg>
        <pc:spChg chg="add del mod topLvl">
          <ac:chgData name="Atchi Padmarani" userId="fe059d67-2bf4-46a8-ba9e-d5041048c89a" providerId="ADAL" clId="{BE86370A-B29F-4F42-BC7C-8661773008D0}" dt="2025-10-23T04:45:41.675" v="1249" actId="478"/>
          <ac:spMkLst>
            <pc:docMk/>
            <pc:sldMk cId="479191838" sldId="256"/>
            <ac:spMk id="81" creationId="{0E522927-6DF9-F110-C29D-AB62A0C1AB03}"/>
          </ac:spMkLst>
        </pc:spChg>
        <pc:spChg chg="del">
          <ac:chgData name="Atchi Padmarani" userId="fe059d67-2bf4-46a8-ba9e-d5041048c89a" providerId="ADAL" clId="{BE86370A-B29F-4F42-BC7C-8661773008D0}" dt="2025-10-23T04:39:14.856" v="112" actId="478"/>
          <ac:spMkLst>
            <pc:docMk/>
            <pc:sldMk cId="479191838" sldId="256"/>
            <ac:spMk id="82" creationId="{F00F83FA-CD26-D9E5-C365-5F5FE4221678}"/>
          </ac:spMkLst>
        </pc:spChg>
        <pc:spChg chg="mod ord">
          <ac:chgData name="Atchi Padmarani" userId="fe059d67-2bf4-46a8-ba9e-d5041048c89a" providerId="ADAL" clId="{BE86370A-B29F-4F42-BC7C-8661773008D0}" dt="2025-10-23T05:37:04.701" v="7429"/>
          <ac:spMkLst>
            <pc:docMk/>
            <pc:sldMk cId="479191838" sldId="256"/>
            <ac:spMk id="83" creationId="{FECD3B10-8C36-01EC-9AEE-75E3C58976AF}"/>
          </ac:spMkLst>
        </pc:spChg>
        <pc:spChg chg="mod ord">
          <ac:chgData name="Atchi Padmarani" userId="fe059d67-2bf4-46a8-ba9e-d5041048c89a" providerId="ADAL" clId="{BE86370A-B29F-4F42-BC7C-8661773008D0}" dt="2025-10-23T05:37:04.701" v="7431"/>
          <ac:spMkLst>
            <pc:docMk/>
            <pc:sldMk cId="479191838" sldId="256"/>
            <ac:spMk id="84" creationId="{8CCD743D-2364-D58D-9059-FBF3D3D69AAE}"/>
          </ac:spMkLst>
        </pc:spChg>
        <pc:spChg chg="mod ord">
          <ac:chgData name="Atchi Padmarani" userId="fe059d67-2bf4-46a8-ba9e-d5041048c89a" providerId="ADAL" clId="{BE86370A-B29F-4F42-BC7C-8661773008D0}" dt="2025-10-23T05:39:00.764" v="7653" actId="164"/>
          <ac:spMkLst>
            <pc:docMk/>
            <pc:sldMk cId="479191838" sldId="256"/>
            <ac:spMk id="85" creationId="{67CA420D-F5FB-A9C6-7746-5D33A8DAEE26}"/>
          </ac:spMkLst>
        </pc:spChg>
        <pc:spChg chg="mod ord topLvl">
          <ac:chgData name="Atchi Padmarani" userId="fe059d67-2bf4-46a8-ba9e-d5041048c89a" providerId="ADAL" clId="{BE86370A-B29F-4F42-BC7C-8661773008D0}" dt="2025-10-23T05:39:00.764" v="7653" actId="164"/>
          <ac:spMkLst>
            <pc:docMk/>
            <pc:sldMk cId="479191838" sldId="256"/>
            <ac:spMk id="86" creationId="{218948A6-E69A-87BA-A443-A54D876010D5}"/>
          </ac:spMkLst>
        </pc:spChg>
        <pc:spChg chg="mod ord">
          <ac:chgData name="Atchi Padmarani" userId="fe059d67-2bf4-46a8-ba9e-d5041048c89a" providerId="ADAL" clId="{BE86370A-B29F-4F42-BC7C-8661773008D0}" dt="2025-10-23T05:37:04.701" v="7433"/>
          <ac:spMkLst>
            <pc:docMk/>
            <pc:sldMk cId="479191838" sldId="256"/>
            <ac:spMk id="87" creationId="{6A6D132E-546F-6350-35E7-FE97CB5783E4}"/>
          </ac:spMkLst>
        </pc:spChg>
        <pc:spChg chg="mod ord">
          <ac:chgData name="Atchi Padmarani" userId="fe059d67-2bf4-46a8-ba9e-d5041048c89a" providerId="ADAL" clId="{BE86370A-B29F-4F42-BC7C-8661773008D0}" dt="2025-10-23T05:37:04.701" v="7435"/>
          <ac:spMkLst>
            <pc:docMk/>
            <pc:sldMk cId="479191838" sldId="256"/>
            <ac:spMk id="88" creationId="{DB8870EE-CBDB-0392-9A13-CFD1AD647289}"/>
          </ac:spMkLst>
        </pc:spChg>
        <pc:spChg chg="mod ord">
          <ac:chgData name="Atchi Padmarani" userId="fe059d67-2bf4-46a8-ba9e-d5041048c89a" providerId="ADAL" clId="{BE86370A-B29F-4F42-BC7C-8661773008D0}" dt="2025-10-23T05:37:04.622" v="7217"/>
          <ac:spMkLst>
            <pc:docMk/>
            <pc:sldMk cId="479191838" sldId="256"/>
            <ac:spMk id="92" creationId="{0F90988F-7C7E-3F28-21EC-E82BED8EAFB7}"/>
          </ac:spMkLst>
        </pc:spChg>
        <pc:spChg chg="mod ord topLvl">
          <ac:chgData name="Atchi Padmarani" userId="fe059d67-2bf4-46a8-ba9e-d5041048c89a" providerId="ADAL" clId="{BE86370A-B29F-4F42-BC7C-8661773008D0}" dt="2025-10-23T05:37:04.622" v="7219"/>
          <ac:spMkLst>
            <pc:docMk/>
            <pc:sldMk cId="479191838" sldId="256"/>
            <ac:spMk id="93" creationId="{226C02D6-7CA8-6036-1AAC-D22F2186316A}"/>
          </ac:spMkLst>
        </pc:spChg>
        <pc:spChg chg="mod ord topLvl">
          <ac:chgData name="Atchi Padmarani" userId="fe059d67-2bf4-46a8-ba9e-d5041048c89a" providerId="ADAL" clId="{BE86370A-B29F-4F42-BC7C-8661773008D0}" dt="2025-10-23T05:37:04.622" v="7221"/>
          <ac:spMkLst>
            <pc:docMk/>
            <pc:sldMk cId="479191838" sldId="256"/>
            <ac:spMk id="95" creationId="{D7D9A535-168E-CB8A-EE57-44603BB7C68C}"/>
          </ac:spMkLst>
        </pc:spChg>
        <pc:spChg chg="del mod">
          <ac:chgData name="Atchi Padmarani" userId="fe059d67-2bf4-46a8-ba9e-d5041048c89a" providerId="ADAL" clId="{BE86370A-B29F-4F42-BC7C-8661773008D0}" dt="2025-10-23T05:06:38.800" v="4392" actId="478"/>
          <ac:spMkLst>
            <pc:docMk/>
            <pc:sldMk cId="479191838" sldId="256"/>
            <ac:spMk id="96" creationId="{80140E06-56CE-954E-489D-0D31979540DD}"/>
          </ac:spMkLst>
        </pc:spChg>
        <pc:spChg chg="mod topLvl">
          <ac:chgData name="Atchi Padmarani" userId="fe059d67-2bf4-46a8-ba9e-d5041048c89a" providerId="ADAL" clId="{BE86370A-B29F-4F42-BC7C-8661773008D0}" dt="2025-10-23T05:39:00.764" v="7653" actId="164"/>
          <ac:spMkLst>
            <pc:docMk/>
            <pc:sldMk cId="479191838" sldId="256"/>
            <ac:spMk id="97" creationId="{196325E7-DD35-A4A6-3307-6E4FF00EFDE7}"/>
          </ac:spMkLst>
        </pc:spChg>
        <pc:spChg chg="mod ord topLvl">
          <ac:chgData name="Atchi Padmarani" userId="fe059d67-2bf4-46a8-ba9e-d5041048c89a" providerId="ADAL" clId="{BE86370A-B29F-4F42-BC7C-8661773008D0}" dt="2025-10-23T05:37:04.622" v="7235"/>
          <ac:spMkLst>
            <pc:docMk/>
            <pc:sldMk cId="479191838" sldId="256"/>
            <ac:spMk id="99" creationId="{755535A0-36FC-C609-AB00-5F8FE4EA7493}"/>
          </ac:spMkLst>
        </pc:spChg>
        <pc:spChg chg="mod topLvl">
          <ac:chgData name="Atchi Padmarani" userId="fe059d67-2bf4-46a8-ba9e-d5041048c89a" providerId="ADAL" clId="{BE86370A-B29F-4F42-BC7C-8661773008D0}" dt="2025-10-23T05:37:04.622" v="7236"/>
          <ac:spMkLst>
            <pc:docMk/>
            <pc:sldMk cId="479191838" sldId="256"/>
            <ac:spMk id="100" creationId="{08D45E89-9396-BEB6-0DAF-B85D8FD1661A}"/>
          </ac:spMkLst>
        </pc:spChg>
        <pc:spChg chg="mod topLvl">
          <ac:chgData name="Atchi Padmarani" userId="fe059d67-2bf4-46a8-ba9e-d5041048c89a" providerId="ADAL" clId="{BE86370A-B29F-4F42-BC7C-8661773008D0}" dt="2025-10-23T05:37:04.622" v="7237"/>
          <ac:spMkLst>
            <pc:docMk/>
            <pc:sldMk cId="479191838" sldId="256"/>
            <ac:spMk id="101" creationId="{59E8A165-D17F-063E-D0E0-9EC1E90C1740}"/>
          </ac:spMkLst>
        </pc:spChg>
        <pc:spChg chg="mod ord topLvl modVis">
          <ac:chgData name="Atchi Padmarani" userId="fe059d67-2bf4-46a8-ba9e-d5041048c89a" providerId="ADAL" clId="{BE86370A-B29F-4F42-BC7C-8661773008D0}" dt="2025-10-23T05:38:38.287" v="7648" actId="1035"/>
          <ac:spMkLst>
            <pc:docMk/>
            <pc:sldMk cId="479191838" sldId="256"/>
            <ac:spMk id="102" creationId="{7B648146-226D-0A99-E866-0C80C7699E3E}"/>
          </ac:spMkLst>
        </pc:spChg>
        <pc:spChg chg="mod ord topLvl">
          <ac:chgData name="Atchi Padmarani" userId="fe059d67-2bf4-46a8-ba9e-d5041048c89a" providerId="ADAL" clId="{BE86370A-B29F-4F42-BC7C-8661773008D0}" dt="2025-10-23T05:38:31.244" v="7641" actId="1036"/>
          <ac:spMkLst>
            <pc:docMk/>
            <pc:sldMk cId="479191838" sldId="256"/>
            <ac:spMk id="103" creationId="{542C210F-FB1B-4EF3-0F69-B5214670969D}"/>
          </ac:spMkLst>
        </pc:spChg>
        <pc:spChg chg="mod ord">
          <ac:chgData name="Atchi Padmarani" userId="fe059d67-2bf4-46a8-ba9e-d5041048c89a" providerId="ADAL" clId="{BE86370A-B29F-4F42-BC7C-8661773008D0}" dt="2025-10-23T05:37:04.622" v="7241"/>
          <ac:spMkLst>
            <pc:docMk/>
            <pc:sldMk cId="479191838" sldId="256"/>
            <ac:spMk id="106" creationId="{0B509C48-E391-7DD9-18FC-A05F386F8744}"/>
          </ac:spMkLst>
        </pc:spChg>
        <pc:spChg chg="mod">
          <ac:chgData name="Atchi Padmarani" userId="fe059d67-2bf4-46a8-ba9e-d5041048c89a" providerId="ADAL" clId="{BE86370A-B29F-4F42-BC7C-8661773008D0}" dt="2025-10-23T05:37:04.622" v="7242"/>
          <ac:spMkLst>
            <pc:docMk/>
            <pc:sldMk cId="479191838" sldId="256"/>
            <ac:spMk id="107" creationId="{DC5B6ED8-428D-36C1-1DC4-200A6D98BC10}"/>
          </ac:spMkLst>
        </pc:spChg>
        <pc:spChg chg="mod topLvl">
          <ac:chgData name="Atchi Padmarani" userId="fe059d67-2bf4-46a8-ba9e-d5041048c89a" providerId="ADAL" clId="{BE86370A-B29F-4F42-BC7C-8661773008D0}" dt="2025-10-23T05:37:04.637" v="7243"/>
          <ac:spMkLst>
            <pc:docMk/>
            <pc:sldMk cId="479191838" sldId="256"/>
            <ac:spMk id="108" creationId="{34E919FD-CDC4-8646-024C-C48496A21774}"/>
          </ac:spMkLst>
        </pc:spChg>
        <pc:spChg chg="mod ord topLvl">
          <ac:chgData name="Atchi Padmarani" userId="fe059d67-2bf4-46a8-ba9e-d5041048c89a" providerId="ADAL" clId="{BE86370A-B29F-4F42-BC7C-8661773008D0}" dt="2025-10-23T05:38:38.287" v="7648" actId="1035"/>
          <ac:spMkLst>
            <pc:docMk/>
            <pc:sldMk cId="479191838" sldId="256"/>
            <ac:spMk id="110" creationId="{91B9DC64-EEDD-061F-06B1-261270AF3FD5}"/>
          </ac:spMkLst>
        </pc:spChg>
        <pc:spChg chg="del mod topLvl">
          <ac:chgData name="Atchi Padmarani" userId="fe059d67-2bf4-46a8-ba9e-d5041048c89a" providerId="ADAL" clId="{BE86370A-B29F-4F42-BC7C-8661773008D0}" dt="2025-10-23T04:38:43.737" v="101" actId="478"/>
          <ac:spMkLst>
            <pc:docMk/>
            <pc:sldMk cId="479191838" sldId="256"/>
            <ac:spMk id="111" creationId="{8FEAAF65-E189-2E57-6B23-F61E632FE3D9}"/>
          </ac:spMkLst>
        </pc:spChg>
        <pc:spChg chg="del mod topLvl">
          <ac:chgData name="Atchi Padmarani" userId="fe059d67-2bf4-46a8-ba9e-d5041048c89a" providerId="ADAL" clId="{BE86370A-B29F-4F42-BC7C-8661773008D0}" dt="2025-10-23T04:38:43.737" v="101" actId="478"/>
          <ac:spMkLst>
            <pc:docMk/>
            <pc:sldMk cId="479191838" sldId="256"/>
            <ac:spMk id="112" creationId="{2FCEF942-6DAB-DF90-C952-5BE6D146E0DE}"/>
          </ac:spMkLst>
        </pc:spChg>
        <pc:spChg chg="mod ord">
          <ac:chgData name="Atchi Padmarani" userId="fe059d67-2bf4-46a8-ba9e-d5041048c89a" providerId="ADAL" clId="{BE86370A-B29F-4F42-BC7C-8661773008D0}" dt="2025-10-23T05:37:04.637" v="7247"/>
          <ac:spMkLst>
            <pc:docMk/>
            <pc:sldMk cId="479191838" sldId="256"/>
            <ac:spMk id="116" creationId="{20F093EC-36DA-F972-A1E5-D77B8D4FFEEB}"/>
          </ac:spMkLst>
        </pc:spChg>
        <pc:spChg chg="mod ord">
          <ac:chgData name="Atchi Padmarani" userId="fe059d67-2bf4-46a8-ba9e-d5041048c89a" providerId="ADAL" clId="{BE86370A-B29F-4F42-BC7C-8661773008D0}" dt="2025-10-23T05:37:04.672" v="7341"/>
          <ac:spMkLst>
            <pc:docMk/>
            <pc:sldMk cId="479191838" sldId="256"/>
            <ac:spMk id="122" creationId="{5ED6DE99-5BE1-D3FB-E96A-A3971F9E3498}"/>
          </ac:spMkLst>
        </pc:spChg>
        <pc:spChg chg="mod ord">
          <ac:chgData name="Atchi Padmarani" userId="fe059d67-2bf4-46a8-ba9e-d5041048c89a" providerId="ADAL" clId="{BE86370A-B29F-4F42-BC7C-8661773008D0}" dt="2025-10-23T05:37:04.672" v="7343"/>
          <ac:spMkLst>
            <pc:docMk/>
            <pc:sldMk cId="479191838" sldId="256"/>
            <ac:spMk id="123" creationId="{8B4C8EBA-24E1-B038-41C5-7873C4A14403}"/>
          </ac:spMkLst>
        </pc:spChg>
        <pc:spChg chg="mod">
          <ac:chgData name="Atchi Padmarani" userId="fe059d67-2bf4-46a8-ba9e-d5041048c89a" providerId="ADAL" clId="{BE86370A-B29F-4F42-BC7C-8661773008D0}" dt="2025-10-23T05:15:49.289" v="5326" actId="1035"/>
          <ac:spMkLst>
            <pc:docMk/>
            <pc:sldMk cId="479191838" sldId="256"/>
            <ac:spMk id="126" creationId="{49E04166-0DF3-9814-39C9-F72A28D5C1CC}"/>
          </ac:spMkLst>
        </pc:spChg>
        <pc:spChg chg="mod ord">
          <ac:chgData name="Atchi Padmarani" userId="fe059d67-2bf4-46a8-ba9e-d5041048c89a" providerId="ADAL" clId="{BE86370A-B29F-4F42-BC7C-8661773008D0}" dt="2025-10-23T05:37:04.672" v="7345"/>
          <ac:spMkLst>
            <pc:docMk/>
            <pc:sldMk cId="479191838" sldId="256"/>
            <ac:spMk id="128" creationId="{9521B6D1-B892-35FE-2AA1-CD981260385C}"/>
          </ac:spMkLst>
        </pc:spChg>
        <pc:spChg chg="mod ord">
          <ac:chgData name="Atchi Padmarani" userId="fe059d67-2bf4-46a8-ba9e-d5041048c89a" providerId="ADAL" clId="{BE86370A-B29F-4F42-BC7C-8661773008D0}" dt="2025-10-23T05:37:04.672" v="7347"/>
          <ac:spMkLst>
            <pc:docMk/>
            <pc:sldMk cId="479191838" sldId="256"/>
            <ac:spMk id="129" creationId="{8FC357C4-7580-6971-BBFB-A092B7B7B315}"/>
          </ac:spMkLst>
        </pc:spChg>
        <pc:spChg chg="mod ord">
          <ac:chgData name="Atchi Padmarani" userId="fe059d67-2bf4-46a8-ba9e-d5041048c89a" providerId="ADAL" clId="{BE86370A-B29F-4F42-BC7C-8661773008D0}" dt="2025-10-23T05:37:04.678" v="7349"/>
          <ac:spMkLst>
            <pc:docMk/>
            <pc:sldMk cId="479191838" sldId="256"/>
            <ac:spMk id="131" creationId="{6FD822C5-54EC-AEEE-C6A5-6E709CA29129}"/>
          </ac:spMkLst>
        </pc:spChg>
        <pc:spChg chg="mod">
          <ac:chgData name="Atchi Padmarani" userId="fe059d67-2bf4-46a8-ba9e-d5041048c89a" providerId="ADAL" clId="{BE86370A-B29F-4F42-BC7C-8661773008D0}" dt="2025-10-23T04:51:54.501" v="1635" actId="1037"/>
          <ac:spMkLst>
            <pc:docMk/>
            <pc:sldMk cId="479191838" sldId="256"/>
            <ac:spMk id="132" creationId="{889695E6-6283-9403-DEAD-35C7C8D41CE8}"/>
          </ac:spMkLst>
        </pc:spChg>
        <pc:spChg chg="mod ord">
          <ac:chgData name="Atchi Padmarani" userId="fe059d67-2bf4-46a8-ba9e-d5041048c89a" providerId="ADAL" clId="{BE86370A-B29F-4F42-BC7C-8661773008D0}" dt="2025-10-23T05:37:04.678" v="7351"/>
          <ac:spMkLst>
            <pc:docMk/>
            <pc:sldMk cId="479191838" sldId="256"/>
            <ac:spMk id="133" creationId="{BD467252-7E03-031D-11F3-316F5FD0C06B}"/>
          </ac:spMkLst>
        </pc:spChg>
        <pc:spChg chg="mod ord">
          <ac:chgData name="Atchi Padmarani" userId="fe059d67-2bf4-46a8-ba9e-d5041048c89a" providerId="ADAL" clId="{BE86370A-B29F-4F42-BC7C-8661773008D0}" dt="2025-10-23T05:37:04.678" v="7353"/>
          <ac:spMkLst>
            <pc:docMk/>
            <pc:sldMk cId="479191838" sldId="256"/>
            <ac:spMk id="134" creationId="{9F8079B2-6E08-87A1-5B22-7F05BCC92C0B}"/>
          </ac:spMkLst>
        </pc:spChg>
        <pc:spChg chg="mod ord">
          <ac:chgData name="Atchi Padmarani" userId="fe059d67-2bf4-46a8-ba9e-d5041048c89a" providerId="ADAL" clId="{BE86370A-B29F-4F42-BC7C-8661773008D0}" dt="2025-10-23T05:37:04.725" v="7481"/>
          <ac:spMkLst>
            <pc:docMk/>
            <pc:sldMk cId="479191838" sldId="256"/>
            <ac:spMk id="135" creationId="{44815B65-0A84-4F94-6A1A-9189B0044C26}"/>
          </ac:spMkLst>
        </pc:spChg>
        <pc:spChg chg="mod ord">
          <ac:chgData name="Atchi Padmarani" userId="fe059d67-2bf4-46a8-ba9e-d5041048c89a" providerId="ADAL" clId="{BE86370A-B29F-4F42-BC7C-8661773008D0}" dt="2025-10-23T05:37:04.678" v="7355"/>
          <ac:spMkLst>
            <pc:docMk/>
            <pc:sldMk cId="479191838" sldId="256"/>
            <ac:spMk id="136" creationId="{6BCE86C4-9080-A68C-E276-EB6C81A686E9}"/>
          </ac:spMkLst>
        </pc:spChg>
        <pc:spChg chg="mod ord">
          <ac:chgData name="Atchi Padmarani" userId="fe059d67-2bf4-46a8-ba9e-d5041048c89a" providerId="ADAL" clId="{BE86370A-B29F-4F42-BC7C-8661773008D0}" dt="2025-10-23T05:37:04.678" v="7357"/>
          <ac:spMkLst>
            <pc:docMk/>
            <pc:sldMk cId="479191838" sldId="256"/>
            <ac:spMk id="137" creationId="{60F82661-2F4A-E1A2-F2DE-39EB93152F1A}"/>
          </ac:spMkLst>
        </pc:spChg>
        <pc:spChg chg="mod ord">
          <ac:chgData name="Atchi Padmarani" userId="fe059d67-2bf4-46a8-ba9e-d5041048c89a" providerId="ADAL" clId="{BE86370A-B29F-4F42-BC7C-8661773008D0}" dt="2025-10-23T05:37:04.678" v="7359"/>
          <ac:spMkLst>
            <pc:docMk/>
            <pc:sldMk cId="479191838" sldId="256"/>
            <ac:spMk id="138" creationId="{9F0AB795-5949-9706-7BE3-6AB9E20D23B7}"/>
          </ac:spMkLst>
        </pc:spChg>
        <pc:spChg chg="mod ord">
          <ac:chgData name="Atchi Padmarani" userId="fe059d67-2bf4-46a8-ba9e-d5041048c89a" providerId="ADAL" clId="{BE86370A-B29F-4F42-BC7C-8661773008D0}" dt="2025-10-23T05:37:04.678" v="7361"/>
          <ac:spMkLst>
            <pc:docMk/>
            <pc:sldMk cId="479191838" sldId="256"/>
            <ac:spMk id="139" creationId="{2358BB32-9FC5-11B3-3768-F56C62605062}"/>
          </ac:spMkLst>
        </pc:spChg>
        <pc:spChg chg="mod ord">
          <ac:chgData name="Atchi Padmarani" userId="fe059d67-2bf4-46a8-ba9e-d5041048c89a" providerId="ADAL" clId="{BE86370A-B29F-4F42-BC7C-8661773008D0}" dt="2025-10-23T05:37:04.678" v="7363"/>
          <ac:spMkLst>
            <pc:docMk/>
            <pc:sldMk cId="479191838" sldId="256"/>
            <ac:spMk id="140" creationId="{8D302A16-5451-B941-3C85-A66D86440E03}"/>
          </ac:spMkLst>
        </pc:spChg>
        <pc:spChg chg="mod ord">
          <ac:chgData name="Atchi Padmarani" userId="fe059d67-2bf4-46a8-ba9e-d5041048c89a" providerId="ADAL" clId="{BE86370A-B29F-4F42-BC7C-8661773008D0}" dt="2025-10-23T05:37:04.678" v="7365"/>
          <ac:spMkLst>
            <pc:docMk/>
            <pc:sldMk cId="479191838" sldId="256"/>
            <ac:spMk id="141" creationId="{2A3A623E-0F34-556B-D623-44A2B3FD89F6}"/>
          </ac:spMkLst>
        </pc:spChg>
        <pc:spChg chg="mod ord">
          <ac:chgData name="Atchi Padmarani" userId="fe059d67-2bf4-46a8-ba9e-d5041048c89a" providerId="ADAL" clId="{BE86370A-B29F-4F42-BC7C-8661773008D0}" dt="2025-10-23T05:37:04.685" v="7367"/>
          <ac:spMkLst>
            <pc:docMk/>
            <pc:sldMk cId="479191838" sldId="256"/>
            <ac:spMk id="142" creationId="{6089ABE8-A869-3014-8740-00A3DB1EAB16}"/>
          </ac:spMkLst>
        </pc:spChg>
        <pc:spChg chg="mod ord">
          <ac:chgData name="Atchi Padmarani" userId="fe059d67-2bf4-46a8-ba9e-d5041048c89a" providerId="ADAL" clId="{BE86370A-B29F-4F42-BC7C-8661773008D0}" dt="2025-10-23T05:37:04.685" v="7369"/>
          <ac:spMkLst>
            <pc:docMk/>
            <pc:sldMk cId="479191838" sldId="256"/>
            <ac:spMk id="143" creationId="{5EAAF2B9-8FE2-FF28-9FC2-9F7F9813E713}"/>
          </ac:spMkLst>
        </pc:spChg>
        <pc:spChg chg="mod ord">
          <ac:chgData name="Atchi Padmarani" userId="fe059d67-2bf4-46a8-ba9e-d5041048c89a" providerId="ADAL" clId="{BE86370A-B29F-4F42-BC7C-8661773008D0}" dt="2025-10-23T05:37:04.685" v="7371"/>
          <ac:spMkLst>
            <pc:docMk/>
            <pc:sldMk cId="479191838" sldId="256"/>
            <ac:spMk id="144" creationId="{C335EEC2-81B0-4629-E916-9C32F9DDF9B5}"/>
          </ac:spMkLst>
        </pc:spChg>
        <pc:spChg chg="mod ord">
          <ac:chgData name="Atchi Padmarani" userId="fe059d67-2bf4-46a8-ba9e-d5041048c89a" providerId="ADAL" clId="{BE86370A-B29F-4F42-BC7C-8661773008D0}" dt="2025-10-23T05:37:04.685" v="7373"/>
          <ac:spMkLst>
            <pc:docMk/>
            <pc:sldMk cId="479191838" sldId="256"/>
            <ac:spMk id="145" creationId="{116741D9-0AFA-6E33-AE63-CDF58DE73790}"/>
          </ac:spMkLst>
        </pc:spChg>
        <pc:spChg chg="mod ord">
          <ac:chgData name="Atchi Padmarani" userId="fe059d67-2bf4-46a8-ba9e-d5041048c89a" providerId="ADAL" clId="{BE86370A-B29F-4F42-BC7C-8661773008D0}" dt="2025-10-23T05:37:04.688" v="7375"/>
          <ac:spMkLst>
            <pc:docMk/>
            <pc:sldMk cId="479191838" sldId="256"/>
            <ac:spMk id="146" creationId="{A90A95AE-BE1B-3787-5DE4-1CF620BCC059}"/>
          </ac:spMkLst>
        </pc:spChg>
        <pc:spChg chg="mod ord">
          <ac:chgData name="Atchi Padmarani" userId="fe059d67-2bf4-46a8-ba9e-d5041048c89a" providerId="ADAL" clId="{BE86370A-B29F-4F42-BC7C-8661773008D0}" dt="2025-10-23T05:37:04.689" v="7377"/>
          <ac:spMkLst>
            <pc:docMk/>
            <pc:sldMk cId="479191838" sldId="256"/>
            <ac:spMk id="147" creationId="{E9E77ADC-3377-D189-CDC7-3E9705552A1E}"/>
          </ac:spMkLst>
        </pc:spChg>
        <pc:spChg chg="mod ord">
          <ac:chgData name="Atchi Padmarani" userId="fe059d67-2bf4-46a8-ba9e-d5041048c89a" providerId="ADAL" clId="{BE86370A-B29F-4F42-BC7C-8661773008D0}" dt="2025-10-23T05:37:04.689" v="7379"/>
          <ac:spMkLst>
            <pc:docMk/>
            <pc:sldMk cId="479191838" sldId="256"/>
            <ac:spMk id="148" creationId="{BFC0EBB5-93A4-D2EB-61A0-F7FBCFAC5305}"/>
          </ac:spMkLst>
        </pc:spChg>
        <pc:spChg chg="mod ord">
          <ac:chgData name="Atchi Padmarani" userId="fe059d67-2bf4-46a8-ba9e-d5041048c89a" providerId="ADAL" clId="{BE86370A-B29F-4F42-BC7C-8661773008D0}" dt="2025-10-23T05:37:04.690" v="7381"/>
          <ac:spMkLst>
            <pc:docMk/>
            <pc:sldMk cId="479191838" sldId="256"/>
            <ac:spMk id="149" creationId="{9C64D31E-8D44-3DD8-B938-A855BFC5D13A}"/>
          </ac:spMkLst>
        </pc:spChg>
        <pc:spChg chg="mod ord">
          <ac:chgData name="Atchi Padmarani" userId="fe059d67-2bf4-46a8-ba9e-d5041048c89a" providerId="ADAL" clId="{BE86370A-B29F-4F42-BC7C-8661773008D0}" dt="2025-10-23T05:37:04.691" v="7383"/>
          <ac:spMkLst>
            <pc:docMk/>
            <pc:sldMk cId="479191838" sldId="256"/>
            <ac:spMk id="150" creationId="{7D554212-DE14-CEED-0DDE-C7278006FE22}"/>
          </ac:spMkLst>
        </pc:spChg>
        <pc:spChg chg="del mod ord">
          <ac:chgData name="Atchi Padmarani" userId="fe059d67-2bf4-46a8-ba9e-d5041048c89a" providerId="ADAL" clId="{BE86370A-B29F-4F42-BC7C-8661773008D0}" dt="2025-10-23T04:51:07.299" v="1553" actId="478"/>
          <ac:spMkLst>
            <pc:docMk/>
            <pc:sldMk cId="479191838" sldId="256"/>
            <ac:spMk id="151" creationId="{95ADE053-6FD0-C12D-3F2C-1EBDF9DEF7C6}"/>
          </ac:spMkLst>
        </pc:spChg>
        <pc:spChg chg="mod ord">
          <ac:chgData name="Atchi Padmarani" userId="fe059d67-2bf4-46a8-ba9e-d5041048c89a" providerId="ADAL" clId="{BE86370A-B29F-4F42-BC7C-8661773008D0}" dt="2025-10-23T05:37:04.692" v="7385"/>
          <ac:spMkLst>
            <pc:docMk/>
            <pc:sldMk cId="479191838" sldId="256"/>
            <ac:spMk id="152" creationId="{DD956A38-7233-CDF1-601F-EFCE64E2B8D2}"/>
          </ac:spMkLst>
        </pc:spChg>
        <pc:spChg chg="mod ord">
          <ac:chgData name="Atchi Padmarani" userId="fe059d67-2bf4-46a8-ba9e-d5041048c89a" providerId="ADAL" clId="{BE86370A-B29F-4F42-BC7C-8661773008D0}" dt="2025-10-23T05:37:04.693" v="7387"/>
          <ac:spMkLst>
            <pc:docMk/>
            <pc:sldMk cId="479191838" sldId="256"/>
            <ac:spMk id="153" creationId="{2CCA1979-2C72-A07D-46EA-21741CE5B795}"/>
          </ac:spMkLst>
        </pc:spChg>
        <pc:spChg chg="mod ord topLvl">
          <ac:chgData name="Atchi Padmarani" userId="fe059d67-2bf4-46a8-ba9e-d5041048c89a" providerId="ADAL" clId="{BE86370A-B29F-4F42-BC7C-8661773008D0}" dt="2025-10-23T05:37:04.693" v="7389"/>
          <ac:spMkLst>
            <pc:docMk/>
            <pc:sldMk cId="479191838" sldId="256"/>
            <ac:spMk id="154" creationId="{37860FF1-564E-1A25-9370-2ACD5FB7FB41}"/>
          </ac:spMkLst>
        </pc:spChg>
        <pc:spChg chg="mod">
          <ac:chgData name="Atchi Padmarani" userId="fe059d67-2bf4-46a8-ba9e-d5041048c89a" providerId="ADAL" clId="{BE86370A-B29F-4F42-BC7C-8661773008D0}" dt="2025-10-23T05:08:06.424" v="4540" actId="1037"/>
          <ac:spMkLst>
            <pc:docMk/>
            <pc:sldMk cId="479191838" sldId="256"/>
            <ac:spMk id="155" creationId="{C46605F2-BFBF-E1F5-0B13-059CC2D3EC09}"/>
          </ac:spMkLst>
        </pc:spChg>
        <pc:spChg chg="mod ord topLvl">
          <ac:chgData name="Atchi Padmarani" userId="fe059d67-2bf4-46a8-ba9e-d5041048c89a" providerId="ADAL" clId="{BE86370A-B29F-4F42-BC7C-8661773008D0}" dt="2025-10-23T05:37:04.732" v="7495"/>
          <ac:spMkLst>
            <pc:docMk/>
            <pc:sldMk cId="479191838" sldId="256"/>
            <ac:spMk id="156" creationId="{8B35ECAB-1B2C-A8C8-49D8-584C20B76EB1}"/>
          </ac:spMkLst>
        </pc:spChg>
        <pc:spChg chg="mod ord topLvl">
          <ac:chgData name="Atchi Padmarani" userId="fe059d67-2bf4-46a8-ba9e-d5041048c89a" providerId="ADAL" clId="{BE86370A-B29F-4F42-BC7C-8661773008D0}" dt="2025-10-23T05:37:04.729" v="7493"/>
          <ac:spMkLst>
            <pc:docMk/>
            <pc:sldMk cId="479191838" sldId="256"/>
            <ac:spMk id="157" creationId="{D614F04F-88EA-EE23-9BF1-9281EADAE32A}"/>
          </ac:spMkLst>
        </pc:spChg>
        <pc:spChg chg="mod ord topLvl">
          <ac:chgData name="Atchi Padmarani" userId="fe059d67-2bf4-46a8-ba9e-d5041048c89a" providerId="ADAL" clId="{BE86370A-B29F-4F42-BC7C-8661773008D0}" dt="2025-10-23T05:37:04.729" v="7489"/>
          <ac:spMkLst>
            <pc:docMk/>
            <pc:sldMk cId="479191838" sldId="256"/>
            <ac:spMk id="158" creationId="{9F263B31-53DD-A2FB-5E88-73E2D6A98D07}"/>
          </ac:spMkLst>
        </pc:spChg>
        <pc:spChg chg="mod ord topLvl">
          <ac:chgData name="Atchi Padmarani" userId="fe059d67-2bf4-46a8-ba9e-d5041048c89a" providerId="ADAL" clId="{BE86370A-B29F-4F42-BC7C-8661773008D0}" dt="2025-10-23T05:37:04.729" v="7491"/>
          <ac:spMkLst>
            <pc:docMk/>
            <pc:sldMk cId="479191838" sldId="256"/>
            <ac:spMk id="159" creationId="{34926A56-D8DF-AFEA-9E12-81176C3D5069}"/>
          </ac:spMkLst>
        </pc:spChg>
        <pc:spChg chg="mod">
          <ac:chgData name="Atchi Padmarani" userId="fe059d67-2bf4-46a8-ba9e-d5041048c89a" providerId="ADAL" clId="{BE86370A-B29F-4F42-BC7C-8661773008D0}" dt="2025-10-23T04:39:47.522" v="123" actId="164"/>
          <ac:spMkLst>
            <pc:docMk/>
            <pc:sldMk cId="479191838" sldId="256"/>
            <ac:spMk id="160" creationId="{3AC39311-71A2-2B4E-80FD-0FAC7F9634B1}"/>
          </ac:spMkLst>
        </pc:spChg>
        <pc:spChg chg="mod">
          <ac:chgData name="Atchi Padmarani" userId="fe059d67-2bf4-46a8-ba9e-d5041048c89a" providerId="ADAL" clId="{BE86370A-B29F-4F42-BC7C-8661773008D0}" dt="2025-10-23T04:39:47.522" v="123" actId="164"/>
          <ac:spMkLst>
            <pc:docMk/>
            <pc:sldMk cId="479191838" sldId="256"/>
            <ac:spMk id="162" creationId="{B588E021-4520-721F-CC71-59A62ADC0E8A}"/>
          </ac:spMkLst>
        </pc:spChg>
        <pc:spChg chg="mod">
          <ac:chgData name="Atchi Padmarani" userId="fe059d67-2bf4-46a8-ba9e-d5041048c89a" providerId="ADAL" clId="{BE86370A-B29F-4F42-BC7C-8661773008D0}" dt="2025-10-23T05:06:47.136" v="4393" actId="165"/>
          <ac:spMkLst>
            <pc:docMk/>
            <pc:sldMk cId="479191838" sldId="256"/>
            <ac:spMk id="163" creationId="{6E995534-C1B6-ED98-9A66-3862B64D9ADC}"/>
          </ac:spMkLst>
        </pc:spChg>
        <pc:spChg chg="mod">
          <ac:chgData name="Atchi Padmarani" userId="fe059d67-2bf4-46a8-ba9e-d5041048c89a" providerId="ADAL" clId="{BE86370A-B29F-4F42-BC7C-8661773008D0}" dt="2025-10-23T05:15:49.289" v="5326" actId="1035"/>
          <ac:spMkLst>
            <pc:docMk/>
            <pc:sldMk cId="479191838" sldId="256"/>
            <ac:spMk id="166" creationId="{AB1B13DD-B885-5BBB-6950-4F89C28B1B4F}"/>
          </ac:spMkLst>
        </pc:spChg>
        <pc:spChg chg="mod">
          <ac:chgData name="Atchi Padmarani" userId="fe059d67-2bf4-46a8-ba9e-d5041048c89a" providerId="ADAL" clId="{BE86370A-B29F-4F42-BC7C-8661773008D0}" dt="2025-10-23T05:15:49.289" v="5326" actId="1035"/>
          <ac:spMkLst>
            <pc:docMk/>
            <pc:sldMk cId="479191838" sldId="256"/>
            <ac:spMk id="167" creationId="{A79E6C88-841E-FA36-264B-00D73AF2990E}"/>
          </ac:spMkLst>
        </pc:spChg>
        <pc:spChg chg="del mod ord topLvl">
          <ac:chgData name="Atchi Padmarani" userId="fe059d67-2bf4-46a8-ba9e-d5041048c89a" providerId="ADAL" clId="{BE86370A-B29F-4F42-BC7C-8661773008D0}" dt="2025-10-23T05:39:28.613" v="7683" actId="478"/>
          <ac:spMkLst>
            <pc:docMk/>
            <pc:sldMk cId="479191838" sldId="256"/>
            <ac:spMk id="169" creationId="{0B97D7C5-C4D1-3879-4C36-DFB023AA1A95}"/>
          </ac:spMkLst>
        </pc:spChg>
        <pc:spChg chg="add mod ord">
          <ac:chgData name="Atchi Padmarani" userId="fe059d67-2bf4-46a8-ba9e-d5041048c89a" providerId="ADAL" clId="{BE86370A-B29F-4F42-BC7C-8661773008D0}" dt="2025-10-23T05:08:53.516" v="4553" actId="164"/>
          <ac:spMkLst>
            <pc:docMk/>
            <pc:sldMk cId="479191838" sldId="256"/>
            <ac:spMk id="170" creationId="{DDC8A0E9-FE0F-58B7-3D25-BAB7F38355F0}"/>
          </ac:spMkLst>
        </pc:spChg>
        <pc:spChg chg="add mod ord">
          <ac:chgData name="Atchi Padmarani" userId="fe059d67-2bf4-46a8-ba9e-d5041048c89a" providerId="ADAL" clId="{BE86370A-B29F-4F42-BC7C-8661773008D0}" dt="2025-10-23T05:38:57.098" v="7652" actId="164"/>
          <ac:spMkLst>
            <pc:docMk/>
            <pc:sldMk cId="479191838" sldId="256"/>
            <ac:spMk id="171" creationId="{C9AE3918-6811-0576-F1AB-A498DD8CF0D3}"/>
          </ac:spMkLst>
        </pc:spChg>
        <pc:spChg chg="add mod ord">
          <ac:chgData name="Atchi Padmarani" userId="fe059d67-2bf4-46a8-ba9e-d5041048c89a" providerId="ADAL" clId="{BE86370A-B29F-4F42-BC7C-8661773008D0}" dt="2025-10-23T05:39:00.764" v="7653" actId="164"/>
          <ac:spMkLst>
            <pc:docMk/>
            <pc:sldMk cId="479191838" sldId="256"/>
            <ac:spMk id="172" creationId="{6D44D1C2-A4AE-5956-AB1E-1795BA672B58}"/>
          </ac:spMkLst>
        </pc:spChg>
        <pc:spChg chg="add mod ord modVis">
          <ac:chgData name="Atchi Padmarani" userId="fe059d67-2bf4-46a8-ba9e-d5041048c89a" providerId="ADAL" clId="{BE86370A-B29F-4F42-BC7C-8661773008D0}" dt="2025-10-23T05:37:04.605" v="7153"/>
          <ac:spMkLst>
            <pc:docMk/>
            <pc:sldMk cId="479191838" sldId="256"/>
            <ac:spMk id="178" creationId="{684AD3A7-E98C-66A0-71BB-506CF4F335F4}"/>
          </ac:spMkLst>
        </pc:spChg>
        <pc:spChg chg="del mod topLvl">
          <ac:chgData name="Atchi Padmarani" userId="fe059d67-2bf4-46a8-ba9e-d5041048c89a" providerId="ADAL" clId="{BE86370A-B29F-4F42-BC7C-8661773008D0}" dt="2025-10-23T04:45:37.368" v="1246" actId="478"/>
          <ac:spMkLst>
            <pc:docMk/>
            <pc:sldMk cId="479191838" sldId="256"/>
            <ac:spMk id="182" creationId="{F57532AE-D11F-BA78-FC98-C3173160D698}"/>
          </ac:spMkLst>
        </pc:spChg>
        <pc:spChg chg="mod ord topLvl">
          <ac:chgData name="Atchi Padmarani" userId="fe059d67-2bf4-46a8-ba9e-d5041048c89a" providerId="ADAL" clId="{BE86370A-B29F-4F42-BC7C-8661773008D0}" dt="2025-10-23T05:39:00.764" v="7653" actId="164"/>
          <ac:spMkLst>
            <pc:docMk/>
            <pc:sldMk cId="479191838" sldId="256"/>
            <ac:spMk id="183" creationId="{56BD38F6-E9E4-3FFF-764D-9A797E89A6D1}"/>
          </ac:spMkLst>
        </pc:spChg>
        <pc:spChg chg="mod topLvl">
          <ac:chgData name="Atchi Padmarani" userId="fe059d67-2bf4-46a8-ba9e-d5041048c89a" providerId="ADAL" clId="{BE86370A-B29F-4F42-BC7C-8661773008D0}" dt="2025-10-23T05:39:00.764" v="7653" actId="164"/>
          <ac:spMkLst>
            <pc:docMk/>
            <pc:sldMk cId="479191838" sldId="256"/>
            <ac:spMk id="184" creationId="{9494BD00-B874-BD05-7333-C7A84D8740F5}"/>
          </ac:spMkLst>
        </pc:spChg>
        <pc:spChg chg="del mod ord topLvl">
          <ac:chgData name="Atchi Padmarani" userId="fe059d67-2bf4-46a8-ba9e-d5041048c89a" providerId="ADAL" clId="{BE86370A-B29F-4F42-BC7C-8661773008D0}" dt="2025-10-23T05:39:28.613" v="7683" actId="478"/>
          <ac:spMkLst>
            <pc:docMk/>
            <pc:sldMk cId="479191838" sldId="256"/>
            <ac:spMk id="186" creationId="{1D01AC36-BF10-E766-5A77-1287C141C81D}"/>
          </ac:spMkLst>
        </pc:spChg>
        <pc:spChg chg="del mod topLvl">
          <ac:chgData name="Atchi Padmarani" userId="fe059d67-2bf4-46a8-ba9e-d5041048c89a" providerId="ADAL" clId="{BE86370A-B29F-4F42-BC7C-8661773008D0}" dt="2025-10-23T04:45:37.368" v="1246" actId="478"/>
          <ac:spMkLst>
            <pc:docMk/>
            <pc:sldMk cId="479191838" sldId="256"/>
            <ac:spMk id="188" creationId="{FB1FC810-F6BB-CB02-213F-C49C5346C762}"/>
          </ac:spMkLst>
        </pc:spChg>
        <pc:spChg chg="del mod topLvl">
          <ac:chgData name="Atchi Padmarani" userId="fe059d67-2bf4-46a8-ba9e-d5041048c89a" providerId="ADAL" clId="{BE86370A-B29F-4F42-BC7C-8661773008D0}" dt="2025-10-23T05:36:29.382" v="5528" actId="478"/>
          <ac:spMkLst>
            <pc:docMk/>
            <pc:sldMk cId="479191838" sldId="256"/>
            <ac:spMk id="189" creationId="{EE5E92B5-F84F-7D34-919A-3C225B5AEFB6}"/>
          </ac:spMkLst>
        </pc:spChg>
        <pc:spChg chg="mod ord topLvl">
          <ac:chgData name="Atchi Padmarani" userId="fe059d67-2bf4-46a8-ba9e-d5041048c89a" providerId="ADAL" clId="{BE86370A-B29F-4F42-BC7C-8661773008D0}" dt="2025-10-23T05:37:14.370" v="7554" actId="164"/>
          <ac:spMkLst>
            <pc:docMk/>
            <pc:sldMk cId="479191838" sldId="256"/>
            <ac:spMk id="190" creationId="{C310926D-D925-B02A-513A-E60A1E4744FA}"/>
          </ac:spMkLst>
        </pc:spChg>
        <pc:spChg chg="add mod ord">
          <ac:chgData name="Atchi Padmarani" userId="fe059d67-2bf4-46a8-ba9e-d5041048c89a" providerId="ADAL" clId="{BE86370A-B29F-4F42-BC7C-8661773008D0}" dt="2025-10-23T05:38:52.219" v="7650" actId="164"/>
          <ac:spMkLst>
            <pc:docMk/>
            <pc:sldMk cId="479191838" sldId="256"/>
            <ac:spMk id="191" creationId="{66A71104-E487-FA1B-ADCC-DF77A3D65685}"/>
          </ac:spMkLst>
        </pc:spChg>
        <pc:spChg chg="add mod ord topLvl">
          <ac:chgData name="Atchi Padmarani" userId="fe059d67-2bf4-46a8-ba9e-d5041048c89a" providerId="ADAL" clId="{BE86370A-B29F-4F42-BC7C-8661773008D0}" dt="2025-10-23T05:39:06.155" v="7658" actId="165"/>
          <ac:spMkLst>
            <pc:docMk/>
            <pc:sldMk cId="479191838" sldId="256"/>
            <ac:spMk id="192" creationId="{89EBD897-3333-DFFE-A18F-FC919B8BF59C}"/>
          </ac:spMkLst>
        </pc:spChg>
        <pc:spChg chg="add mod ord">
          <ac:chgData name="Atchi Padmarani" userId="fe059d67-2bf4-46a8-ba9e-d5041048c89a" providerId="ADAL" clId="{BE86370A-B29F-4F42-BC7C-8661773008D0}" dt="2025-10-23T05:38:52.219" v="7650" actId="164"/>
          <ac:spMkLst>
            <pc:docMk/>
            <pc:sldMk cId="479191838" sldId="256"/>
            <ac:spMk id="193" creationId="{51B555E8-3240-BB54-30CD-49B7A75C934B}"/>
          </ac:spMkLst>
        </pc:spChg>
        <pc:spChg chg="add mod ord">
          <ac:chgData name="Atchi Padmarani" userId="fe059d67-2bf4-46a8-ba9e-d5041048c89a" providerId="ADAL" clId="{BE86370A-B29F-4F42-BC7C-8661773008D0}" dt="2025-10-23T05:38:52.219" v="7650" actId="164"/>
          <ac:spMkLst>
            <pc:docMk/>
            <pc:sldMk cId="479191838" sldId="256"/>
            <ac:spMk id="194" creationId="{7A89082B-ED1C-1CCB-E64F-E4A729221620}"/>
          </ac:spMkLst>
        </pc:spChg>
        <pc:spChg chg="add mod ord modVis">
          <ac:chgData name="Atchi Padmarani" userId="fe059d67-2bf4-46a8-ba9e-d5041048c89a" providerId="ADAL" clId="{BE86370A-B29F-4F42-BC7C-8661773008D0}" dt="2025-10-23T05:37:04.602" v="7151"/>
          <ac:spMkLst>
            <pc:docMk/>
            <pc:sldMk cId="479191838" sldId="256"/>
            <ac:spMk id="195" creationId="{F05A309F-E608-8647-139D-D447DD210AF1}"/>
          </ac:spMkLst>
        </pc:spChg>
        <pc:spChg chg="mod">
          <ac:chgData name="Atchi Padmarani" userId="fe059d67-2bf4-46a8-ba9e-d5041048c89a" providerId="ADAL" clId="{BE86370A-B29F-4F42-BC7C-8661773008D0}" dt="2025-10-23T05:18:16.742" v="5435"/>
          <ac:spMkLst>
            <pc:docMk/>
            <pc:sldMk cId="479191838" sldId="256"/>
            <ac:spMk id="197" creationId="{88A6363E-34E3-FC5F-5A8D-CFCF8D1953CD}"/>
          </ac:spMkLst>
        </pc:spChg>
        <pc:spChg chg="del mod topLvl">
          <ac:chgData name="Atchi Padmarani" userId="fe059d67-2bf4-46a8-ba9e-d5041048c89a" providerId="ADAL" clId="{BE86370A-B29F-4F42-BC7C-8661773008D0}" dt="2025-10-23T04:45:35.738" v="1245" actId="478"/>
          <ac:spMkLst>
            <pc:docMk/>
            <pc:sldMk cId="479191838" sldId="256"/>
            <ac:spMk id="198" creationId="{F73C1388-B823-89F6-408B-E3DCC5025586}"/>
          </ac:spMkLst>
        </pc:spChg>
        <pc:spChg chg="mod ord topLvl">
          <ac:chgData name="Atchi Padmarani" userId="fe059d67-2bf4-46a8-ba9e-d5041048c89a" providerId="ADAL" clId="{BE86370A-B29F-4F42-BC7C-8661773008D0}" dt="2025-10-23T05:37:04.669" v="7332"/>
          <ac:spMkLst>
            <pc:docMk/>
            <pc:sldMk cId="479191838" sldId="256"/>
            <ac:spMk id="199" creationId="{4EFD25B8-2553-8193-923D-ED20CFB759D1}"/>
          </ac:spMkLst>
        </pc:spChg>
        <pc:spChg chg="mod ord topLvl modVis">
          <ac:chgData name="Atchi Padmarani" userId="fe059d67-2bf4-46a8-ba9e-d5041048c89a" providerId="ADAL" clId="{BE86370A-B29F-4F42-BC7C-8661773008D0}" dt="2025-10-23T05:38:52.219" v="7650" actId="164"/>
          <ac:spMkLst>
            <pc:docMk/>
            <pc:sldMk cId="479191838" sldId="256"/>
            <ac:spMk id="200" creationId="{D162A755-70B5-9720-D160-02185DA4B539}"/>
          </ac:spMkLst>
        </pc:spChg>
        <pc:spChg chg="mod ord topLvl">
          <ac:chgData name="Atchi Padmarani" userId="fe059d67-2bf4-46a8-ba9e-d5041048c89a" providerId="ADAL" clId="{BE86370A-B29F-4F42-BC7C-8661773008D0}" dt="2025-10-23T05:38:52.219" v="7650" actId="164"/>
          <ac:spMkLst>
            <pc:docMk/>
            <pc:sldMk cId="479191838" sldId="256"/>
            <ac:spMk id="201" creationId="{3245ED82-2C97-5D26-F34A-540FBC629EC8}"/>
          </ac:spMkLst>
        </pc:spChg>
        <pc:spChg chg="mod topLvl">
          <ac:chgData name="Atchi Padmarani" userId="fe059d67-2bf4-46a8-ba9e-d5041048c89a" providerId="ADAL" clId="{BE86370A-B29F-4F42-BC7C-8661773008D0}" dt="2025-10-23T05:39:00.764" v="7653" actId="164"/>
          <ac:spMkLst>
            <pc:docMk/>
            <pc:sldMk cId="479191838" sldId="256"/>
            <ac:spMk id="202" creationId="{1BE78383-8492-50B9-80CC-5B2BB2D07D47}"/>
          </ac:spMkLst>
        </pc:spChg>
        <pc:spChg chg="del mod ord topLvl">
          <ac:chgData name="Atchi Padmarani" userId="fe059d67-2bf4-46a8-ba9e-d5041048c89a" providerId="ADAL" clId="{BE86370A-B29F-4F42-BC7C-8661773008D0}" dt="2025-10-23T05:39:28.613" v="7683" actId="478"/>
          <ac:spMkLst>
            <pc:docMk/>
            <pc:sldMk cId="479191838" sldId="256"/>
            <ac:spMk id="204" creationId="{79416FE1-E5CE-1D10-D3CE-C6264706681F}"/>
          </ac:spMkLst>
        </pc:spChg>
        <pc:spChg chg="mod">
          <ac:chgData name="Atchi Padmarani" userId="fe059d67-2bf4-46a8-ba9e-d5041048c89a" providerId="ADAL" clId="{BE86370A-B29F-4F42-BC7C-8661773008D0}" dt="2025-10-23T05:18:16.742" v="5435"/>
          <ac:spMkLst>
            <pc:docMk/>
            <pc:sldMk cId="479191838" sldId="256"/>
            <ac:spMk id="205" creationId="{703DD25E-9A3B-FA09-FF0E-CF85B23AC62F}"/>
          </ac:spMkLst>
        </pc:spChg>
        <pc:spChg chg="del mod topLvl">
          <ac:chgData name="Atchi Padmarani" userId="fe059d67-2bf4-46a8-ba9e-d5041048c89a" providerId="ADAL" clId="{BE86370A-B29F-4F42-BC7C-8661773008D0}" dt="2025-10-23T04:45:35.738" v="1245" actId="478"/>
          <ac:spMkLst>
            <pc:docMk/>
            <pc:sldMk cId="479191838" sldId="256"/>
            <ac:spMk id="206" creationId="{73800B2B-FAC2-A4DB-8C16-E53CB8DAE95E}"/>
          </ac:spMkLst>
        </pc:spChg>
        <pc:spChg chg="mod">
          <ac:chgData name="Atchi Padmarani" userId="fe059d67-2bf4-46a8-ba9e-d5041048c89a" providerId="ADAL" clId="{BE86370A-B29F-4F42-BC7C-8661773008D0}" dt="2025-10-23T05:18:16.742" v="5435"/>
          <ac:spMkLst>
            <pc:docMk/>
            <pc:sldMk cId="479191838" sldId="256"/>
            <ac:spMk id="207" creationId="{A7E0FA64-87B3-C02E-0F22-7C750CAFD046}"/>
          </ac:spMkLst>
        </pc:spChg>
        <pc:spChg chg="del mod ord">
          <ac:chgData name="Atchi Padmarani" userId="fe059d67-2bf4-46a8-ba9e-d5041048c89a" providerId="ADAL" clId="{BE86370A-B29F-4F42-BC7C-8661773008D0}" dt="2025-10-23T05:07:04.580" v="4394" actId="478"/>
          <ac:spMkLst>
            <pc:docMk/>
            <pc:sldMk cId="479191838" sldId="256"/>
            <ac:spMk id="209" creationId="{EE9D55EB-E6F2-5076-5780-326AD1E12ABA}"/>
          </ac:spMkLst>
        </pc:spChg>
        <pc:spChg chg="mod ord topLvl">
          <ac:chgData name="Atchi Padmarani" userId="fe059d67-2bf4-46a8-ba9e-d5041048c89a" providerId="ADAL" clId="{BE86370A-B29F-4F42-BC7C-8661773008D0}" dt="2025-10-23T05:39:06.155" v="7658" actId="165"/>
          <ac:spMkLst>
            <pc:docMk/>
            <pc:sldMk cId="479191838" sldId="256"/>
            <ac:spMk id="210" creationId="{396BA320-1117-4A98-DC4E-910046C07DEC}"/>
          </ac:spMkLst>
        </pc:spChg>
        <pc:spChg chg="del">
          <ac:chgData name="Atchi Padmarani" userId="fe059d67-2bf4-46a8-ba9e-d5041048c89a" providerId="ADAL" clId="{BE86370A-B29F-4F42-BC7C-8661773008D0}" dt="2025-10-23T04:38:43.737" v="101" actId="478"/>
          <ac:spMkLst>
            <pc:docMk/>
            <pc:sldMk cId="479191838" sldId="256"/>
            <ac:spMk id="211" creationId="{4AC444C2-6BAC-6D16-1E80-1C56614E334B}"/>
          </ac:spMkLst>
        </pc:spChg>
        <pc:spChg chg="mod ord">
          <ac:chgData name="Atchi Padmarani" userId="fe059d67-2bf4-46a8-ba9e-d5041048c89a" providerId="ADAL" clId="{BE86370A-B29F-4F42-BC7C-8661773008D0}" dt="2025-10-23T05:37:04.710" v="7447"/>
          <ac:spMkLst>
            <pc:docMk/>
            <pc:sldMk cId="479191838" sldId="256"/>
            <ac:spMk id="212" creationId="{583C3C43-02C4-0D31-B1D1-ADA370610192}"/>
          </ac:spMkLst>
        </pc:spChg>
        <pc:spChg chg="mod ord">
          <ac:chgData name="Atchi Padmarani" userId="fe059d67-2bf4-46a8-ba9e-d5041048c89a" providerId="ADAL" clId="{BE86370A-B29F-4F42-BC7C-8661773008D0}" dt="2025-10-23T05:37:04.710" v="7449"/>
          <ac:spMkLst>
            <pc:docMk/>
            <pc:sldMk cId="479191838" sldId="256"/>
            <ac:spMk id="213" creationId="{044EAB49-682F-DE40-F7A4-9A756E5C9924}"/>
          </ac:spMkLst>
        </pc:spChg>
        <pc:spChg chg="del">
          <ac:chgData name="Atchi Padmarani" userId="fe059d67-2bf4-46a8-ba9e-d5041048c89a" providerId="ADAL" clId="{BE86370A-B29F-4F42-BC7C-8661773008D0}" dt="2025-10-23T04:38:43.737" v="101" actId="478"/>
          <ac:spMkLst>
            <pc:docMk/>
            <pc:sldMk cId="479191838" sldId="256"/>
            <ac:spMk id="214" creationId="{98A649AE-DE43-D422-7E93-5CE52A231E0C}"/>
          </ac:spMkLst>
        </pc:spChg>
        <pc:spChg chg="mod ord">
          <ac:chgData name="Atchi Padmarani" userId="fe059d67-2bf4-46a8-ba9e-d5041048c89a" providerId="ADAL" clId="{BE86370A-B29F-4F42-BC7C-8661773008D0}" dt="2025-10-23T05:37:04.722" v="7476"/>
          <ac:spMkLst>
            <pc:docMk/>
            <pc:sldMk cId="479191838" sldId="256"/>
            <ac:spMk id="216" creationId="{BB981A28-FE71-6D08-9017-02C389B342FC}"/>
          </ac:spMkLst>
        </pc:spChg>
        <pc:spChg chg="mod ord topLvl">
          <ac:chgData name="Atchi Padmarani" userId="fe059d67-2bf4-46a8-ba9e-d5041048c89a" providerId="ADAL" clId="{BE86370A-B29F-4F42-BC7C-8661773008D0}" dt="2025-10-23T05:37:04.725" v="7478"/>
          <ac:spMkLst>
            <pc:docMk/>
            <pc:sldMk cId="479191838" sldId="256"/>
            <ac:spMk id="217" creationId="{2A56DE2B-0EB6-6132-A888-11C641B6FD98}"/>
          </ac:spMkLst>
        </pc:spChg>
        <pc:spChg chg="mod ord topLvl modVis">
          <ac:chgData name="Atchi Padmarani" userId="fe059d67-2bf4-46a8-ba9e-d5041048c89a" providerId="ADAL" clId="{BE86370A-B29F-4F42-BC7C-8661773008D0}" dt="2025-10-23T05:39:06.155" v="7658" actId="165"/>
          <ac:spMkLst>
            <pc:docMk/>
            <pc:sldMk cId="479191838" sldId="256"/>
            <ac:spMk id="219" creationId="{9B32DA65-18FF-EA6F-D541-FD1E701C3D5F}"/>
          </ac:spMkLst>
        </pc:spChg>
        <pc:spChg chg="mod ord topLvl">
          <ac:chgData name="Atchi Padmarani" userId="fe059d67-2bf4-46a8-ba9e-d5041048c89a" providerId="ADAL" clId="{BE86370A-B29F-4F42-BC7C-8661773008D0}" dt="2025-10-23T05:38:52.219" v="7650" actId="164"/>
          <ac:spMkLst>
            <pc:docMk/>
            <pc:sldMk cId="479191838" sldId="256"/>
            <ac:spMk id="220" creationId="{04AA8A5B-E46D-160C-FBB0-B01FB134F8B3}"/>
          </ac:spMkLst>
        </pc:spChg>
        <pc:spChg chg="mod">
          <ac:chgData name="Atchi Padmarani" userId="fe059d67-2bf4-46a8-ba9e-d5041048c89a" providerId="ADAL" clId="{BE86370A-B29F-4F42-BC7C-8661773008D0}" dt="2025-10-23T05:37:04.714" v="7454"/>
          <ac:spMkLst>
            <pc:docMk/>
            <pc:sldMk cId="479191838" sldId="256"/>
            <ac:spMk id="221" creationId="{FEF14C56-4566-F333-841B-231693C47446}"/>
          </ac:spMkLst>
        </pc:spChg>
        <pc:spChg chg="mod ord topLvl">
          <ac:chgData name="Atchi Padmarani" userId="fe059d67-2bf4-46a8-ba9e-d5041048c89a" providerId="ADAL" clId="{BE86370A-B29F-4F42-BC7C-8661773008D0}" dt="2025-10-23T05:37:04.714" v="7456"/>
          <ac:spMkLst>
            <pc:docMk/>
            <pc:sldMk cId="479191838" sldId="256"/>
            <ac:spMk id="222" creationId="{B2A415C9-F28E-8F9B-D79C-8F4B96735A4F}"/>
          </ac:spMkLst>
        </pc:spChg>
        <pc:spChg chg="mod">
          <ac:chgData name="Atchi Padmarani" userId="fe059d67-2bf4-46a8-ba9e-d5041048c89a" providerId="ADAL" clId="{BE86370A-B29F-4F42-BC7C-8661773008D0}" dt="2025-10-23T05:18:08.239" v="5433"/>
          <ac:spMkLst>
            <pc:docMk/>
            <pc:sldMk cId="479191838" sldId="256"/>
            <ac:spMk id="223" creationId="{594F230C-7553-6520-9211-65C197C2BD1F}"/>
          </ac:spMkLst>
        </pc:spChg>
        <pc:spChg chg="mod ord">
          <ac:chgData name="Atchi Padmarani" userId="fe059d67-2bf4-46a8-ba9e-d5041048c89a" providerId="ADAL" clId="{BE86370A-B29F-4F42-BC7C-8661773008D0}" dt="2025-10-23T05:38:38.287" v="7648" actId="1035"/>
          <ac:spMkLst>
            <pc:docMk/>
            <pc:sldMk cId="479191838" sldId="256"/>
            <ac:spMk id="224" creationId="{CEAD3F1D-46BB-C0FB-BBC4-4682C87885E2}"/>
          </ac:spMkLst>
        </pc:spChg>
        <pc:spChg chg="del mod topLvl">
          <ac:chgData name="Atchi Padmarani" userId="fe059d67-2bf4-46a8-ba9e-d5041048c89a" providerId="ADAL" clId="{BE86370A-B29F-4F42-BC7C-8661773008D0}" dt="2025-10-23T04:38:43.737" v="101" actId="478"/>
          <ac:spMkLst>
            <pc:docMk/>
            <pc:sldMk cId="479191838" sldId="256"/>
            <ac:spMk id="225" creationId="{538C6BAA-A631-A8F5-13D2-517E25AA22BC}"/>
          </ac:spMkLst>
        </pc:spChg>
        <pc:spChg chg="mod ord">
          <ac:chgData name="Atchi Padmarani" userId="fe059d67-2bf4-46a8-ba9e-d5041048c89a" providerId="ADAL" clId="{BE86370A-B29F-4F42-BC7C-8661773008D0}" dt="2025-10-23T05:37:04.716" v="7460"/>
          <ac:spMkLst>
            <pc:docMk/>
            <pc:sldMk cId="479191838" sldId="256"/>
            <ac:spMk id="226" creationId="{C5314009-62BF-B606-6D5A-1FC93ECAC803}"/>
          </ac:spMkLst>
        </pc:spChg>
        <pc:spChg chg="mod">
          <ac:chgData name="Atchi Padmarani" userId="fe059d67-2bf4-46a8-ba9e-d5041048c89a" providerId="ADAL" clId="{BE86370A-B29F-4F42-BC7C-8661773008D0}" dt="2025-10-23T05:37:04.716" v="7461"/>
          <ac:spMkLst>
            <pc:docMk/>
            <pc:sldMk cId="479191838" sldId="256"/>
            <ac:spMk id="227" creationId="{D493AA8F-BC37-6098-E919-E672C5526B74}"/>
          </ac:spMkLst>
        </pc:spChg>
        <pc:spChg chg="mod">
          <ac:chgData name="Atchi Padmarani" userId="fe059d67-2bf4-46a8-ba9e-d5041048c89a" providerId="ADAL" clId="{BE86370A-B29F-4F42-BC7C-8661773008D0}" dt="2025-10-23T05:37:04.716" v="7462"/>
          <ac:spMkLst>
            <pc:docMk/>
            <pc:sldMk cId="479191838" sldId="256"/>
            <ac:spMk id="228" creationId="{BB62AADB-CCCF-DA8A-3BC9-F4B85DE13AB8}"/>
          </ac:spMkLst>
        </pc:spChg>
        <pc:spChg chg="mod">
          <ac:chgData name="Atchi Padmarani" userId="fe059d67-2bf4-46a8-ba9e-d5041048c89a" providerId="ADAL" clId="{BE86370A-B29F-4F42-BC7C-8661773008D0}" dt="2025-10-23T05:37:04.716" v="7463"/>
          <ac:spMkLst>
            <pc:docMk/>
            <pc:sldMk cId="479191838" sldId="256"/>
            <ac:spMk id="229" creationId="{C97DCF0A-38CC-B58A-B11D-B7E439FE0171}"/>
          </ac:spMkLst>
        </pc:spChg>
        <pc:spChg chg="mod">
          <ac:chgData name="Atchi Padmarani" userId="fe059d67-2bf4-46a8-ba9e-d5041048c89a" providerId="ADAL" clId="{BE86370A-B29F-4F42-BC7C-8661773008D0}" dt="2025-10-23T05:37:04.716" v="7464"/>
          <ac:spMkLst>
            <pc:docMk/>
            <pc:sldMk cId="479191838" sldId="256"/>
            <ac:spMk id="230" creationId="{4A434C8D-2058-3D0A-989B-37B27314678B}"/>
          </ac:spMkLst>
        </pc:spChg>
        <pc:spChg chg="mod">
          <ac:chgData name="Atchi Padmarani" userId="fe059d67-2bf4-46a8-ba9e-d5041048c89a" providerId="ADAL" clId="{BE86370A-B29F-4F42-BC7C-8661773008D0}" dt="2025-10-23T04:59:25.734" v="1921"/>
          <ac:spMkLst>
            <pc:docMk/>
            <pc:sldMk cId="479191838" sldId="256"/>
            <ac:spMk id="232" creationId="{47E6959E-C0F8-4E81-874F-69E6A8302B66}"/>
          </ac:spMkLst>
        </pc:spChg>
        <pc:spChg chg="mod">
          <ac:chgData name="Atchi Padmarani" userId="fe059d67-2bf4-46a8-ba9e-d5041048c89a" providerId="ADAL" clId="{BE86370A-B29F-4F42-BC7C-8661773008D0}" dt="2025-10-23T04:59:25.734" v="1921"/>
          <ac:spMkLst>
            <pc:docMk/>
            <pc:sldMk cId="479191838" sldId="256"/>
            <ac:spMk id="233" creationId="{0588C6ED-E08C-F7C8-09C1-E832839A034F}"/>
          </ac:spMkLst>
        </pc:spChg>
        <pc:spChg chg="mod ord">
          <ac:chgData name="Atchi Padmarani" userId="fe059d67-2bf4-46a8-ba9e-d5041048c89a" providerId="ADAL" clId="{BE86370A-B29F-4F42-BC7C-8661773008D0}" dt="2025-10-23T05:37:04.727" v="7483"/>
          <ac:spMkLst>
            <pc:docMk/>
            <pc:sldMk cId="479191838" sldId="256"/>
            <ac:spMk id="234" creationId="{D9956721-A0E9-303C-ED9C-7C7C8EA14CD7}"/>
          </ac:spMkLst>
        </pc:spChg>
        <pc:spChg chg="del">
          <ac:chgData name="Atchi Padmarani" userId="fe059d67-2bf4-46a8-ba9e-d5041048c89a" providerId="ADAL" clId="{BE86370A-B29F-4F42-BC7C-8661773008D0}" dt="2025-10-23T04:38:43.737" v="101" actId="478"/>
          <ac:spMkLst>
            <pc:docMk/>
            <pc:sldMk cId="479191838" sldId="256"/>
            <ac:spMk id="235" creationId="{54395974-D8EC-A130-8DE1-629905835D59}"/>
          </ac:spMkLst>
        </pc:spChg>
        <pc:spChg chg="mod ord">
          <ac:chgData name="Atchi Padmarani" userId="fe059d67-2bf4-46a8-ba9e-d5041048c89a" providerId="ADAL" clId="{BE86370A-B29F-4F42-BC7C-8661773008D0}" dt="2025-10-23T05:37:04.727" v="7485"/>
          <ac:spMkLst>
            <pc:docMk/>
            <pc:sldMk cId="479191838" sldId="256"/>
            <ac:spMk id="239" creationId="{B39C4BDE-3EF0-4987-00C1-9C74B4A40E75}"/>
          </ac:spMkLst>
        </pc:spChg>
        <pc:spChg chg="mod topLvl">
          <ac:chgData name="Atchi Padmarani" userId="fe059d67-2bf4-46a8-ba9e-d5041048c89a" providerId="ADAL" clId="{BE86370A-B29F-4F42-BC7C-8661773008D0}" dt="2025-10-23T05:37:04.735" v="7501"/>
          <ac:spMkLst>
            <pc:docMk/>
            <pc:sldMk cId="479191838" sldId="256"/>
            <ac:spMk id="240" creationId="{C2970E33-B56F-4F67-3C50-8F80B02D3709}"/>
          </ac:spMkLst>
        </pc:spChg>
        <pc:spChg chg="mod topLvl">
          <ac:chgData name="Atchi Padmarani" userId="fe059d67-2bf4-46a8-ba9e-d5041048c89a" providerId="ADAL" clId="{BE86370A-B29F-4F42-BC7C-8661773008D0}" dt="2025-10-23T05:37:04.735" v="7502"/>
          <ac:spMkLst>
            <pc:docMk/>
            <pc:sldMk cId="479191838" sldId="256"/>
            <ac:spMk id="241" creationId="{5471208E-AB7A-ECCE-906B-80EB9E2DA2B0}"/>
          </ac:spMkLst>
        </pc:spChg>
        <pc:spChg chg="mod topLvl">
          <ac:chgData name="Atchi Padmarani" userId="fe059d67-2bf4-46a8-ba9e-d5041048c89a" providerId="ADAL" clId="{BE86370A-B29F-4F42-BC7C-8661773008D0}" dt="2025-10-23T05:37:04.737" v="7507"/>
          <ac:spMkLst>
            <pc:docMk/>
            <pc:sldMk cId="479191838" sldId="256"/>
            <ac:spMk id="244" creationId="{314F5087-BF73-AEB2-A607-267C498B2991}"/>
          </ac:spMkLst>
        </pc:spChg>
        <pc:spChg chg="mod topLvl">
          <ac:chgData name="Atchi Padmarani" userId="fe059d67-2bf4-46a8-ba9e-d5041048c89a" providerId="ADAL" clId="{BE86370A-B29F-4F42-BC7C-8661773008D0}" dt="2025-10-23T05:37:04.739" v="7508"/>
          <ac:spMkLst>
            <pc:docMk/>
            <pc:sldMk cId="479191838" sldId="256"/>
            <ac:spMk id="245" creationId="{2D2DB2A4-889E-C0D8-2EF5-4F278BE4FC44}"/>
          </ac:spMkLst>
        </pc:spChg>
        <pc:spChg chg="mod">
          <ac:chgData name="Atchi Padmarani" userId="fe059d67-2bf4-46a8-ba9e-d5041048c89a" providerId="ADAL" clId="{BE86370A-B29F-4F42-BC7C-8661773008D0}" dt="2025-10-23T05:18:08.239" v="5433"/>
          <ac:spMkLst>
            <pc:docMk/>
            <pc:sldMk cId="479191838" sldId="256"/>
            <ac:spMk id="247" creationId="{5CC71615-4A66-CD28-891F-6528EB4E7280}"/>
          </ac:spMkLst>
        </pc:spChg>
        <pc:spChg chg="mod">
          <ac:chgData name="Atchi Padmarani" userId="fe059d67-2bf4-46a8-ba9e-d5041048c89a" providerId="ADAL" clId="{BE86370A-B29F-4F42-BC7C-8661773008D0}" dt="2025-10-23T05:18:08.239" v="5433"/>
          <ac:spMkLst>
            <pc:docMk/>
            <pc:sldMk cId="479191838" sldId="256"/>
            <ac:spMk id="248" creationId="{62B29F6E-0238-0B79-057D-BA9453EB70A9}"/>
          </ac:spMkLst>
        </pc:spChg>
        <pc:spChg chg="mod topLvl">
          <ac:chgData name="Atchi Padmarani" userId="fe059d67-2bf4-46a8-ba9e-d5041048c89a" providerId="ADAL" clId="{BE86370A-B29F-4F42-BC7C-8661773008D0}" dt="2025-10-23T05:37:04.737" v="7504"/>
          <ac:spMkLst>
            <pc:docMk/>
            <pc:sldMk cId="479191838" sldId="256"/>
            <ac:spMk id="250" creationId="{875DF738-6551-F16E-9E45-649E218508B0}"/>
          </ac:spMkLst>
        </pc:spChg>
        <pc:spChg chg="mod topLvl">
          <ac:chgData name="Atchi Padmarani" userId="fe059d67-2bf4-46a8-ba9e-d5041048c89a" providerId="ADAL" clId="{BE86370A-B29F-4F42-BC7C-8661773008D0}" dt="2025-10-23T05:37:04.737" v="7505"/>
          <ac:spMkLst>
            <pc:docMk/>
            <pc:sldMk cId="479191838" sldId="256"/>
            <ac:spMk id="251" creationId="{85D63AFB-5586-EB47-B785-0A06B5E753E9}"/>
          </ac:spMkLst>
        </pc:spChg>
        <pc:spChg chg="mod">
          <ac:chgData name="Atchi Padmarani" userId="fe059d67-2bf4-46a8-ba9e-d5041048c89a" providerId="ADAL" clId="{BE86370A-B29F-4F42-BC7C-8661773008D0}" dt="2025-10-23T05:19:15.220" v="5440"/>
          <ac:spMkLst>
            <pc:docMk/>
            <pc:sldMk cId="479191838" sldId="256"/>
            <ac:spMk id="252" creationId="{21796869-23C4-E006-26F0-5DC425702FAE}"/>
          </ac:spMkLst>
        </pc:spChg>
        <pc:spChg chg="mod">
          <ac:chgData name="Atchi Padmarani" userId="fe059d67-2bf4-46a8-ba9e-d5041048c89a" providerId="ADAL" clId="{BE86370A-B29F-4F42-BC7C-8661773008D0}" dt="2025-10-23T05:19:15.220" v="5440"/>
          <ac:spMkLst>
            <pc:docMk/>
            <pc:sldMk cId="479191838" sldId="256"/>
            <ac:spMk id="254" creationId="{4BA105C4-3D1D-1810-5471-72C9359B9D36}"/>
          </ac:spMkLst>
        </pc:spChg>
        <pc:spChg chg="mod">
          <ac:chgData name="Atchi Padmarani" userId="fe059d67-2bf4-46a8-ba9e-d5041048c89a" providerId="ADAL" clId="{BE86370A-B29F-4F42-BC7C-8661773008D0}" dt="2025-10-23T05:39:06.155" v="7658" actId="165"/>
          <ac:spMkLst>
            <pc:docMk/>
            <pc:sldMk cId="479191838" sldId="256"/>
            <ac:spMk id="255" creationId="{9105F156-6F73-86DF-B35E-95C09999F2B0}"/>
          </ac:spMkLst>
        </pc:spChg>
        <pc:spChg chg="mod ord">
          <ac:chgData name="Atchi Padmarani" userId="fe059d67-2bf4-46a8-ba9e-d5041048c89a" providerId="ADAL" clId="{BE86370A-B29F-4F42-BC7C-8661773008D0}" dt="2025-10-23T05:37:04.605" v="7158"/>
          <ac:spMkLst>
            <pc:docMk/>
            <pc:sldMk cId="479191838" sldId="256"/>
            <ac:spMk id="256" creationId="{43811543-06F8-D248-38E2-8D181B376547}"/>
          </ac:spMkLst>
        </pc:spChg>
        <pc:spChg chg="del mod">
          <ac:chgData name="Atchi Padmarani" userId="fe059d67-2bf4-46a8-ba9e-d5041048c89a" providerId="ADAL" clId="{BE86370A-B29F-4F42-BC7C-8661773008D0}" dt="2025-10-23T04:51:23.581" v="1564" actId="478"/>
          <ac:spMkLst>
            <pc:docMk/>
            <pc:sldMk cId="479191838" sldId="256"/>
            <ac:spMk id="258" creationId="{924E032E-DD39-37C1-1579-714AB83BFB36}"/>
          </ac:spMkLst>
        </pc:spChg>
        <pc:spChg chg="mod">
          <ac:chgData name="Atchi Padmarani" userId="fe059d67-2bf4-46a8-ba9e-d5041048c89a" providerId="ADAL" clId="{BE86370A-B29F-4F42-BC7C-8661773008D0}" dt="2025-10-23T05:19:53.877" v="5444"/>
          <ac:spMkLst>
            <pc:docMk/>
            <pc:sldMk cId="479191838" sldId="256"/>
            <ac:spMk id="259" creationId="{971743BF-66B4-88A3-9FBC-94C9E9E1BDA1}"/>
          </ac:spMkLst>
        </pc:spChg>
        <pc:spChg chg="mod">
          <ac:chgData name="Atchi Padmarani" userId="fe059d67-2bf4-46a8-ba9e-d5041048c89a" providerId="ADAL" clId="{BE86370A-B29F-4F42-BC7C-8661773008D0}" dt="2025-10-23T05:19:53.877" v="5444"/>
          <ac:spMkLst>
            <pc:docMk/>
            <pc:sldMk cId="479191838" sldId="256"/>
            <ac:spMk id="261" creationId="{EF9AC71F-6DCB-5109-7329-DFF4745C01EF}"/>
          </ac:spMkLst>
        </pc:spChg>
        <pc:spChg chg="mod">
          <ac:chgData name="Atchi Padmarani" userId="fe059d67-2bf4-46a8-ba9e-d5041048c89a" providerId="ADAL" clId="{BE86370A-B29F-4F42-BC7C-8661773008D0}" dt="2025-10-23T05:19:53.877" v="5444"/>
          <ac:spMkLst>
            <pc:docMk/>
            <pc:sldMk cId="479191838" sldId="256"/>
            <ac:spMk id="262" creationId="{30F62F1A-085F-BEC8-2B7E-4B2C58BC561E}"/>
          </ac:spMkLst>
        </pc:spChg>
        <pc:spChg chg="mod">
          <ac:chgData name="Atchi Padmarani" userId="fe059d67-2bf4-46a8-ba9e-d5041048c89a" providerId="ADAL" clId="{BE86370A-B29F-4F42-BC7C-8661773008D0}" dt="2025-10-23T05:39:05.446" v="7657" actId="465"/>
          <ac:spMkLst>
            <pc:docMk/>
            <pc:sldMk cId="479191838" sldId="256"/>
            <ac:spMk id="264" creationId="{1AA594DA-AFA9-458A-343C-2444319AF406}"/>
          </ac:spMkLst>
        </pc:spChg>
        <pc:spChg chg="mod topLvl">
          <ac:chgData name="Atchi Padmarani" userId="fe059d67-2bf4-46a8-ba9e-d5041048c89a" providerId="ADAL" clId="{BE86370A-B29F-4F42-BC7C-8661773008D0}" dt="2025-10-23T05:37:04.735" v="7503"/>
          <ac:spMkLst>
            <pc:docMk/>
            <pc:sldMk cId="479191838" sldId="256"/>
            <ac:spMk id="266" creationId="{C051483D-7765-7933-9344-1BBD5CACE3F5}"/>
          </ac:spMkLst>
        </pc:spChg>
        <pc:spChg chg="mod topLvl">
          <ac:chgData name="Atchi Padmarani" userId="fe059d67-2bf4-46a8-ba9e-d5041048c89a" providerId="ADAL" clId="{BE86370A-B29F-4F42-BC7C-8661773008D0}" dt="2025-10-23T05:37:04.737" v="7506"/>
          <ac:spMkLst>
            <pc:docMk/>
            <pc:sldMk cId="479191838" sldId="256"/>
            <ac:spMk id="267" creationId="{05E9175B-6479-A6BE-3D77-BDF420DCABB9}"/>
          </ac:spMkLst>
        </pc:spChg>
        <pc:spChg chg="mod">
          <ac:chgData name="Atchi Padmarani" userId="fe059d67-2bf4-46a8-ba9e-d5041048c89a" providerId="ADAL" clId="{BE86370A-B29F-4F42-BC7C-8661773008D0}" dt="2025-10-23T05:39:05.446" v="7657" actId="465"/>
          <ac:spMkLst>
            <pc:docMk/>
            <pc:sldMk cId="479191838" sldId="256"/>
            <ac:spMk id="268" creationId="{3E316D59-871E-5FA3-19AD-33E2990488F3}"/>
          </ac:spMkLst>
        </pc:spChg>
        <pc:spChg chg="mod">
          <ac:chgData name="Atchi Padmarani" userId="fe059d67-2bf4-46a8-ba9e-d5041048c89a" providerId="ADAL" clId="{BE86370A-B29F-4F42-BC7C-8661773008D0}" dt="2025-10-23T05:39:05.446" v="7657" actId="465"/>
          <ac:spMkLst>
            <pc:docMk/>
            <pc:sldMk cId="479191838" sldId="256"/>
            <ac:spMk id="269" creationId="{2E2992F5-FA67-DD1A-CE92-9A1EB547A7B6}"/>
          </ac:spMkLst>
        </pc:spChg>
        <pc:spChg chg="mod ord topLvl">
          <ac:chgData name="Atchi Padmarani" userId="fe059d67-2bf4-46a8-ba9e-d5041048c89a" providerId="ADAL" clId="{BE86370A-B29F-4F42-BC7C-8661773008D0}" dt="2025-10-23T05:37:04.739" v="7510"/>
          <ac:spMkLst>
            <pc:docMk/>
            <pc:sldMk cId="479191838" sldId="256"/>
            <ac:spMk id="270" creationId="{A388A148-1FB3-1651-723D-ABF7E5E150C4}"/>
          </ac:spMkLst>
        </pc:spChg>
        <pc:spChg chg="mod">
          <ac:chgData name="Atchi Padmarani" userId="fe059d67-2bf4-46a8-ba9e-d5041048c89a" providerId="ADAL" clId="{BE86370A-B29F-4F42-BC7C-8661773008D0}" dt="2025-10-23T05:39:05.446" v="7657" actId="465"/>
          <ac:spMkLst>
            <pc:docMk/>
            <pc:sldMk cId="479191838" sldId="256"/>
            <ac:spMk id="272" creationId="{3D1CFE6E-4F58-1D35-6BC7-DEDCCF7C5F15}"/>
          </ac:spMkLst>
        </pc:spChg>
        <pc:spChg chg="mod">
          <ac:chgData name="Atchi Padmarani" userId="fe059d67-2bf4-46a8-ba9e-d5041048c89a" providerId="ADAL" clId="{BE86370A-B29F-4F42-BC7C-8661773008D0}" dt="2025-10-23T05:39:06.155" v="7658" actId="165"/>
          <ac:spMkLst>
            <pc:docMk/>
            <pc:sldMk cId="479191838" sldId="256"/>
            <ac:spMk id="274" creationId="{117B79A9-AFC5-0F51-32BF-41068D0C3956}"/>
          </ac:spMkLst>
        </pc:spChg>
        <pc:spChg chg="mod">
          <ac:chgData name="Atchi Padmarani" userId="fe059d67-2bf4-46a8-ba9e-d5041048c89a" providerId="ADAL" clId="{BE86370A-B29F-4F42-BC7C-8661773008D0}" dt="2025-10-23T05:39:05.446" v="7657" actId="465"/>
          <ac:spMkLst>
            <pc:docMk/>
            <pc:sldMk cId="479191838" sldId="256"/>
            <ac:spMk id="275" creationId="{43B861AA-0BE4-90CB-A0D8-9A539684E4A8}"/>
          </ac:spMkLst>
        </pc:spChg>
        <pc:spChg chg="mod">
          <ac:chgData name="Atchi Padmarani" userId="fe059d67-2bf4-46a8-ba9e-d5041048c89a" providerId="ADAL" clId="{BE86370A-B29F-4F42-BC7C-8661773008D0}" dt="2025-10-23T05:39:06.155" v="7658" actId="165"/>
          <ac:spMkLst>
            <pc:docMk/>
            <pc:sldMk cId="479191838" sldId="256"/>
            <ac:spMk id="277" creationId="{B26D6D51-3E92-7C04-AE92-C8E97F006E04}"/>
          </ac:spMkLst>
        </pc:spChg>
        <pc:spChg chg="mod">
          <ac:chgData name="Atchi Padmarani" userId="fe059d67-2bf4-46a8-ba9e-d5041048c89a" providerId="ADAL" clId="{BE86370A-B29F-4F42-BC7C-8661773008D0}" dt="2025-10-23T05:22:05.574" v="5459"/>
          <ac:spMkLst>
            <pc:docMk/>
            <pc:sldMk cId="479191838" sldId="256"/>
            <ac:spMk id="278" creationId="{CBDDE176-A45B-2861-D22A-ABB9CC830E18}"/>
          </ac:spMkLst>
        </pc:spChg>
        <pc:spChg chg="mod">
          <ac:chgData name="Atchi Padmarani" userId="fe059d67-2bf4-46a8-ba9e-d5041048c89a" providerId="ADAL" clId="{BE86370A-B29F-4F42-BC7C-8661773008D0}" dt="2025-10-23T05:22:05.574" v="5459"/>
          <ac:spMkLst>
            <pc:docMk/>
            <pc:sldMk cId="479191838" sldId="256"/>
            <ac:spMk id="279" creationId="{8CB7E0D7-4D1B-4480-4140-F068D97C9DFF}"/>
          </ac:spMkLst>
        </pc:spChg>
        <pc:spChg chg="mod">
          <ac:chgData name="Atchi Padmarani" userId="fe059d67-2bf4-46a8-ba9e-d5041048c89a" providerId="ADAL" clId="{BE86370A-B29F-4F42-BC7C-8661773008D0}" dt="2025-10-23T05:26:43.751" v="5467"/>
          <ac:spMkLst>
            <pc:docMk/>
            <pc:sldMk cId="479191838" sldId="256"/>
            <ac:spMk id="281" creationId="{F1A6FEEC-DF2B-9A76-1E62-DB46805CC5A9}"/>
          </ac:spMkLst>
        </pc:spChg>
        <pc:spChg chg="mod">
          <ac:chgData name="Atchi Padmarani" userId="fe059d67-2bf4-46a8-ba9e-d5041048c89a" providerId="ADAL" clId="{BE86370A-B29F-4F42-BC7C-8661773008D0}" dt="2025-10-23T05:26:43.751" v="5467"/>
          <ac:spMkLst>
            <pc:docMk/>
            <pc:sldMk cId="479191838" sldId="256"/>
            <ac:spMk id="284" creationId="{9E92B016-7528-E5B8-0D3F-46B4159A28AF}"/>
          </ac:spMkLst>
        </pc:spChg>
        <pc:spChg chg="del mod topLvl">
          <ac:chgData name="Atchi Padmarani" userId="fe059d67-2bf4-46a8-ba9e-d5041048c89a" providerId="ADAL" clId="{BE86370A-B29F-4F42-BC7C-8661773008D0}" dt="2025-10-23T04:57:50.475" v="1873" actId="478"/>
          <ac:spMkLst>
            <pc:docMk/>
            <pc:sldMk cId="479191838" sldId="256"/>
            <ac:spMk id="285" creationId="{1A9B407E-B579-4186-6781-92394E264E74}"/>
          </ac:spMkLst>
        </pc:spChg>
        <pc:spChg chg="del mod topLvl">
          <ac:chgData name="Atchi Padmarani" userId="fe059d67-2bf4-46a8-ba9e-d5041048c89a" providerId="ADAL" clId="{BE86370A-B29F-4F42-BC7C-8661773008D0}" dt="2025-10-23T04:57:50.475" v="1873" actId="478"/>
          <ac:spMkLst>
            <pc:docMk/>
            <pc:sldMk cId="479191838" sldId="256"/>
            <ac:spMk id="286" creationId="{DC24F4B5-77F5-D195-B826-468CDD12BEAD}"/>
          </ac:spMkLst>
        </pc:spChg>
        <pc:spChg chg="del mod topLvl">
          <ac:chgData name="Atchi Padmarani" userId="fe059d67-2bf4-46a8-ba9e-d5041048c89a" providerId="ADAL" clId="{BE86370A-B29F-4F42-BC7C-8661773008D0}" dt="2025-10-23T04:57:50.475" v="1873" actId="478"/>
          <ac:spMkLst>
            <pc:docMk/>
            <pc:sldMk cId="479191838" sldId="256"/>
            <ac:spMk id="287" creationId="{2B92CC7E-D640-964E-F4E2-9039E2EBD5EC}"/>
          </ac:spMkLst>
        </pc:spChg>
        <pc:spChg chg="del mod topLvl">
          <ac:chgData name="Atchi Padmarani" userId="fe059d67-2bf4-46a8-ba9e-d5041048c89a" providerId="ADAL" clId="{BE86370A-B29F-4F42-BC7C-8661773008D0}" dt="2025-10-23T04:57:50.475" v="1873" actId="478"/>
          <ac:spMkLst>
            <pc:docMk/>
            <pc:sldMk cId="479191838" sldId="256"/>
            <ac:spMk id="288" creationId="{64B2A320-C91D-4E75-8888-9F0D770F240F}"/>
          </ac:spMkLst>
        </pc:spChg>
        <pc:spChg chg="mod">
          <ac:chgData name="Atchi Padmarani" userId="fe059d67-2bf4-46a8-ba9e-d5041048c89a" providerId="ADAL" clId="{BE86370A-B29F-4F42-BC7C-8661773008D0}" dt="2025-10-23T05:26:43.751" v="5467"/>
          <ac:spMkLst>
            <pc:docMk/>
            <pc:sldMk cId="479191838" sldId="256"/>
            <ac:spMk id="289" creationId="{77321F5E-FD5A-66A1-0B65-D8B9357BBF71}"/>
          </ac:spMkLst>
        </pc:spChg>
        <pc:spChg chg="mod">
          <ac:chgData name="Atchi Padmarani" userId="fe059d67-2bf4-46a8-ba9e-d5041048c89a" providerId="ADAL" clId="{BE86370A-B29F-4F42-BC7C-8661773008D0}" dt="2025-10-23T05:36:07.966" v="5524"/>
          <ac:spMkLst>
            <pc:docMk/>
            <pc:sldMk cId="479191838" sldId="256"/>
            <ac:spMk id="291" creationId="{E3ACD601-5926-753F-6843-D2849ED4E8D7}"/>
          </ac:spMkLst>
        </pc:spChg>
        <pc:spChg chg="mod topLvl">
          <ac:chgData name="Atchi Padmarani" userId="fe059d67-2bf4-46a8-ba9e-d5041048c89a" providerId="ADAL" clId="{BE86370A-B29F-4F42-BC7C-8661773008D0}" dt="2025-10-23T05:37:04.740" v="7511"/>
          <ac:spMkLst>
            <pc:docMk/>
            <pc:sldMk cId="479191838" sldId="256"/>
            <ac:spMk id="292" creationId="{51B36668-00B8-74DB-1B3C-B66550F4471A}"/>
          </ac:spMkLst>
        </pc:spChg>
        <pc:spChg chg="mod topLvl">
          <ac:chgData name="Atchi Padmarani" userId="fe059d67-2bf4-46a8-ba9e-d5041048c89a" providerId="ADAL" clId="{BE86370A-B29F-4F42-BC7C-8661773008D0}" dt="2025-10-23T05:37:04.741" v="7512"/>
          <ac:spMkLst>
            <pc:docMk/>
            <pc:sldMk cId="479191838" sldId="256"/>
            <ac:spMk id="293" creationId="{027C4A31-5D32-624D-39B7-8F148BBB53BC}"/>
          </ac:spMkLst>
        </pc:spChg>
        <pc:spChg chg="mod">
          <ac:chgData name="Atchi Padmarani" userId="fe059d67-2bf4-46a8-ba9e-d5041048c89a" providerId="ADAL" clId="{BE86370A-B29F-4F42-BC7C-8661773008D0}" dt="2025-10-23T05:36:07.966" v="5524"/>
          <ac:spMkLst>
            <pc:docMk/>
            <pc:sldMk cId="479191838" sldId="256"/>
            <ac:spMk id="294" creationId="{BA28E033-4F31-FE63-9B76-26110CC07D60}"/>
          </ac:spMkLst>
        </pc:spChg>
        <pc:spChg chg="mod">
          <ac:chgData name="Atchi Padmarani" userId="fe059d67-2bf4-46a8-ba9e-d5041048c89a" providerId="ADAL" clId="{BE86370A-B29F-4F42-BC7C-8661773008D0}" dt="2025-10-23T05:36:07.966" v="5524"/>
          <ac:spMkLst>
            <pc:docMk/>
            <pc:sldMk cId="479191838" sldId="256"/>
            <ac:spMk id="295" creationId="{A994B6DD-55BB-B728-43CA-D1446E6958EC}"/>
          </ac:spMkLst>
        </pc:spChg>
        <pc:spChg chg="mod">
          <ac:chgData name="Atchi Padmarani" userId="fe059d67-2bf4-46a8-ba9e-d5041048c89a" providerId="ADAL" clId="{BE86370A-B29F-4F42-BC7C-8661773008D0}" dt="2025-10-23T05:36:07.807" v="5520"/>
          <ac:spMkLst>
            <pc:docMk/>
            <pc:sldMk cId="479191838" sldId="256"/>
            <ac:spMk id="298" creationId="{12C1FFFD-F18F-D93C-968F-90D1B3252D31}"/>
          </ac:spMkLst>
        </pc:spChg>
        <pc:spChg chg="mod">
          <ac:chgData name="Atchi Padmarani" userId="fe059d67-2bf4-46a8-ba9e-d5041048c89a" providerId="ADAL" clId="{BE86370A-B29F-4F42-BC7C-8661773008D0}" dt="2025-10-23T05:36:07.807" v="5520"/>
          <ac:spMkLst>
            <pc:docMk/>
            <pc:sldMk cId="479191838" sldId="256"/>
            <ac:spMk id="300" creationId="{7595B57A-4ED9-A866-EAFB-CCF337CB3DE5}"/>
          </ac:spMkLst>
        </pc:spChg>
        <pc:spChg chg="mod">
          <ac:chgData name="Atchi Padmarani" userId="fe059d67-2bf4-46a8-ba9e-d5041048c89a" providerId="ADAL" clId="{BE86370A-B29F-4F42-BC7C-8661773008D0}" dt="2025-10-23T05:36:07.807" v="5520"/>
          <ac:spMkLst>
            <pc:docMk/>
            <pc:sldMk cId="479191838" sldId="256"/>
            <ac:spMk id="301" creationId="{DDDAA23F-2262-DA9B-5338-A89B29D6BD96}"/>
          </ac:spMkLst>
        </pc:spChg>
        <pc:spChg chg="mod ord topLvl modVis">
          <ac:chgData name="Atchi Padmarani" userId="fe059d67-2bf4-46a8-ba9e-d5041048c89a" providerId="ADAL" clId="{BE86370A-B29F-4F42-BC7C-8661773008D0}" dt="2025-10-23T05:39:06.155" v="7658" actId="165"/>
          <ac:spMkLst>
            <pc:docMk/>
            <pc:sldMk cId="479191838" sldId="256"/>
            <ac:spMk id="302" creationId="{97C18B00-CC39-257C-B2E7-0D549BDE47DB}"/>
          </ac:spMkLst>
        </pc:spChg>
        <pc:spChg chg="mod ord topLvl">
          <ac:chgData name="Atchi Padmarani" userId="fe059d67-2bf4-46a8-ba9e-d5041048c89a" providerId="ADAL" clId="{BE86370A-B29F-4F42-BC7C-8661773008D0}" dt="2025-10-23T05:38:52.219" v="7650" actId="164"/>
          <ac:spMkLst>
            <pc:docMk/>
            <pc:sldMk cId="479191838" sldId="256"/>
            <ac:spMk id="303" creationId="{B6F3A2EA-6DF7-BC19-706E-5E36D4CEEDAE}"/>
          </ac:spMkLst>
        </pc:spChg>
        <pc:spChg chg="mod">
          <ac:chgData name="Atchi Padmarani" userId="fe059d67-2bf4-46a8-ba9e-d5041048c89a" providerId="ADAL" clId="{BE86370A-B29F-4F42-BC7C-8661773008D0}" dt="2025-10-23T05:36:07.664" v="5517"/>
          <ac:spMkLst>
            <pc:docMk/>
            <pc:sldMk cId="479191838" sldId="256"/>
            <ac:spMk id="305" creationId="{D88F7BCD-0EC7-48D4-F968-53F58E9EEA43}"/>
          </ac:spMkLst>
        </pc:spChg>
        <pc:spChg chg="del mod topLvl">
          <ac:chgData name="Atchi Padmarani" userId="fe059d67-2bf4-46a8-ba9e-d5041048c89a" providerId="ADAL" clId="{BE86370A-B29F-4F42-BC7C-8661773008D0}" dt="2025-10-23T04:38:43.737" v="101" actId="478"/>
          <ac:spMkLst>
            <pc:docMk/>
            <pc:sldMk cId="479191838" sldId="256"/>
            <ac:spMk id="306" creationId="{C54BE486-EC08-FE67-506F-115F50EC66C7}"/>
          </ac:spMkLst>
        </pc:spChg>
        <pc:spChg chg="del mod topLvl">
          <ac:chgData name="Atchi Padmarani" userId="fe059d67-2bf4-46a8-ba9e-d5041048c89a" providerId="ADAL" clId="{BE86370A-B29F-4F42-BC7C-8661773008D0}" dt="2025-10-23T04:38:43.737" v="101" actId="478"/>
          <ac:spMkLst>
            <pc:docMk/>
            <pc:sldMk cId="479191838" sldId="256"/>
            <ac:spMk id="307" creationId="{9EF30DA2-7C5B-B458-E2D9-4A815D70E0DA}"/>
          </ac:spMkLst>
        </pc:spChg>
        <pc:spChg chg="mod ord topLvl">
          <ac:chgData name="Atchi Padmarani" userId="fe059d67-2bf4-46a8-ba9e-d5041048c89a" providerId="ADAL" clId="{BE86370A-B29F-4F42-BC7C-8661773008D0}" dt="2025-10-23T05:38:52.219" v="7650" actId="164"/>
          <ac:spMkLst>
            <pc:docMk/>
            <pc:sldMk cId="479191838" sldId="256"/>
            <ac:spMk id="308" creationId="{6BCEB958-0286-1EAD-A611-C5462C9AD50C}"/>
          </ac:spMkLst>
        </pc:spChg>
        <pc:spChg chg="add del mod ord topLvl modVis">
          <ac:chgData name="Atchi Padmarani" userId="fe059d67-2bf4-46a8-ba9e-d5041048c89a" providerId="ADAL" clId="{BE86370A-B29F-4F42-BC7C-8661773008D0}" dt="2025-10-23T05:06:13.731" v="4387" actId="1037"/>
          <ac:spMkLst>
            <pc:docMk/>
            <pc:sldMk cId="479191838" sldId="256"/>
            <ac:spMk id="309" creationId="{A01542BB-EF0F-DBA3-E93A-2C68AE60628A}"/>
          </ac:spMkLst>
        </pc:spChg>
        <pc:spChg chg="mod">
          <ac:chgData name="Atchi Padmarani" userId="fe059d67-2bf4-46a8-ba9e-d5041048c89a" providerId="ADAL" clId="{BE86370A-B29F-4F42-BC7C-8661773008D0}" dt="2025-10-23T04:38:58.116" v="103" actId="165"/>
          <ac:spMkLst>
            <pc:docMk/>
            <pc:sldMk cId="479191838" sldId="256"/>
            <ac:spMk id="313" creationId="{CA2B379C-785D-3378-AA87-801EC5BCFD45}"/>
          </ac:spMkLst>
        </pc:spChg>
        <pc:spChg chg="mod">
          <ac:chgData name="Atchi Padmarani" userId="fe059d67-2bf4-46a8-ba9e-d5041048c89a" providerId="ADAL" clId="{BE86370A-B29F-4F42-BC7C-8661773008D0}" dt="2025-10-23T04:38:58.116" v="103" actId="165"/>
          <ac:spMkLst>
            <pc:docMk/>
            <pc:sldMk cId="479191838" sldId="256"/>
            <ac:spMk id="314" creationId="{12824240-0872-4214-483A-05E3E6BD01CE}"/>
          </ac:spMkLst>
        </pc:spChg>
        <pc:spChg chg="mod">
          <ac:chgData name="Atchi Padmarani" userId="fe059d67-2bf4-46a8-ba9e-d5041048c89a" providerId="ADAL" clId="{BE86370A-B29F-4F42-BC7C-8661773008D0}" dt="2025-10-23T04:38:58.116" v="103" actId="165"/>
          <ac:spMkLst>
            <pc:docMk/>
            <pc:sldMk cId="479191838" sldId="256"/>
            <ac:spMk id="315" creationId="{2F1CF3FA-51AD-9669-2C58-4232373B88B8}"/>
          </ac:spMkLst>
        </pc:spChg>
        <pc:spChg chg="mod">
          <ac:chgData name="Atchi Padmarani" userId="fe059d67-2bf4-46a8-ba9e-d5041048c89a" providerId="ADAL" clId="{BE86370A-B29F-4F42-BC7C-8661773008D0}" dt="2025-10-23T04:38:58.116" v="103" actId="165"/>
          <ac:spMkLst>
            <pc:docMk/>
            <pc:sldMk cId="479191838" sldId="256"/>
            <ac:spMk id="316" creationId="{B9F0CCF6-F139-6787-F786-4C0ED032D4C8}"/>
          </ac:spMkLst>
        </pc:spChg>
        <pc:spChg chg="del mod topLvl">
          <ac:chgData name="Atchi Padmarani" userId="fe059d67-2bf4-46a8-ba9e-d5041048c89a" providerId="ADAL" clId="{BE86370A-B29F-4F42-BC7C-8661773008D0}" dt="2025-10-23T04:39:05.123" v="109" actId="478"/>
          <ac:spMkLst>
            <pc:docMk/>
            <pc:sldMk cId="479191838" sldId="256"/>
            <ac:spMk id="318" creationId="{320D9A06-60D1-D0EF-4939-FC9D17F6C018}"/>
          </ac:spMkLst>
        </pc:spChg>
        <pc:spChg chg="mod ord">
          <ac:chgData name="Atchi Padmarani" userId="fe059d67-2bf4-46a8-ba9e-d5041048c89a" providerId="ADAL" clId="{BE86370A-B29F-4F42-BC7C-8661773008D0}" dt="2025-10-23T05:37:04.716" v="7468"/>
          <ac:spMkLst>
            <pc:docMk/>
            <pc:sldMk cId="479191838" sldId="256"/>
            <ac:spMk id="320" creationId="{AE7EACBB-FBBC-7D77-67FE-5FE024465E17}"/>
          </ac:spMkLst>
        </pc:spChg>
        <pc:spChg chg="mod ord">
          <ac:chgData name="Atchi Padmarani" userId="fe059d67-2bf4-46a8-ba9e-d5041048c89a" providerId="ADAL" clId="{BE86370A-B29F-4F42-BC7C-8661773008D0}" dt="2025-10-23T05:37:04.722" v="7470"/>
          <ac:spMkLst>
            <pc:docMk/>
            <pc:sldMk cId="479191838" sldId="256"/>
            <ac:spMk id="321" creationId="{F5916BE6-A42E-5A6A-54E4-7DD023E97E37}"/>
          </ac:spMkLst>
        </pc:spChg>
        <pc:spChg chg="mod ord">
          <ac:chgData name="Atchi Padmarani" userId="fe059d67-2bf4-46a8-ba9e-d5041048c89a" providerId="ADAL" clId="{BE86370A-B29F-4F42-BC7C-8661773008D0}" dt="2025-10-23T05:37:04.722" v="7472"/>
          <ac:spMkLst>
            <pc:docMk/>
            <pc:sldMk cId="479191838" sldId="256"/>
            <ac:spMk id="322" creationId="{42A9A003-9A67-27BD-CEFF-7015CBA90AFC}"/>
          </ac:spMkLst>
        </pc:spChg>
        <pc:spChg chg="mod">
          <ac:chgData name="Atchi Padmarani" userId="fe059d67-2bf4-46a8-ba9e-d5041048c89a" providerId="ADAL" clId="{BE86370A-B29F-4F42-BC7C-8661773008D0}" dt="2025-10-23T05:36:07.664" v="5517"/>
          <ac:spMkLst>
            <pc:docMk/>
            <pc:sldMk cId="479191838" sldId="256"/>
            <ac:spMk id="323" creationId="{1562965F-DD16-3B1E-E431-95B0FA06567C}"/>
          </ac:spMkLst>
        </pc:spChg>
        <pc:spChg chg="mod">
          <ac:chgData name="Atchi Padmarani" userId="fe059d67-2bf4-46a8-ba9e-d5041048c89a" providerId="ADAL" clId="{BE86370A-B29F-4F42-BC7C-8661773008D0}" dt="2025-10-23T05:36:07.664" v="5517"/>
          <ac:spMkLst>
            <pc:docMk/>
            <pc:sldMk cId="479191838" sldId="256"/>
            <ac:spMk id="324" creationId="{46C5F556-AF20-C9EE-3AE6-5F219DF15BDB}"/>
          </ac:spMkLst>
        </pc:spChg>
        <pc:spChg chg="add del mod">
          <ac:chgData name="Atchi Padmarani" userId="fe059d67-2bf4-46a8-ba9e-d5041048c89a" providerId="ADAL" clId="{BE86370A-B29F-4F42-BC7C-8661773008D0}" dt="2025-10-23T05:36:35.179" v="5531" actId="478"/>
          <ac:spMkLst>
            <pc:docMk/>
            <pc:sldMk cId="479191838" sldId="256"/>
            <ac:spMk id="325" creationId="{5780EE77-28E8-3B6E-4FAB-01C5B0F2D9F8}"/>
          </ac:spMkLst>
        </pc:spChg>
        <pc:spChg chg="mod ord">
          <ac:chgData name="Atchi Padmarani" userId="fe059d67-2bf4-46a8-ba9e-d5041048c89a" providerId="ADAL" clId="{BE86370A-B29F-4F42-BC7C-8661773008D0}" dt="2025-10-23T05:37:04.722" v="7474"/>
          <ac:spMkLst>
            <pc:docMk/>
            <pc:sldMk cId="479191838" sldId="256"/>
            <ac:spMk id="326" creationId="{E174267F-3A1C-EB74-93C9-B738151CD328}"/>
          </ac:spMkLst>
        </pc:spChg>
        <pc:spChg chg="mod">
          <ac:chgData name="Atchi Padmarani" userId="fe059d67-2bf4-46a8-ba9e-d5041048c89a" providerId="ADAL" clId="{BE86370A-B29F-4F42-BC7C-8661773008D0}" dt="2025-10-23T05:37:04.605" v="7159"/>
          <ac:spMkLst>
            <pc:docMk/>
            <pc:sldMk cId="479191838" sldId="256"/>
            <ac:spMk id="327" creationId="{62CFE102-1A61-7130-F490-E755B18EEEB8}"/>
          </ac:spMkLst>
        </pc:spChg>
        <pc:spChg chg="add mod ord">
          <ac:chgData name="Atchi Padmarani" userId="fe059d67-2bf4-46a8-ba9e-d5041048c89a" providerId="ADAL" clId="{BE86370A-B29F-4F42-BC7C-8661773008D0}" dt="2025-10-23T05:37:14.370" v="7554" actId="164"/>
          <ac:spMkLst>
            <pc:docMk/>
            <pc:sldMk cId="479191838" sldId="256"/>
            <ac:spMk id="328" creationId="{D2B2E1DE-5C32-3D1B-4306-9DB5F181E26E}"/>
          </ac:spMkLst>
        </pc:spChg>
        <pc:spChg chg="add mod modVis">
          <ac:chgData name="Atchi Padmarani" userId="fe059d67-2bf4-46a8-ba9e-d5041048c89a" providerId="ADAL" clId="{BE86370A-B29F-4F42-BC7C-8661773008D0}" dt="2025-10-23T05:39:29.812" v="7685"/>
          <ac:spMkLst>
            <pc:docMk/>
            <pc:sldMk cId="479191838" sldId="256"/>
            <ac:spMk id="334" creationId="{2B6158D4-FBED-28BF-1A28-5A1F485D0E43}"/>
          </ac:spMkLst>
        </pc:spChg>
        <pc:spChg chg="add mod modVis">
          <ac:chgData name="Atchi Padmarani" userId="fe059d67-2bf4-46a8-ba9e-d5041048c89a" providerId="ADAL" clId="{BE86370A-B29F-4F42-BC7C-8661773008D0}" dt="2025-10-23T05:39:29.812" v="7687"/>
          <ac:spMkLst>
            <pc:docMk/>
            <pc:sldMk cId="479191838" sldId="256"/>
            <ac:spMk id="335" creationId="{B0F57733-4221-91D5-3256-3411565AE42E}"/>
          </ac:spMkLst>
        </pc:spChg>
        <pc:spChg chg="add mod modVis">
          <ac:chgData name="Atchi Padmarani" userId="fe059d67-2bf4-46a8-ba9e-d5041048c89a" providerId="ADAL" clId="{BE86370A-B29F-4F42-BC7C-8661773008D0}" dt="2025-10-23T05:39:29.812" v="7689"/>
          <ac:spMkLst>
            <pc:docMk/>
            <pc:sldMk cId="479191838" sldId="256"/>
            <ac:spMk id="336" creationId="{F645ED57-8E69-78EF-3F84-06D66B709CFF}"/>
          </ac:spMkLst>
        </pc:spChg>
        <pc:spChg chg="mod modVis">
          <ac:chgData name="Atchi Padmarani" userId="fe059d67-2bf4-46a8-ba9e-d5041048c89a" providerId="ADAL" clId="{BE86370A-B29F-4F42-BC7C-8661773008D0}" dt="2025-10-23T05:39:29.812" v="7694"/>
          <ac:spMkLst>
            <pc:docMk/>
            <pc:sldMk cId="479191838" sldId="256"/>
            <ac:spMk id="338" creationId="{0597FDFF-4970-16FD-8254-0797D26A6906}"/>
          </ac:spMkLst>
        </pc:spChg>
        <pc:spChg chg="mod modVis">
          <ac:chgData name="Atchi Padmarani" userId="fe059d67-2bf4-46a8-ba9e-d5041048c89a" providerId="ADAL" clId="{BE86370A-B29F-4F42-BC7C-8661773008D0}" dt="2025-10-23T05:39:29.812" v="7694"/>
          <ac:spMkLst>
            <pc:docMk/>
            <pc:sldMk cId="479191838" sldId="256"/>
            <ac:spMk id="339" creationId="{10E43215-EEC3-D4CC-4FFF-D5F1D5779D91}"/>
          </ac:spMkLst>
        </pc:spChg>
        <pc:spChg chg="mod">
          <ac:chgData name="Atchi Padmarani" userId="fe059d67-2bf4-46a8-ba9e-d5041048c89a" providerId="ADAL" clId="{BE86370A-B29F-4F42-BC7C-8661773008D0}" dt="2025-10-23T04:44:29.773" v="1149" actId="1076"/>
          <ac:spMkLst>
            <pc:docMk/>
            <pc:sldMk cId="479191838" sldId="256"/>
            <ac:spMk id="341" creationId="{AADBDDE7-E4A3-E3EC-1AF2-C2D0C5AB5B13}"/>
          </ac:spMkLst>
        </pc:spChg>
        <pc:spChg chg="mod">
          <ac:chgData name="Atchi Padmarani" userId="fe059d67-2bf4-46a8-ba9e-d5041048c89a" providerId="ADAL" clId="{BE86370A-B29F-4F42-BC7C-8661773008D0}" dt="2025-10-23T04:44:29.773" v="1149" actId="1076"/>
          <ac:spMkLst>
            <pc:docMk/>
            <pc:sldMk cId="479191838" sldId="256"/>
            <ac:spMk id="342" creationId="{9AE1E8F5-A9DD-F18E-FCF6-4B0167FF4E51}"/>
          </ac:spMkLst>
        </pc:spChg>
        <pc:spChg chg="mod modVis">
          <ac:chgData name="Atchi Padmarani" userId="fe059d67-2bf4-46a8-ba9e-d5041048c89a" providerId="ADAL" clId="{BE86370A-B29F-4F42-BC7C-8661773008D0}" dt="2025-10-23T05:39:29.812" v="7694"/>
          <ac:spMkLst>
            <pc:docMk/>
            <pc:sldMk cId="479191838" sldId="256"/>
            <ac:spMk id="343" creationId="{AA5ED9E7-B414-3626-F221-6BBC44D052E3}"/>
          </ac:spMkLst>
        </pc:spChg>
        <pc:spChg chg="mod modVis">
          <ac:chgData name="Atchi Padmarani" userId="fe059d67-2bf4-46a8-ba9e-d5041048c89a" providerId="ADAL" clId="{BE86370A-B29F-4F42-BC7C-8661773008D0}" dt="2025-10-23T05:39:29.812" v="7700"/>
          <ac:spMkLst>
            <pc:docMk/>
            <pc:sldMk cId="479191838" sldId="256"/>
            <ac:spMk id="345" creationId="{DC965ED1-0663-FF4E-BA21-180441D392CC}"/>
          </ac:spMkLst>
        </pc:spChg>
        <pc:spChg chg="mod modVis">
          <ac:chgData name="Atchi Padmarani" userId="fe059d67-2bf4-46a8-ba9e-d5041048c89a" providerId="ADAL" clId="{BE86370A-B29F-4F42-BC7C-8661773008D0}" dt="2025-10-23T05:39:29.812" v="7700"/>
          <ac:spMkLst>
            <pc:docMk/>
            <pc:sldMk cId="479191838" sldId="256"/>
            <ac:spMk id="347" creationId="{42568156-1894-FC67-33F5-1DEA6FFB844F}"/>
          </ac:spMkLst>
        </pc:spChg>
        <pc:spChg chg="mod modVis">
          <ac:chgData name="Atchi Padmarani" userId="fe059d67-2bf4-46a8-ba9e-d5041048c89a" providerId="ADAL" clId="{BE86370A-B29F-4F42-BC7C-8661773008D0}" dt="2025-10-23T05:39:29.812" v="7700"/>
          <ac:spMkLst>
            <pc:docMk/>
            <pc:sldMk cId="479191838" sldId="256"/>
            <ac:spMk id="348" creationId="{A6CE31EC-1C73-58A2-1239-1C3559CA543C}"/>
          </ac:spMkLst>
        </pc:spChg>
        <pc:spChg chg="mod topLvl">
          <ac:chgData name="Atchi Padmarani" userId="fe059d67-2bf4-46a8-ba9e-d5041048c89a" providerId="ADAL" clId="{BE86370A-B29F-4F42-BC7C-8661773008D0}" dt="2025-10-23T05:38:54.654" v="7651" actId="164"/>
          <ac:spMkLst>
            <pc:docMk/>
            <pc:sldMk cId="479191838" sldId="256"/>
            <ac:spMk id="349" creationId="{F9161408-5970-6611-9879-97F700767B00}"/>
          </ac:spMkLst>
        </pc:spChg>
        <pc:spChg chg="del">
          <ac:chgData name="Atchi Padmarani" userId="fe059d67-2bf4-46a8-ba9e-d5041048c89a" providerId="ADAL" clId="{BE86370A-B29F-4F42-BC7C-8661773008D0}" dt="2025-10-23T04:39:14.856" v="112" actId="478"/>
          <ac:spMkLst>
            <pc:docMk/>
            <pc:sldMk cId="479191838" sldId="256"/>
            <ac:spMk id="350" creationId="{A86C9A99-2110-0B4E-6AEB-D18FE00DA5CB}"/>
          </ac:spMkLst>
        </pc:spChg>
        <pc:spChg chg="mod ord">
          <ac:chgData name="Atchi Padmarani" userId="fe059d67-2bf4-46a8-ba9e-d5041048c89a" providerId="ADAL" clId="{BE86370A-B29F-4F42-BC7C-8661773008D0}" dt="2025-10-23T05:39:05.446" v="7657" actId="465"/>
          <ac:spMkLst>
            <pc:docMk/>
            <pc:sldMk cId="479191838" sldId="256"/>
            <ac:spMk id="351" creationId="{1E7ED9EE-B6F8-F7F6-165F-DB1E7EE22EAB}"/>
          </ac:spMkLst>
        </pc:spChg>
        <pc:spChg chg="del mod">
          <ac:chgData name="Atchi Padmarani" userId="fe059d67-2bf4-46a8-ba9e-d5041048c89a" providerId="ADAL" clId="{BE86370A-B29F-4F42-BC7C-8661773008D0}" dt="2025-10-23T05:00:39.782" v="2077" actId="478"/>
          <ac:spMkLst>
            <pc:docMk/>
            <pc:sldMk cId="479191838" sldId="256"/>
            <ac:spMk id="352" creationId="{23A6FCA0-6F73-0CED-B23E-3D9A65EFDCFE}"/>
          </ac:spMkLst>
        </pc:spChg>
        <pc:spChg chg="mod topLvl">
          <ac:chgData name="Atchi Padmarani" userId="fe059d67-2bf4-46a8-ba9e-d5041048c89a" providerId="ADAL" clId="{BE86370A-B29F-4F42-BC7C-8661773008D0}" dt="2025-10-23T05:37:04.637" v="7288"/>
          <ac:spMkLst>
            <pc:docMk/>
            <pc:sldMk cId="479191838" sldId="256"/>
            <ac:spMk id="354" creationId="{6F6C0257-9E92-39BE-2BE5-E73A141BBEF2}"/>
          </ac:spMkLst>
        </pc:spChg>
        <pc:spChg chg="mod ord topLvl">
          <ac:chgData name="Atchi Padmarani" userId="fe059d67-2bf4-46a8-ba9e-d5041048c89a" providerId="ADAL" clId="{BE86370A-B29F-4F42-BC7C-8661773008D0}" dt="2025-10-23T05:39:05.446" v="7657" actId="465"/>
          <ac:spMkLst>
            <pc:docMk/>
            <pc:sldMk cId="479191838" sldId="256"/>
            <ac:spMk id="355" creationId="{C9031D1B-0D26-E55D-2EB1-3A2354772CBD}"/>
          </ac:spMkLst>
        </pc:spChg>
        <pc:spChg chg="mod modVis">
          <ac:chgData name="Atchi Padmarani" userId="fe059d67-2bf4-46a8-ba9e-d5041048c89a" providerId="ADAL" clId="{BE86370A-B29F-4F42-BC7C-8661773008D0}" dt="2025-10-23T05:39:29.812" v="7706"/>
          <ac:spMkLst>
            <pc:docMk/>
            <pc:sldMk cId="479191838" sldId="256"/>
            <ac:spMk id="356" creationId="{CD048454-33E9-2569-5AA3-245B58CAEB28}"/>
          </ac:spMkLst>
        </pc:spChg>
        <pc:spChg chg="mod modVis">
          <ac:chgData name="Atchi Padmarani" userId="fe059d67-2bf4-46a8-ba9e-d5041048c89a" providerId="ADAL" clId="{BE86370A-B29F-4F42-BC7C-8661773008D0}" dt="2025-10-23T05:39:29.812" v="7706"/>
          <ac:spMkLst>
            <pc:docMk/>
            <pc:sldMk cId="479191838" sldId="256"/>
            <ac:spMk id="358" creationId="{CC38BCB4-BCAC-B492-90B9-F2AE599D216F}"/>
          </ac:spMkLst>
        </pc:spChg>
        <pc:spChg chg="mod modVis">
          <ac:chgData name="Atchi Padmarani" userId="fe059d67-2bf4-46a8-ba9e-d5041048c89a" providerId="ADAL" clId="{BE86370A-B29F-4F42-BC7C-8661773008D0}" dt="2025-10-23T05:39:29.812" v="7706"/>
          <ac:spMkLst>
            <pc:docMk/>
            <pc:sldMk cId="479191838" sldId="256"/>
            <ac:spMk id="359" creationId="{568D4BA8-5685-80EF-FD49-235E45B50926}"/>
          </ac:spMkLst>
        </pc:spChg>
        <pc:spChg chg="mod ord">
          <ac:chgData name="Atchi Padmarani" userId="fe059d67-2bf4-46a8-ba9e-d5041048c89a" providerId="ADAL" clId="{BE86370A-B29F-4F42-BC7C-8661773008D0}" dt="2025-10-23T05:38:54.654" v="7651" actId="164"/>
          <ac:spMkLst>
            <pc:docMk/>
            <pc:sldMk cId="479191838" sldId="256"/>
            <ac:spMk id="383" creationId="{FDAF34B7-2879-97DD-7A75-ACC88A5906B0}"/>
          </ac:spMkLst>
        </pc:spChg>
        <pc:spChg chg="mod topLvl">
          <ac:chgData name="Atchi Padmarani" userId="fe059d67-2bf4-46a8-ba9e-d5041048c89a" providerId="ADAL" clId="{BE86370A-B29F-4F42-BC7C-8661773008D0}" dt="2025-10-23T05:38:54.654" v="7651" actId="164"/>
          <ac:spMkLst>
            <pc:docMk/>
            <pc:sldMk cId="479191838" sldId="256"/>
            <ac:spMk id="385" creationId="{BD2BCA7B-E014-8E63-3632-05454E04A9E2}"/>
          </ac:spMkLst>
        </pc:spChg>
        <pc:spChg chg="mod">
          <ac:chgData name="Atchi Padmarani" userId="fe059d67-2bf4-46a8-ba9e-d5041048c89a" providerId="ADAL" clId="{BE86370A-B29F-4F42-BC7C-8661773008D0}" dt="2025-10-23T05:38:54.654" v="7651" actId="164"/>
          <ac:spMkLst>
            <pc:docMk/>
            <pc:sldMk cId="479191838" sldId="256"/>
            <ac:spMk id="386" creationId="{4BD2B3B3-11C1-0B84-94E6-D822203B8329}"/>
          </ac:spMkLst>
        </pc:spChg>
        <pc:spChg chg="mod ord topLvl">
          <ac:chgData name="Atchi Padmarani" userId="fe059d67-2bf4-46a8-ba9e-d5041048c89a" providerId="ADAL" clId="{BE86370A-B29F-4F42-BC7C-8661773008D0}" dt="2025-10-23T05:37:04.653" v="7294"/>
          <ac:spMkLst>
            <pc:docMk/>
            <pc:sldMk cId="479191838" sldId="256"/>
            <ac:spMk id="390" creationId="{4E07E7C7-EFCC-096D-CA13-EE2F0FFE8359}"/>
          </ac:spMkLst>
        </pc:spChg>
        <pc:spChg chg="mod">
          <ac:chgData name="Atchi Padmarani" userId="fe059d67-2bf4-46a8-ba9e-d5041048c89a" providerId="ADAL" clId="{BE86370A-B29F-4F42-BC7C-8661773008D0}" dt="2025-10-23T05:38:54.654" v="7651" actId="164"/>
          <ac:spMkLst>
            <pc:docMk/>
            <pc:sldMk cId="479191838" sldId="256"/>
            <ac:spMk id="392" creationId="{28B512F6-B922-F2B3-1016-3F8407C6B6CF}"/>
          </ac:spMkLst>
        </pc:spChg>
        <pc:spChg chg="mod topLvl">
          <ac:chgData name="Atchi Padmarani" userId="fe059d67-2bf4-46a8-ba9e-d5041048c89a" providerId="ADAL" clId="{BE86370A-B29F-4F42-BC7C-8661773008D0}" dt="2025-10-23T05:38:54.654" v="7651" actId="164"/>
          <ac:spMkLst>
            <pc:docMk/>
            <pc:sldMk cId="479191838" sldId="256"/>
            <ac:spMk id="393" creationId="{49C8314E-3683-55A9-431C-64CECEB15CE0}"/>
          </ac:spMkLst>
        </pc:spChg>
        <pc:spChg chg="mod ord topLvl">
          <ac:chgData name="Atchi Padmarani" userId="fe059d67-2bf4-46a8-ba9e-d5041048c89a" providerId="ADAL" clId="{BE86370A-B29F-4F42-BC7C-8661773008D0}" dt="2025-10-23T05:39:06.155" v="7658" actId="165"/>
          <ac:spMkLst>
            <pc:docMk/>
            <pc:sldMk cId="479191838" sldId="256"/>
            <ac:spMk id="397" creationId="{A9890EB7-C418-1FA9-D21B-D53CBF18CBCB}"/>
          </ac:spMkLst>
        </pc:spChg>
        <pc:spChg chg="mod">
          <ac:chgData name="Atchi Padmarani" userId="fe059d67-2bf4-46a8-ba9e-d5041048c89a" providerId="ADAL" clId="{BE86370A-B29F-4F42-BC7C-8661773008D0}" dt="2025-10-23T05:38:54.654" v="7651" actId="164"/>
          <ac:spMkLst>
            <pc:docMk/>
            <pc:sldMk cId="479191838" sldId="256"/>
            <ac:spMk id="399" creationId="{4F2EEA34-14F8-2112-38D0-2C7F46A89BCF}"/>
          </ac:spMkLst>
        </pc:spChg>
        <pc:spChg chg="mod topLvl">
          <ac:chgData name="Atchi Padmarani" userId="fe059d67-2bf4-46a8-ba9e-d5041048c89a" providerId="ADAL" clId="{BE86370A-B29F-4F42-BC7C-8661773008D0}" dt="2025-10-23T05:38:54.654" v="7651" actId="164"/>
          <ac:spMkLst>
            <pc:docMk/>
            <pc:sldMk cId="479191838" sldId="256"/>
            <ac:spMk id="400" creationId="{7C66D4CE-A3BC-E991-A0B2-2F394A7049DF}"/>
          </ac:spMkLst>
        </pc:spChg>
        <pc:spChg chg="mod">
          <ac:chgData name="Atchi Padmarani" userId="fe059d67-2bf4-46a8-ba9e-d5041048c89a" providerId="ADAL" clId="{BE86370A-B29F-4F42-BC7C-8661773008D0}" dt="2025-10-23T04:44:16.234" v="1147" actId="1035"/>
          <ac:spMkLst>
            <pc:docMk/>
            <pc:sldMk cId="479191838" sldId="256"/>
            <ac:spMk id="413" creationId="{83D8039B-2DD7-F090-F0E4-2DE15E08D265}"/>
          </ac:spMkLst>
        </pc:spChg>
        <pc:spChg chg="mod">
          <ac:chgData name="Atchi Padmarani" userId="fe059d67-2bf4-46a8-ba9e-d5041048c89a" providerId="ADAL" clId="{BE86370A-B29F-4F42-BC7C-8661773008D0}" dt="2025-10-23T04:44:16.234" v="1147" actId="1035"/>
          <ac:spMkLst>
            <pc:docMk/>
            <pc:sldMk cId="479191838" sldId="256"/>
            <ac:spMk id="414" creationId="{C06F8EB3-B2E0-E875-B984-C177252699E4}"/>
          </ac:spMkLst>
        </pc:spChg>
        <pc:spChg chg="mod">
          <ac:chgData name="Atchi Padmarani" userId="fe059d67-2bf4-46a8-ba9e-d5041048c89a" providerId="ADAL" clId="{BE86370A-B29F-4F42-BC7C-8661773008D0}" dt="2025-10-23T04:44:35.430" v="1161" actId="1037"/>
          <ac:spMkLst>
            <pc:docMk/>
            <pc:sldMk cId="479191838" sldId="256"/>
            <ac:spMk id="416" creationId="{687A53D9-F4F7-70CA-BFDE-CBE3DBEDD058}"/>
          </ac:spMkLst>
        </pc:spChg>
        <pc:spChg chg="mod">
          <ac:chgData name="Atchi Padmarani" userId="fe059d67-2bf4-46a8-ba9e-d5041048c89a" providerId="ADAL" clId="{BE86370A-B29F-4F42-BC7C-8661773008D0}" dt="2025-10-23T04:44:35.430" v="1161" actId="1037"/>
          <ac:spMkLst>
            <pc:docMk/>
            <pc:sldMk cId="479191838" sldId="256"/>
            <ac:spMk id="417" creationId="{4747AA2B-A444-83C1-8E13-16301883628F}"/>
          </ac:spMkLst>
        </pc:spChg>
        <pc:spChg chg="mod">
          <ac:chgData name="Atchi Padmarani" userId="fe059d67-2bf4-46a8-ba9e-d5041048c89a" providerId="ADAL" clId="{BE86370A-B29F-4F42-BC7C-8661773008D0}" dt="2025-10-23T04:44:37.814" v="1176" actId="1037"/>
          <ac:spMkLst>
            <pc:docMk/>
            <pc:sldMk cId="479191838" sldId="256"/>
            <ac:spMk id="419" creationId="{20B0136A-BC0D-222E-B888-3D04B40108CA}"/>
          </ac:spMkLst>
        </pc:spChg>
        <pc:spChg chg="mod">
          <ac:chgData name="Atchi Padmarani" userId="fe059d67-2bf4-46a8-ba9e-d5041048c89a" providerId="ADAL" clId="{BE86370A-B29F-4F42-BC7C-8661773008D0}" dt="2025-10-23T04:44:37.814" v="1176" actId="1037"/>
          <ac:spMkLst>
            <pc:docMk/>
            <pc:sldMk cId="479191838" sldId="256"/>
            <ac:spMk id="420" creationId="{EACA98CD-25BC-54BE-B37A-2657A3C9EE3E}"/>
          </ac:spMkLst>
        </pc:spChg>
        <pc:spChg chg="del">
          <ac:chgData name="Atchi Padmarani" userId="fe059d67-2bf4-46a8-ba9e-d5041048c89a" providerId="ADAL" clId="{BE86370A-B29F-4F42-BC7C-8661773008D0}" dt="2025-10-23T04:39:14.856" v="112" actId="478"/>
          <ac:spMkLst>
            <pc:docMk/>
            <pc:sldMk cId="479191838" sldId="256"/>
            <ac:spMk id="435" creationId="{8A7528D8-90BA-C252-838F-A5AB60F0D4FD}"/>
          </ac:spMkLst>
        </pc:spChg>
        <pc:spChg chg="mod ord">
          <ac:chgData name="Atchi Padmarani" userId="fe059d67-2bf4-46a8-ba9e-d5041048c89a" providerId="ADAL" clId="{BE86370A-B29F-4F42-BC7C-8661773008D0}" dt="2025-10-23T05:39:05.446" v="7657" actId="465"/>
          <ac:spMkLst>
            <pc:docMk/>
            <pc:sldMk cId="479191838" sldId="256"/>
            <ac:spMk id="436" creationId="{94563880-CF7A-85EB-093C-B061318E26EF}"/>
          </ac:spMkLst>
        </pc:spChg>
        <pc:spChg chg="mod ord">
          <ac:chgData name="Atchi Padmarani" userId="fe059d67-2bf4-46a8-ba9e-d5041048c89a" providerId="ADAL" clId="{BE86370A-B29F-4F42-BC7C-8661773008D0}" dt="2025-10-23T05:38:57.098" v="7652" actId="164"/>
          <ac:spMkLst>
            <pc:docMk/>
            <pc:sldMk cId="479191838" sldId="256"/>
            <ac:spMk id="441" creationId="{D4FC508F-EB4A-8C80-6EFC-D65B4A9E7E0F}"/>
          </ac:spMkLst>
        </pc:spChg>
        <pc:spChg chg="mod ord">
          <ac:chgData name="Atchi Padmarani" userId="fe059d67-2bf4-46a8-ba9e-d5041048c89a" providerId="ADAL" clId="{BE86370A-B29F-4F42-BC7C-8661773008D0}" dt="2025-10-23T05:38:57.098" v="7652" actId="164"/>
          <ac:spMkLst>
            <pc:docMk/>
            <pc:sldMk cId="479191838" sldId="256"/>
            <ac:spMk id="442" creationId="{7A6C708A-8278-A1CF-60B6-FFCFEF75BF70}"/>
          </ac:spMkLst>
        </pc:spChg>
        <pc:spChg chg="mod">
          <ac:chgData name="Atchi Padmarani" userId="fe059d67-2bf4-46a8-ba9e-d5041048c89a" providerId="ADAL" clId="{BE86370A-B29F-4F42-BC7C-8661773008D0}" dt="2025-10-23T05:37:04.653" v="7318"/>
          <ac:spMkLst>
            <pc:docMk/>
            <pc:sldMk cId="479191838" sldId="256"/>
            <ac:spMk id="443" creationId="{781ED631-AF99-9325-5E6F-C88C10D54F97}"/>
          </ac:spMkLst>
        </pc:spChg>
        <pc:spChg chg="mod ord topLvl">
          <ac:chgData name="Atchi Padmarani" userId="fe059d67-2bf4-46a8-ba9e-d5041048c89a" providerId="ADAL" clId="{BE86370A-B29F-4F42-BC7C-8661773008D0}" dt="2025-10-23T05:38:57.098" v="7652" actId="164"/>
          <ac:spMkLst>
            <pc:docMk/>
            <pc:sldMk cId="479191838" sldId="256"/>
            <ac:spMk id="447" creationId="{4C19612E-752D-BCDF-49BB-1C3C0BA9B40F}"/>
          </ac:spMkLst>
        </pc:spChg>
        <pc:spChg chg="mod ord topLvl">
          <ac:chgData name="Atchi Padmarani" userId="fe059d67-2bf4-46a8-ba9e-d5041048c89a" providerId="ADAL" clId="{BE86370A-B29F-4F42-BC7C-8661773008D0}" dt="2025-10-23T05:39:06.155" v="7658" actId="165"/>
          <ac:spMkLst>
            <pc:docMk/>
            <pc:sldMk cId="479191838" sldId="256"/>
            <ac:spMk id="448" creationId="{8FFC1276-C3CE-A584-C124-5D3B63D01C44}"/>
          </ac:spMkLst>
        </pc:spChg>
        <pc:spChg chg="mod topLvl">
          <ac:chgData name="Atchi Padmarani" userId="fe059d67-2bf4-46a8-ba9e-d5041048c89a" providerId="ADAL" clId="{BE86370A-B29F-4F42-BC7C-8661773008D0}" dt="2025-10-23T05:37:04.653" v="7313"/>
          <ac:spMkLst>
            <pc:docMk/>
            <pc:sldMk cId="479191838" sldId="256"/>
            <ac:spMk id="449" creationId="{47698768-CF06-4021-42D0-7D3D3E837FAC}"/>
          </ac:spMkLst>
        </pc:spChg>
        <pc:spChg chg="mod ord topLvl">
          <ac:chgData name="Atchi Padmarani" userId="fe059d67-2bf4-46a8-ba9e-d5041048c89a" providerId="ADAL" clId="{BE86370A-B29F-4F42-BC7C-8661773008D0}" dt="2025-10-23T05:37:04.605" v="7173"/>
          <ac:spMkLst>
            <pc:docMk/>
            <pc:sldMk cId="479191838" sldId="256"/>
            <ac:spMk id="450" creationId="{AAAB44EE-70C1-5205-B0B0-6D2D869E944F}"/>
          </ac:spMkLst>
        </pc:spChg>
        <pc:spChg chg="mod ord topLvl">
          <ac:chgData name="Atchi Padmarani" userId="fe059d67-2bf4-46a8-ba9e-d5041048c89a" providerId="ADAL" clId="{BE86370A-B29F-4F42-BC7C-8661773008D0}" dt="2025-10-23T05:37:04.605" v="7187"/>
          <ac:spMkLst>
            <pc:docMk/>
            <pc:sldMk cId="479191838" sldId="256"/>
            <ac:spMk id="451" creationId="{C92CD979-64C8-EDA0-9892-810C4871DB03}"/>
          </ac:spMkLst>
        </pc:spChg>
        <pc:spChg chg="mod ord">
          <ac:chgData name="Atchi Padmarani" userId="fe059d67-2bf4-46a8-ba9e-d5041048c89a" providerId="ADAL" clId="{BE86370A-B29F-4F42-BC7C-8661773008D0}" dt="2025-10-23T05:37:04.605" v="7195"/>
          <ac:spMkLst>
            <pc:docMk/>
            <pc:sldMk cId="479191838" sldId="256"/>
            <ac:spMk id="452" creationId="{F59DE4DB-2926-9D6B-04A2-0A9FB3881B62}"/>
          </ac:spMkLst>
        </pc:spChg>
        <pc:spChg chg="mod ord">
          <ac:chgData name="Atchi Padmarani" userId="fe059d67-2bf4-46a8-ba9e-d5041048c89a" providerId="ADAL" clId="{BE86370A-B29F-4F42-BC7C-8661773008D0}" dt="2025-10-23T05:37:04.653" v="7305"/>
          <ac:spMkLst>
            <pc:docMk/>
            <pc:sldMk cId="479191838" sldId="256"/>
            <ac:spMk id="453" creationId="{C1C49B70-08B3-5B44-0E26-7AFA0F516C34}"/>
          </ac:spMkLst>
        </pc:spChg>
        <pc:spChg chg="mod ord">
          <ac:chgData name="Atchi Padmarani" userId="fe059d67-2bf4-46a8-ba9e-d5041048c89a" providerId="ADAL" clId="{BE86370A-B29F-4F42-BC7C-8661773008D0}" dt="2025-10-23T05:38:57.098" v="7652" actId="164"/>
          <ac:spMkLst>
            <pc:docMk/>
            <pc:sldMk cId="479191838" sldId="256"/>
            <ac:spMk id="454" creationId="{929D6BE3-E616-6D3A-9382-1499FE8F5B72}"/>
          </ac:spMkLst>
        </pc:spChg>
        <pc:spChg chg="mod">
          <ac:chgData name="Atchi Padmarani" userId="fe059d67-2bf4-46a8-ba9e-d5041048c89a" providerId="ADAL" clId="{BE86370A-B29F-4F42-BC7C-8661773008D0}" dt="2025-10-23T05:38:57.098" v="7652" actId="164"/>
          <ac:spMkLst>
            <pc:docMk/>
            <pc:sldMk cId="479191838" sldId="256"/>
            <ac:spMk id="455" creationId="{CA4E0001-563F-89A4-B27E-C11F652584C8}"/>
          </ac:spMkLst>
        </pc:spChg>
        <pc:spChg chg="mod ord topLvl">
          <ac:chgData name="Atchi Padmarani" userId="fe059d67-2bf4-46a8-ba9e-d5041048c89a" providerId="ADAL" clId="{BE86370A-B29F-4F42-BC7C-8661773008D0}" dt="2025-10-23T05:37:04.622" v="7203"/>
          <ac:spMkLst>
            <pc:docMk/>
            <pc:sldMk cId="479191838" sldId="256"/>
            <ac:spMk id="456" creationId="{7AFC4A43-EDA4-E5AB-53B4-ECE02652A432}"/>
          </ac:spMkLst>
        </pc:spChg>
        <pc:spChg chg="mod ord topLvl">
          <ac:chgData name="Atchi Padmarani" userId="fe059d67-2bf4-46a8-ba9e-d5041048c89a" providerId="ADAL" clId="{BE86370A-B29F-4F42-BC7C-8661773008D0}" dt="2025-10-23T05:08:25.361" v="4552" actId="1035"/>
          <ac:spMkLst>
            <pc:docMk/>
            <pc:sldMk cId="479191838" sldId="256"/>
            <ac:spMk id="457" creationId="{446FD308-428D-B60A-6ACA-07A0D539930D}"/>
          </ac:spMkLst>
        </pc:spChg>
        <pc:spChg chg="mod ord">
          <ac:chgData name="Atchi Padmarani" userId="fe059d67-2bf4-46a8-ba9e-d5041048c89a" providerId="ADAL" clId="{BE86370A-B29F-4F42-BC7C-8661773008D0}" dt="2025-10-23T04:55:35.221" v="1849" actId="164"/>
          <ac:spMkLst>
            <pc:docMk/>
            <pc:sldMk cId="479191838" sldId="256"/>
            <ac:spMk id="458" creationId="{9251A885-E04E-65DA-26C1-40B064868E73}"/>
          </ac:spMkLst>
        </pc:spChg>
        <pc:spChg chg="mod ord topLvl">
          <ac:chgData name="Atchi Padmarani" userId="fe059d67-2bf4-46a8-ba9e-d5041048c89a" providerId="ADAL" clId="{BE86370A-B29F-4F42-BC7C-8661773008D0}" dt="2025-10-23T05:38:57.098" v="7652" actId="164"/>
          <ac:spMkLst>
            <pc:docMk/>
            <pc:sldMk cId="479191838" sldId="256"/>
            <ac:spMk id="459" creationId="{1A1F5691-1673-68B5-6750-C1B57E4C4BA9}"/>
          </ac:spMkLst>
        </pc:spChg>
        <pc:spChg chg="mod ord topLvl">
          <ac:chgData name="Atchi Padmarani" userId="fe059d67-2bf4-46a8-ba9e-d5041048c89a" providerId="ADAL" clId="{BE86370A-B29F-4F42-BC7C-8661773008D0}" dt="2025-10-23T05:37:04.605" v="7177"/>
          <ac:spMkLst>
            <pc:docMk/>
            <pc:sldMk cId="479191838" sldId="256"/>
            <ac:spMk id="460" creationId="{43DD4973-FFF1-BE1E-F6C2-165B185E2E05}"/>
          </ac:spMkLst>
        </pc:spChg>
        <pc:spChg chg="mod ord topLvl">
          <ac:chgData name="Atchi Padmarani" userId="fe059d67-2bf4-46a8-ba9e-d5041048c89a" providerId="ADAL" clId="{BE86370A-B29F-4F42-BC7C-8661773008D0}" dt="2025-10-23T05:38:57.098" v="7652" actId="164"/>
          <ac:spMkLst>
            <pc:docMk/>
            <pc:sldMk cId="479191838" sldId="256"/>
            <ac:spMk id="461" creationId="{1055EC14-75CB-CB17-17AF-0E54961777E6}"/>
          </ac:spMkLst>
        </pc:spChg>
        <pc:spChg chg="mod">
          <ac:chgData name="Atchi Padmarani" userId="fe059d67-2bf4-46a8-ba9e-d5041048c89a" providerId="ADAL" clId="{BE86370A-B29F-4F42-BC7C-8661773008D0}" dt="2025-10-23T05:38:57.098" v="7652" actId="164"/>
          <ac:spMkLst>
            <pc:docMk/>
            <pc:sldMk cId="479191838" sldId="256"/>
            <ac:spMk id="462" creationId="{645203C2-BA64-1B99-FA20-187CF0028A83}"/>
          </ac:spMkLst>
        </pc:spChg>
        <pc:spChg chg="mod ord topLvl">
          <ac:chgData name="Atchi Padmarani" userId="fe059d67-2bf4-46a8-ba9e-d5041048c89a" providerId="ADAL" clId="{BE86370A-B29F-4F42-BC7C-8661773008D0}" dt="2025-10-23T05:37:04.605" v="7181"/>
          <ac:spMkLst>
            <pc:docMk/>
            <pc:sldMk cId="479191838" sldId="256"/>
            <ac:spMk id="463" creationId="{4FC37F19-B107-7A40-C2C8-8B6436A6A6C9}"/>
          </ac:spMkLst>
        </pc:spChg>
        <pc:spChg chg="mod">
          <ac:chgData name="Atchi Padmarani" userId="fe059d67-2bf4-46a8-ba9e-d5041048c89a" providerId="ADAL" clId="{BE86370A-B29F-4F42-BC7C-8661773008D0}" dt="2025-10-23T04:45:07.712" v="1192" actId="165"/>
          <ac:spMkLst>
            <pc:docMk/>
            <pc:sldMk cId="479191838" sldId="256"/>
            <ac:spMk id="466" creationId="{5EC44139-B192-01C3-8FD1-286C410E2659}"/>
          </ac:spMkLst>
        </pc:spChg>
        <pc:spChg chg="mod">
          <ac:chgData name="Atchi Padmarani" userId="fe059d67-2bf4-46a8-ba9e-d5041048c89a" providerId="ADAL" clId="{BE86370A-B29F-4F42-BC7C-8661773008D0}" dt="2025-10-23T04:45:07.712" v="1192" actId="165"/>
          <ac:spMkLst>
            <pc:docMk/>
            <pc:sldMk cId="479191838" sldId="256"/>
            <ac:spMk id="467" creationId="{26834EE1-9746-87E0-AE50-8DC06D272D93}"/>
          </ac:spMkLst>
        </pc:spChg>
        <pc:spChg chg="mod ord topLvl">
          <ac:chgData name="Atchi Padmarani" userId="fe059d67-2bf4-46a8-ba9e-d5041048c89a" providerId="ADAL" clId="{BE86370A-B29F-4F42-BC7C-8661773008D0}" dt="2025-10-23T05:37:04.605" v="7189"/>
          <ac:spMkLst>
            <pc:docMk/>
            <pc:sldMk cId="479191838" sldId="256"/>
            <ac:spMk id="479" creationId="{31EFAE79-685D-1A95-C83F-FEA91E68F0A7}"/>
          </ac:spMkLst>
        </pc:spChg>
        <pc:spChg chg="mod ord">
          <ac:chgData name="Atchi Padmarani" userId="fe059d67-2bf4-46a8-ba9e-d5041048c89a" providerId="ADAL" clId="{BE86370A-B29F-4F42-BC7C-8661773008D0}" dt="2025-10-23T05:37:04.605" v="7191"/>
          <ac:spMkLst>
            <pc:docMk/>
            <pc:sldMk cId="479191838" sldId="256"/>
            <ac:spMk id="480" creationId="{85144CDB-A076-7A63-E318-5777275549C6}"/>
          </ac:spMkLst>
        </pc:spChg>
        <pc:spChg chg="mod ord topLvl">
          <ac:chgData name="Atchi Padmarani" userId="fe059d67-2bf4-46a8-ba9e-d5041048c89a" providerId="ADAL" clId="{BE86370A-B29F-4F42-BC7C-8661773008D0}" dt="2025-10-23T05:37:04.605" v="7193"/>
          <ac:spMkLst>
            <pc:docMk/>
            <pc:sldMk cId="479191838" sldId="256"/>
            <ac:spMk id="481" creationId="{014F6C62-D9C3-F348-AAB7-5D8CB5140800}"/>
          </ac:spMkLst>
        </pc:spChg>
        <pc:spChg chg="mod ord topLvl">
          <ac:chgData name="Atchi Padmarani" userId="fe059d67-2bf4-46a8-ba9e-d5041048c89a" providerId="ADAL" clId="{BE86370A-B29F-4F42-BC7C-8661773008D0}" dt="2025-10-23T05:37:04.605" v="7197"/>
          <ac:spMkLst>
            <pc:docMk/>
            <pc:sldMk cId="479191838" sldId="256"/>
            <ac:spMk id="483" creationId="{4E4745D8-1F66-E89E-9B26-615ADE726422}"/>
          </ac:spMkLst>
        </pc:spChg>
        <pc:spChg chg="mod ord topLvl">
          <ac:chgData name="Atchi Padmarani" userId="fe059d67-2bf4-46a8-ba9e-d5041048c89a" providerId="ADAL" clId="{BE86370A-B29F-4F42-BC7C-8661773008D0}" dt="2025-10-23T05:37:04.605" v="7199"/>
          <ac:spMkLst>
            <pc:docMk/>
            <pc:sldMk cId="479191838" sldId="256"/>
            <ac:spMk id="484" creationId="{FA37B397-11B5-4AD6-F5E2-A8D5682F610C}"/>
          </ac:spMkLst>
        </pc:spChg>
        <pc:spChg chg="mod ord topLvl">
          <ac:chgData name="Atchi Padmarani" userId="fe059d67-2bf4-46a8-ba9e-d5041048c89a" providerId="ADAL" clId="{BE86370A-B29F-4F42-BC7C-8661773008D0}" dt="2025-10-23T05:37:04.622" v="7201"/>
          <ac:spMkLst>
            <pc:docMk/>
            <pc:sldMk cId="479191838" sldId="256"/>
            <ac:spMk id="485" creationId="{09867701-5066-1152-68FC-4E3CF8B6C190}"/>
          </ac:spMkLst>
        </pc:spChg>
        <pc:spChg chg="del mod">
          <ac:chgData name="Atchi Padmarani" userId="fe059d67-2bf4-46a8-ba9e-d5041048c89a" providerId="ADAL" clId="{BE86370A-B29F-4F42-BC7C-8661773008D0}" dt="2025-10-23T04:54:21.458" v="1777" actId="478"/>
          <ac:spMkLst>
            <pc:docMk/>
            <pc:sldMk cId="479191838" sldId="256"/>
            <ac:spMk id="487" creationId="{7CB7721A-5384-0764-E86C-13BE289A1F39}"/>
          </ac:spMkLst>
        </pc:spChg>
        <pc:spChg chg="mod ord topLvl">
          <ac:chgData name="Atchi Padmarani" userId="fe059d67-2bf4-46a8-ba9e-d5041048c89a" providerId="ADAL" clId="{BE86370A-B29F-4F42-BC7C-8661773008D0}" dt="2025-10-23T05:37:04.622" v="7211"/>
          <ac:spMkLst>
            <pc:docMk/>
            <pc:sldMk cId="479191838" sldId="256"/>
            <ac:spMk id="489" creationId="{D55A0A02-8F3D-48CE-6E77-7D67430F5AC4}"/>
          </ac:spMkLst>
        </pc:spChg>
        <pc:spChg chg="mod topLvl">
          <ac:chgData name="Atchi Padmarani" userId="fe059d67-2bf4-46a8-ba9e-d5041048c89a" providerId="ADAL" clId="{BE86370A-B29F-4F42-BC7C-8661773008D0}" dt="2025-10-23T05:37:04.622" v="7214"/>
          <ac:spMkLst>
            <pc:docMk/>
            <pc:sldMk cId="479191838" sldId="256"/>
            <ac:spMk id="491" creationId="{8AF83FB9-45C4-2608-9EB4-25500997A074}"/>
          </ac:spMkLst>
        </pc:spChg>
        <pc:spChg chg="mod topLvl">
          <ac:chgData name="Atchi Padmarani" userId="fe059d67-2bf4-46a8-ba9e-d5041048c89a" providerId="ADAL" clId="{BE86370A-B29F-4F42-BC7C-8661773008D0}" dt="2025-10-23T05:37:04.622" v="7215"/>
          <ac:spMkLst>
            <pc:docMk/>
            <pc:sldMk cId="479191838" sldId="256"/>
            <ac:spMk id="492" creationId="{DA810A91-5B07-DD90-B984-CA883D15D75C}"/>
          </ac:spMkLst>
        </pc:spChg>
        <pc:spChg chg="mod ord topLvl">
          <ac:chgData name="Atchi Padmarani" userId="fe059d67-2bf4-46a8-ba9e-d5041048c89a" providerId="ADAL" clId="{BE86370A-B29F-4F42-BC7C-8661773008D0}" dt="2025-10-23T05:08:25.361" v="4552" actId="1035"/>
          <ac:spMkLst>
            <pc:docMk/>
            <pc:sldMk cId="479191838" sldId="256"/>
            <ac:spMk id="493" creationId="{DF9FAA95-E183-C805-A765-1975B5CBA8E3}"/>
          </ac:spMkLst>
        </pc:spChg>
        <pc:spChg chg="mod ord topLvl">
          <ac:chgData name="Atchi Padmarani" userId="fe059d67-2bf4-46a8-ba9e-d5041048c89a" providerId="ADAL" clId="{BE86370A-B29F-4F42-BC7C-8661773008D0}" dt="2025-10-23T04:55:34.125" v="1848" actId="164"/>
          <ac:spMkLst>
            <pc:docMk/>
            <pc:sldMk cId="479191838" sldId="256"/>
            <ac:spMk id="494" creationId="{BA8174A9-63DD-EAA9-0B5C-7207A33A6441}"/>
          </ac:spMkLst>
        </pc:spChg>
        <pc:spChg chg="mod ord topLvl">
          <ac:chgData name="Atchi Padmarani" userId="fe059d67-2bf4-46a8-ba9e-d5041048c89a" providerId="ADAL" clId="{BE86370A-B29F-4F42-BC7C-8661773008D0}" dt="2025-10-23T05:37:04.605" v="7175"/>
          <ac:spMkLst>
            <pc:docMk/>
            <pc:sldMk cId="479191838" sldId="256"/>
            <ac:spMk id="495" creationId="{E8578E7B-E4D2-2FF1-1ECA-85350328142D}"/>
          </ac:spMkLst>
        </pc:spChg>
        <pc:spChg chg="mod ord">
          <ac:chgData name="Atchi Padmarani" userId="fe059d67-2bf4-46a8-ba9e-d5041048c89a" providerId="ADAL" clId="{BE86370A-B29F-4F42-BC7C-8661773008D0}" dt="2025-10-23T05:37:04.605" v="7179"/>
          <ac:spMkLst>
            <pc:docMk/>
            <pc:sldMk cId="479191838" sldId="256"/>
            <ac:spMk id="496" creationId="{5CCF5E10-D7A7-34CA-BB56-C8B572AA811E}"/>
          </ac:spMkLst>
        </pc:spChg>
        <pc:spChg chg="mod ord topLvl">
          <ac:chgData name="Atchi Padmarani" userId="fe059d67-2bf4-46a8-ba9e-d5041048c89a" providerId="ADAL" clId="{BE86370A-B29F-4F42-BC7C-8661773008D0}" dt="2025-10-23T05:37:04.605" v="7183"/>
          <ac:spMkLst>
            <pc:docMk/>
            <pc:sldMk cId="479191838" sldId="256"/>
            <ac:spMk id="497" creationId="{8AD4B252-0640-BBC5-1C26-7FDDB76923F4}"/>
          </ac:spMkLst>
        </pc:spChg>
        <pc:spChg chg="mod ord topLvl">
          <ac:chgData name="Atchi Padmarani" userId="fe059d67-2bf4-46a8-ba9e-d5041048c89a" providerId="ADAL" clId="{BE86370A-B29F-4F42-BC7C-8661773008D0}" dt="2025-10-23T05:37:04.622" v="7205"/>
          <ac:spMkLst>
            <pc:docMk/>
            <pc:sldMk cId="479191838" sldId="256"/>
            <ac:spMk id="499" creationId="{3C8A2DE1-52D5-F264-5C54-A3889A82A002}"/>
          </ac:spMkLst>
        </pc:spChg>
        <pc:spChg chg="mod ord topLvl">
          <ac:chgData name="Atchi Padmarani" userId="fe059d67-2bf4-46a8-ba9e-d5041048c89a" providerId="ADAL" clId="{BE86370A-B29F-4F42-BC7C-8661773008D0}" dt="2025-10-23T05:37:04.622" v="7207"/>
          <ac:spMkLst>
            <pc:docMk/>
            <pc:sldMk cId="479191838" sldId="256"/>
            <ac:spMk id="500" creationId="{E1580870-13F7-B878-B68E-5BE129B9A6FC}"/>
          </ac:spMkLst>
        </pc:spChg>
        <pc:spChg chg="mod ord topLvl">
          <ac:chgData name="Atchi Padmarani" userId="fe059d67-2bf4-46a8-ba9e-d5041048c89a" providerId="ADAL" clId="{BE86370A-B29F-4F42-BC7C-8661773008D0}" dt="2025-10-23T05:37:04.622" v="7209"/>
          <ac:spMkLst>
            <pc:docMk/>
            <pc:sldMk cId="479191838" sldId="256"/>
            <ac:spMk id="501" creationId="{7C2F2E03-091D-1B9A-3B0D-9581F02671DE}"/>
          </ac:spMkLst>
        </pc:spChg>
        <pc:spChg chg="mod ord topLvl">
          <ac:chgData name="Atchi Padmarani" userId="fe059d67-2bf4-46a8-ba9e-d5041048c89a" providerId="ADAL" clId="{BE86370A-B29F-4F42-BC7C-8661773008D0}" dt="2025-10-23T05:37:04.622" v="7229"/>
          <ac:spMkLst>
            <pc:docMk/>
            <pc:sldMk cId="479191838" sldId="256"/>
            <ac:spMk id="503" creationId="{3783120D-561E-FD48-ADDA-3F080D120EA4}"/>
          </ac:spMkLst>
        </pc:spChg>
        <pc:spChg chg="mod ord topLvl">
          <ac:chgData name="Atchi Padmarani" userId="fe059d67-2bf4-46a8-ba9e-d5041048c89a" providerId="ADAL" clId="{BE86370A-B29F-4F42-BC7C-8661773008D0}" dt="2025-10-23T05:37:04.622" v="7231"/>
          <ac:spMkLst>
            <pc:docMk/>
            <pc:sldMk cId="479191838" sldId="256"/>
            <ac:spMk id="504" creationId="{7789B1C5-3292-11E7-ED3F-C7AE1E9AFCBF}"/>
          </ac:spMkLst>
        </pc:spChg>
        <pc:spChg chg="mod ord topLvl">
          <ac:chgData name="Atchi Padmarani" userId="fe059d67-2bf4-46a8-ba9e-d5041048c89a" providerId="ADAL" clId="{BE86370A-B29F-4F42-BC7C-8661773008D0}" dt="2025-10-23T05:37:04.622" v="7233"/>
          <ac:spMkLst>
            <pc:docMk/>
            <pc:sldMk cId="479191838" sldId="256"/>
            <ac:spMk id="505" creationId="{8C9E63E1-2AA9-01A0-D3FF-59C9311EB00A}"/>
          </ac:spMkLst>
        </pc:spChg>
        <pc:spChg chg="mod ord topLvl">
          <ac:chgData name="Atchi Padmarani" userId="fe059d67-2bf4-46a8-ba9e-d5041048c89a" providerId="ADAL" clId="{BE86370A-B29F-4F42-BC7C-8661773008D0}" dt="2025-10-23T05:37:04.622" v="7223"/>
          <ac:spMkLst>
            <pc:docMk/>
            <pc:sldMk cId="479191838" sldId="256"/>
            <ac:spMk id="508" creationId="{A5AA7EB0-675C-36FA-F10A-B323A1F1549A}"/>
          </ac:spMkLst>
        </pc:spChg>
        <pc:spChg chg="mod topLvl">
          <ac:chgData name="Atchi Padmarani" userId="fe059d67-2bf4-46a8-ba9e-d5041048c89a" providerId="ADAL" clId="{BE86370A-B29F-4F42-BC7C-8661773008D0}" dt="2025-10-23T05:37:04.622" v="7224"/>
          <ac:spMkLst>
            <pc:docMk/>
            <pc:sldMk cId="479191838" sldId="256"/>
            <ac:spMk id="509" creationId="{63321B38-4E80-ADD9-4048-7933CF82F9E0}"/>
          </ac:spMkLst>
        </pc:spChg>
        <pc:spChg chg="mod topLvl">
          <ac:chgData name="Atchi Padmarani" userId="fe059d67-2bf4-46a8-ba9e-d5041048c89a" providerId="ADAL" clId="{BE86370A-B29F-4F42-BC7C-8661773008D0}" dt="2025-10-23T05:37:04.622" v="7225"/>
          <ac:spMkLst>
            <pc:docMk/>
            <pc:sldMk cId="479191838" sldId="256"/>
            <ac:spMk id="510" creationId="{6696BDB3-A6F1-7FDB-0761-F8B2CE62DE99}"/>
          </ac:spMkLst>
        </pc:spChg>
        <pc:grpChg chg="del mod">
          <ac:chgData name="Atchi Padmarani" userId="fe059d67-2bf4-46a8-ba9e-d5041048c89a" providerId="ADAL" clId="{BE86370A-B29F-4F42-BC7C-8661773008D0}" dt="2025-10-23T05:02:23.698" v="2740" actId="165"/>
          <ac:grpSpMkLst>
            <pc:docMk/>
            <pc:sldMk cId="479191838" sldId="256"/>
            <ac:grpSpMk id="10" creationId="{8FB9F7A8-8FCF-3E31-55C1-70B07AEACFD6}"/>
          </ac:grpSpMkLst>
        </pc:grpChg>
        <pc:grpChg chg="mod ord">
          <ac:chgData name="Atchi Padmarani" userId="fe059d67-2bf4-46a8-ba9e-d5041048c89a" providerId="ADAL" clId="{BE86370A-B29F-4F42-BC7C-8661773008D0}" dt="2025-10-23T04:41:15.037" v="821"/>
          <ac:grpSpMkLst>
            <pc:docMk/>
            <pc:sldMk cId="479191838" sldId="256"/>
            <ac:grpSpMk id="11" creationId="{0F797CF9-840F-4600-E21C-9EF127F1A05E}"/>
          </ac:grpSpMkLst>
        </pc:grpChg>
        <pc:grpChg chg="del mod ord">
          <ac:chgData name="Atchi Padmarani" userId="fe059d67-2bf4-46a8-ba9e-d5041048c89a" providerId="ADAL" clId="{BE86370A-B29F-4F42-BC7C-8661773008D0}" dt="2025-10-23T04:57:42.562" v="1872" actId="165"/>
          <ac:grpSpMkLst>
            <pc:docMk/>
            <pc:sldMk cId="479191838" sldId="256"/>
            <ac:grpSpMk id="13" creationId="{C3476ADA-F86C-586F-DACA-1F62F3D6C33C}"/>
          </ac:grpSpMkLst>
        </pc:grpChg>
        <pc:grpChg chg="del mod ord">
          <ac:chgData name="Atchi Padmarani" userId="fe059d67-2bf4-46a8-ba9e-d5041048c89a" providerId="ADAL" clId="{BE86370A-B29F-4F42-BC7C-8661773008D0}" dt="2025-10-23T04:57:42.562" v="1872" actId="165"/>
          <ac:grpSpMkLst>
            <pc:docMk/>
            <pc:sldMk cId="479191838" sldId="256"/>
            <ac:grpSpMk id="14" creationId="{5B86AFF6-7C35-4F7F-4C86-972D03FAE266}"/>
          </ac:grpSpMkLst>
        </pc:grpChg>
        <pc:grpChg chg="mod ord">
          <ac:chgData name="Atchi Padmarani" userId="fe059d67-2bf4-46a8-ba9e-d5041048c89a" providerId="ADAL" clId="{BE86370A-B29F-4F42-BC7C-8661773008D0}" dt="2025-10-23T04:41:15.037" v="819"/>
          <ac:grpSpMkLst>
            <pc:docMk/>
            <pc:sldMk cId="479191838" sldId="256"/>
            <ac:grpSpMk id="15" creationId="{9527F71B-391E-B6C6-613F-245AFD46E0A2}"/>
          </ac:grpSpMkLst>
        </pc:grpChg>
        <pc:grpChg chg="mod">
          <ac:chgData name="Atchi Padmarani" userId="fe059d67-2bf4-46a8-ba9e-d5041048c89a" providerId="ADAL" clId="{BE86370A-B29F-4F42-BC7C-8661773008D0}" dt="2025-10-23T05:01:16.410" v="2603"/>
          <ac:grpSpMkLst>
            <pc:docMk/>
            <pc:sldMk cId="479191838" sldId="256"/>
            <ac:grpSpMk id="16" creationId="{4693D702-5D5F-BC70-F23D-3E2FDC8E4716}"/>
          </ac:grpSpMkLst>
        </pc:grpChg>
        <pc:grpChg chg="del mod">
          <ac:chgData name="Atchi Padmarani" userId="fe059d67-2bf4-46a8-ba9e-d5041048c89a" providerId="ADAL" clId="{BE86370A-B29F-4F42-BC7C-8661773008D0}" dt="2025-10-23T05:02:23.698" v="2740" actId="165"/>
          <ac:grpSpMkLst>
            <pc:docMk/>
            <pc:sldMk cId="479191838" sldId="256"/>
            <ac:grpSpMk id="17" creationId="{3E7FE674-EA5F-04A4-4334-E1DAD54D4738}"/>
          </ac:grpSpMkLst>
        </pc:grpChg>
        <pc:grpChg chg="del mod">
          <ac:chgData name="Atchi Padmarani" userId="fe059d67-2bf4-46a8-ba9e-d5041048c89a" providerId="ADAL" clId="{BE86370A-B29F-4F42-BC7C-8661773008D0}" dt="2025-10-23T05:01:52.711" v="2727" actId="165"/>
          <ac:grpSpMkLst>
            <pc:docMk/>
            <pc:sldMk cId="479191838" sldId="256"/>
            <ac:grpSpMk id="19" creationId="{E077E21E-5198-F2B5-09B8-F85E35864410}"/>
          </ac:grpSpMkLst>
        </pc:grpChg>
        <pc:grpChg chg="add mod ord">
          <ac:chgData name="Atchi Padmarani" userId="fe059d67-2bf4-46a8-ba9e-d5041048c89a" providerId="ADAL" clId="{BE86370A-B29F-4F42-BC7C-8661773008D0}" dt="2025-10-23T05:37:04.743" v="7527"/>
          <ac:grpSpMkLst>
            <pc:docMk/>
            <pc:sldMk cId="479191838" sldId="256"/>
            <ac:grpSpMk id="30" creationId="{8DFC978C-A385-4A44-C9FA-FE1E6E88F1C5}"/>
          </ac:grpSpMkLst>
        </pc:grpChg>
        <pc:grpChg chg="mod">
          <ac:chgData name="Atchi Padmarani" userId="fe059d67-2bf4-46a8-ba9e-d5041048c89a" providerId="ADAL" clId="{BE86370A-B29F-4F42-BC7C-8661773008D0}" dt="2025-10-23T04:39:47.522" v="123" actId="164"/>
          <ac:grpSpMkLst>
            <pc:docMk/>
            <pc:sldMk cId="479191838" sldId="256"/>
            <ac:grpSpMk id="35" creationId="{D6CCCC0F-BA40-ED97-D4B4-9CF6FD66DB31}"/>
          </ac:grpSpMkLst>
        </pc:grpChg>
        <pc:grpChg chg="add del mod">
          <ac:chgData name="Atchi Padmarani" userId="fe059d67-2bf4-46a8-ba9e-d5041048c89a" providerId="ADAL" clId="{BE86370A-B29F-4F42-BC7C-8661773008D0}" dt="2025-10-23T04:39:53.549" v="126" actId="478"/>
          <ac:grpSpMkLst>
            <pc:docMk/>
            <pc:sldMk cId="479191838" sldId="256"/>
            <ac:grpSpMk id="40" creationId="{FED9F525-C36A-AC1E-D6BA-0E25B9AF1755}"/>
          </ac:grpSpMkLst>
        </pc:grpChg>
        <pc:grpChg chg="add mod">
          <ac:chgData name="Atchi Padmarani" userId="fe059d67-2bf4-46a8-ba9e-d5041048c89a" providerId="ADAL" clId="{BE86370A-B29F-4F42-BC7C-8661773008D0}" dt="2025-10-23T04:42:35.176" v="1007"/>
          <ac:grpSpMkLst>
            <pc:docMk/>
            <pc:sldMk cId="479191838" sldId="256"/>
            <ac:grpSpMk id="47" creationId="{F1F79B7C-F379-0AFF-2F46-E5DAC06F36FD}"/>
          </ac:grpSpMkLst>
        </pc:grpChg>
        <pc:grpChg chg="mod">
          <ac:chgData name="Atchi Padmarani" userId="fe059d67-2bf4-46a8-ba9e-d5041048c89a" providerId="ADAL" clId="{BE86370A-B29F-4F42-BC7C-8661773008D0}" dt="2025-10-23T04:42:34.369" v="996" actId="14100"/>
          <ac:grpSpMkLst>
            <pc:docMk/>
            <pc:sldMk cId="479191838" sldId="256"/>
            <ac:grpSpMk id="48" creationId="{47D5CAA3-1567-DBB5-28BD-BCEF2866A752}"/>
          </ac:grpSpMkLst>
        </pc:grpChg>
        <pc:grpChg chg="mod">
          <ac:chgData name="Atchi Padmarani" userId="fe059d67-2bf4-46a8-ba9e-d5041048c89a" providerId="ADAL" clId="{BE86370A-B29F-4F42-BC7C-8661773008D0}" dt="2025-10-23T04:42:38.837" v="1013" actId="14100"/>
          <ac:grpSpMkLst>
            <pc:docMk/>
            <pc:sldMk cId="479191838" sldId="256"/>
            <ac:grpSpMk id="52" creationId="{0697B29A-FAF0-3A1C-1832-15524174EE48}"/>
          </ac:grpSpMkLst>
        </pc:grpChg>
        <pc:grpChg chg="add del mod ord">
          <ac:chgData name="Atchi Padmarani" userId="fe059d67-2bf4-46a8-ba9e-d5041048c89a" providerId="ADAL" clId="{BE86370A-B29F-4F42-BC7C-8661773008D0}" dt="2025-10-23T05:09:02.362" v="4556" actId="478"/>
          <ac:grpSpMkLst>
            <pc:docMk/>
            <pc:sldMk cId="479191838" sldId="256"/>
            <ac:grpSpMk id="56" creationId="{505F39FB-EB86-8683-C168-29D3740937A3}"/>
          </ac:grpSpMkLst>
        </pc:grpChg>
        <pc:grpChg chg="mod">
          <ac:chgData name="Atchi Padmarani" userId="fe059d67-2bf4-46a8-ba9e-d5041048c89a" providerId="ADAL" clId="{BE86370A-B29F-4F42-BC7C-8661773008D0}" dt="2025-10-23T04:42:50.563" v="1024" actId="1076"/>
          <ac:grpSpMkLst>
            <pc:docMk/>
            <pc:sldMk cId="479191838" sldId="256"/>
            <ac:grpSpMk id="57" creationId="{7148DB76-C2C0-E0E7-C5B4-A55459FD7E84}"/>
          </ac:grpSpMkLst>
        </pc:grpChg>
        <pc:grpChg chg="add mod">
          <ac:chgData name="Atchi Padmarani" userId="fe059d67-2bf4-46a8-ba9e-d5041048c89a" providerId="ADAL" clId="{BE86370A-B29F-4F42-BC7C-8661773008D0}" dt="2025-10-23T04:48:42.654" v="1417" actId="408"/>
          <ac:grpSpMkLst>
            <pc:docMk/>
            <pc:sldMk cId="479191838" sldId="256"/>
            <ac:grpSpMk id="58" creationId="{9CC47D25-6454-457A-F946-DE5208425AD9}"/>
          </ac:grpSpMkLst>
        </pc:grpChg>
        <pc:grpChg chg="add mod">
          <ac:chgData name="Atchi Padmarani" userId="fe059d67-2bf4-46a8-ba9e-d5041048c89a" providerId="ADAL" clId="{BE86370A-B29F-4F42-BC7C-8661773008D0}" dt="2025-10-23T04:48:37.898" v="1416" actId="408"/>
          <ac:grpSpMkLst>
            <pc:docMk/>
            <pc:sldMk cId="479191838" sldId="256"/>
            <ac:grpSpMk id="59" creationId="{B4B20390-61A6-120B-3B33-E2B3FB41567A}"/>
          </ac:grpSpMkLst>
        </pc:grpChg>
        <pc:grpChg chg="add del mod">
          <ac:chgData name="Atchi Padmarani" userId="fe059d67-2bf4-46a8-ba9e-d5041048c89a" providerId="ADAL" clId="{BE86370A-B29F-4F42-BC7C-8661773008D0}" dt="2025-10-23T04:48:45.590" v="1418" actId="165"/>
          <ac:grpSpMkLst>
            <pc:docMk/>
            <pc:sldMk cId="479191838" sldId="256"/>
            <ac:grpSpMk id="60" creationId="{5244F291-A1EE-D887-89F8-0AF339A333F9}"/>
          </ac:grpSpMkLst>
        </pc:grpChg>
        <pc:grpChg chg="add mod">
          <ac:chgData name="Atchi Padmarani" userId="fe059d67-2bf4-46a8-ba9e-d5041048c89a" providerId="ADAL" clId="{BE86370A-B29F-4F42-BC7C-8661773008D0}" dt="2025-10-23T04:54:10.391" v="1776" actId="164"/>
          <ac:grpSpMkLst>
            <pc:docMk/>
            <pc:sldMk cId="479191838" sldId="256"/>
            <ac:grpSpMk id="64" creationId="{36131FE4-C239-70CC-BA0C-0E3208B1EE12}"/>
          </ac:grpSpMkLst>
        </pc:grpChg>
        <pc:grpChg chg="add mod">
          <ac:chgData name="Atchi Padmarani" userId="fe059d67-2bf4-46a8-ba9e-d5041048c89a" providerId="ADAL" clId="{BE86370A-B29F-4F42-BC7C-8661773008D0}" dt="2025-10-23T04:54:05.559" v="1775"/>
          <ac:grpSpMkLst>
            <pc:docMk/>
            <pc:sldMk cId="479191838" sldId="256"/>
            <ac:grpSpMk id="65" creationId="{5DF041EE-BF66-B27F-5FBF-36EB94421D5C}"/>
          </ac:grpSpMkLst>
        </pc:grpChg>
        <pc:grpChg chg="add mod">
          <ac:chgData name="Atchi Padmarani" userId="fe059d67-2bf4-46a8-ba9e-d5041048c89a" providerId="ADAL" clId="{BE86370A-B29F-4F42-BC7C-8661773008D0}" dt="2025-10-23T04:54:02.186" v="1769"/>
          <ac:grpSpMkLst>
            <pc:docMk/>
            <pc:sldMk cId="479191838" sldId="256"/>
            <ac:grpSpMk id="68" creationId="{6A0A0180-9F14-1A23-25A4-461AE8D76868}"/>
          </ac:grpSpMkLst>
        </pc:grpChg>
        <pc:grpChg chg="add del mod">
          <ac:chgData name="Atchi Padmarani" userId="fe059d67-2bf4-46a8-ba9e-d5041048c89a" providerId="ADAL" clId="{BE86370A-B29F-4F42-BC7C-8661773008D0}" dt="2025-10-23T04:54:37.783" v="1783" actId="165"/>
          <ac:grpSpMkLst>
            <pc:docMk/>
            <pc:sldMk cId="479191838" sldId="256"/>
            <ac:grpSpMk id="69" creationId="{700E5C07-2955-47EA-929E-58C837DC2008}"/>
          </ac:grpSpMkLst>
        </pc:grpChg>
        <pc:grpChg chg="add mod">
          <ac:chgData name="Atchi Padmarani" userId="fe059d67-2bf4-46a8-ba9e-d5041048c89a" providerId="ADAL" clId="{BE86370A-B29F-4F42-BC7C-8661773008D0}" dt="2025-10-23T04:53:51.082" v="1757" actId="1038"/>
          <ac:grpSpMkLst>
            <pc:docMk/>
            <pc:sldMk cId="479191838" sldId="256"/>
            <ac:grpSpMk id="72" creationId="{D787EC5F-93BB-7EB0-6452-3CBBC6426869}"/>
          </ac:grpSpMkLst>
        </pc:grpChg>
        <pc:grpChg chg="add mod">
          <ac:chgData name="Atchi Padmarani" userId="fe059d67-2bf4-46a8-ba9e-d5041048c89a" providerId="ADAL" clId="{BE86370A-B29F-4F42-BC7C-8661773008D0}" dt="2025-10-23T04:54:10.391" v="1776" actId="164"/>
          <ac:grpSpMkLst>
            <pc:docMk/>
            <pc:sldMk cId="479191838" sldId="256"/>
            <ac:grpSpMk id="73" creationId="{DF50426B-D803-392D-EF8F-7B0BE568459A}"/>
          </ac:grpSpMkLst>
        </pc:grpChg>
        <pc:grpChg chg="add mod">
          <ac:chgData name="Atchi Padmarani" userId="fe059d67-2bf4-46a8-ba9e-d5041048c89a" providerId="ADAL" clId="{BE86370A-B29F-4F42-BC7C-8661773008D0}" dt="2025-10-23T04:54:50.006" v="1814" actId="164"/>
          <ac:grpSpMkLst>
            <pc:docMk/>
            <pc:sldMk cId="479191838" sldId="256"/>
            <ac:grpSpMk id="76" creationId="{83339F8D-A413-D56D-78DA-12A547727FAC}"/>
          </ac:grpSpMkLst>
        </pc:grpChg>
        <pc:grpChg chg="add mod">
          <ac:chgData name="Atchi Padmarani" userId="fe059d67-2bf4-46a8-ba9e-d5041048c89a" providerId="ADAL" clId="{BE86370A-B29F-4F42-BC7C-8661773008D0}" dt="2025-10-23T04:54:53.931" v="1820" actId="164"/>
          <ac:grpSpMkLst>
            <pc:docMk/>
            <pc:sldMk cId="479191838" sldId="256"/>
            <ac:grpSpMk id="78" creationId="{3CE5452B-2204-1E09-E72F-CA9D2DEADA84}"/>
          </ac:grpSpMkLst>
        </pc:grpChg>
        <pc:grpChg chg="mod ord">
          <ac:chgData name="Atchi Padmarani" userId="fe059d67-2bf4-46a8-ba9e-d5041048c89a" providerId="ADAL" clId="{BE86370A-B29F-4F42-BC7C-8661773008D0}" dt="2025-10-23T05:37:04.727" v="7487"/>
          <ac:grpSpMkLst>
            <pc:docMk/>
            <pc:sldMk cId="479191838" sldId="256"/>
            <ac:grpSpMk id="91" creationId="{5495A1AF-5AAF-A25D-DDFA-FC3508E428EF}"/>
          </ac:grpSpMkLst>
        </pc:grpChg>
        <pc:grpChg chg="mod">
          <ac:chgData name="Atchi Padmarani" userId="fe059d67-2bf4-46a8-ba9e-d5041048c89a" providerId="ADAL" clId="{BE86370A-B29F-4F42-BC7C-8661773008D0}" dt="2025-10-23T04:54:53.931" v="1820" actId="164"/>
          <ac:grpSpMkLst>
            <pc:docMk/>
            <pc:sldMk cId="479191838" sldId="256"/>
            <ac:grpSpMk id="98" creationId="{00573C6E-9302-5967-FDFA-847C6238F94D}"/>
          </ac:grpSpMkLst>
        </pc:grpChg>
        <pc:grpChg chg="mod">
          <ac:chgData name="Atchi Padmarani" userId="fe059d67-2bf4-46a8-ba9e-d5041048c89a" providerId="ADAL" clId="{BE86370A-B29F-4F42-BC7C-8661773008D0}" dt="2025-10-23T04:55:20.274" v="1845" actId="465"/>
          <ac:grpSpMkLst>
            <pc:docMk/>
            <pc:sldMk cId="479191838" sldId="256"/>
            <ac:grpSpMk id="105" creationId="{C86BC043-AC57-AA05-3A45-427F13A039DB}"/>
          </ac:grpSpMkLst>
        </pc:grpChg>
        <pc:grpChg chg="add mod">
          <ac:chgData name="Atchi Padmarani" userId="fe059d67-2bf4-46a8-ba9e-d5041048c89a" providerId="ADAL" clId="{BE86370A-B29F-4F42-BC7C-8661773008D0}" dt="2025-10-23T04:54:57.167" v="1826" actId="164"/>
          <ac:grpSpMkLst>
            <pc:docMk/>
            <pc:sldMk cId="479191838" sldId="256"/>
            <ac:grpSpMk id="117" creationId="{3DC522E5-9B15-B60E-36A8-55B27E592B21}"/>
          </ac:grpSpMkLst>
        </pc:grpChg>
        <pc:grpChg chg="add mod">
          <ac:chgData name="Atchi Padmarani" userId="fe059d67-2bf4-46a8-ba9e-d5041048c89a" providerId="ADAL" clId="{BE86370A-B29F-4F42-BC7C-8661773008D0}" dt="2025-10-23T04:55:20.274" v="1845" actId="465"/>
          <ac:grpSpMkLst>
            <pc:docMk/>
            <pc:sldMk cId="479191838" sldId="256"/>
            <ac:grpSpMk id="118" creationId="{3245A4DF-10FD-381E-EA35-84857F703B6B}"/>
          </ac:grpSpMkLst>
        </pc:grpChg>
        <pc:grpChg chg="add mod">
          <ac:chgData name="Atchi Padmarani" userId="fe059d67-2bf4-46a8-ba9e-d5041048c89a" providerId="ADAL" clId="{BE86370A-B29F-4F42-BC7C-8661773008D0}" dt="2025-10-23T04:55:05.954" v="1834" actId="164"/>
          <ac:grpSpMkLst>
            <pc:docMk/>
            <pc:sldMk cId="479191838" sldId="256"/>
            <ac:grpSpMk id="120" creationId="{8CCD33B1-3DF5-5BCA-1A9F-D1AA5316ED8F}"/>
          </ac:grpSpMkLst>
        </pc:grpChg>
        <pc:grpChg chg="add mod">
          <ac:chgData name="Atchi Padmarani" userId="fe059d67-2bf4-46a8-ba9e-d5041048c89a" providerId="ADAL" clId="{BE86370A-B29F-4F42-BC7C-8661773008D0}" dt="2025-10-23T04:55:35.221" v="1849" actId="164"/>
          <ac:grpSpMkLst>
            <pc:docMk/>
            <pc:sldMk cId="479191838" sldId="256"/>
            <ac:grpSpMk id="121" creationId="{35BBE224-616C-FAC5-7F19-D4C540DC5294}"/>
          </ac:grpSpMkLst>
        </pc:grpChg>
        <pc:grpChg chg="add mod ord">
          <ac:chgData name="Atchi Padmarani" userId="fe059d67-2bf4-46a8-ba9e-d5041048c89a" providerId="ADAL" clId="{BE86370A-B29F-4F42-BC7C-8661773008D0}" dt="2025-10-23T05:37:04.605" v="7171"/>
          <ac:grpSpMkLst>
            <pc:docMk/>
            <pc:sldMk cId="479191838" sldId="256"/>
            <ac:grpSpMk id="124" creationId="{50B20A43-2E25-A4B0-29D7-C38AC0791C6C}"/>
          </ac:grpSpMkLst>
        </pc:grpChg>
        <pc:grpChg chg="mod">
          <ac:chgData name="Atchi Padmarani" userId="fe059d67-2bf4-46a8-ba9e-d5041048c89a" providerId="ADAL" clId="{BE86370A-B29F-4F42-BC7C-8661773008D0}" dt="2025-10-23T05:37:04.732" v="7496"/>
          <ac:grpSpMkLst>
            <pc:docMk/>
            <pc:sldMk cId="479191838" sldId="256"/>
            <ac:grpSpMk id="125" creationId="{0F068100-2E70-7BB5-0FEB-BBBAA19BED8E}"/>
          </ac:grpSpMkLst>
        </pc:grpChg>
        <pc:grpChg chg="mod">
          <ac:chgData name="Atchi Padmarani" userId="fe059d67-2bf4-46a8-ba9e-d5041048c89a" providerId="ADAL" clId="{BE86370A-B29F-4F42-BC7C-8661773008D0}" dt="2025-10-23T05:37:04.637" v="7248"/>
          <ac:grpSpMkLst>
            <pc:docMk/>
            <pc:sldMk cId="479191838" sldId="256"/>
            <ac:grpSpMk id="127" creationId="{973AE17C-FD33-34C3-E51A-940A093C4603}"/>
          </ac:grpSpMkLst>
        </pc:grpChg>
        <pc:grpChg chg="mod">
          <ac:chgData name="Atchi Padmarani" userId="fe059d67-2bf4-46a8-ba9e-d5041048c89a" providerId="ADAL" clId="{BE86370A-B29F-4F42-BC7C-8661773008D0}" dt="2025-10-23T05:01:16.452" v="2718"/>
          <ac:grpSpMkLst>
            <pc:docMk/>
            <pc:sldMk cId="479191838" sldId="256"/>
            <ac:grpSpMk id="168" creationId="{72189DDB-655B-7DFC-5645-DC748C66C0A8}"/>
          </ac:grpSpMkLst>
        </pc:grpChg>
        <pc:grpChg chg="add mod ord">
          <ac:chgData name="Atchi Padmarani" userId="fe059d67-2bf4-46a8-ba9e-d5041048c89a" providerId="ADAL" clId="{BE86370A-B29F-4F42-BC7C-8661773008D0}" dt="2025-10-23T05:37:04.637" v="7280"/>
          <ac:grpSpMkLst>
            <pc:docMk/>
            <pc:sldMk cId="479191838" sldId="256"/>
            <ac:grpSpMk id="185" creationId="{132EA4C6-801E-A323-DC90-AC2FBC9AC167}"/>
          </ac:grpSpMkLst>
        </pc:grpChg>
        <pc:grpChg chg="add del mod ord">
          <ac:chgData name="Atchi Padmarani" userId="fe059d67-2bf4-46a8-ba9e-d5041048c89a" providerId="ADAL" clId="{BE86370A-B29F-4F42-BC7C-8661773008D0}" dt="2025-10-23T05:36:26.751" v="5527" actId="165"/>
          <ac:grpSpMkLst>
            <pc:docMk/>
            <pc:sldMk cId="479191838" sldId="256"/>
            <ac:grpSpMk id="187" creationId="{39F3C46A-C8B8-75A1-F76E-996FC96B2CAF}"/>
          </ac:grpSpMkLst>
        </pc:grpChg>
        <pc:grpChg chg="mod">
          <ac:chgData name="Atchi Padmarani" userId="fe059d67-2bf4-46a8-ba9e-d5041048c89a" providerId="ADAL" clId="{BE86370A-B29F-4F42-BC7C-8661773008D0}" dt="2025-10-23T05:37:04.748" v="7536"/>
          <ac:grpSpMkLst>
            <pc:docMk/>
            <pc:sldMk cId="479191838" sldId="256"/>
            <ac:grpSpMk id="196" creationId="{1FF75BB6-F064-C9F0-B793-4A2C412DED1D}"/>
          </ac:grpSpMkLst>
        </pc:grpChg>
        <pc:grpChg chg="mod">
          <ac:chgData name="Atchi Padmarani" userId="fe059d67-2bf4-46a8-ba9e-d5041048c89a" providerId="ADAL" clId="{BE86370A-B29F-4F42-BC7C-8661773008D0}" dt="2025-10-23T05:18:16.742" v="5435"/>
          <ac:grpSpMkLst>
            <pc:docMk/>
            <pc:sldMk cId="479191838" sldId="256"/>
            <ac:grpSpMk id="203" creationId="{5DB0BF19-9FFD-BF7C-C337-66A4B8845080}"/>
          </ac:grpSpMkLst>
        </pc:grpChg>
        <pc:grpChg chg="mod">
          <ac:chgData name="Atchi Padmarani" userId="fe059d67-2bf4-46a8-ba9e-d5041048c89a" providerId="ADAL" clId="{BE86370A-B29F-4F42-BC7C-8661773008D0}" dt="2025-10-23T05:37:04.748" v="7537"/>
          <ac:grpSpMkLst>
            <pc:docMk/>
            <pc:sldMk cId="479191838" sldId="256"/>
            <ac:grpSpMk id="208" creationId="{4FEF9818-FC01-E0C8-2D7D-602D35159A30}"/>
          </ac:grpSpMkLst>
        </pc:grpChg>
        <pc:grpChg chg="del mod">
          <ac:chgData name="Atchi Padmarani" userId="fe059d67-2bf4-46a8-ba9e-d5041048c89a" providerId="ADAL" clId="{BE86370A-B29F-4F42-BC7C-8661773008D0}" dt="2025-10-23T04:59:28.249" v="2049" actId="478"/>
          <ac:grpSpMkLst>
            <pc:docMk/>
            <pc:sldMk cId="479191838" sldId="256"/>
            <ac:grpSpMk id="231" creationId="{D67C68B3-0577-9D0B-B442-6DFBBF18608E}"/>
          </ac:grpSpMkLst>
        </pc:grpChg>
        <pc:grpChg chg="mod">
          <ac:chgData name="Atchi Padmarani" userId="fe059d67-2bf4-46a8-ba9e-d5041048c89a" providerId="ADAL" clId="{BE86370A-B29F-4F42-BC7C-8661773008D0}" dt="2025-10-23T05:18:08.239" v="5433"/>
          <ac:grpSpMkLst>
            <pc:docMk/>
            <pc:sldMk cId="479191838" sldId="256"/>
            <ac:grpSpMk id="237" creationId="{2BB92D27-1786-75A8-AD3A-DE8294101B98}"/>
          </ac:grpSpMkLst>
        </pc:grpChg>
        <pc:grpChg chg="mod">
          <ac:chgData name="Atchi Padmarani" userId="fe059d67-2bf4-46a8-ba9e-d5041048c89a" providerId="ADAL" clId="{BE86370A-B29F-4F42-BC7C-8661773008D0}" dt="2025-10-23T04:41:15.069" v="913"/>
          <ac:grpSpMkLst>
            <pc:docMk/>
            <pc:sldMk cId="479191838" sldId="256"/>
            <ac:grpSpMk id="242" creationId="{AED414A8-7B25-0A7D-F099-733DB97DBC9B}"/>
          </ac:grpSpMkLst>
        </pc:grpChg>
        <pc:grpChg chg="del mod">
          <ac:chgData name="Atchi Padmarani" userId="fe059d67-2bf4-46a8-ba9e-d5041048c89a" providerId="ADAL" clId="{BE86370A-B29F-4F42-BC7C-8661773008D0}" dt="2025-10-23T04:45:31.804" v="1243" actId="165"/>
          <ac:grpSpMkLst>
            <pc:docMk/>
            <pc:sldMk cId="479191838" sldId="256"/>
            <ac:grpSpMk id="243" creationId="{72456FE2-F1AB-69C9-9CE0-9F0B123C641E}"/>
          </ac:grpSpMkLst>
        </pc:grpChg>
        <pc:grpChg chg="mod">
          <ac:chgData name="Atchi Padmarani" userId="fe059d67-2bf4-46a8-ba9e-d5041048c89a" providerId="ADAL" clId="{BE86370A-B29F-4F42-BC7C-8661773008D0}" dt="2025-10-23T04:41:15.069" v="911"/>
          <ac:grpSpMkLst>
            <pc:docMk/>
            <pc:sldMk cId="479191838" sldId="256"/>
            <ac:grpSpMk id="246" creationId="{D0C2AD48-BE01-67B8-A9C3-F22881744C9D}"/>
          </ac:grpSpMkLst>
        </pc:grpChg>
        <pc:grpChg chg="mod">
          <ac:chgData name="Atchi Padmarani" userId="fe059d67-2bf4-46a8-ba9e-d5041048c89a" providerId="ADAL" clId="{BE86370A-B29F-4F42-BC7C-8661773008D0}" dt="2025-10-23T05:37:04.748" v="7538"/>
          <ac:grpSpMkLst>
            <pc:docMk/>
            <pc:sldMk cId="479191838" sldId="256"/>
            <ac:grpSpMk id="249" creationId="{967133CB-A5B0-6B2B-5EF6-CF568D85F7DA}"/>
          </ac:grpSpMkLst>
        </pc:grpChg>
        <pc:grpChg chg="mod">
          <ac:chgData name="Atchi Padmarani" userId="fe059d67-2bf4-46a8-ba9e-d5041048c89a" providerId="ADAL" clId="{BE86370A-B29F-4F42-BC7C-8661773008D0}" dt="2025-10-23T05:19:15.220" v="5440"/>
          <ac:grpSpMkLst>
            <pc:docMk/>
            <pc:sldMk cId="479191838" sldId="256"/>
            <ac:grpSpMk id="253" creationId="{6033F91F-5C83-4D49-3C83-36CEF916D6FF}"/>
          </ac:grpSpMkLst>
        </pc:grpChg>
        <pc:grpChg chg="mod">
          <ac:chgData name="Atchi Padmarani" userId="fe059d67-2bf4-46a8-ba9e-d5041048c89a" providerId="ADAL" clId="{BE86370A-B29F-4F42-BC7C-8661773008D0}" dt="2025-10-23T05:37:04.748" v="7539"/>
          <ac:grpSpMkLst>
            <pc:docMk/>
            <pc:sldMk cId="479191838" sldId="256"/>
            <ac:grpSpMk id="257" creationId="{A819DFCA-2131-8599-43F6-878E6AE76AB9}"/>
          </ac:grpSpMkLst>
        </pc:grpChg>
        <pc:grpChg chg="mod">
          <ac:chgData name="Atchi Padmarani" userId="fe059d67-2bf4-46a8-ba9e-d5041048c89a" providerId="ADAL" clId="{BE86370A-B29F-4F42-BC7C-8661773008D0}" dt="2025-10-23T05:19:53.877" v="5444"/>
          <ac:grpSpMkLst>
            <pc:docMk/>
            <pc:sldMk cId="479191838" sldId="256"/>
            <ac:grpSpMk id="260" creationId="{203371CC-4063-6CF1-1B9F-1419184621E0}"/>
          </ac:grpSpMkLst>
        </pc:grpChg>
        <pc:grpChg chg="mod">
          <ac:chgData name="Atchi Padmarani" userId="fe059d67-2bf4-46a8-ba9e-d5041048c89a" providerId="ADAL" clId="{BE86370A-B29F-4F42-BC7C-8661773008D0}" dt="2025-10-23T05:37:04.748" v="7540"/>
          <ac:grpSpMkLst>
            <pc:docMk/>
            <pc:sldMk cId="479191838" sldId="256"/>
            <ac:grpSpMk id="263" creationId="{602AF6E0-5A91-C188-EDE6-7ECB6F55FAD2}"/>
          </ac:grpSpMkLst>
        </pc:grpChg>
        <pc:grpChg chg="mod">
          <ac:chgData name="Atchi Padmarani" userId="fe059d67-2bf4-46a8-ba9e-d5041048c89a" providerId="ADAL" clId="{BE86370A-B29F-4F42-BC7C-8661773008D0}" dt="2025-10-23T05:20:52.926" v="5448"/>
          <ac:grpSpMkLst>
            <pc:docMk/>
            <pc:sldMk cId="479191838" sldId="256"/>
            <ac:grpSpMk id="265" creationId="{C4892A2A-F903-55E6-8F0F-4AAB1D30DCE4}"/>
          </ac:grpSpMkLst>
        </pc:grpChg>
        <pc:grpChg chg="mod">
          <ac:chgData name="Atchi Padmarani" userId="fe059d67-2bf4-46a8-ba9e-d5041048c89a" providerId="ADAL" clId="{BE86370A-B29F-4F42-BC7C-8661773008D0}" dt="2025-10-23T05:37:04.748" v="7541"/>
          <ac:grpSpMkLst>
            <pc:docMk/>
            <pc:sldMk cId="479191838" sldId="256"/>
            <ac:grpSpMk id="271" creationId="{2EE53CA1-2487-FE71-500B-0B7020D1CB8D}"/>
          </ac:grpSpMkLst>
        </pc:grpChg>
        <pc:grpChg chg="mod">
          <ac:chgData name="Atchi Padmarani" userId="fe059d67-2bf4-46a8-ba9e-d5041048c89a" providerId="ADAL" clId="{BE86370A-B29F-4F42-BC7C-8661773008D0}" dt="2025-10-23T05:21:25.569" v="5455"/>
          <ac:grpSpMkLst>
            <pc:docMk/>
            <pc:sldMk cId="479191838" sldId="256"/>
            <ac:grpSpMk id="273" creationId="{CFB4A725-4D9B-D8F5-7396-4880F1E83485}"/>
          </ac:grpSpMkLst>
        </pc:grpChg>
        <pc:grpChg chg="mod">
          <ac:chgData name="Atchi Padmarani" userId="fe059d67-2bf4-46a8-ba9e-d5041048c89a" providerId="ADAL" clId="{BE86370A-B29F-4F42-BC7C-8661773008D0}" dt="2025-10-23T05:37:04.748" v="7542"/>
          <ac:grpSpMkLst>
            <pc:docMk/>
            <pc:sldMk cId="479191838" sldId="256"/>
            <ac:grpSpMk id="276" creationId="{D81E89BC-2B52-9DDC-7EC2-36FE183C8808}"/>
          </ac:grpSpMkLst>
        </pc:grpChg>
        <pc:grpChg chg="mod">
          <ac:chgData name="Atchi Padmarani" userId="fe059d67-2bf4-46a8-ba9e-d5041048c89a" providerId="ADAL" clId="{BE86370A-B29F-4F42-BC7C-8661773008D0}" dt="2025-10-23T05:37:04.754" v="7543"/>
          <ac:grpSpMkLst>
            <pc:docMk/>
            <pc:sldMk cId="479191838" sldId="256"/>
            <ac:grpSpMk id="280" creationId="{63FA8DBE-17EE-C652-A645-AECBA0A75246}"/>
          </ac:grpSpMkLst>
        </pc:grpChg>
        <pc:grpChg chg="mod">
          <ac:chgData name="Atchi Padmarani" userId="fe059d67-2bf4-46a8-ba9e-d5041048c89a" providerId="ADAL" clId="{BE86370A-B29F-4F42-BC7C-8661773008D0}" dt="2025-10-23T05:26:43.751" v="5467"/>
          <ac:grpSpMkLst>
            <pc:docMk/>
            <pc:sldMk cId="479191838" sldId="256"/>
            <ac:grpSpMk id="283" creationId="{7B53F5CB-3C96-3D99-ADB8-CF404D1A0A3E}"/>
          </ac:grpSpMkLst>
        </pc:grpChg>
        <pc:grpChg chg="mod">
          <ac:chgData name="Atchi Padmarani" userId="fe059d67-2bf4-46a8-ba9e-d5041048c89a" providerId="ADAL" clId="{BE86370A-B29F-4F42-BC7C-8661773008D0}" dt="2025-10-23T05:36:07.966" v="5524"/>
          <ac:grpSpMkLst>
            <pc:docMk/>
            <pc:sldMk cId="479191838" sldId="256"/>
            <ac:grpSpMk id="290" creationId="{60A6F2A1-4139-89D7-4E7E-AA20AE8BFE49}"/>
          </ac:grpSpMkLst>
        </pc:grpChg>
        <pc:grpChg chg="mod">
          <ac:chgData name="Atchi Padmarani" userId="fe059d67-2bf4-46a8-ba9e-d5041048c89a" providerId="ADAL" clId="{BE86370A-B29F-4F42-BC7C-8661773008D0}" dt="2025-10-23T05:36:07.807" v="5520"/>
          <ac:grpSpMkLst>
            <pc:docMk/>
            <pc:sldMk cId="479191838" sldId="256"/>
            <ac:grpSpMk id="297" creationId="{24204972-83C9-666C-B94C-85F44132F005}"/>
          </ac:grpSpMkLst>
        </pc:grpChg>
        <pc:grpChg chg="mod">
          <ac:chgData name="Atchi Padmarani" userId="fe059d67-2bf4-46a8-ba9e-d5041048c89a" providerId="ADAL" clId="{BE86370A-B29F-4F42-BC7C-8661773008D0}" dt="2025-10-23T05:36:07.807" v="5520"/>
          <ac:grpSpMkLst>
            <pc:docMk/>
            <pc:sldMk cId="479191838" sldId="256"/>
            <ac:grpSpMk id="299" creationId="{36230218-BCDF-5BF6-AF03-870A44232313}"/>
          </ac:grpSpMkLst>
        </pc:grpChg>
        <pc:grpChg chg="mod">
          <ac:chgData name="Atchi Padmarani" userId="fe059d67-2bf4-46a8-ba9e-d5041048c89a" providerId="ADAL" clId="{BE86370A-B29F-4F42-BC7C-8661773008D0}" dt="2025-10-23T05:36:07.664" v="5517"/>
          <ac:grpSpMkLst>
            <pc:docMk/>
            <pc:sldMk cId="479191838" sldId="256"/>
            <ac:grpSpMk id="304" creationId="{38D354B4-D364-619C-E5B5-C4B255636E37}"/>
          </ac:grpSpMkLst>
        </pc:grpChg>
        <pc:grpChg chg="del mod topLvl">
          <ac:chgData name="Atchi Padmarani" userId="fe059d67-2bf4-46a8-ba9e-d5041048c89a" providerId="ADAL" clId="{BE86370A-B29F-4F42-BC7C-8661773008D0}" dt="2025-10-23T04:39:00.124" v="104" actId="478"/>
          <ac:grpSpMkLst>
            <pc:docMk/>
            <pc:sldMk cId="479191838" sldId="256"/>
            <ac:grpSpMk id="310" creationId="{BA869BE8-8C53-1023-04B9-521E74D9250F}"/>
          </ac:grpSpMkLst>
        </pc:grpChg>
        <pc:grpChg chg="mod">
          <ac:chgData name="Atchi Padmarani" userId="fe059d67-2bf4-46a8-ba9e-d5041048c89a" providerId="ADAL" clId="{BE86370A-B29F-4F42-BC7C-8661773008D0}" dt="2025-10-23T04:38:58.116" v="103" actId="165"/>
          <ac:grpSpMkLst>
            <pc:docMk/>
            <pc:sldMk cId="479191838" sldId="256"/>
            <ac:grpSpMk id="311" creationId="{FD8DD25C-EE9B-CA9F-DE05-956E07018910}"/>
          </ac:grpSpMkLst>
        </pc:grpChg>
        <pc:grpChg chg="mod">
          <ac:chgData name="Atchi Padmarani" userId="fe059d67-2bf4-46a8-ba9e-d5041048c89a" providerId="ADAL" clId="{BE86370A-B29F-4F42-BC7C-8661773008D0}" dt="2025-10-23T04:38:58.116" v="103" actId="165"/>
          <ac:grpSpMkLst>
            <pc:docMk/>
            <pc:sldMk cId="479191838" sldId="256"/>
            <ac:grpSpMk id="312" creationId="{5848CA75-5851-00F8-9996-73D45F3365BE}"/>
          </ac:grpSpMkLst>
        </pc:grpChg>
        <pc:grpChg chg="mod">
          <ac:chgData name="Atchi Padmarani" userId="fe059d67-2bf4-46a8-ba9e-d5041048c89a" providerId="ADAL" clId="{BE86370A-B29F-4F42-BC7C-8661773008D0}" dt="2025-10-23T05:36:07.664" v="5517"/>
          <ac:grpSpMkLst>
            <pc:docMk/>
            <pc:sldMk cId="479191838" sldId="256"/>
            <ac:grpSpMk id="317" creationId="{F2FD5351-3AEC-D1F1-2152-B6EAF9C83127}"/>
          </ac:grpSpMkLst>
        </pc:grpChg>
        <pc:grpChg chg="del">
          <ac:chgData name="Atchi Padmarani" userId="fe059d67-2bf4-46a8-ba9e-d5041048c89a" providerId="ADAL" clId="{BE86370A-B29F-4F42-BC7C-8661773008D0}" dt="2025-10-23T04:38:58.116" v="103" actId="165"/>
          <ac:grpSpMkLst>
            <pc:docMk/>
            <pc:sldMk cId="479191838" sldId="256"/>
            <ac:grpSpMk id="319" creationId="{23FEF33F-B7EC-53D3-5264-8E036C047617}"/>
          </ac:grpSpMkLst>
        </pc:grpChg>
        <pc:grpChg chg="add mod">
          <ac:chgData name="Atchi Padmarani" userId="fe059d67-2bf4-46a8-ba9e-d5041048c89a" providerId="ADAL" clId="{BE86370A-B29F-4F42-BC7C-8661773008D0}" dt="2025-10-23T05:37:14.370" v="7554" actId="164"/>
          <ac:grpSpMkLst>
            <pc:docMk/>
            <pc:sldMk cId="479191838" sldId="256"/>
            <ac:grpSpMk id="329" creationId="{9A275E61-9C79-2ACC-3F96-314E916B8FB4}"/>
          </ac:grpSpMkLst>
        </pc:grpChg>
        <pc:grpChg chg="mod modVis">
          <ac:chgData name="Atchi Padmarani" userId="fe059d67-2bf4-46a8-ba9e-d5041048c89a" providerId="ADAL" clId="{BE86370A-B29F-4F42-BC7C-8661773008D0}" dt="2025-10-23T05:39:29.812" v="7694"/>
          <ac:grpSpMkLst>
            <pc:docMk/>
            <pc:sldMk cId="479191838" sldId="256"/>
            <ac:grpSpMk id="337" creationId="{3522B83D-85D5-CFAE-E1A1-EFAA4DEEF2A1}"/>
          </ac:grpSpMkLst>
        </pc:grpChg>
        <pc:grpChg chg="del mod topLvl">
          <ac:chgData name="Atchi Padmarani" userId="fe059d67-2bf4-46a8-ba9e-d5041048c89a" providerId="ADAL" clId="{BE86370A-B29F-4F42-BC7C-8661773008D0}" dt="2025-10-23T04:44:56.568" v="1186" actId="478"/>
          <ac:grpSpMkLst>
            <pc:docMk/>
            <pc:sldMk cId="479191838" sldId="256"/>
            <ac:grpSpMk id="340" creationId="{CCECFFAD-AC5B-DED2-E965-ECDE24E64983}"/>
          </ac:grpSpMkLst>
        </pc:grpChg>
        <pc:grpChg chg="mod modVis">
          <ac:chgData name="Atchi Padmarani" userId="fe059d67-2bf4-46a8-ba9e-d5041048c89a" providerId="ADAL" clId="{BE86370A-B29F-4F42-BC7C-8661773008D0}" dt="2025-10-23T05:39:29.812" v="7700"/>
          <ac:grpSpMkLst>
            <pc:docMk/>
            <pc:sldMk cId="479191838" sldId="256"/>
            <ac:grpSpMk id="344" creationId="{5FCE2A48-AA21-56CC-1B4D-52E51FE37455}"/>
          </ac:grpSpMkLst>
        </pc:grpChg>
        <pc:grpChg chg="mod modVis">
          <ac:chgData name="Atchi Padmarani" userId="fe059d67-2bf4-46a8-ba9e-d5041048c89a" providerId="ADAL" clId="{BE86370A-B29F-4F42-BC7C-8661773008D0}" dt="2025-10-23T05:39:29.812" v="7700"/>
          <ac:grpSpMkLst>
            <pc:docMk/>
            <pc:sldMk cId="479191838" sldId="256"/>
            <ac:grpSpMk id="346" creationId="{4FABE0C6-5257-57F2-CAC4-A87858FFA51A}"/>
          </ac:grpSpMkLst>
        </pc:grpChg>
        <pc:grpChg chg="mod modVis">
          <ac:chgData name="Atchi Padmarani" userId="fe059d67-2bf4-46a8-ba9e-d5041048c89a" providerId="ADAL" clId="{BE86370A-B29F-4F42-BC7C-8661773008D0}" dt="2025-10-23T05:39:29.812" v="7706"/>
          <ac:grpSpMkLst>
            <pc:docMk/>
            <pc:sldMk cId="479191838" sldId="256"/>
            <ac:grpSpMk id="353" creationId="{7651617E-8049-75BF-94BB-60F57A46CEB7}"/>
          </ac:grpSpMkLst>
        </pc:grpChg>
        <pc:grpChg chg="mod modVis">
          <ac:chgData name="Atchi Padmarani" userId="fe059d67-2bf4-46a8-ba9e-d5041048c89a" providerId="ADAL" clId="{BE86370A-B29F-4F42-BC7C-8661773008D0}" dt="2025-10-23T05:39:29.812" v="7706"/>
          <ac:grpSpMkLst>
            <pc:docMk/>
            <pc:sldMk cId="479191838" sldId="256"/>
            <ac:grpSpMk id="357" creationId="{FA2C6CEB-88C4-1FDD-84AC-AE43DC8E5950}"/>
          </ac:grpSpMkLst>
        </pc:grpChg>
        <pc:grpChg chg="del mod">
          <ac:chgData name="Atchi Padmarani" userId="fe059d67-2bf4-46a8-ba9e-d5041048c89a" providerId="ADAL" clId="{BE86370A-B29F-4F42-BC7C-8661773008D0}" dt="2025-10-23T04:43:39.714" v="1085" actId="165"/>
          <ac:grpSpMkLst>
            <pc:docMk/>
            <pc:sldMk cId="479191838" sldId="256"/>
            <ac:grpSpMk id="381" creationId="{8119C9FB-2025-84C6-85AE-AE9733310D7B}"/>
          </ac:grpSpMkLst>
        </pc:grpChg>
        <pc:grpChg chg="del mod topLvl">
          <ac:chgData name="Atchi Padmarani" userId="fe059d67-2bf4-46a8-ba9e-d5041048c89a" providerId="ADAL" clId="{BE86370A-B29F-4F42-BC7C-8661773008D0}" dt="2025-10-23T04:44:16.795" v="1148" actId="478"/>
          <ac:grpSpMkLst>
            <pc:docMk/>
            <pc:sldMk cId="479191838" sldId="256"/>
            <ac:grpSpMk id="412" creationId="{41964B34-792E-60F5-E042-132BC3B0BFA5}"/>
          </ac:grpSpMkLst>
        </pc:grpChg>
        <pc:grpChg chg="del mod">
          <ac:chgData name="Atchi Padmarani" userId="fe059d67-2bf4-46a8-ba9e-d5041048c89a" providerId="ADAL" clId="{BE86370A-B29F-4F42-BC7C-8661773008D0}" dt="2025-10-23T04:44:58.260" v="1187" actId="478"/>
          <ac:grpSpMkLst>
            <pc:docMk/>
            <pc:sldMk cId="479191838" sldId="256"/>
            <ac:grpSpMk id="415" creationId="{30C90E51-9CE2-02D3-26B5-6423B3E10D32}"/>
          </ac:grpSpMkLst>
        </pc:grpChg>
        <pc:grpChg chg="del mod">
          <ac:chgData name="Atchi Padmarani" userId="fe059d67-2bf4-46a8-ba9e-d5041048c89a" providerId="ADAL" clId="{BE86370A-B29F-4F42-BC7C-8661773008D0}" dt="2025-10-23T04:44:56.568" v="1186" actId="478"/>
          <ac:grpSpMkLst>
            <pc:docMk/>
            <pc:sldMk cId="479191838" sldId="256"/>
            <ac:grpSpMk id="418" creationId="{C520065C-F53F-EE9A-9CEB-57171526AECE}"/>
          </ac:grpSpMkLst>
        </pc:grpChg>
        <pc:grpChg chg="del mod topLvl">
          <ac:chgData name="Atchi Padmarani" userId="fe059d67-2bf4-46a8-ba9e-d5041048c89a" providerId="ADAL" clId="{BE86370A-B29F-4F42-BC7C-8661773008D0}" dt="2025-10-23T04:45:09.434" v="1193" actId="478"/>
          <ac:grpSpMkLst>
            <pc:docMk/>
            <pc:sldMk cId="479191838" sldId="256"/>
            <ac:grpSpMk id="465" creationId="{B147C330-C407-CC91-EF8F-40DEAE8ADD4B}"/>
          </ac:grpSpMkLst>
        </pc:grpChg>
        <pc:grpChg chg="del mod">
          <ac:chgData name="Atchi Padmarani" userId="fe059d67-2bf4-46a8-ba9e-d5041048c89a" providerId="ADAL" clId="{BE86370A-B29F-4F42-BC7C-8661773008D0}" dt="2025-10-23T04:45:02.419" v="1188" actId="478"/>
          <ac:grpSpMkLst>
            <pc:docMk/>
            <pc:sldMk cId="479191838" sldId="256"/>
            <ac:grpSpMk id="468" creationId="{5F164F1E-38F0-B5DA-74E6-3CB08A473600}"/>
          </ac:grpSpMkLst>
        </pc:grpChg>
        <pc:grpChg chg="del mod">
          <ac:chgData name="Atchi Padmarani" userId="fe059d67-2bf4-46a8-ba9e-d5041048c89a" providerId="ADAL" clId="{BE86370A-B29F-4F42-BC7C-8661773008D0}" dt="2025-10-23T04:45:02.419" v="1188" actId="478"/>
          <ac:grpSpMkLst>
            <pc:docMk/>
            <pc:sldMk cId="479191838" sldId="256"/>
            <ac:grpSpMk id="471" creationId="{7D134430-72AA-3695-679E-3C7B6B1C3E2E}"/>
          </ac:grpSpMkLst>
        </pc:grpChg>
        <pc:grpChg chg="add del mod">
          <ac:chgData name="Atchi Padmarani" userId="fe059d67-2bf4-46a8-ba9e-d5041048c89a" providerId="ADAL" clId="{BE86370A-B29F-4F42-BC7C-8661773008D0}" dt="2025-10-23T04:45:07.712" v="1192" actId="165"/>
          <ac:grpSpMkLst>
            <pc:docMk/>
            <pc:sldMk cId="479191838" sldId="256"/>
            <ac:grpSpMk id="474" creationId="{D8676186-C960-4FC0-F3C5-BD1A3F13B037}"/>
          </ac:grpSpMkLst>
        </pc:grpChg>
        <pc:grpChg chg="del mod">
          <ac:chgData name="Atchi Padmarani" userId="fe059d67-2bf4-46a8-ba9e-d5041048c89a" providerId="ADAL" clId="{BE86370A-B29F-4F42-BC7C-8661773008D0}" dt="2025-10-23T04:44:10.954" v="1122" actId="165"/>
          <ac:grpSpMkLst>
            <pc:docMk/>
            <pc:sldMk cId="479191838" sldId="256"/>
            <ac:grpSpMk id="475" creationId="{765D4BE0-C325-7501-C697-A2E9A55A814F}"/>
          </ac:grpSpMkLst>
        </pc:grpChg>
        <pc:grpChg chg="del mod">
          <ac:chgData name="Atchi Padmarani" userId="fe059d67-2bf4-46a8-ba9e-d5041048c89a" providerId="ADAL" clId="{BE86370A-B29F-4F42-BC7C-8661773008D0}" dt="2025-10-23T04:45:03.511" v="1189" actId="478"/>
          <ac:grpSpMkLst>
            <pc:docMk/>
            <pc:sldMk cId="479191838" sldId="256"/>
            <ac:grpSpMk id="476" creationId="{7C2DB576-0087-743F-4DA5-0C07E5BF5859}"/>
          </ac:grpSpMkLst>
        </pc:grpChg>
        <pc:grpChg chg="mod">
          <ac:chgData name="Atchi Padmarani" userId="fe059d67-2bf4-46a8-ba9e-d5041048c89a" providerId="ADAL" clId="{BE86370A-B29F-4F42-BC7C-8661773008D0}" dt="2025-10-23T04:54:50.006" v="1814" actId="164"/>
          <ac:grpSpMkLst>
            <pc:docMk/>
            <pc:sldMk cId="479191838" sldId="256"/>
            <ac:grpSpMk id="488" creationId="{D0D59BBF-A77E-0D75-6027-A8E30DE6D212}"/>
          </ac:grpSpMkLst>
        </pc:grpChg>
        <pc:grpChg chg="del mod">
          <ac:chgData name="Atchi Padmarani" userId="fe059d67-2bf4-46a8-ba9e-d5041048c89a" providerId="ADAL" clId="{BE86370A-B29F-4F42-BC7C-8661773008D0}" dt="2025-10-23T04:55:57.934" v="1851" actId="165"/>
          <ac:grpSpMkLst>
            <pc:docMk/>
            <pc:sldMk cId="479191838" sldId="256"/>
            <ac:grpSpMk id="507" creationId="{7991E422-25D0-CCF4-2638-21319813E7E9}"/>
          </ac:grpSpMkLst>
        </pc:grpChg>
        <pc:graphicFrameChg chg="mod">
          <ac:chgData name="Atchi Padmarani" userId="fe059d67-2bf4-46a8-ba9e-d5041048c89a" providerId="ADAL" clId="{BE86370A-B29F-4F42-BC7C-8661773008D0}" dt="2025-10-23T05:37:04.756" v="7549"/>
          <ac:graphicFrameMkLst>
            <pc:docMk/>
            <pc:sldMk cId="479191838" sldId="256"/>
            <ac:graphicFrameMk id="5" creationId="{506490FD-B0CC-2E01-EBB2-01144A771A80}"/>
          </ac:graphicFrameMkLst>
        </pc:graphicFrameChg>
        <pc:picChg chg="del mod topLvl">
          <ac:chgData name="Atchi Padmarani" userId="fe059d67-2bf4-46a8-ba9e-d5041048c89a" providerId="ADAL" clId="{BE86370A-B29F-4F42-BC7C-8661773008D0}" dt="2025-10-23T04:45:35.738" v="1245" actId="478"/>
          <ac:picMkLst>
            <pc:docMk/>
            <pc:sldMk cId="479191838" sldId="256"/>
            <ac:picMk id="218" creationId="{51FB30F2-1AF7-6C23-27D7-1FFD7E0C3010}"/>
          </ac:picMkLst>
        </pc:picChg>
        <pc:picChg chg="del mod topLvl">
          <ac:chgData name="Atchi Padmarani" userId="fe059d67-2bf4-46a8-ba9e-d5041048c89a" providerId="ADAL" clId="{BE86370A-B29F-4F42-BC7C-8661773008D0}" dt="2025-10-23T04:45:37.368" v="1246" actId="478"/>
          <ac:picMkLst>
            <pc:docMk/>
            <pc:sldMk cId="479191838" sldId="256"/>
            <ac:picMk id="236" creationId="{3CD7587F-AB56-4B4C-3750-C3DA98058DEE}"/>
          </ac:picMkLst>
        </pc:picChg>
        <pc:picChg chg="add del">
          <ac:chgData name="Atchi Padmarani" userId="fe059d67-2bf4-46a8-ba9e-d5041048c89a" providerId="ADAL" clId="{BE86370A-B29F-4F42-BC7C-8661773008D0}" dt="2025-10-23T04:45:41.675" v="1249" actId="478"/>
          <ac:picMkLst>
            <pc:docMk/>
            <pc:sldMk cId="479191838" sldId="256"/>
            <ac:picMk id="238" creationId="{069C807D-2B9F-B7B4-53E3-A81EED7D1F58}"/>
          </ac:picMkLst>
        </pc:picChg>
        <pc:cxnChg chg="del">
          <ac:chgData name="Atchi Padmarani" userId="fe059d67-2bf4-46a8-ba9e-d5041048c89a" providerId="ADAL" clId="{BE86370A-B29F-4F42-BC7C-8661773008D0}" dt="2025-10-23T04:40:09.152" v="160" actId="478"/>
          <ac:cxnSpMkLst>
            <pc:docMk/>
            <pc:sldMk cId="479191838" sldId="256"/>
            <ac:cxnSpMk id="29" creationId="{8E864B61-39DC-D210-0D07-37A48F09FCEF}"/>
          </ac:cxnSpMkLst>
        </pc:cxnChg>
        <pc:cxnChg chg="mod ord">
          <ac:chgData name="Atchi Padmarani" userId="fe059d67-2bf4-46a8-ba9e-d5041048c89a" providerId="ADAL" clId="{BE86370A-B29F-4F42-BC7C-8661773008D0}" dt="2025-10-23T05:37:04.699" v="7407"/>
          <ac:cxnSpMkLst>
            <pc:docMk/>
            <pc:sldMk cId="479191838" sldId="256"/>
            <ac:cxnSpMk id="50" creationId="{83EC5471-4ADB-E2BE-1B08-474884FA763D}"/>
          </ac:cxnSpMkLst>
        </pc:cxnChg>
        <pc:cxnChg chg="mod ord">
          <ac:chgData name="Atchi Padmarani" userId="fe059d67-2bf4-46a8-ba9e-d5041048c89a" providerId="ADAL" clId="{BE86370A-B29F-4F42-BC7C-8661773008D0}" dt="2025-10-23T05:37:04.699" v="7409"/>
          <ac:cxnSpMkLst>
            <pc:docMk/>
            <pc:sldMk cId="479191838" sldId="256"/>
            <ac:cxnSpMk id="51" creationId="{DF298FC3-0354-2970-2A4C-0729F7B6117E}"/>
          </ac:cxnSpMkLst>
        </pc:cxnChg>
        <pc:cxnChg chg="mod ord">
          <ac:chgData name="Atchi Padmarani" userId="fe059d67-2bf4-46a8-ba9e-d5041048c89a" providerId="ADAL" clId="{BE86370A-B29F-4F42-BC7C-8661773008D0}" dt="2025-10-23T05:37:04.701" v="7427"/>
          <ac:cxnSpMkLst>
            <pc:docMk/>
            <pc:sldMk cId="479191838" sldId="256"/>
            <ac:cxnSpMk id="77" creationId="{44FE9EB0-0992-D911-307A-B47E10EB81E7}"/>
          </ac:cxnSpMkLst>
        </pc:cxnChg>
        <pc:cxnChg chg="mod ord">
          <ac:chgData name="Atchi Padmarani" userId="fe059d67-2bf4-46a8-ba9e-d5041048c89a" providerId="ADAL" clId="{BE86370A-B29F-4F42-BC7C-8661773008D0}" dt="2025-10-23T05:37:04.701" v="7437"/>
          <ac:cxnSpMkLst>
            <pc:docMk/>
            <pc:sldMk cId="479191838" sldId="256"/>
            <ac:cxnSpMk id="94" creationId="{25B7F8FA-10C8-8C1A-4FEF-D66304A4B20F}"/>
          </ac:cxnSpMkLst>
        </pc:cxnChg>
        <pc:cxnChg chg="mod ord">
          <ac:chgData name="Atchi Padmarani" userId="fe059d67-2bf4-46a8-ba9e-d5041048c89a" providerId="ADAL" clId="{BE86370A-B29F-4F42-BC7C-8661773008D0}" dt="2025-10-23T05:37:04.622" v="7239"/>
          <ac:cxnSpMkLst>
            <pc:docMk/>
            <pc:sldMk cId="479191838" sldId="256"/>
            <ac:cxnSpMk id="104" creationId="{FDEEC6AE-EF83-B444-BBCA-147433E851E0}"/>
          </ac:cxnSpMkLst>
        </pc:cxnChg>
        <pc:cxnChg chg="mod ord">
          <ac:chgData name="Atchi Padmarani" userId="fe059d67-2bf4-46a8-ba9e-d5041048c89a" providerId="ADAL" clId="{BE86370A-B29F-4F42-BC7C-8661773008D0}" dt="2025-10-23T05:37:04.708" v="7439"/>
          <ac:cxnSpMkLst>
            <pc:docMk/>
            <pc:sldMk cId="479191838" sldId="256"/>
            <ac:cxnSpMk id="109" creationId="{7269D620-6D96-151A-126A-9DF307D3616F}"/>
          </ac:cxnSpMkLst>
        </pc:cxnChg>
        <pc:cxnChg chg="mod ord">
          <ac:chgData name="Atchi Padmarani" userId="fe059d67-2bf4-46a8-ba9e-d5041048c89a" providerId="ADAL" clId="{BE86370A-B29F-4F42-BC7C-8661773008D0}" dt="2025-10-23T05:37:04.708" v="7441"/>
          <ac:cxnSpMkLst>
            <pc:docMk/>
            <pc:sldMk cId="479191838" sldId="256"/>
            <ac:cxnSpMk id="113" creationId="{090A5740-3111-F2F4-61B9-F2DB55D7A938}"/>
          </ac:cxnSpMkLst>
        </pc:cxnChg>
        <pc:cxnChg chg="mod ord">
          <ac:chgData name="Atchi Padmarani" userId="fe059d67-2bf4-46a8-ba9e-d5041048c89a" providerId="ADAL" clId="{BE86370A-B29F-4F42-BC7C-8661773008D0}" dt="2025-10-23T05:37:04.637" v="7245"/>
          <ac:cxnSpMkLst>
            <pc:docMk/>
            <pc:sldMk cId="479191838" sldId="256"/>
            <ac:cxnSpMk id="114" creationId="{559A889B-7E70-2D47-1F7F-0F0C1497FD9A}"/>
          </ac:cxnSpMkLst>
        </pc:cxnChg>
        <pc:cxnChg chg="del mod ord">
          <ac:chgData name="Atchi Padmarani" userId="fe059d67-2bf4-46a8-ba9e-d5041048c89a" providerId="ADAL" clId="{BE86370A-B29F-4F42-BC7C-8661773008D0}" dt="2025-10-23T04:54:28.289" v="1779" actId="478"/>
          <ac:cxnSpMkLst>
            <pc:docMk/>
            <pc:sldMk cId="479191838" sldId="256"/>
            <ac:cxnSpMk id="115" creationId="{FA2518DF-F660-38FA-59B4-1AD8BF3F3087}"/>
          </ac:cxnSpMkLst>
        </pc:cxnChg>
        <pc:cxnChg chg="mod ord">
          <ac:chgData name="Atchi Padmarani" userId="fe059d67-2bf4-46a8-ba9e-d5041048c89a" providerId="ADAL" clId="{BE86370A-B29F-4F42-BC7C-8661773008D0}" dt="2025-10-23T05:37:04.708" v="7443"/>
          <ac:cxnSpMkLst>
            <pc:docMk/>
            <pc:sldMk cId="479191838" sldId="256"/>
            <ac:cxnSpMk id="119" creationId="{C4A0CB25-5E7D-4448-ED0D-9DC4CC29865C}"/>
          </ac:cxnSpMkLst>
        </pc:cxnChg>
        <pc:cxnChg chg="mod ord">
          <ac:chgData name="Atchi Padmarani" userId="fe059d67-2bf4-46a8-ba9e-d5041048c89a" providerId="ADAL" clId="{BE86370A-B29F-4F42-BC7C-8661773008D0}" dt="2025-10-23T05:37:04.710" v="7445"/>
          <ac:cxnSpMkLst>
            <pc:docMk/>
            <pc:sldMk cId="479191838" sldId="256"/>
            <ac:cxnSpMk id="130" creationId="{AE742DD2-3B73-A3F8-EF00-ABDC3E438770}"/>
          </ac:cxnSpMkLst>
        </pc:cxnChg>
        <pc:cxnChg chg="mod ord">
          <ac:chgData name="Atchi Padmarani" userId="fe059d67-2bf4-46a8-ba9e-d5041048c89a" providerId="ADAL" clId="{BE86370A-B29F-4F42-BC7C-8661773008D0}" dt="2025-10-23T05:37:04.637" v="7250"/>
          <ac:cxnSpMkLst>
            <pc:docMk/>
            <pc:sldMk cId="479191838" sldId="256"/>
            <ac:cxnSpMk id="164" creationId="{B1345930-6362-59FA-0005-DC12E634E2FE}"/>
          </ac:cxnSpMkLst>
        </pc:cxnChg>
        <pc:cxnChg chg="add mod ord">
          <ac:chgData name="Atchi Padmarani" userId="fe059d67-2bf4-46a8-ba9e-d5041048c89a" providerId="ADAL" clId="{BE86370A-B29F-4F42-BC7C-8661773008D0}" dt="2025-10-23T05:37:04.743" v="7517"/>
          <ac:cxnSpMkLst>
            <pc:docMk/>
            <pc:sldMk cId="479191838" sldId="256"/>
            <ac:cxnSpMk id="173" creationId="{5A2818C5-2332-BC6C-0A3F-2D59C58DD792}"/>
          </ac:cxnSpMkLst>
        </pc:cxnChg>
        <pc:cxnChg chg="add mod ord">
          <ac:chgData name="Atchi Padmarani" userId="fe059d67-2bf4-46a8-ba9e-d5041048c89a" providerId="ADAL" clId="{BE86370A-B29F-4F42-BC7C-8661773008D0}" dt="2025-10-23T05:37:04.743" v="7519"/>
          <ac:cxnSpMkLst>
            <pc:docMk/>
            <pc:sldMk cId="479191838" sldId="256"/>
            <ac:cxnSpMk id="174" creationId="{108D12B8-564D-0911-17C6-4B05005837E4}"/>
          </ac:cxnSpMkLst>
        </pc:cxnChg>
        <pc:cxnChg chg="add mod ord">
          <ac:chgData name="Atchi Padmarani" userId="fe059d67-2bf4-46a8-ba9e-d5041048c89a" providerId="ADAL" clId="{BE86370A-B29F-4F42-BC7C-8661773008D0}" dt="2025-10-23T05:37:04.743" v="7521"/>
          <ac:cxnSpMkLst>
            <pc:docMk/>
            <pc:sldMk cId="479191838" sldId="256"/>
            <ac:cxnSpMk id="175" creationId="{73F0E6FE-51CE-CAFC-362C-06445AC0421E}"/>
          </ac:cxnSpMkLst>
        </pc:cxnChg>
        <pc:cxnChg chg="add mod ord">
          <ac:chgData name="Atchi Padmarani" userId="fe059d67-2bf4-46a8-ba9e-d5041048c89a" providerId="ADAL" clId="{BE86370A-B29F-4F42-BC7C-8661773008D0}" dt="2025-10-23T05:37:04.743" v="7523"/>
          <ac:cxnSpMkLst>
            <pc:docMk/>
            <pc:sldMk cId="479191838" sldId="256"/>
            <ac:cxnSpMk id="176" creationId="{9093879E-4D84-E8BF-7167-C0605B2E6679}"/>
          </ac:cxnSpMkLst>
        </pc:cxnChg>
        <pc:cxnChg chg="mod ord">
          <ac:chgData name="Atchi Padmarani" userId="fe059d67-2bf4-46a8-ba9e-d5041048c89a" providerId="ADAL" clId="{BE86370A-B29F-4F42-BC7C-8661773008D0}" dt="2025-10-23T05:37:04.710" v="7451"/>
          <ac:cxnSpMkLst>
            <pc:docMk/>
            <pc:sldMk cId="479191838" sldId="256"/>
            <ac:cxnSpMk id="215" creationId="{4EAFF3DD-D4EB-4C4E-B4E0-4BB3EED6BC2F}"/>
          </ac:cxnSpMkLst>
        </pc:cxnChg>
        <pc:cxnChg chg="mod ord">
          <ac:chgData name="Atchi Padmarani" userId="fe059d67-2bf4-46a8-ba9e-d5041048c89a" providerId="ADAL" clId="{BE86370A-B29F-4F42-BC7C-8661773008D0}" dt="2025-10-23T05:37:04.716" v="7466"/>
          <ac:cxnSpMkLst>
            <pc:docMk/>
            <pc:sldMk cId="479191838" sldId="256"/>
            <ac:cxnSpMk id="282" creationId="{B4A4245F-F681-A340-A085-6CBD21687832}"/>
          </ac:cxnSpMkLst>
        </pc:cxnChg>
        <pc:cxnChg chg="mod ord">
          <ac:chgData name="Atchi Padmarani" userId="fe059d67-2bf4-46a8-ba9e-d5041048c89a" providerId="ADAL" clId="{BE86370A-B29F-4F42-BC7C-8661773008D0}" dt="2025-10-23T05:37:04.622" v="7213"/>
          <ac:cxnSpMkLst>
            <pc:docMk/>
            <pc:sldMk cId="479191838" sldId="256"/>
            <ac:cxnSpMk id="490" creationId="{E295A5DC-2495-77CF-9429-56AFCA9B2703}"/>
          </ac:cxnSpMkLst>
        </pc:cxnChg>
        <pc:cxnChg chg="mod ord">
          <ac:chgData name="Atchi Padmarani" userId="fe059d67-2bf4-46a8-ba9e-d5041048c89a" providerId="ADAL" clId="{BE86370A-B29F-4F42-BC7C-8661773008D0}" dt="2025-10-23T05:37:04.622" v="7227"/>
          <ac:cxnSpMkLst>
            <pc:docMk/>
            <pc:sldMk cId="479191838" sldId="256"/>
            <ac:cxnSpMk id="511" creationId="{004203E1-376A-D072-45CA-87F0BA972F0B}"/>
          </ac:cxnSpMkLst>
        </pc:cxnChg>
      </pc:sldChg>
      <pc:sldChg chg="addSp modSp new del">
        <pc:chgData name="Atchi Padmarani" userId="fe059d67-2bf4-46a8-ba9e-d5041048c89a" providerId="ADAL" clId="{BE86370A-B29F-4F42-BC7C-8661773008D0}" dt="2025-10-23T05:47:55.684" v="9247" actId="47"/>
        <pc:sldMkLst>
          <pc:docMk/>
          <pc:sldMk cId="4284853021" sldId="259"/>
        </pc:sldMkLst>
        <pc:spChg chg="add mod">
          <ac:chgData name="Atchi Padmarani" userId="fe059d67-2bf4-46a8-ba9e-d5041048c89a" providerId="ADAL" clId="{BE86370A-B29F-4F42-BC7C-8661773008D0}" dt="2025-10-23T04:35:09.829" v="5"/>
          <ac:spMkLst>
            <pc:docMk/>
            <pc:sldMk cId="4284853021" sldId="259"/>
            <ac:spMk id="3" creationId="{027B9312-0E47-694D-8B32-E91AB76B83C7}"/>
          </ac:spMkLst>
        </pc:spChg>
      </pc:sldChg>
      <pc:sldChg chg="addSp delSp">
        <pc:chgData name="Atchi Padmarani" userId="fe059d67-2bf4-46a8-ba9e-d5041048c89a" providerId="ADAL" clId="{BE86370A-B29F-4F42-BC7C-8661773008D0}" dt="2025-10-23T05:50:26.373" v="9249" actId="478"/>
        <pc:sldMkLst>
          <pc:docMk/>
          <pc:sldMk cId="2130418808" sldId="260"/>
        </pc:sldMkLst>
        <pc:grpChg chg="add del">
          <ac:chgData name="Atchi Padmarani" userId="fe059d67-2bf4-46a8-ba9e-d5041048c89a" providerId="ADAL" clId="{BE86370A-B29F-4F42-BC7C-8661773008D0}" dt="2025-10-23T05:50:26.373" v="9249" actId="478"/>
          <ac:grpSpMkLst>
            <pc:docMk/>
            <pc:sldMk cId="2130418808" sldId="260"/>
            <ac:grpSpMk id="30" creationId="{7902A306-A600-7D54-9562-6E7EC9D3A9B0}"/>
          </ac:grpSpMkLst>
        </pc:grpChg>
      </pc:sldChg>
      <pc:sldChg chg="addSp delSp modSp add mod">
        <pc:chgData name="Atchi Padmarani" userId="fe059d67-2bf4-46a8-ba9e-d5041048c89a" providerId="ADAL" clId="{BE86370A-B29F-4F42-BC7C-8661773008D0}" dt="2025-10-23T05:47:45.097" v="9246" actId="14100"/>
        <pc:sldMkLst>
          <pc:docMk/>
          <pc:sldMk cId="537986554" sldId="261"/>
        </pc:sldMkLst>
        <pc:spChg chg="mod ord">
          <ac:chgData name="Atchi Padmarani" userId="fe059d67-2bf4-46a8-ba9e-d5041048c89a" providerId="ADAL" clId="{BE86370A-B29F-4F42-BC7C-8661773008D0}" dt="2025-10-23T05:44:54.637" v="8841"/>
          <ac:spMkLst>
            <pc:docMk/>
            <pc:sldMk cId="537986554" sldId="261"/>
            <ac:spMk id="2" creationId="{24C0DAB3-AF45-CBC5-6C08-C52D2519673D}"/>
          </ac:spMkLst>
        </pc:spChg>
        <pc:spChg chg="mod">
          <ac:chgData name="Atchi Padmarani" userId="fe059d67-2bf4-46a8-ba9e-d5041048c89a" providerId="ADAL" clId="{BE86370A-B29F-4F42-BC7C-8661773008D0}" dt="2025-10-23T05:44:54.685" v="9057"/>
          <ac:spMkLst>
            <pc:docMk/>
            <pc:sldMk cId="537986554" sldId="261"/>
            <ac:spMk id="3" creationId="{00D3D26B-4650-AFDE-7AA8-9C5400DD0D2D}"/>
          </ac:spMkLst>
        </pc:spChg>
        <pc:spChg chg="mod ord">
          <ac:chgData name="Atchi Padmarani" userId="fe059d67-2bf4-46a8-ba9e-d5041048c89a" providerId="ADAL" clId="{BE86370A-B29F-4F42-BC7C-8661773008D0}" dt="2025-10-23T05:44:54.660" v="8942"/>
          <ac:spMkLst>
            <pc:docMk/>
            <pc:sldMk cId="537986554" sldId="261"/>
            <ac:spMk id="4" creationId="{8B946B83-1060-8451-BAD1-156DCF92837F}"/>
          </ac:spMkLst>
        </pc:spChg>
        <pc:spChg chg="mod">
          <ac:chgData name="Atchi Padmarani" userId="fe059d67-2bf4-46a8-ba9e-d5041048c89a" providerId="ADAL" clId="{BE86370A-B29F-4F42-BC7C-8661773008D0}" dt="2025-10-23T05:44:54.701" v="9084"/>
          <ac:spMkLst>
            <pc:docMk/>
            <pc:sldMk cId="537986554" sldId="261"/>
            <ac:spMk id="6" creationId="{20BB796D-E3DD-8107-FC1C-3D85815FF606}"/>
          </ac:spMkLst>
        </pc:spChg>
        <pc:spChg chg="mod ord">
          <ac:chgData name="Atchi Padmarani" userId="fe059d67-2bf4-46a8-ba9e-d5041048c89a" providerId="ADAL" clId="{BE86370A-B29F-4F42-BC7C-8661773008D0}" dt="2025-10-23T05:44:54.637" v="8847"/>
          <ac:spMkLst>
            <pc:docMk/>
            <pc:sldMk cId="537986554" sldId="261"/>
            <ac:spMk id="8" creationId="{0BF4407E-A396-F870-6BE7-94F1C3B44520}"/>
          </ac:spMkLst>
        </pc:spChg>
        <pc:spChg chg="mod ord topLvl">
          <ac:chgData name="Atchi Padmarani" userId="fe059d67-2bf4-46a8-ba9e-d5041048c89a" providerId="ADAL" clId="{BE86370A-B29F-4F42-BC7C-8661773008D0}" dt="2025-10-23T05:44:54.621" v="8833"/>
          <ac:spMkLst>
            <pc:docMk/>
            <pc:sldMk cId="537986554" sldId="261"/>
            <ac:spMk id="9" creationId="{175FE743-F667-5765-FA1D-BF2AF44DAF91}"/>
          </ac:spMkLst>
        </pc:spChg>
        <pc:spChg chg="mod ord topLvl">
          <ac:chgData name="Atchi Padmarani" userId="fe059d67-2bf4-46a8-ba9e-d5041048c89a" providerId="ADAL" clId="{BE86370A-B29F-4F42-BC7C-8661773008D0}" dt="2025-10-23T05:44:54.637" v="8835"/>
          <ac:spMkLst>
            <pc:docMk/>
            <pc:sldMk cId="537986554" sldId="261"/>
            <ac:spMk id="10" creationId="{E7F1E6C0-A870-9751-36C8-61D74CEB685C}"/>
          </ac:spMkLst>
        </pc:spChg>
        <pc:spChg chg="mod ord topLvl">
          <ac:chgData name="Atchi Padmarani" userId="fe059d67-2bf4-46a8-ba9e-d5041048c89a" providerId="ADAL" clId="{BE86370A-B29F-4F42-BC7C-8661773008D0}" dt="2025-10-23T05:44:54.637" v="8837"/>
          <ac:spMkLst>
            <pc:docMk/>
            <pc:sldMk cId="537986554" sldId="261"/>
            <ac:spMk id="11" creationId="{DA93732C-9AED-0677-52C0-0375BEDA7EFD}"/>
          </ac:spMkLst>
        </pc:spChg>
        <pc:spChg chg="mod ord topLvl">
          <ac:chgData name="Atchi Padmarani" userId="fe059d67-2bf4-46a8-ba9e-d5041048c89a" providerId="ADAL" clId="{BE86370A-B29F-4F42-BC7C-8661773008D0}" dt="2025-10-23T05:44:54.637" v="8839"/>
          <ac:spMkLst>
            <pc:docMk/>
            <pc:sldMk cId="537986554" sldId="261"/>
            <ac:spMk id="12" creationId="{F51EF967-3D4D-2D11-8FF2-71EF6C852733}"/>
          </ac:spMkLst>
        </pc:spChg>
        <pc:spChg chg="add del mod modVis">
          <ac:chgData name="Atchi Padmarani" userId="fe059d67-2bf4-46a8-ba9e-d5041048c89a" providerId="ADAL" clId="{BE86370A-B29F-4F42-BC7C-8661773008D0}" dt="2025-10-23T05:40:15.472" v="8128"/>
          <ac:spMkLst>
            <pc:docMk/>
            <pc:sldMk cId="537986554" sldId="261"/>
            <ac:spMk id="13" creationId="{3B59EF4D-0CEE-62B3-3F6B-0665245872DB}"/>
          </ac:spMkLst>
        </pc:spChg>
        <pc:spChg chg="mod">
          <ac:chgData name="Atchi Padmarani" userId="fe059d67-2bf4-46a8-ba9e-d5041048c89a" providerId="ADAL" clId="{BE86370A-B29F-4F42-BC7C-8661773008D0}" dt="2025-10-23T05:41:58.530" v="8178" actId="207"/>
          <ac:spMkLst>
            <pc:docMk/>
            <pc:sldMk cId="537986554" sldId="261"/>
            <ac:spMk id="16" creationId="{95F02F82-0F14-BA43-4FAB-6450D59BAD31}"/>
          </ac:spMkLst>
        </pc:spChg>
        <pc:spChg chg="mod">
          <ac:chgData name="Atchi Padmarani" userId="fe059d67-2bf4-46a8-ba9e-d5041048c89a" providerId="ADAL" clId="{BE86370A-B29F-4F42-BC7C-8661773008D0}" dt="2025-10-23T05:42:08.235" v="8179" actId="207"/>
          <ac:spMkLst>
            <pc:docMk/>
            <pc:sldMk cId="537986554" sldId="261"/>
            <ac:spMk id="17" creationId="{AB7F4B3D-3A2D-362F-3BB1-F56C47E9B272}"/>
          </ac:spMkLst>
        </pc:spChg>
        <pc:spChg chg="mod">
          <ac:chgData name="Atchi Padmarani" userId="fe059d67-2bf4-46a8-ba9e-d5041048c89a" providerId="ADAL" clId="{BE86370A-B29F-4F42-BC7C-8661773008D0}" dt="2025-10-23T05:42:08.235" v="8179" actId="207"/>
          <ac:spMkLst>
            <pc:docMk/>
            <pc:sldMk cId="537986554" sldId="261"/>
            <ac:spMk id="18" creationId="{27BD2391-DEE6-2386-FFFE-D8B8715FFA17}"/>
          </ac:spMkLst>
        </pc:spChg>
        <pc:spChg chg="mod">
          <ac:chgData name="Atchi Padmarani" userId="fe059d67-2bf4-46a8-ba9e-d5041048c89a" providerId="ADAL" clId="{BE86370A-B29F-4F42-BC7C-8661773008D0}" dt="2025-10-23T05:44:54.685" v="9058"/>
          <ac:spMkLst>
            <pc:docMk/>
            <pc:sldMk cId="537986554" sldId="261"/>
            <ac:spMk id="20" creationId="{D7A83435-2F9E-EAEC-045F-EA9C20D5E42A}"/>
          </ac:spMkLst>
        </pc:spChg>
        <pc:spChg chg="mod ord">
          <ac:chgData name="Atchi Padmarani" userId="fe059d67-2bf4-46a8-ba9e-d5041048c89a" providerId="ADAL" clId="{BE86370A-B29F-4F42-BC7C-8661773008D0}" dt="2025-10-23T05:44:54.660" v="8944"/>
          <ac:spMkLst>
            <pc:docMk/>
            <pc:sldMk cId="537986554" sldId="261"/>
            <ac:spMk id="21" creationId="{18539E25-C238-A79A-1E85-2A4B6730D09F}"/>
          </ac:spMkLst>
        </pc:spChg>
        <pc:spChg chg="mod">
          <ac:chgData name="Atchi Padmarani" userId="fe059d67-2bf4-46a8-ba9e-d5041048c89a" providerId="ADAL" clId="{BE86370A-B29F-4F42-BC7C-8661773008D0}" dt="2025-10-23T05:44:54.701" v="9118"/>
          <ac:spMkLst>
            <pc:docMk/>
            <pc:sldMk cId="537986554" sldId="261"/>
            <ac:spMk id="23" creationId="{1AA5DC39-08C0-82AA-37EA-DE989AFDDED8}"/>
          </ac:spMkLst>
        </pc:spChg>
        <pc:spChg chg="mod">
          <ac:chgData name="Atchi Padmarani" userId="fe059d67-2bf4-46a8-ba9e-d5041048c89a" providerId="ADAL" clId="{BE86370A-B29F-4F42-BC7C-8661773008D0}" dt="2025-10-23T05:44:54.701" v="9119"/>
          <ac:spMkLst>
            <pc:docMk/>
            <pc:sldMk cId="537986554" sldId="261"/>
            <ac:spMk id="24" creationId="{0ABC9794-EF23-6682-810C-DB7046BC4972}"/>
          </ac:spMkLst>
        </pc:spChg>
        <pc:spChg chg="mod">
          <ac:chgData name="Atchi Padmarani" userId="fe059d67-2bf4-46a8-ba9e-d5041048c89a" providerId="ADAL" clId="{BE86370A-B29F-4F42-BC7C-8661773008D0}" dt="2025-10-23T05:44:54.637" v="8842"/>
          <ac:spMkLst>
            <pc:docMk/>
            <pc:sldMk cId="537986554" sldId="261"/>
            <ac:spMk id="25" creationId="{AE5A0B6E-2FFD-E199-381F-9F86BED2704F}"/>
          </ac:spMkLst>
        </pc:spChg>
        <pc:spChg chg="mod">
          <ac:chgData name="Atchi Padmarani" userId="fe059d67-2bf4-46a8-ba9e-d5041048c89a" providerId="ADAL" clId="{BE86370A-B29F-4F42-BC7C-8661773008D0}" dt="2025-10-23T05:44:54.701" v="9120"/>
          <ac:spMkLst>
            <pc:docMk/>
            <pc:sldMk cId="537986554" sldId="261"/>
            <ac:spMk id="26" creationId="{E70CABE9-8DEC-D7D4-76EF-3396E0EDB6E4}"/>
          </ac:spMkLst>
        </pc:spChg>
        <pc:spChg chg="mod ord">
          <ac:chgData name="Atchi Padmarani" userId="fe059d67-2bf4-46a8-ba9e-d5041048c89a" providerId="ADAL" clId="{BE86370A-B29F-4F42-BC7C-8661773008D0}" dt="2025-10-23T05:47:25.397" v="9236" actId="14100"/>
          <ac:spMkLst>
            <pc:docMk/>
            <pc:sldMk cId="537986554" sldId="261"/>
            <ac:spMk id="27" creationId="{23AB8330-9843-8370-C7AE-3DEBEE01B802}"/>
          </ac:spMkLst>
        </pc:spChg>
        <pc:spChg chg="mod ord">
          <ac:chgData name="Atchi Padmarani" userId="fe059d67-2bf4-46a8-ba9e-d5041048c89a" providerId="ADAL" clId="{BE86370A-B29F-4F42-BC7C-8661773008D0}" dt="2025-10-23T05:46:59.941" v="9233" actId="11530"/>
          <ac:spMkLst>
            <pc:docMk/>
            <pc:sldMk cId="537986554" sldId="261"/>
            <ac:spMk id="28" creationId="{472A7994-0BE9-5115-C25A-0E5BB92E9C7D}"/>
          </ac:spMkLst>
        </pc:spChg>
        <pc:spChg chg="add mod ord">
          <ac:chgData name="Atchi Padmarani" userId="fe059d67-2bf4-46a8-ba9e-d5041048c89a" providerId="ADAL" clId="{BE86370A-B29F-4F42-BC7C-8661773008D0}" dt="2025-10-23T05:45:02.566" v="9194" actId="1036"/>
          <ac:spMkLst>
            <pc:docMk/>
            <pc:sldMk cId="537986554" sldId="261"/>
            <ac:spMk id="32" creationId="{F0C42827-7527-3CD0-C9EF-0FEF1CF180E6}"/>
          </ac:spMkLst>
        </pc:spChg>
        <pc:spChg chg="mod ord">
          <ac:chgData name="Atchi Padmarani" userId="fe059d67-2bf4-46a8-ba9e-d5041048c89a" providerId="ADAL" clId="{BE86370A-B29F-4F42-BC7C-8661773008D0}" dt="2025-10-23T05:44:54.669" v="8996"/>
          <ac:spMkLst>
            <pc:docMk/>
            <pc:sldMk cId="537986554" sldId="261"/>
            <ac:spMk id="33" creationId="{7FE74DE3-29AC-A41D-8194-B813D596CB43}"/>
          </ac:spMkLst>
        </pc:spChg>
        <pc:spChg chg="mod ord">
          <ac:chgData name="Atchi Padmarani" userId="fe059d67-2bf4-46a8-ba9e-d5041048c89a" providerId="ADAL" clId="{BE86370A-B29F-4F42-BC7C-8661773008D0}" dt="2025-10-23T05:44:54.669" v="8998"/>
          <ac:spMkLst>
            <pc:docMk/>
            <pc:sldMk cId="537986554" sldId="261"/>
            <ac:spMk id="34" creationId="{D515C01D-FD83-AA21-4FB2-C6EE2FA38932}"/>
          </ac:spMkLst>
        </pc:spChg>
        <pc:spChg chg="add mod ord">
          <ac:chgData name="Atchi Padmarani" userId="fe059d67-2bf4-46a8-ba9e-d5041048c89a" providerId="ADAL" clId="{BE86370A-B29F-4F42-BC7C-8661773008D0}" dt="2025-10-23T05:45:02.566" v="9194" actId="1036"/>
          <ac:spMkLst>
            <pc:docMk/>
            <pc:sldMk cId="537986554" sldId="261"/>
            <ac:spMk id="35" creationId="{E276B8E0-007B-3EDF-1EF6-E27F24684736}"/>
          </ac:spMkLst>
        </pc:spChg>
        <pc:spChg chg="mod ord">
          <ac:chgData name="Atchi Padmarani" userId="fe059d67-2bf4-46a8-ba9e-d5041048c89a" providerId="ADAL" clId="{BE86370A-B29F-4F42-BC7C-8661773008D0}" dt="2025-10-23T05:44:54.669" v="9000"/>
          <ac:spMkLst>
            <pc:docMk/>
            <pc:sldMk cId="537986554" sldId="261"/>
            <ac:spMk id="37" creationId="{ECEB0CBC-7847-D78A-6727-EA00C0DEC3BC}"/>
          </ac:spMkLst>
        </pc:spChg>
        <pc:spChg chg="mod ord">
          <ac:chgData name="Atchi Padmarani" userId="fe059d67-2bf4-46a8-ba9e-d5041048c89a" providerId="ADAL" clId="{BE86370A-B29F-4F42-BC7C-8661773008D0}" dt="2025-10-23T05:44:54.669" v="9002"/>
          <ac:spMkLst>
            <pc:docMk/>
            <pc:sldMk cId="537986554" sldId="261"/>
            <ac:spMk id="38" creationId="{ABC8F145-CFFC-3CC7-033F-8BA9BCFBA988}"/>
          </ac:spMkLst>
        </pc:spChg>
        <pc:spChg chg="add mod ord">
          <ac:chgData name="Atchi Padmarani" userId="fe059d67-2bf4-46a8-ba9e-d5041048c89a" providerId="ADAL" clId="{BE86370A-B29F-4F42-BC7C-8661773008D0}" dt="2025-10-23T05:45:02.566" v="9194" actId="1036"/>
          <ac:spMkLst>
            <pc:docMk/>
            <pc:sldMk cId="537986554" sldId="261"/>
            <ac:spMk id="40" creationId="{F4045904-994B-550C-8351-97CF8DDA08AF}"/>
          </ac:spMkLst>
        </pc:spChg>
        <pc:spChg chg="mod ord">
          <ac:chgData name="Atchi Padmarani" userId="fe059d67-2bf4-46a8-ba9e-d5041048c89a" providerId="ADAL" clId="{BE86370A-B29F-4F42-BC7C-8661773008D0}" dt="2025-10-23T05:44:54.669" v="9004"/>
          <ac:spMkLst>
            <pc:docMk/>
            <pc:sldMk cId="537986554" sldId="261"/>
            <ac:spMk id="41" creationId="{703F9A4E-D29F-EE9F-C111-39F53FF77909}"/>
          </ac:spMkLst>
        </pc:spChg>
        <pc:spChg chg="mod ord">
          <ac:chgData name="Atchi Padmarani" userId="fe059d67-2bf4-46a8-ba9e-d5041048c89a" providerId="ADAL" clId="{BE86370A-B29F-4F42-BC7C-8661773008D0}" dt="2025-10-23T05:44:54.669" v="9006"/>
          <ac:spMkLst>
            <pc:docMk/>
            <pc:sldMk cId="537986554" sldId="261"/>
            <ac:spMk id="42" creationId="{1B4145B4-8684-69EA-3544-73984F5785FB}"/>
          </ac:spMkLst>
        </pc:spChg>
        <pc:spChg chg="del">
          <ac:chgData name="Atchi Padmarani" userId="fe059d67-2bf4-46a8-ba9e-d5041048c89a" providerId="ADAL" clId="{BE86370A-B29F-4F42-BC7C-8661773008D0}" dt="2025-10-23T05:39:58.252" v="7710" actId="478"/>
          <ac:spMkLst>
            <pc:docMk/>
            <pc:sldMk cId="537986554" sldId="261"/>
            <ac:spMk id="43" creationId="{EDB0F86F-A9EC-DB54-874A-63DFFA877696}"/>
          </ac:spMkLst>
        </pc:spChg>
        <pc:spChg chg="add mod ord">
          <ac:chgData name="Atchi Padmarani" userId="fe059d67-2bf4-46a8-ba9e-d5041048c89a" providerId="ADAL" clId="{BE86370A-B29F-4F42-BC7C-8661773008D0}" dt="2025-10-23T05:45:02.566" v="9194" actId="1036"/>
          <ac:spMkLst>
            <pc:docMk/>
            <pc:sldMk cId="537986554" sldId="261"/>
            <ac:spMk id="44" creationId="{9DA84908-E329-68CE-D4F2-5B957A7209BF}"/>
          </ac:spMkLst>
        </pc:spChg>
        <pc:spChg chg="mod ord">
          <ac:chgData name="Atchi Padmarani" userId="fe059d67-2bf4-46a8-ba9e-d5041048c89a" providerId="ADAL" clId="{BE86370A-B29F-4F42-BC7C-8661773008D0}" dt="2025-10-23T05:44:54.669" v="9008"/>
          <ac:spMkLst>
            <pc:docMk/>
            <pc:sldMk cId="537986554" sldId="261"/>
            <ac:spMk id="45" creationId="{5BECB677-0F5E-3909-3A3A-A2DC93925058}"/>
          </ac:spMkLst>
        </pc:spChg>
        <pc:spChg chg="mod ord">
          <ac:chgData name="Atchi Padmarani" userId="fe059d67-2bf4-46a8-ba9e-d5041048c89a" providerId="ADAL" clId="{BE86370A-B29F-4F42-BC7C-8661773008D0}" dt="2025-10-23T05:44:54.669" v="9010"/>
          <ac:spMkLst>
            <pc:docMk/>
            <pc:sldMk cId="537986554" sldId="261"/>
            <ac:spMk id="46" creationId="{3100D329-E2A7-2848-3566-1D2CDF2572EE}"/>
          </ac:spMkLst>
        </pc:spChg>
        <pc:spChg chg="add del mod modVis">
          <ac:chgData name="Atchi Padmarani" userId="fe059d67-2bf4-46a8-ba9e-d5041048c89a" providerId="ADAL" clId="{BE86370A-B29F-4F42-BC7C-8661773008D0}" dt="2025-10-23T05:44:54.733" v="9183"/>
          <ac:spMkLst>
            <pc:docMk/>
            <pc:sldMk cId="537986554" sldId="261"/>
            <ac:spMk id="47" creationId="{05C99F7F-B255-7A49-945C-1B85878E927D}"/>
          </ac:spMkLst>
        </pc:spChg>
        <pc:spChg chg="mod ord">
          <ac:chgData name="Atchi Padmarani" userId="fe059d67-2bf4-46a8-ba9e-d5041048c89a" providerId="ADAL" clId="{BE86370A-B29F-4F42-BC7C-8661773008D0}" dt="2025-10-23T05:46:59.941" v="9233" actId="11530"/>
          <ac:spMkLst>
            <pc:docMk/>
            <pc:sldMk cId="537986554" sldId="261"/>
            <ac:spMk id="49" creationId="{0836254F-C6F2-BCEE-B892-4743360DD5EA}"/>
          </ac:spMkLst>
        </pc:spChg>
        <pc:spChg chg="mod ord">
          <ac:chgData name="Atchi Padmarani" userId="fe059d67-2bf4-46a8-ba9e-d5041048c89a" providerId="ADAL" clId="{BE86370A-B29F-4F42-BC7C-8661773008D0}" dt="2025-10-23T05:46:59.941" v="9233" actId="11530"/>
          <ac:spMkLst>
            <pc:docMk/>
            <pc:sldMk cId="537986554" sldId="261"/>
            <ac:spMk id="53" creationId="{660A5456-B1D1-F0ED-A286-160E1D0CF5D7}"/>
          </ac:spMkLst>
        </pc:spChg>
        <pc:spChg chg="mod ord">
          <ac:chgData name="Atchi Padmarani" userId="fe059d67-2bf4-46a8-ba9e-d5041048c89a" providerId="ADAL" clId="{BE86370A-B29F-4F42-BC7C-8661773008D0}" dt="2025-10-23T05:46:59.941" v="9233" actId="11530"/>
          <ac:spMkLst>
            <pc:docMk/>
            <pc:sldMk cId="537986554" sldId="261"/>
            <ac:spMk id="54" creationId="{2A7151D0-C224-2641-13ED-F4DC7F90F30B}"/>
          </ac:spMkLst>
        </pc:spChg>
        <pc:spChg chg="mod ord">
          <ac:chgData name="Atchi Padmarani" userId="fe059d67-2bf4-46a8-ba9e-d5041048c89a" providerId="ADAL" clId="{BE86370A-B29F-4F42-BC7C-8661773008D0}" dt="2025-10-23T05:44:54.685" v="9063"/>
          <ac:spMkLst>
            <pc:docMk/>
            <pc:sldMk cId="537986554" sldId="261"/>
            <ac:spMk id="61" creationId="{27964DA9-DB67-9615-EF36-291DE1B7B04F}"/>
          </ac:spMkLst>
        </pc:spChg>
        <pc:spChg chg="mod ord">
          <ac:chgData name="Atchi Padmarani" userId="fe059d67-2bf4-46a8-ba9e-d5041048c89a" providerId="ADAL" clId="{BE86370A-B29F-4F42-BC7C-8661773008D0}" dt="2025-10-23T05:44:54.669" v="9016"/>
          <ac:spMkLst>
            <pc:docMk/>
            <pc:sldMk cId="537986554" sldId="261"/>
            <ac:spMk id="62" creationId="{A6401046-5AA7-D53E-A189-42EBC87B77F0}"/>
          </ac:spMkLst>
        </pc:spChg>
        <pc:spChg chg="mod ord">
          <ac:chgData name="Atchi Padmarani" userId="fe059d67-2bf4-46a8-ba9e-d5041048c89a" providerId="ADAL" clId="{BE86370A-B29F-4F42-BC7C-8661773008D0}" dt="2025-10-23T05:44:54.685" v="9018"/>
          <ac:spMkLst>
            <pc:docMk/>
            <pc:sldMk cId="537986554" sldId="261"/>
            <ac:spMk id="63" creationId="{33D31289-3E7A-B00B-ED2C-9C3C69675E0A}"/>
          </ac:spMkLst>
        </pc:spChg>
        <pc:spChg chg="mod ord">
          <ac:chgData name="Atchi Padmarani" userId="fe059d67-2bf4-46a8-ba9e-d5041048c89a" providerId="ADAL" clId="{BE86370A-B29F-4F42-BC7C-8661773008D0}" dt="2025-10-23T05:44:54.685" v="9020"/>
          <ac:spMkLst>
            <pc:docMk/>
            <pc:sldMk cId="537986554" sldId="261"/>
            <ac:spMk id="66" creationId="{F1650402-FA19-A864-090D-51215974AA43}"/>
          </ac:spMkLst>
        </pc:spChg>
        <pc:spChg chg="mod ord">
          <ac:chgData name="Atchi Padmarani" userId="fe059d67-2bf4-46a8-ba9e-d5041048c89a" providerId="ADAL" clId="{BE86370A-B29F-4F42-BC7C-8661773008D0}" dt="2025-10-23T05:44:54.685" v="9022"/>
          <ac:spMkLst>
            <pc:docMk/>
            <pc:sldMk cId="537986554" sldId="261"/>
            <ac:spMk id="67" creationId="{B8F0BF7A-0D52-832D-BA7C-EFF0F0B12AF5}"/>
          </ac:spMkLst>
        </pc:spChg>
        <pc:spChg chg="mod ord">
          <ac:chgData name="Atchi Padmarani" userId="fe059d67-2bf4-46a8-ba9e-d5041048c89a" providerId="ADAL" clId="{BE86370A-B29F-4F42-BC7C-8661773008D0}" dt="2025-10-23T05:44:54.685" v="9024"/>
          <ac:spMkLst>
            <pc:docMk/>
            <pc:sldMk cId="537986554" sldId="261"/>
            <ac:spMk id="70" creationId="{C4F9F1F5-E140-C23B-6FD6-2712A6DCC80C}"/>
          </ac:spMkLst>
        </pc:spChg>
        <pc:spChg chg="mod ord">
          <ac:chgData name="Atchi Padmarani" userId="fe059d67-2bf4-46a8-ba9e-d5041048c89a" providerId="ADAL" clId="{BE86370A-B29F-4F42-BC7C-8661773008D0}" dt="2025-10-23T05:44:54.685" v="9026"/>
          <ac:spMkLst>
            <pc:docMk/>
            <pc:sldMk cId="537986554" sldId="261"/>
            <ac:spMk id="71" creationId="{AFE8B12C-ACC7-C657-F1BB-04795F6FBDA1}"/>
          </ac:spMkLst>
        </pc:spChg>
        <pc:spChg chg="mod ord">
          <ac:chgData name="Atchi Padmarani" userId="fe059d67-2bf4-46a8-ba9e-d5041048c89a" providerId="ADAL" clId="{BE86370A-B29F-4F42-BC7C-8661773008D0}" dt="2025-10-23T05:44:54.685" v="9028"/>
          <ac:spMkLst>
            <pc:docMk/>
            <pc:sldMk cId="537986554" sldId="261"/>
            <ac:spMk id="74" creationId="{44C0549D-BEC8-9A1A-2639-5D11FD46E7C1}"/>
          </ac:spMkLst>
        </pc:spChg>
        <pc:spChg chg="mod ord">
          <ac:chgData name="Atchi Padmarani" userId="fe059d67-2bf4-46a8-ba9e-d5041048c89a" providerId="ADAL" clId="{BE86370A-B29F-4F42-BC7C-8661773008D0}" dt="2025-10-23T05:44:54.685" v="9030"/>
          <ac:spMkLst>
            <pc:docMk/>
            <pc:sldMk cId="537986554" sldId="261"/>
            <ac:spMk id="75" creationId="{20E6D8B9-AEEE-5415-5333-28F318900D51}"/>
          </ac:spMkLst>
        </pc:spChg>
        <pc:spChg chg="mod ord">
          <ac:chgData name="Atchi Padmarani" userId="fe059d67-2bf4-46a8-ba9e-d5041048c89a" providerId="ADAL" clId="{BE86370A-B29F-4F42-BC7C-8661773008D0}" dt="2025-10-23T05:44:54.701" v="9103"/>
          <ac:spMkLst>
            <pc:docMk/>
            <pc:sldMk cId="537986554" sldId="261"/>
            <ac:spMk id="79" creationId="{859E9282-C999-C594-2EEF-AA915B485DF3}"/>
          </ac:spMkLst>
        </pc:spChg>
        <pc:spChg chg="mod ord">
          <ac:chgData name="Atchi Padmarani" userId="fe059d67-2bf4-46a8-ba9e-d5041048c89a" providerId="ADAL" clId="{BE86370A-B29F-4F42-BC7C-8661773008D0}" dt="2025-10-23T05:44:54.701" v="9105"/>
          <ac:spMkLst>
            <pc:docMk/>
            <pc:sldMk cId="537986554" sldId="261"/>
            <ac:spMk id="80" creationId="{8FBD5B84-427D-9BBC-BF74-800DB7F954EF}"/>
          </ac:spMkLst>
        </pc:spChg>
        <pc:spChg chg="mod ord">
          <ac:chgData name="Atchi Padmarani" userId="fe059d67-2bf4-46a8-ba9e-d5041048c89a" providerId="ADAL" clId="{BE86370A-B29F-4F42-BC7C-8661773008D0}" dt="2025-10-23T05:44:54.685" v="9034"/>
          <ac:spMkLst>
            <pc:docMk/>
            <pc:sldMk cId="537986554" sldId="261"/>
            <ac:spMk id="83" creationId="{5D4C7FF8-0045-0FE5-8CCA-4DDCEF9BE51D}"/>
          </ac:spMkLst>
        </pc:spChg>
        <pc:spChg chg="mod ord">
          <ac:chgData name="Atchi Padmarani" userId="fe059d67-2bf4-46a8-ba9e-d5041048c89a" providerId="ADAL" clId="{BE86370A-B29F-4F42-BC7C-8661773008D0}" dt="2025-10-23T05:44:54.685" v="9036"/>
          <ac:spMkLst>
            <pc:docMk/>
            <pc:sldMk cId="537986554" sldId="261"/>
            <ac:spMk id="84" creationId="{86F89E4B-7391-B8DC-21B7-25E3B2974857}"/>
          </ac:spMkLst>
        </pc:spChg>
        <pc:spChg chg="mod ord">
          <ac:chgData name="Atchi Padmarani" userId="fe059d67-2bf4-46a8-ba9e-d5041048c89a" providerId="ADAL" clId="{BE86370A-B29F-4F42-BC7C-8661773008D0}" dt="2025-10-23T05:44:54.660" v="8940"/>
          <ac:spMkLst>
            <pc:docMk/>
            <pc:sldMk cId="537986554" sldId="261"/>
            <ac:spMk id="85" creationId="{6F244F3E-9570-FBE2-20DF-27C3C4EEBF29}"/>
          </ac:spMkLst>
        </pc:spChg>
        <pc:spChg chg="mod ord">
          <ac:chgData name="Atchi Padmarani" userId="fe059d67-2bf4-46a8-ba9e-d5041048c89a" providerId="ADAL" clId="{BE86370A-B29F-4F42-BC7C-8661773008D0}" dt="2025-10-23T05:46:06.297" v="9213" actId="208"/>
          <ac:spMkLst>
            <pc:docMk/>
            <pc:sldMk cId="537986554" sldId="261"/>
            <ac:spMk id="86" creationId="{C67006C0-EC95-65E7-3E2C-43DF94BEB9A1}"/>
          </ac:spMkLst>
        </pc:spChg>
        <pc:spChg chg="mod ord">
          <ac:chgData name="Atchi Padmarani" userId="fe059d67-2bf4-46a8-ba9e-d5041048c89a" providerId="ADAL" clId="{BE86370A-B29F-4F42-BC7C-8661773008D0}" dt="2025-10-23T05:44:54.685" v="9038"/>
          <ac:spMkLst>
            <pc:docMk/>
            <pc:sldMk cId="537986554" sldId="261"/>
            <ac:spMk id="87" creationId="{D35137FE-4374-8D80-BAE3-1361BAA3F879}"/>
          </ac:spMkLst>
        </pc:spChg>
        <pc:spChg chg="mod ord">
          <ac:chgData name="Atchi Padmarani" userId="fe059d67-2bf4-46a8-ba9e-d5041048c89a" providerId="ADAL" clId="{BE86370A-B29F-4F42-BC7C-8661773008D0}" dt="2025-10-23T05:44:54.685" v="9040"/>
          <ac:spMkLst>
            <pc:docMk/>
            <pc:sldMk cId="537986554" sldId="261"/>
            <ac:spMk id="88" creationId="{8ADA1853-6D06-FBA5-666A-C1CF343A2FE4}"/>
          </ac:spMkLst>
        </pc:spChg>
        <pc:spChg chg="mod ord">
          <ac:chgData name="Atchi Padmarani" userId="fe059d67-2bf4-46a8-ba9e-d5041048c89a" providerId="ADAL" clId="{BE86370A-B29F-4F42-BC7C-8661773008D0}" dt="2025-10-23T05:44:54.653" v="8903"/>
          <ac:spMkLst>
            <pc:docMk/>
            <pc:sldMk cId="537986554" sldId="261"/>
            <ac:spMk id="92" creationId="{17BA0505-F125-ACF4-9954-2AA52141CE3B}"/>
          </ac:spMkLst>
        </pc:spChg>
        <pc:spChg chg="mod ord">
          <ac:chgData name="Atchi Padmarani" userId="fe059d67-2bf4-46a8-ba9e-d5041048c89a" providerId="ADAL" clId="{BE86370A-B29F-4F42-BC7C-8661773008D0}" dt="2025-10-23T05:44:54.653" v="8905"/>
          <ac:spMkLst>
            <pc:docMk/>
            <pc:sldMk cId="537986554" sldId="261"/>
            <ac:spMk id="93" creationId="{D2F2A250-4265-7151-FB75-516B629FC755}"/>
          </ac:spMkLst>
        </pc:spChg>
        <pc:spChg chg="mod ord">
          <ac:chgData name="Atchi Padmarani" userId="fe059d67-2bf4-46a8-ba9e-d5041048c89a" providerId="ADAL" clId="{BE86370A-B29F-4F42-BC7C-8661773008D0}" dt="2025-10-23T05:44:54.653" v="8907"/>
          <ac:spMkLst>
            <pc:docMk/>
            <pc:sldMk cId="537986554" sldId="261"/>
            <ac:spMk id="95" creationId="{5897961D-98EE-842B-CECC-C685F00D9DC1}"/>
          </ac:spMkLst>
        </pc:spChg>
        <pc:spChg chg="mod">
          <ac:chgData name="Atchi Padmarani" userId="fe059d67-2bf4-46a8-ba9e-d5041048c89a" providerId="ADAL" clId="{BE86370A-B29F-4F42-BC7C-8661773008D0}" dt="2025-10-23T05:43:20.496" v="8245" actId="164"/>
          <ac:spMkLst>
            <pc:docMk/>
            <pc:sldMk cId="537986554" sldId="261"/>
            <ac:spMk id="97" creationId="{DA744427-8633-D2BF-D62F-CCE207A0B11B}"/>
          </ac:spMkLst>
        </pc:spChg>
        <pc:spChg chg="mod ord">
          <ac:chgData name="Atchi Padmarani" userId="fe059d67-2bf4-46a8-ba9e-d5041048c89a" providerId="ADAL" clId="{BE86370A-B29F-4F42-BC7C-8661773008D0}" dt="2025-10-23T05:44:54.660" v="8921"/>
          <ac:spMkLst>
            <pc:docMk/>
            <pc:sldMk cId="537986554" sldId="261"/>
            <ac:spMk id="99" creationId="{982F47ED-1FF9-F543-5489-DAB8EC782E2A}"/>
          </ac:spMkLst>
        </pc:spChg>
        <pc:spChg chg="mod">
          <ac:chgData name="Atchi Padmarani" userId="fe059d67-2bf4-46a8-ba9e-d5041048c89a" providerId="ADAL" clId="{BE86370A-B29F-4F42-BC7C-8661773008D0}" dt="2025-10-23T05:44:54.660" v="8922"/>
          <ac:spMkLst>
            <pc:docMk/>
            <pc:sldMk cId="537986554" sldId="261"/>
            <ac:spMk id="100" creationId="{B51D1783-B43A-0EF3-17DE-50E3E02F1908}"/>
          </ac:spMkLst>
        </pc:spChg>
        <pc:spChg chg="mod">
          <ac:chgData name="Atchi Padmarani" userId="fe059d67-2bf4-46a8-ba9e-d5041048c89a" providerId="ADAL" clId="{BE86370A-B29F-4F42-BC7C-8661773008D0}" dt="2025-10-23T05:44:54.660" v="8923"/>
          <ac:spMkLst>
            <pc:docMk/>
            <pc:sldMk cId="537986554" sldId="261"/>
            <ac:spMk id="101" creationId="{7FD817B1-6B46-EA6C-7C83-D574B925990B}"/>
          </ac:spMkLst>
        </pc:spChg>
        <pc:spChg chg="mod ord topLvl">
          <ac:chgData name="Atchi Padmarani" userId="fe059d67-2bf4-46a8-ba9e-d5041048c89a" providerId="ADAL" clId="{BE86370A-B29F-4F42-BC7C-8661773008D0}" dt="2025-10-23T05:45:32.274" v="9206" actId="165"/>
          <ac:spMkLst>
            <pc:docMk/>
            <pc:sldMk cId="537986554" sldId="261"/>
            <ac:spMk id="102" creationId="{EAF86EF7-19AA-A6B1-1B1C-67687171FDF9}"/>
          </ac:spMkLst>
        </pc:spChg>
        <pc:spChg chg="mod ord">
          <ac:chgData name="Atchi Padmarani" userId="fe059d67-2bf4-46a8-ba9e-d5041048c89a" providerId="ADAL" clId="{BE86370A-B29F-4F42-BC7C-8661773008D0}" dt="2025-10-23T05:44:54.731" v="9179"/>
          <ac:spMkLst>
            <pc:docMk/>
            <pc:sldMk cId="537986554" sldId="261"/>
            <ac:spMk id="103" creationId="{D7768A1A-7D64-7667-205B-BA8AC48DE464}"/>
          </ac:spMkLst>
        </pc:spChg>
        <pc:spChg chg="mod ord">
          <ac:chgData name="Atchi Padmarani" userId="fe059d67-2bf4-46a8-ba9e-d5041048c89a" providerId="ADAL" clId="{BE86370A-B29F-4F42-BC7C-8661773008D0}" dt="2025-10-23T05:44:54.660" v="8927"/>
          <ac:spMkLst>
            <pc:docMk/>
            <pc:sldMk cId="537986554" sldId="261"/>
            <ac:spMk id="106" creationId="{F6C7CB88-00E2-B052-D236-43F0A308CB41}"/>
          </ac:spMkLst>
        </pc:spChg>
        <pc:spChg chg="mod">
          <ac:chgData name="Atchi Padmarani" userId="fe059d67-2bf4-46a8-ba9e-d5041048c89a" providerId="ADAL" clId="{BE86370A-B29F-4F42-BC7C-8661773008D0}" dt="2025-10-23T05:44:54.660" v="8928"/>
          <ac:spMkLst>
            <pc:docMk/>
            <pc:sldMk cId="537986554" sldId="261"/>
            <ac:spMk id="107" creationId="{898085D5-496F-2872-4EC1-7DC19C190E11}"/>
          </ac:spMkLst>
        </pc:spChg>
        <pc:spChg chg="mod">
          <ac:chgData name="Atchi Padmarani" userId="fe059d67-2bf4-46a8-ba9e-d5041048c89a" providerId="ADAL" clId="{BE86370A-B29F-4F42-BC7C-8661773008D0}" dt="2025-10-23T05:44:54.660" v="8929"/>
          <ac:spMkLst>
            <pc:docMk/>
            <pc:sldMk cId="537986554" sldId="261"/>
            <ac:spMk id="108" creationId="{FFEAD609-79A4-77DE-6EDF-942C529C8E49}"/>
          </ac:spMkLst>
        </pc:spChg>
        <pc:spChg chg="mod ord topLvl">
          <ac:chgData name="Atchi Padmarani" userId="fe059d67-2bf4-46a8-ba9e-d5041048c89a" providerId="ADAL" clId="{BE86370A-B29F-4F42-BC7C-8661773008D0}" dt="2025-10-23T05:45:32.274" v="9206" actId="165"/>
          <ac:spMkLst>
            <pc:docMk/>
            <pc:sldMk cId="537986554" sldId="261"/>
            <ac:spMk id="110" creationId="{96763B0B-F2AD-8206-4E3A-766CC23AF1C3}"/>
          </ac:spMkLst>
        </pc:spChg>
        <pc:spChg chg="mod ord">
          <ac:chgData name="Atchi Padmarani" userId="fe059d67-2bf4-46a8-ba9e-d5041048c89a" providerId="ADAL" clId="{BE86370A-B29F-4F42-BC7C-8661773008D0}" dt="2025-10-23T05:47:40.719" v="9245" actId="14100"/>
          <ac:spMkLst>
            <pc:docMk/>
            <pc:sldMk cId="537986554" sldId="261"/>
            <ac:spMk id="116" creationId="{C8BEF277-91D5-22A8-52FA-64E56B6A659B}"/>
          </ac:spMkLst>
        </pc:spChg>
        <pc:spChg chg="mod ord">
          <ac:chgData name="Atchi Padmarani" userId="fe059d67-2bf4-46a8-ba9e-d5041048c89a" providerId="ADAL" clId="{BE86370A-B29F-4F42-BC7C-8661773008D0}" dt="2025-10-23T05:44:54.660" v="8946"/>
          <ac:spMkLst>
            <pc:docMk/>
            <pc:sldMk cId="537986554" sldId="261"/>
            <ac:spMk id="122" creationId="{2896CC4A-9319-C331-CB6C-0DEEE2ED1010}"/>
          </ac:spMkLst>
        </pc:spChg>
        <pc:spChg chg="mod ord">
          <ac:chgData name="Atchi Padmarani" userId="fe059d67-2bf4-46a8-ba9e-d5041048c89a" providerId="ADAL" clId="{BE86370A-B29F-4F42-BC7C-8661773008D0}" dt="2025-10-23T05:44:54.660" v="8948"/>
          <ac:spMkLst>
            <pc:docMk/>
            <pc:sldMk cId="537986554" sldId="261"/>
            <ac:spMk id="123" creationId="{3E3F63DD-EE89-A6A9-C388-9DF38E9B63E7}"/>
          </ac:spMkLst>
        </pc:spChg>
        <pc:spChg chg="mod ord">
          <ac:chgData name="Atchi Padmarani" userId="fe059d67-2bf4-46a8-ba9e-d5041048c89a" providerId="ADAL" clId="{BE86370A-B29F-4F42-BC7C-8661773008D0}" dt="2025-10-23T05:44:54.660" v="8950"/>
          <ac:spMkLst>
            <pc:docMk/>
            <pc:sldMk cId="537986554" sldId="261"/>
            <ac:spMk id="128" creationId="{1D8D6E20-F516-6544-B64B-4A8C82299FA0}"/>
          </ac:spMkLst>
        </pc:spChg>
        <pc:spChg chg="mod ord">
          <ac:chgData name="Atchi Padmarani" userId="fe059d67-2bf4-46a8-ba9e-d5041048c89a" providerId="ADAL" clId="{BE86370A-B29F-4F42-BC7C-8661773008D0}" dt="2025-10-23T05:44:54.660" v="8952"/>
          <ac:spMkLst>
            <pc:docMk/>
            <pc:sldMk cId="537986554" sldId="261"/>
            <ac:spMk id="129" creationId="{34560B77-2E2D-FC5E-4846-1EDFD22FFC21}"/>
          </ac:spMkLst>
        </pc:spChg>
        <pc:spChg chg="mod ord">
          <ac:chgData name="Atchi Padmarani" userId="fe059d67-2bf4-46a8-ba9e-d5041048c89a" providerId="ADAL" clId="{BE86370A-B29F-4F42-BC7C-8661773008D0}" dt="2025-10-23T05:44:54.669" v="8954"/>
          <ac:spMkLst>
            <pc:docMk/>
            <pc:sldMk cId="537986554" sldId="261"/>
            <ac:spMk id="131" creationId="{760E95F6-086D-0057-DD47-8937EFCF93CC}"/>
          </ac:spMkLst>
        </pc:spChg>
        <pc:spChg chg="mod">
          <ac:chgData name="Atchi Padmarani" userId="fe059d67-2bf4-46a8-ba9e-d5041048c89a" providerId="ADAL" clId="{BE86370A-B29F-4F42-BC7C-8661773008D0}" dt="2025-10-23T05:47:45.097" v="9246" actId="14100"/>
          <ac:spMkLst>
            <pc:docMk/>
            <pc:sldMk cId="537986554" sldId="261"/>
            <ac:spMk id="132" creationId="{A908751F-3212-043B-8249-5A78F5B52F95}"/>
          </ac:spMkLst>
        </pc:spChg>
        <pc:spChg chg="mod ord">
          <ac:chgData name="Atchi Padmarani" userId="fe059d67-2bf4-46a8-ba9e-d5041048c89a" providerId="ADAL" clId="{BE86370A-B29F-4F42-BC7C-8661773008D0}" dt="2025-10-23T05:44:54.669" v="8956"/>
          <ac:spMkLst>
            <pc:docMk/>
            <pc:sldMk cId="537986554" sldId="261"/>
            <ac:spMk id="133" creationId="{65BFD34E-47BB-5560-39AD-0825EEF0E2D9}"/>
          </ac:spMkLst>
        </pc:spChg>
        <pc:spChg chg="mod ord">
          <ac:chgData name="Atchi Padmarani" userId="fe059d67-2bf4-46a8-ba9e-d5041048c89a" providerId="ADAL" clId="{BE86370A-B29F-4F42-BC7C-8661773008D0}" dt="2025-10-23T05:44:54.669" v="8958"/>
          <ac:spMkLst>
            <pc:docMk/>
            <pc:sldMk cId="537986554" sldId="261"/>
            <ac:spMk id="134" creationId="{8000F9EE-D7EE-52EC-AF16-F20F3EE6DC39}"/>
          </ac:spMkLst>
        </pc:spChg>
        <pc:spChg chg="mod ord">
          <ac:chgData name="Atchi Padmarani" userId="fe059d67-2bf4-46a8-ba9e-d5041048c89a" providerId="ADAL" clId="{BE86370A-B29F-4F42-BC7C-8661773008D0}" dt="2025-10-23T05:44:54.701" v="9086"/>
          <ac:spMkLst>
            <pc:docMk/>
            <pc:sldMk cId="537986554" sldId="261"/>
            <ac:spMk id="135" creationId="{6CCF8295-49BF-B1C2-AAA8-F0570B4961D5}"/>
          </ac:spMkLst>
        </pc:spChg>
        <pc:spChg chg="mod ord">
          <ac:chgData name="Atchi Padmarani" userId="fe059d67-2bf4-46a8-ba9e-d5041048c89a" providerId="ADAL" clId="{BE86370A-B29F-4F42-BC7C-8661773008D0}" dt="2025-10-23T05:44:54.669" v="8960"/>
          <ac:spMkLst>
            <pc:docMk/>
            <pc:sldMk cId="537986554" sldId="261"/>
            <ac:spMk id="136" creationId="{739E2D62-94B8-9A9A-CFD1-186054D05DF3}"/>
          </ac:spMkLst>
        </pc:spChg>
        <pc:spChg chg="mod ord">
          <ac:chgData name="Atchi Padmarani" userId="fe059d67-2bf4-46a8-ba9e-d5041048c89a" providerId="ADAL" clId="{BE86370A-B29F-4F42-BC7C-8661773008D0}" dt="2025-10-23T05:44:54.669" v="8962"/>
          <ac:spMkLst>
            <pc:docMk/>
            <pc:sldMk cId="537986554" sldId="261"/>
            <ac:spMk id="137" creationId="{E1B7E10E-5542-C094-190E-8F84D9B4CBB8}"/>
          </ac:spMkLst>
        </pc:spChg>
        <pc:spChg chg="mod ord">
          <ac:chgData name="Atchi Padmarani" userId="fe059d67-2bf4-46a8-ba9e-d5041048c89a" providerId="ADAL" clId="{BE86370A-B29F-4F42-BC7C-8661773008D0}" dt="2025-10-23T05:44:54.669" v="8964"/>
          <ac:spMkLst>
            <pc:docMk/>
            <pc:sldMk cId="537986554" sldId="261"/>
            <ac:spMk id="138" creationId="{30D09F48-26E9-0B23-2AEB-B52CE3DB65AD}"/>
          </ac:spMkLst>
        </pc:spChg>
        <pc:spChg chg="mod ord">
          <ac:chgData name="Atchi Padmarani" userId="fe059d67-2bf4-46a8-ba9e-d5041048c89a" providerId="ADAL" clId="{BE86370A-B29F-4F42-BC7C-8661773008D0}" dt="2025-10-23T05:44:54.669" v="8966"/>
          <ac:spMkLst>
            <pc:docMk/>
            <pc:sldMk cId="537986554" sldId="261"/>
            <ac:spMk id="139" creationId="{6D2C48C2-B295-E19E-2A9E-A4DBAF9AD615}"/>
          </ac:spMkLst>
        </pc:spChg>
        <pc:spChg chg="mod ord">
          <ac:chgData name="Atchi Padmarani" userId="fe059d67-2bf4-46a8-ba9e-d5041048c89a" providerId="ADAL" clId="{BE86370A-B29F-4F42-BC7C-8661773008D0}" dt="2025-10-23T05:44:54.669" v="8968"/>
          <ac:spMkLst>
            <pc:docMk/>
            <pc:sldMk cId="537986554" sldId="261"/>
            <ac:spMk id="140" creationId="{9D890293-6782-5007-2830-00EEFE9E0997}"/>
          </ac:spMkLst>
        </pc:spChg>
        <pc:spChg chg="mod ord">
          <ac:chgData name="Atchi Padmarani" userId="fe059d67-2bf4-46a8-ba9e-d5041048c89a" providerId="ADAL" clId="{BE86370A-B29F-4F42-BC7C-8661773008D0}" dt="2025-10-23T05:44:54.669" v="8970"/>
          <ac:spMkLst>
            <pc:docMk/>
            <pc:sldMk cId="537986554" sldId="261"/>
            <ac:spMk id="141" creationId="{8728E5A4-722E-D6F3-EAE1-89AB51DDBF13}"/>
          </ac:spMkLst>
        </pc:spChg>
        <pc:spChg chg="mod ord">
          <ac:chgData name="Atchi Padmarani" userId="fe059d67-2bf4-46a8-ba9e-d5041048c89a" providerId="ADAL" clId="{BE86370A-B29F-4F42-BC7C-8661773008D0}" dt="2025-10-23T05:44:54.669" v="8972"/>
          <ac:spMkLst>
            <pc:docMk/>
            <pc:sldMk cId="537986554" sldId="261"/>
            <ac:spMk id="142" creationId="{DA8B0520-4525-BB80-65DE-6166FAE6A295}"/>
          </ac:spMkLst>
        </pc:spChg>
        <pc:spChg chg="mod ord">
          <ac:chgData name="Atchi Padmarani" userId="fe059d67-2bf4-46a8-ba9e-d5041048c89a" providerId="ADAL" clId="{BE86370A-B29F-4F42-BC7C-8661773008D0}" dt="2025-10-23T05:44:54.669" v="8974"/>
          <ac:spMkLst>
            <pc:docMk/>
            <pc:sldMk cId="537986554" sldId="261"/>
            <ac:spMk id="143" creationId="{B375DDA5-143E-E767-E4C5-49D71B8BFD17}"/>
          </ac:spMkLst>
        </pc:spChg>
        <pc:spChg chg="mod ord">
          <ac:chgData name="Atchi Padmarani" userId="fe059d67-2bf4-46a8-ba9e-d5041048c89a" providerId="ADAL" clId="{BE86370A-B29F-4F42-BC7C-8661773008D0}" dt="2025-10-23T05:44:54.669" v="8976"/>
          <ac:spMkLst>
            <pc:docMk/>
            <pc:sldMk cId="537986554" sldId="261"/>
            <ac:spMk id="144" creationId="{D97CE823-367D-EC26-BCD0-28EA9ED8BC61}"/>
          </ac:spMkLst>
        </pc:spChg>
        <pc:spChg chg="mod ord">
          <ac:chgData name="Atchi Padmarani" userId="fe059d67-2bf4-46a8-ba9e-d5041048c89a" providerId="ADAL" clId="{BE86370A-B29F-4F42-BC7C-8661773008D0}" dt="2025-10-23T05:44:54.669" v="8978"/>
          <ac:spMkLst>
            <pc:docMk/>
            <pc:sldMk cId="537986554" sldId="261"/>
            <ac:spMk id="145" creationId="{AD8D6CB5-E3E2-9E05-A3BF-80C4A2C4E2CA}"/>
          </ac:spMkLst>
        </pc:spChg>
        <pc:spChg chg="mod ord">
          <ac:chgData name="Atchi Padmarani" userId="fe059d67-2bf4-46a8-ba9e-d5041048c89a" providerId="ADAL" clId="{BE86370A-B29F-4F42-BC7C-8661773008D0}" dt="2025-10-23T05:44:54.669" v="8980"/>
          <ac:spMkLst>
            <pc:docMk/>
            <pc:sldMk cId="537986554" sldId="261"/>
            <ac:spMk id="146" creationId="{5860050A-B291-C11E-7412-C1EAD433667B}"/>
          </ac:spMkLst>
        </pc:spChg>
        <pc:spChg chg="mod ord">
          <ac:chgData name="Atchi Padmarani" userId="fe059d67-2bf4-46a8-ba9e-d5041048c89a" providerId="ADAL" clId="{BE86370A-B29F-4F42-BC7C-8661773008D0}" dt="2025-10-23T05:44:54.669" v="8982"/>
          <ac:spMkLst>
            <pc:docMk/>
            <pc:sldMk cId="537986554" sldId="261"/>
            <ac:spMk id="147" creationId="{8BCAE05B-8227-EFE0-27D4-E4A037D9EAB1}"/>
          </ac:spMkLst>
        </pc:spChg>
        <pc:spChg chg="mod ord">
          <ac:chgData name="Atchi Padmarani" userId="fe059d67-2bf4-46a8-ba9e-d5041048c89a" providerId="ADAL" clId="{BE86370A-B29F-4F42-BC7C-8661773008D0}" dt="2025-10-23T05:44:54.669" v="8984"/>
          <ac:spMkLst>
            <pc:docMk/>
            <pc:sldMk cId="537986554" sldId="261"/>
            <ac:spMk id="148" creationId="{F357E6B6-6D17-7A25-C473-EDCD666F9B0B}"/>
          </ac:spMkLst>
        </pc:spChg>
        <pc:spChg chg="mod ord">
          <ac:chgData name="Atchi Padmarani" userId="fe059d67-2bf4-46a8-ba9e-d5041048c89a" providerId="ADAL" clId="{BE86370A-B29F-4F42-BC7C-8661773008D0}" dt="2025-10-23T05:44:54.669" v="8986"/>
          <ac:spMkLst>
            <pc:docMk/>
            <pc:sldMk cId="537986554" sldId="261"/>
            <ac:spMk id="149" creationId="{C9A3B96A-812E-90EC-ADDE-04E143F6BB7A}"/>
          </ac:spMkLst>
        </pc:spChg>
        <pc:spChg chg="mod ord">
          <ac:chgData name="Atchi Padmarani" userId="fe059d67-2bf4-46a8-ba9e-d5041048c89a" providerId="ADAL" clId="{BE86370A-B29F-4F42-BC7C-8661773008D0}" dt="2025-10-23T05:44:54.669" v="8988"/>
          <ac:spMkLst>
            <pc:docMk/>
            <pc:sldMk cId="537986554" sldId="261"/>
            <ac:spMk id="150" creationId="{D99E3457-6AF5-6020-1982-45636F1B2DDD}"/>
          </ac:spMkLst>
        </pc:spChg>
        <pc:spChg chg="mod ord">
          <ac:chgData name="Atchi Padmarani" userId="fe059d67-2bf4-46a8-ba9e-d5041048c89a" providerId="ADAL" clId="{BE86370A-B29F-4F42-BC7C-8661773008D0}" dt="2025-10-23T05:44:54.669" v="8990"/>
          <ac:spMkLst>
            <pc:docMk/>
            <pc:sldMk cId="537986554" sldId="261"/>
            <ac:spMk id="152" creationId="{1534EB45-0205-1BF1-D4E4-CEC6048B5366}"/>
          </ac:spMkLst>
        </pc:spChg>
        <pc:spChg chg="mod ord">
          <ac:chgData name="Atchi Padmarani" userId="fe059d67-2bf4-46a8-ba9e-d5041048c89a" providerId="ADAL" clId="{BE86370A-B29F-4F42-BC7C-8661773008D0}" dt="2025-10-23T05:44:54.669" v="8992"/>
          <ac:spMkLst>
            <pc:docMk/>
            <pc:sldMk cId="537986554" sldId="261"/>
            <ac:spMk id="153" creationId="{A6E201DE-22E8-39B9-E72F-E579733729B7}"/>
          </ac:spMkLst>
        </pc:spChg>
        <pc:spChg chg="mod ord">
          <ac:chgData name="Atchi Padmarani" userId="fe059d67-2bf4-46a8-ba9e-d5041048c89a" providerId="ADAL" clId="{BE86370A-B29F-4F42-BC7C-8661773008D0}" dt="2025-10-23T05:44:54.669" v="8994"/>
          <ac:spMkLst>
            <pc:docMk/>
            <pc:sldMk cId="537986554" sldId="261"/>
            <ac:spMk id="154" creationId="{9C4E5919-4E2F-BE9E-0D12-C7A2E2B75733}"/>
          </ac:spMkLst>
        </pc:spChg>
        <pc:spChg chg="mod">
          <ac:chgData name="Atchi Padmarani" userId="fe059d67-2bf4-46a8-ba9e-d5041048c89a" providerId="ADAL" clId="{BE86370A-B29F-4F42-BC7C-8661773008D0}" dt="2025-10-23T05:47:45.097" v="9246" actId="14100"/>
          <ac:spMkLst>
            <pc:docMk/>
            <pc:sldMk cId="537986554" sldId="261"/>
            <ac:spMk id="155" creationId="{AAB89580-C88C-74E1-99BE-0BEE19055C33}"/>
          </ac:spMkLst>
        </pc:spChg>
        <pc:spChg chg="mod ord">
          <ac:chgData name="Atchi Padmarani" userId="fe059d67-2bf4-46a8-ba9e-d5041048c89a" providerId="ADAL" clId="{BE86370A-B29F-4F42-BC7C-8661773008D0}" dt="2025-10-23T05:44:54.701" v="9100"/>
          <ac:spMkLst>
            <pc:docMk/>
            <pc:sldMk cId="537986554" sldId="261"/>
            <ac:spMk id="156" creationId="{EA0A12B4-F81E-4E92-D0D6-78E20E9647F2}"/>
          </ac:spMkLst>
        </pc:spChg>
        <pc:spChg chg="mod ord">
          <ac:chgData name="Atchi Padmarani" userId="fe059d67-2bf4-46a8-ba9e-d5041048c89a" providerId="ADAL" clId="{BE86370A-B29F-4F42-BC7C-8661773008D0}" dt="2025-10-23T05:44:54.701" v="9098"/>
          <ac:spMkLst>
            <pc:docMk/>
            <pc:sldMk cId="537986554" sldId="261"/>
            <ac:spMk id="157" creationId="{BA1F2EFA-286F-71F2-52AF-629B4A8850F3}"/>
          </ac:spMkLst>
        </pc:spChg>
        <pc:spChg chg="mod ord">
          <ac:chgData name="Atchi Padmarani" userId="fe059d67-2bf4-46a8-ba9e-d5041048c89a" providerId="ADAL" clId="{BE86370A-B29F-4F42-BC7C-8661773008D0}" dt="2025-10-23T05:44:54.701" v="9094"/>
          <ac:spMkLst>
            <pc:docMk/>
            <pc:sldMk cId="537986554" sldId="261"/>
            <ac:spMk id="158" creationId="{36F72F50-218B-32F3-7077-D141362371AE}"/>
          </ac:spMkLst>
        </pc:spChg>
        <pc:spChg chg="mod ord">
          <ac:chgData name="Atchi Padmarani" userId="fe059d67-2bf4-46a8-ba9e-d5041048c89a" providerId="ADAL" clId="{BE86370A-B29F-4F42-BC7C-8661773008D0}" dt="2025-10-23T05:44:54.701" v="9096"/>
          <ac:spMkLst>
            <pc:docMk/>
            <pc:sldMk cId="537986554" sldId="261"/>
            <ac:spMk id="159" creationId="{E5061510-19B6-7CE2-E363-F0479C64BE47}"/>
          </ac:spMkLst>
        </pc:spChg>
        <pc:spChg chg="mod">
          <ac:chgData name="Atchi Padmarani" userId="fe059d67-2bf4-46a8-ba9e-d5041048c89a" providerId="ADAL" clId="{BE86370A-B29F-4F42-BC7C-8661773008D0}" dt="2025-10-23T05:47:45.097" v="9246" actId="14100"/>
          <ac:spMkLst>
            <pc:docMk/>
            <pc:sldMk cId="537986554" sldId="261"/>
            <ac:spMk id="163" creationId="{D9784745-97DA-BB05-1731-0D8BDE3952B6}"/>
          </ac:spMkLst>
        </pc:spChg>
        <pc:spChg chg="mod ord topLvl">
          <ac:chgData name="Atchi Padmarani" userId="fe059d67-2bf4-46a8-ba9e-d5041048c89a" providerId="ADAL" clId="{BE86370A-B29F-4F42-BC7C-8661773008D0}" dt="2025-10-23T05:44:54.725" v="9154"/>
          <ac:spMkLst>
            <pc:docMk/>
            <pc:sldMk cId="537986554" sldId="261"/>
            <ac:spMk id="170" creationId="{BFDC6ACB-0DE3-9E1A-7EB6-F2DCE8B53E38}"/>
          </ac:spMkLst>
        </pc:spChg>
        <pc:spChg chg="mod ord">
          <ac:chgData name="Atchi Padmarani" userId="fe059d67-2bf4-46a8-ba9e-d5041048c89a" providerId="ADAL" clId="{BE86370A-B29F-4F42-BC7C-8661773008D0}" dt="2025-10-23T05:44:54.725" v="9159"/>
          <ac:spMkLst>
            <pc:docMk/>
            <pc:sldMk cId="537986554" sldId="261"/>
            <ac:spMk id="171" creationId="{FC571333-9935-C647-42DD-884FABAF715F}"/>
          </ac:spMkLst>
        </pc:spChg>
        <pc:spChg chg="mod ord">
          <ac:chgData name="Atchi Padmarani" userId="fe059d67-2bf4-46a8-ba9e-d5041048c89a" providerId="ADAL" clId="{BE86370A-B29F-4F42-BC7C-8661773008D0}" dt="2025-10-23T05:44:54.660" v="8938"/>
          <ac:spMkLst>
            <pc:docMk/>
            <pc:sldMk cId="537986554" sldId="261"/>
            <ac:spMk id="172" creationId="{D60F7C38-A278-1DDC-DA1D-91D068BA615C}"/>
          </ac:spMkLst>
        </pc:spChg>
        <pc:spChg chg="del">
          <ac:chgData name="Atchi Padmarani" userId="fe059d67-2bf4-46a8-ba9e-d5041048c89a" providerId="ADAL" clId="{BE86370A-B29F-4F42-BC7C-8661773008D0}" dt="2025-10-23T05:39:56.540" v="7708" actId="478"/>
          <ac:spMkLst>
            <pc:docMk/>
            <pc:sldMk cId="537986554" sldId="261"/>
            <ac:spMk id="178" creationId="{B8E23E99-FA2F-DC9C-1402-53B5DB178AA5}"/>
          </ac:spMkLst>
        </pc:spChg>
        <pc:spChg chg="mod ord">
          <ac:chgData name="Atchi Padmarani" userId="fe059d67-2bf4-46a8-ba9e-d5041048c89a" providerId="ADAL" clId="{BE86370A-B29F-4F42-BC7C-8661773008D0}" dt="2025-10-23T05:46:06.297" v="9213" actId="208"/>
          <ac:spMkLst>
            <pc:docMk/>
            <pc:sldMk cId="537986554" sldId="261"/>
            <ac:spMk id="183" creationId="{291BABE6-A1D2-4245-F9DB-15709D1724ED}"/>
          </ac:spMkLst>
        </pc:spChg>
        <pc:spChg chg="mod topLvl">
          <ac:chgData name="Atchi Padmarani" userId="fe059d67-2bf4-46a8-ba9e-d5041048c89a" providerId="ADAL" clId="{BE86370A-B29F-4F42-BC7C-8661773008D0}" dt="2025-10-23T05:45:40.426" v="9207" actId="165"/>
          <ac:spMkLst>
            <pc:docMk/>
            <pc:sldMk cId="537986554" sldId="261"/>
            <ac:spMk id="184" creationId="{34708A68-E3E5-47F1-917C-5BD4528D765D}"/>
          </ac:spMkLst>
        </pc:spChg>
        <pc:spChg chg="del mod topLvl">
          <ac:chgData name="Atchi Padmarani" userId="fe059d67-2bf4-46a8-ba9e-d5041048c89a" providerId="ADAL" clId="{BE86370A-B29F-4F42-BC7C-8661773008D0}" dt="2025-10-23T05:41:48.432" v="8174" actId="478"/>
          <ac:spMkLst>
            <pc:docMk/>
            <pc:sldMk cId="537986554" sldId="261"/>
            <ac:spMk id="190" creationId="{25C3F636-13DE-DC6C-927D-6770DA639CF9}"/>
          </ac:spMkLst>
        </pc:spChg>
        <pc:spChg chg="mod ord">
          <ac:chgData name="Atchi Padmarani" userId="fe059d67-2bf4-46a8-ba9e-d5041048c89a" providerId="ADAL" clId="{BE86370A-B29F-4F42-BC7C-8661773008D0}" dt="2025-10-23T05:45:18.250" v="9202"/>
          <ac:spMkLst>
            <pc:docMk/>
            <pc:sldMk cId="537986554" sldId="261"/>
            <ac:spMk id="191" creationId="{9C457844-8414-A733-C6B8-7A4B99B3C850}"/>
          </ac:spMkLst>
        </pc:spChg>
        <pc:spChg chg="mod ord">
          <ac:chgData name="Atchi Padmarani" userId="fe059d67-2bf4-46a8-ba9e-d5041048c89a" providerId="ADAL" clId="{BE86370A-B29F-4F42-BC7C-8661773008D0}" dt="2025-10-23T05:45:18.250" v="9200"/>
          <ac:spMkLst>
            <pc:docMk/>
            <pc:sldMk cId="537986554" sldId="261"/>
            <ac:spMk id="192" creationId="{1FCC86D5-F5F5-FEA0-233C-5886C0561141}"/>
          </ac:spMkLst>
        </pc:spChg>
        <pc:spChg chg="mod ord">
          <ac:chgData name="Atchi Padmarani" userId="fe059d67-2bf4-46a8-ba9e-d5041048c89a" providerId="ADAL" clId="{BE86370A-B29F-4F42-BC7C-8661773008D0}" dt="2025-10-23T05:45:18.250" v="9198"/>
          <ac:spMkLst>
            <pc:docMk/>
            <pc:sldMk cId="537986554" sldId="261"/>
            <ac:spMk id="193" creationId="{6E4A8977-36C2-DFC1-B934-7052406F41C4}"/>
          </ac:spMkLst>
        </pc:spChg>
        <pc:spChg chg="mod ord">
          <ac:chgData name="Atchi Padmarani" userId="fe059d67-2bf4-46a8-ba9e-d5041048c89a" providerId="ADAL" clId="{BE86370A-B29F-4F42-BC7C-8661773008D0}" dt="2025-10-23T05:45:18.250" v="9196"/>
          <ac:spMkLst>
            <pc:docMk/>
            <pc:sldMk cId="537986554" sldId="261"/>
            <ac:spMk id="194" creationId="{CD889603-4DB9-3532-8094-FCB7F59C67BC}"/>
          </ac:spMkLst>
        </pc:spChg>
        <pc:spChg chg="del">
          <ac:chgData name="Atchi Padmarani" userId="fe059d67-2bf4-46a8-ba9e-d5041048c89a" providerId="ADAL" clId="{BE86370A-B29F-4F42-BC7C-8661773008D0}" dt="2025-10-23T05:39:57.236" v="7709" actId="478"/>
          <ac:spMkLst>
            <pc:docMk/>
            <pc:sldMk cId="537986554" sldId="261"/>
            <ac:spMk id="195" creationId="{381B12C0-4868-3A19-6B16-1187B84D8ABD}"/>
          </ac:spMkLst>
        </pc:spChg>
        <pc:spChg chg="mod">
          <ac:chgData name="Atchi Padmarani" userId="fe059d67-2bf4-46a8-ba9e-d5041048c89a" providerId="ADAL" clId="{BE86370A-B29F-4F42-BC7C-8661773008D0}" dt="2025-10-23T05:43:58.941" v="8268"/>
          <ac:spMkLst>
            <pc:docMk/>
            <pc:sldMk cId="537986554" sldId="261"/>
            <ac:spMk id="197" creationId="{BB9EAD10-47FD-08C1-4B68-333BC5DDA0AC}"/>
          </ac:spMkLst>
        </pc:spChg>
        <pc:spChg chg="mod ord">
          <ac:chgData name="Atchi Padmarani" userId="fe059d67-2bf4-46a8-ba9e-d5041048c89a" providerId="ADAL" clId="{BE86370A-B29F-4F42-BC7C-8661773008D0}" dt="2025-10-23T05:46:06.297" v="9213" actId="208"/>
          <ac:spMkLst>
            <pc:docMk/>
            <pc:sldMk cId="537986554" sldId="261"/>
            <ac:spMk id="199" creationId="{1505CE2C-3A76-B587-DCF7-DF37ED087C30}"/>
          </ac:spMkLst>
        </pc:spChg>
        <pc:spChg chg="mod ord topLvl">
          <ac:chgData name="Atchi Padmarani" userId="fe059d67-2bf4-46a8-ba9e-d5041048c89a" providerId="ADAL" clId="{BE86370A-B29F-4F42-BC7C-8661773008D0}" dt="2025-10-23T05:45:32.274" v="9206" actId="165"/>
          <ac:spMkLst>
            <pc:docMk/>
            <pc:sldMk cId="537986554" sldId="261"/>
            <ac:spMk id="200" creationId="{4B545E97-65EC-6770-1096-CB89F9D0AE9F}"/>
          </ac:spMkLst>
        </pc:spChg>
        <pc:spChg chg="mod ord">
          <ac:chgData name="Atchi Padmarani" userId="fe059d67-2bf4-46a8-ba9e-d5041048c89a" providerId="ADAL" clId="{BE86370A-B29F-4F42-BC7C-8661773008D0}" dt="2025-10-23T05:44:54.733" v="9181"/>
          <ac:spMkLst>
            <pc:docMk/>
            <pc:sldMk cId="537986554" sldId="261"/>
            <ac:spMk id="201" creationId="{E9F06CF7-4C3B-0107-77D6-0588F547E69A}"/>
          </ac:spMkLst>
        </pc:spChg>
        <pc:spChg chg="mod">
          <ac:chgData name="Atchi Padmarani" userId="fe059d67-2bf4-46a8-ba9e-d5041048c89a" providerId="ADAL" clId="{BE86370A-B29F-4F42-BC7C-8661773008D0}" dt="2025-10-23T05:43:20.496" v="8245" actId="164"/>
          <ac:spMkLst>
            <pc:docMk/>
            <pc:sldMk cId="537986554" sldId="261"/>
            <ac:spMk id="202" creationId="{7EE54478-2723-F9F3-E4FD-B10AEE7088EB}"/>
          </ac:spMkLst>
        </pc:spChg>
        <pc:spChg chg="mod">
          <ac:chgData name="Atchi Padmarani" userId="fe059d67-2bf4-46a8-ba9e-d5041048c89a" providerId="ADAL" clId="{BE86370A-B29F-4F42-BC7C-8661773008D0}" dt="2025-10-23T05:43:58.941" v="8268"/>
          <ac:spMkLst>
            <pc:docMk/>
            <pc:sldMk cId="537986554" sldId="261"/>
            <ac:spMk id="205" creationId="{249E6A43-5387-CD2B-1678-95F89908A292}"/>
          </ac:spMkLst>
        </pc:spChg>
        <pc:spChg chg="mod">
          <ac:chgData name="Atchi Padmarani" userId="fe059d67-2bf4-46a8-ba9e-d5041048c89a" providerId="ADAL" clId="{BE86370A-B29F-4F42-BC7C-8661773008D0}" dt="2025-10-23T05:43:58.941" v="8268"/>
          <ac:spMkLst>
            <pc:docMk/>
            <pc:sldMk cId="537986554" sldId="261"/>
            <ac:spMk id="207" creationId="{F44409F7-26D3-57AD-5EE4-9BE7E49980B5}"/>
          </ac:spMkLst>
        </pc:spChg>
        <pc:spChg chg="mod ord topLvl">
          <ac:chgData name="Atchi Padmarani" userId="fe059d67-2bf4-46a8-ba9e-d5041048c89a" providerId="ADAL" clId="{BE86370A-B29F-4F42-BC7C-8661773008D0}" dt="2025-10-23T05:45:32.274" v="9206" actId="165"/>
          <ac:spMkLst>
            <pc:docMk/>
            <pc:sldMk cId="537986554" sldId="261"/>
            <ac:spMk id="210" creationId="{7829869C-6CFC-8D39-46F4-29016D8EA337}"/>
          </ac:spMkLst>
        </pc:spChg>
        <pc:spChg chg="mod ord">
          <ac:chgData name="Atchi Padmarani" userId="fe059d67-2bf4-46a8-ba9e-d5041048c89a" providerId="ADAL" clId="{BE86370A-B29F-4F42-BC7C-8661773008D0}" dt="2025-10-23T05:44:54.685" v="9052"/>
          <ac:spMkLst>
            <pc:docMk/>
            <pc:sldMk cId="537986554" sldId="261"/>
            <ac:spMk id="212" creationId="{239D2FB4-8DE3-6D7D-9123-56A60D1BF55F}"/>
          </ac:spMkLst>
        </pc:spChg>
        <pc:spChg chg="mod ord">
          <ac:chgData name="Atchi Padmarani" userId="fe059d67-2bf4-46a8-ba9e-d5041048c89a" providerId="ADAL" clId="{BE86370A-B29F-4F42-BC7C-8661773008D0}" dt="2025-10-23T05:44:54.685" v="9054"/>
          <ac:spMkLst>
            <pc:docMk/>
            <pc:sldMk cId="537986554" sldId="261"/>
            <ac:spMk id="213" creationId="{9CE0C7EF-4307-F782-B2D6-8AF13BF1D4C4}"/>
          </ac:spMkLst>
        </pc:spChg>
        <pc:spChg chg="mod ord">
          <ac:chgData name="Atchi Padmarani" userId="fe059d67-2bf4-46a8-ba9e-d5041048c89a" providerId="ADAL" clId="{BE86370A-B29F-4F42-BC7C-8661773008D0}" dt="2025-10-23T05:44:54.701" v="9081"/>
          <ac:spMkLst>
            <pc:docMk/>
            <pc:sldMk cId="537986554" sldId="261"/>
            <ac:spMk id="216" creationId="{84C490C9-CC0D-5F4F-A85E-20864942B6FD}"/>
          </ac:spMkLst>
        </pc:spChg>
        <pc:spChg chg="mod ord">
          <ac:chgData name="Atchi Padmarani" userId="fe059d67-2bf4-46a8-ba9e-d5041048c89a" providerId="ADAL" clId="{BE86370A-B29F-4F42-BC7C-8661773008D0}" dt="2025-10-23T05:44:54.701" v="9083"/>
          <ac:spMkLst>
            <pc:docMk/>
            <pc:sldMk cId="537986554" sldId="261"/>
            <ac:spMk id="217" creationId="{43951926-FB82-2CDE-0122-243C585973F6}"/>
          </ac:spMkLst>
        </pc:spChg>
        <pc:spChg chg="mod ord topLvl">
          <ac:chgData name="Atchi Padmarani" userId="fe059d67-2bf4-46a8-ba9e-d5041048c89a" providerId="ADAL" clId="{BE86370A-B29F-4F42-BC7C-8661773008D0}" dt="2025-10-23T05:45:32.274" v="9206" actId="165"/>
          <ac:spMkLst>
            <pc:docMk/>
            <pc:sldMk cId="537986554" sldId="261"/>
            <ac:spMk id="219" creationId="{07550CAB-5C70-9694-1089-86B729AF1821}"/>
          </ac:spMkLst>
        </pc:spChg>
        <pc:spChg chg="mod ord">
          <ac:chgData name="Atchi Padmarani" userId="fe059d67-2bf4-46a8-ba9e-d5041048c89a" providerId="ADAL" clId="{BE86370A-B29F-4F42-BC7C-8661773008D0}" dt="2025-10-23T05:44:54.731" v="9175"/>
          <ac:spMkLst>
            <pc:docMk/>
            <pc:sldMk cId="537986554" sldId="261"/>
            <ac:spMk id="220" creationId="{7F209E8C-6CC3-FBBD-AF38-013AC424D28A}"/>
          </ac:spMkLst>
        </pc:spChg>
        <pc:spChg chg="mod">
          <ac:chgData name="Atchi Padmarani" userId="fe059d67-2bf4-46a8-ba9e-d5041048c89a" providerId="ADAL" clId="{BE86370A-B29F-4F42-BC7C-8661773008D0}" dt="2025-10-23T05:44:54.685" v="9059"/>
          <ac:spMkLst>
            <pc:docMk/>
            <pc:sldMk cId="537986554" sldId="261"/>
            <ac:spMk id="221" creationId="{79EB9BB7-0FA7-4A1F-D9B5-0084B4C06798}"/>
          </ac:spMkLst>
        </pc:spChg>
        <pc:spChg chg="mod ord">
          <ac:chgData name="Atchi Padmarani" userId="fe059d67-2bf4-46a8-ba9e-d5041048c89a" providerId="ADAL" clId="{BE86370A-B29F-4F42-BC7C-8661773008D0}" dt="2025-10-23T05:44:54.685" v="9061"/>
          <ac:spMkLst>
            <pc:docMk/>
            <pc:sldMk cId="537986554" sldId="261"/>
            <ac:spMk id="222" creationId="{355C2BCE-2743-C971-2412-46DC87D7BE79}"/>
          </ac:spMkLst>
        </pc:spChg>
        <pc:spChg chg="mod ord topLvl">
          <ac:chgData name="Atchi Padmarani" userId="fe059d67-2bf4-46a8-ba9e-d5041048c89a" providerId="ADAL" clId="{BE86370A-B29F-4F42-BC7C-8661773008D0}" dt="2025-10-23T05:45:32.274" v="9206" actId="165"/>
          <ac:spMkLst>
            <pc:docMk/>
            <pc:sldMk cId="537986554" sldId="261"/>
            <ac:spMk id="224" creationId="{A712ABEE-9BD2-8E0C-EACA-6BE363AB4C18}"/>
          </ac:spMkLst>
        </pc:spChg>
        <pc:spChg chg="mod ord">
          <ac:chgData name="Atchi Padmarani" userId="fe059d67-2bf4-46a8-ba9e-d5041048c89a" providerId="ADAL" clId="{BE86370A-B29F-4F42-BC7C-8661773008D0}" dt="2025-10-23T05:44:54.685" v="9065"/>
          <ac:spMkLst>
            <pc:docMk/>
            <pc:sldMk cId="537986554" sldId="261"/>
            <ac:spMk id="226" creationId="{A8283D64-F4D3-B6FB-7CC8-FC2CB6DDC27F}"/>
          </ac:spMkLst>
        </pc:spChg>
        <pc:spChg chg="mod">
          <ac:chgData name="Atchi Padmarani" userId="fe059d67-2bf4-46a8-ba9e-d5041048c89a" providerId="ADAL" clId="{BE86370A-B29F-4F42-BC7C-8661773008D0}" dt="2025-10-23T05:44:54.685" v="9066"/>
          <ac:spMkLst>
            <pc:docMk/>
            <pc:sldMk cId="537986554" sldId="261"/>
            <ac:spMk id="227" creationId="{32FAB3F7-73FE-F202-CE6A-272DB9EDEA03}"/>
          </ac:spMkLst>
        </pc:spChg>
        <pc:spChg chg="mod">
          <ac:chgData name="Atchi Padmarani" userId="fe059d67-2bf4-46a8-ba9e-d5041048c89a" providerId="ADAL" clId="{BE86370A-B29F-4F42-BC7C-8661773008D0}" dt="2025-10-23T05:44:54.685" v="9067"/>
          <ac:spMkLst>
            <pc:docMk/>
            <pc:sldMk cId="537986554" sldId="261"/>
            <ac:spMk id="228" creationId="{FF5C3020-3435-C8CA-4E06-5DB8956B1094}"/>
          </ac:spMkLst>
        </pc:spChg>
        <pc:spChg chg="mod">
          <ac:chgData name="Atchi Padmarani" userId="fe059d67-2bf4-46a8-ba9e-d5041048c89a" providerId="ADAL" clId="{BE86370A-B29F-4F42-BC7C-8661773008D0}" dt="2025-10-23T05:44:54.685" v="9068"/>
          <ac:spMkLst>
            <pc:docMk/>
            <pc:sldMk cId="537986554" sldId="261"/>
            <ac:spMk id="229" creationId="{302A7445-A73C-FBC3-BD3C-0741FFC9F1E9}"/>
          </ac:spMkLst>
        </pc:spChg>
        <pc:spChg chg="mod">
          <ac:chgData name="Atchi Padmarani" userId="fe059d67-2bf4-46a8-ba9e-d5041048c89a" providerId="ADAL" clId="{BE86370A-B29F-4F42-BC7C-8661773008D0}" dt="2025-10-23T05:44:54.685" v="9069"/>
          <ac:spMkLst>
            <pc:docMk/>
            <pc:sldMk cId="537986554" sldId="261"/>
            <ac:spMk id="230" creationId="{D626AF10-2719-18FA-94E3-6FE43018A840}"/>
          </ac:spMkLst>
        </pc:spChg>
        <pc:spChg chg="mod ord">
          <ac:chgData name="Atchi Padmarani" userId="fe059d67-2bf4-46a8-ba9e-d5041048c89a" providerId="ADAL" clId="{BE86370A-B29F-4F42-BC7C-8661773008D0}" dt="2025-10-23T05:44:54.701" v="9088"/>
          <ac:spMkLst>
            <pc:docMk/>
            <pc:sldMk cId="537986554" sldId="261"/>
            <ac:spMk id="234" creationId="{CDA1E9EF-E2C7-DE23-AD03-650342857AD8}"/>
          </ac:spMkLst>
        </pc:spChg>
        <pc:spChg chg="mod ord">
          <ac:chgData name="Atchi Padmarani" userId="fe059d67-2bf4-46a8-ba9e-d5041048c89a" providerId="ADAL" clId="{BE86370A-B29F-4F42-BC7C-8661773008D0}" dt="2025-10-23T05:44:54.701" v="9090"/>
          <ac:spMkLst>
            <pc:docMk/>
            <pc:sldMk cId="537986554" sldId="261"/>
            <ac:spMk id="239" creationId="{097C01C9-18D8-0D31-7357-75847E868C04}"/>
          </ac:spMkLst>
        </pc:spChg>
        <pc:spChg chg="mod">
          <ac:chgData name="Atchi Padmarani" userId="fe059d67-2bf4-46a8-ba9e-d5041048c89a" providerId="ADAL" clId="{BE86370A-B29F-4F42-BC7C-8661773008D0}" dt="2025-10-23T05:44:54.701" v="9106"/>
          <ac:spMkLst>
            <pc:docMk/>
            <pc:sldMk cId="537986554" sldId="261"/>
            <ac:spMk id="240" creationId="{FCC13577-3EE7-5449-DEF6-0672974F2F3F}"/>
          </ac:spMkLst>
        </pc:spChg>
        <pc:spChg chg="mod">
          <ac:chgData name="Atchi Padmarani" userId="fe059d67-2bf4-46a8-ba9e-d5041048c89a" providerId="ADAL" clId="{BE86370A-B29F-4F42-BC7C-8661773008D0}" dt="2025-10-23T05:44:54.701" v="9107"/>
          <ac:spMkLst>
            <pc:docMk/>
            <pc:sldMk cId="537986554" sldId="261"/>
            <ac:spMk id="241" creationId="{ED85BECD-14C4-856A-8B74-677D4D714BD5}"/>
          </ac:spMkLst>
        </pc:spChg>
        <pc:spChg chg="mod">
          <ac:chgData name="Atchi Padmarani" userId="fe059d67-2bf4-46a8-ba9e-d5041048c89a" providerId="ADAL" clId="{BE86370A-B29F-4F42-BC7C-8661773008D0}" dt="2025-10-23T05:44:54.701" v="9112"/>
          <ac:spMkLst>
            <pc:docMk/>
            <pc:sldMk cId="537986554" sldId="261"/>
            <ac:spMk id="244" creationId="{243F72D7-DBFE-10CD-E385-544E0002D1D7}"/>
          </ac:spMkLst>
        </pc:spChg>
        <pc:spChg chg="mod">
          <ac:chgData name="Atchi Padmarani" userId="fe059d67-2bf4-46a8-ba9e-d5041048c89a" providerId="ADAL" clId="{BE86370A-B29F-4F42-BC7C-8661773008D0}" dt="2025-10-23T05:44:54.701" v="9113"/>
          <ac:spMkLst>
            <pc:docMk/>
            <pc:sldMk cId="537986554" sldId="261"/>
            <ac:spMk id="245" creationId="{78839599-5864-B7E4-FD3A-93A10F68FC30}"/>
          </ac:spMkLst>
        </pc:spChg>
        <pc:spChg chg="mod">
          <ac:chgData name="Atchi Padmarani" userId="fe059d67-2bf4-46a8-ba9e-d5041048c89a" providerId="ADAL" clId="{BE86370A-B29F-4F42-BC7C-8661773008D0}" dt="2025-10-23T05:44:54.701" v="9109"/>
          <ac:spMkLst>
            <pc:docMk/>
            <pc:sldMk cId="537986554" sldId="261"/>
            <ac:spMk id="250" creationId="{451D28F9-2E6E-D47F-966E-EF2512BDED38}"/>
          </ac:spMkLst>
        </pc:spChg>
        <pc:spChg chg="mod">
          <ac:chgData name="Atchi Padmarani" userId="fe059d67-2bf4-46a8-ba9e-d5041048c89a" providerId="ADAL" clId="{BE86370A-B29F-4F42-BC7C-8661773008D0}" dt="2025-10-23T05:44:54.701" v="9110"/>
          <ac:spMkLst>
            <pc:docMk/>
            <pc:sldMk cId="537986554" sldId="261"/>
            <ac:spMk id="251" creationId="{1195721F-9A6E-7194-D157-50DC509C7C3C}"/>
          </ac:spMkLst>
        </pc:spChg>
        <pc:spChg chg="mod">
          <ac:chgData name="Atchi Padmarani" userId="fe059d67-2bf4-46a8-ba9e-d5041048c89a" providerId="ADAL" clId="{BE86370A-B29F-4F42-BC7C-8661773008D0}" dt="2025-10-23T05:45:40.426" v="9207" actId="165"/>
          <ac:spMkLst>
            <pc:docMk/>
            <pc:sldMk cId="537986554" sldId="261"/>
            <ac:spMk id="254" creationId="{E847D895-B410-FFF8-0A80-349B79886C2A}"/>
          </ac:spMkLst>
        </pc:spChg>
        <pc:spChg chg="mod">
          <ac:chgData name="Atchi Padmarani" userId="fe059d67-2bf4-46a8-ba9e-d5041048c89a" providerId="ADAL" clId="{BE86370A-B29F-4F42-BC7C-8661773008D0}" dt="2025-10-23T05:43:58.941" v="8268"/>
          <ac:spMkLst>
            <pc:docMk/>
            <pc:sldMk cId="537986554" sldId="261"/>
            <ac:spMk id="255" creationId="{6B368969-409C-0200-710A-C7CEAD6F40F0}"/>
          </ac:spMkLst>
        </pc:spChg>
        <pc:spChg chg="mod ord">
          <ac:chgData name="Atchi Padmarani" userId="fe059d67-2bf4-46a8-ba9e-d5041048c89a" providerId="ADAL" clId="{BE86370A-B29F-4F42-BC7C-8661773008D0}" dt="2025-10-23T05:44:54.637" v="8844"/>
          <ac:spMkLst>
            <pc:docMk/>
            <pc:sldMk cId="537986554" sldId="261"/>
            <ac:spMk id="256" creationId="{427627C8-4945-E595-BBAA-80323ADD1254}"/>
          </ac:spMkLst>
        </pc:spChg>
        <pc:spChg chg="mod">
          <ac:chgData name="Atchi Padmarani" userId="fe059d67-2bf4-46a8-ba9e-d5041048c89a" providerId="ADAL" clId="{BE86370A-B29F-4F42-BC7C-8661773008D0}" dt="2025-10-23T05:43:58.941" v="8268"/>
          <ac:spMkLst>
            <pc:docMk/>
            <pc:sldMk cId="537986554" sldId="261"/>
            <ac:spMk id="261" creationId="{3B90E441-E1BC-B59C-E6E8-50155D8E0210}"/>
          </ac:spMkLst>
        </pc:spChg>
        <pc:spChg chg="mod">
          <ac:chgData name="Atchi Padmarani" userId="fe059d67-2bf4-46a8-ba9e-d5041048c89a" providerId="ADAL" clId="{BE86370A-B29F-4F42-BC7C-8661773008D0}" dt="2025-10-23T05:43:58.941" v="8268"/>
          <ac:spMkLst>
            <pc:docMk/>
            <pc:sldMk cId="537986554" sldId="261"/>
            <ac:spMk id="264" creationId="{796C4B5F-A683-40C6-5122-EA757F9E4B57}"/>
          </ac:spMkLst>
        </pc:spChg>
        <pc:spChg chg="mod">
          <ac:chgData name="Atchi Padmarani" userId="fe059d67-2bf4-46a8-ba9e-d5041048c89a" providerId="ADAL" clId="{BE86370A-B29F-4F42-BC7C-8661773008D0}" dt="2025-10-23T05:44:54.701" v="9108"/>
          <ac:spMkLst>
            <pc:docMk/>
            <pc:sldMk cId="537986554" sldId="261"/>
            <ac:spMk id="266" creationId="{5A834D90-70B6-7D9E-B591-D3A997C83EAF}"/>
          </ac:spMkLst>
        </pc:spChg>
        <pc:spChg chg="mod">
          <ac:chgData name="Atchi Padmarani" userId="fe059d67-2bf4-46a8-ba9e-d5041048c89a" providerId="ADAL" clId="{BE86370A-B29F-4F42-BC7C-8661773008D0}" dt="2025-10-23T05:44:54.701" v="9111"/>
          <ac:spMkLst>
            <pc:docMk/>
            <pc:sldMk cId="537986554" sldId="261"/>
            <ac:spMk id="267" creationId="{8DCCBBBC-E410-B00C-6074-8935D6CC9BE7}"/>
          </ac:spMkLst>
        </pc:spChg>
        <pc:spChg chg="mod">
          <ac:chgData name="Atchi Padmarani" userId="fe059d67-2bf4-46a8-ba9e-d5041048c89a" providerId="ADAL" clId="{BE86370A-B29F-4F42-BC7C-8661773008D0}" dt="2025-10-23T05:43:58.941" v="8268"/>
          <ac:spMkLst>
            <pc:docMk/>
            <pc:sldMk cId="537986554" sldId="261"/>
            <ac:spMk id="268" creationId="{B87219E5-24D9-8E75-8793-244BFBB1BA2D}"/>
          </ac:spMkLst>
        </pc:spChg>
        <pc:spChg chg="mod ord">
          <ac:chgData name="Atchi Padmarani" userId="fe059d67-2bf4-46a8-ba9e-d5041048c89a" providerId="ADAL" clId="{BE86370A-B29F-4F42-BC7C-8661773008D0}" dt="2025-10-23T05:44:54.701" v="9115"/>
          <ac:spMkLst>
            <pc:docMk/>
            <pc:sldMk cId="537986554" sldId="261"/>
            <ac:spMk id="270" creationId="{0FCA6C9A-0F04-065E-C80C-54570A9F8523}"/>
          </ac:spMkLst>
        </pc:spChg>
        <pc:spChg chg="mod">
          <ac:chgData name="Atchi Padmarani" userId="fe059d67-2bf4-46a8-ba9e-d5041048c89a" providerId="ADAL" clId="{BE86370A-B29F-4F42-BC7C-8661773008D0}" dt="2025-10-23T05:45:40.426" v="9207" actId="165"/>
          <ac:spMkLst>
            <pc:docMk/>
            <pc:sldMk cId="537986554" sldId="261"/>
            <ac:spMk id="277" creationId="{6FBC3ECD-C08F-BE16-E8F9-E9710DB1006E}"/>
          </ac:spMkLst>
        </pc:spChg>
        <pc:spChg chg="mod">
          <ac:chgData name="Atchi Padmarani" userId="fe059d67-2bf4-46a8-ba9e-d5041048c89a" providerId="ADAL" clId="{BE86370A-B29F-4F42-BC7C-8661773008D0}" dt="2025-10-23T05:43:54.591" v="8267"/>
          <ac:spMkLst>
            <pc:docMk/>
            <pc:sldMk cId="537986554" sldId="261"/>
            <ac:spMk id="281" creationId="{F13AF927-CE82-E186-7002-FA319098E846}"/>
          </ac:spMkLst>
        </pc:spChg>
        <pc:spChg chg="mod">
          <ac:chgData name="Atchi Padmarani" userId="fe059d67-2bf4-46a8-ba9e-d5041048c89a" providerId="ADAL" clId="{BE86370A-B29F-4F42-BC7C-8661773008D0}" dt="2025-10-23T05:43:54.591" v="8267"/>
          <ac:spMkLst>
            <pc:docMk/>
            <pc:sldMk cId="537986554" sldId="261"/>
            <ac:spMk id="284" creationId="{7D31E110-7E9F-BE1C-4132-3FEB6991AE96}"/>
          </ac:spMkLst>
        </pc:spChg>
        <pc:spChg chg="mod">
          <ac:chgData name="Atchi Padmarani" userId="fe059d67-2bf4-46a8-ba9e-d5041048c89a" providerId="ADAL" clId="{BE86370A-B29F-4F42-BC7C-8661773008D0}" dt="2025-10-23T05:45:40.426" v="9207" actId="165"/>
          <ac:spMkLst>
            <pc:docMk/>
            <pc:sldMk cId="537986554" sldId="261"/>
            <ac:spMk id="289" creationId="{D34526EF-59C0-8AC0-F1A1-4664172C918C}"/>
          </ac:spMkLst>
        </pc:spChg>
        <pc:spChg chg="mod">
          <ac:chgData name="Atchi Padmarani" userId="fe059d67-2bf4-46a8-ba9e-d5041048c89a" providerId="ADAL" clId="{BE86370A-B29F-4F42-BC7C-8661773008D0}" dt="2025-10-23T05:44:54.701" v="9116"/>
          <ac:spMkLst>
            <pc:docMk/>
            <pc:sldMk cId="537986554" sldId="261"/>
            <ac:spMk id="292" creationId="{B014A7F9-E2CB-E95E-F12C-DF46F93B047E}"/>
          </ac:spMkLst>
        </pc:spChg>
        <pc:spChg chg="mod">
          <ac:chgData name="Atchi Padmarani" userId="fe059d67-2bf4-46a8-ba9e-d5041048c89a" providerId="ADAL" clId="{BE86370A-B29F-4F42-BC7C-8661773008D0}" dt="2025-10-23T05:44:54.701" v="9117"/>
          <ac:spMkLst>
            <pc:docMk/>
            <pc:sldMk cId="537986554" sldId="261"/>
            <ac:spMk id="293" creationId="{DC3F94B4-5D7E-739A-D15C-841A9255D6B9}"/>
          </ac:spMkLst>
        </pc:spChg>
        <pc:spChg chg="mod ord topLvl">
          <ac:chgData name="Atchi Padmarani" userId="fe059d67-2bf4-46a8-ba9e-d5041048c89a" providerId="ADAL" clId="{BE86370A-B29F-4F42-BC7C-8661773008D0}" dt="2025-10-23T05:45:32.274" v="9206" actId="165"/>
          <ac:spMkLst>
            <pc:docMk/>
            <pc:sldMk cId="537986554" sldId="261"/>
            <ac:spMk id="302" creationId="{7B7F1D12-1900-2F6F-19BA-952BAC35CCE0}"/>
          </ac:spMkLst>
        </pc:spChg>
        <pc:spChg chg="mod ord">
          <ac:chgData name="Atchi Padmarani" userId="fe059d67-2bf4-46a8-ba9e-d5041048c89a" providerId="ADAL" clId="{BE86370A-B29F-4F42-BC7C-8661773008D0}" dt="2025-10-23T05:44:54.731" v="9177"/>
          <ac:spMkLst>
            <pc:docMk/>
            <pc:sldMk cId="537986554" sldId="261"/>
            <ac:spMk id="303" creationId="{BA0EF85B-FA03-645D-2F3F-DA11D392965C}"/>
          </ac:spMkLst>
        </pc:spChg>
        <pc:spChg chg="mod ord topLvl">
          <ac:chgData name="Atchi Padmarani" userId="fe059d67-2bf4-46a8-ba9e-d5041048c89a" providerId="ADAL" clId="{BE86370A-B29F-4F42-BC7C-8661773008D0}" dt="2025-10-23T05:45:32.274" v="9206" actId="165"/>
          <ac:spMkLst>
            <pc:docMk/>
            <pc:sldMk cId="537986554" sldId="261"/>
            <ac:spMk id="308" creationId="{21F59FE6-CF73-DFB8-7B7D-E2B9F1F366D5}"/>
          </ac:spMkLst>
        </pc:spChg>
        <pc:spChg chg="mod ord">
          <ac:chgData name="Atchi Padmarani" userId="fe059d67-2bf4-46a8-ba9e-d5041048c89a" providerId="ADAL" clId="{BE86370A-B29F-4F42-BC7C-8661773008D0}" dt="2025-10-23T05:44:54.701" v="9073"/>
          <ac:spMkLst>
            <pc:docMk/>
            <pc:sldMk cId="537986554" sldId="261"/>
            <ac:spMk id="320" creationId="{CC9A6A2D-0CB4-13BF-A549-FFC855971578}"/>
          </ac:spMkLst>
        </pc:spChg>
        <pc:spChg chg="mod ord">
          <ac:chgData name="Atchi Padmarani" userId="fe059d67-2bf4-46a8-ba9e-d5041048c89a" providerId="ADAL" clId="{BE86370A-B29F-4F42-BC7C-8661773008D0}" dt="2025-10-23T05:44:54.701" v="9075"/>
          <ac:spMkLst>
            <pc:docMk/>
            <pc:sldMk cId="537986554" sldId="261"/>
            <ac:spMk id="321" creationId="{4E7F0F8A-C47D-B555-AF48-B7746FE1801A}"/>
          </ac:spMkLst>
        </pc:spChg>
        <pc:spChg chg="mod ord">
          <ac:chgData name="Atchi Padmarani" userId="fe059d67-2bf4-46a8-ba9e-d5041048c89a" providerId="ADAL" clId="{BE86370A-B29F-4F42-BC7C-8661773008D0}" dt="2025-10-23T05:44:54.701" v="9077"/>
          <ac:spMkLst>
            <pc:docMk/>
            <pc:sldMk cId="537986554" sldId="261"/>
            <ac:spMk id="322" creationId="{49661416-5613-87CD-EAA8-A98989679A0B}"/>
          </ac:spMkLst>
        </pc:spChg>
        <pc:spChg chg="mod ord">
          <ac:chgData name="Atchi Padmarani" userId="fe059d67-2bf4-46a8-ba9e-d5041048c89a" providerId="ADAL" clId="{BE86370A-B29F-4F42-BC7C-8661773008D0}" dt="2025-10-23T05:44:54.701" v="9079"/>
          <ac:spMkLst>
            <pc:docMk/>
            <pc:sldMk cId="537986554" sldId="261"/>
            <ac:spMk id="326" creationId="{5F058A6F-22F8-7B1C-DB35-51F001AF0440}"/>
          </ac:spMkLst>
        </pc:spChg>
        <pc:spChg chg="mod">
          <ac:chgData name="Atchi Padmarani" userId="fe059d67-2bf4-46a8-ba9e-d5041048c89a" providerId="ADAL" clId="{BE86370A-B29F-4F42-BC7C-8661773008D0}" dt="2025-10-23T05:44:54.637" v="8845"/>
          <ac:spMkLst>
            <pc:docMk/>
            <pc:sldMk cId="537986554" sldId="261"/>
            <ac:spMk id="327" creationId="{0393C8D4-5210-8389-A1F2-7DD4517A2FDF}"/>
          </ac:spMkLst>
        </pc:spChg>
        <pc:spChg chg="del mod topLvl">
          <ac:chgData name="Atchi Padmarani" userId="fe059d67-2bf4-46a8-ba9e-d5041048c89a" providerId="ADAL" clId="{BE86370A-B29F-4F42-BC7C-8661773008D0}" dt="2025-10-23T05:41:24.524" v="8167" actId="478"/>
          <ac:spMkLst>
            <pc:docMk/>
            <pc:sldMk cId="537986554" sldId="261"/>
            <ac:spMk id="328" creationId="{023A3373-8787-2C6A-1423-95978E62456A}"/>
          </ac:spMkLst>
        </pc:spChg>
        <pc:spChg chg="mod ord">
          <ac:chgData name="Atchi Padmarani" userId="fe059d67-2bf4-46a8-ba9e-d5041048c89a" providerId="ADAL" clId="{BE86370A-B29F-4F42-BC7C-8661773008D0}" dt="2025-10-23T05:43:20.496" v="8245" actId="164"/>
          <ac:spMkLst>
            <pc:docMk/>
            <pc:sldMk cId="537986554" sldId="261"/>
            <ac:spMk id="334" creationId="{DA2CE685-A6F9-915D-E8B1-5FDBD9DB2932}"/>
          </ac:spMkLst>
        </pc:spChg>
        <pc:spChg chg="mod ord">
          <ac:chgData name="Atchi Padmarani" userId="fe059d67-2bf4-46a8-ba9e-d5041048c89a" providerId="ADAL" clId="{BE86370A-B29F-4F42-BC7C-8661773008D0}" dt="2025-10-23T05:44:03.045" v="8269"/>
          <ac:spMkLst>
            <pc:docMk/>
            <pc:sldMk cId="537986554" sldId="261"/>
            <ac:spMk id="335" creationId="{870869B8-AED0-CD53-1CA7-7D32B232D944}"/>
          </ac:spMkLst>
        </pc:spChg>
        <pc:spChg chg="mod ord">
          <ac:chgData name="Atchi Padmarani" userId="fe059d67-2bf4-46a8-ba9e-d5041048c89a" providerId="ADAL" clId="{BE86370A-B29F-4F42-BC7C-8661773008D0}" dt="2025-10-23T05:44:03.045" v="8269"/>
          <ac:spMkLst>
            <pc:docMk/>
            <pc:sldMk cId="537986554" sldId="261"/>
            <ac:spMk id="336" creationId="{18C2F0F7-9EC9-F826-68FB-7C831BF25A5D}"/>
          </ac:spMkLst>
        </pc:spChg>
        <pc:spChg chg="mod">
          <ac:chgData name="Atchi Padmarani" userId="fe059d67-2bf4-46a8-ba9e-d5041048c89a" providerId="ADAL" clId="{BE86370A-B29F-4F42-BC7C-8661773008D0}" dt="2025-10-23T05:44:03.045" v="8269"/>
          <ac:spMkLst>
            <pc:docMk/>
            <pc:sldMk cId="537986554" sldId="261"/>
            <ac:spMk id="338" creationId="{D0DE28AC-5D8A-B758-D855-DF8C7F580F98}"/>
          </ac:spMkLst>
        </pc:spChg>
        <pc:spChg chg="mod">
          <ac:chgData name="Atchi Padmarani" userId="fe059d67-2bf4-46a8-ba9e-d5041048c89a" providerId="ADAL" clId="{BE86370A-B29F-4F42-BC7C-8661773008D0}" dt="2025-10-23T05:44:03.045" v="8269"/>
          <ac:spMkLst>
            <pc:docMk/>
            <pc:sldMk cId="537986554" sldId="261"/>
            <ac:spMk id="343" creationId="{FC6191DB-037A-2566-1D77-4A85388EB327}"/>
          </ac:spMkLst>
        </pc:spChg>
        <pc:spChg chg="mod">
          <ac:chgData name="Atchi Padmarani" userId="fe059d67-2bf4-46a8-ba9e-d5041048c89a" providerId="ADAL" clId="{BE86370A-B29F-4F42-BC7C-8661773008D0}" dt="2025-10-23T05:44:03.045" v="8269"/>
          <ac:spMkLst>
            <pc:docMk/>
            <pc:sldMk cId="537986554" sldId="261"/>
            <ac:spMk id="345" creationId="{B9261316-1460-1B1B-53FB-2367D569CDB0}"/>
          </ac:spMkLst>
        </pc:spChg>
        <pc:spChg chg="mod">
          <ac:chgData name="Atchi Padmarani" userId="fe059d67-2bf4-46a8-ba9e-d5041048c89a" providerId="ADAL" clId="{BE86370A-B29F-4F42-BC7C-8661773008D0}" dt="2025-10-23T05:43:58.941" v="8268"/>
          <ac:spMkLst>
            <pc:docMk/>
            <pc:sldMk cId="537986554" sldId="261"/>
            <ac:spMk id="349" creationId="{3DAD90A3-0043-6AFB-F4FA-3CC6AE194B2D}"/>
          </ac:spMkLst>
        </pc:spChg>
        <pc:spChg chg="mod ord topLvl">
          <ac:chgData name="Atchi Padmarani" userId="fe059d67-2bf4-46a8-ba9e-d5041048c89a" providerId="ADAL" clId="{BE86370A-B29F-4F42-BC7C-8661773008D0}" dt="2025-10-23T05:44:54.725" v="9156"/>
          <ac:spMkLst>
            <pc:docMk/>
            <pc:sldMk cId="537986554" sldId="261"/>
            <ac:spMk id="351" creationId="{A7E0BDC4-F15F-2FBD-B9BD-83BB5A636428}"/>
          </ac:spMkLst>
        </pc:spChg>
        <pc:spChg chg="mod">
          <ac:chgData name="Atchi Padmarani" userId="fe059d67-2bf4-46a8-ba9e-d5041048c89a" providerId="ADAL" clId="{BE86370A-B29F-4F42-BC7C-8661773008D0}" dt="2025-10-23T05:43:27.841" v="8250" actId="164"/>
          <ac:spMkLst>
            <pc:docMk/>
            <pc:sldMk cId="537986554" sldId="261"/>
            <ac:spMk id="354" creationId="{E5C6CB5A-B70E-2151-4C77-A42E4769D204}"/>
          </ac:spMkLst>
        </pc:spChg>
        <pc:spChg chg="mod ord topLvl">
          <ac:chgData name="Atchi Padmarani" userId="fe059d67-2bf4-46a8-ba9e-d5041048c89a" providerId="ADAL" clId="{BE86370A-B29F-4F42-BC7C-8661773008D0}" dt="2025-10-23T05:46:06.297" v="9213" actId="208"/>
          <ac:spMkLst>
            <pc:docMk/>
            <pc:sldMk cId="537986554" sldId="261"/>
            <ac:spMk id="355" creationId="{A3B72912-1351-A5E9-E5FD-97826006266A}"/>
          </ac:spMkLst>
        </pc:spChg>
        <pc:spChg chg="mod">
          <ac:chgData name="Atchi Padmarani" userId="fe059d67-2bf4-46a8-ba9e-d5041048c89a" providerId="ADAL" clId="{BE86370A-B29F-4F42-BC7C-8661773008D0}" dt="2025-10-23T05:44:03.045" v="8269"/>
          <ac:spMkLst>
            <pc:docMk/>
            <pc:sldMk cId="537986554" sldId="261"/>
            <ac:spMk id="356" creationId="{4CA5843E-7307-0062-B602-A9633F3B56D1}"/>
          </ac:spMkLst>
        </pc:spChg>
        <pc:spChg chg="mod">
          <ac:chgData name="Atchi Padmarani" userId="fe059d67-2bf4-46a8-ba9e-d5041048c89a" providerId="ADAL" clId="{BE86370A-B29F-4F42-BC7C-8661773008D0}" dt="2025-10-23T05:45:40.426" v="9207" actId="165"/>
          <ac:spMkLst>
            <pc:docMk/>
            <pc:sldMk cId="537986554" sldId="261"/>
            <ac:spMk id="358" creationId="{E550BAB7-47C7-A5F5-9A1B-A0BB6AB93995}"/>
          </ac:spMkLst>
        </pc:spChg>
        <pc:spChg chg="mod">
          <ac:chgData name="Atchi Padmarani" userId="fe059d67-2bf4-46a8-ba9e-d5041048c89a" providerId="ADAL" clId="{BE86370A-B29F-4F42-BC7C-8661773008D0}" dt="2025-10-23T05:44:03.045" v="8269"/>
          <ac:spMkLst>
            <pc:docMk/>
            <pc:sldMk cId="537986554" sldId="261"/>
            <ac:spMk id="359" creationId="{712639DD-257C-48C9-B41F-816BE1312B65}"/>
          </ac:spMkLst>
        </pc:spChg>
        <pc:spChg chg="mod ord">
          <ac:chgData name="Atchi Padmarani" userId="fe059d67-2bf4-46a8-ba9e-d5041048c89a" providerId="ADAL" clId="{BE86370A-B29F-4F42-BC7C-8661773008D0}" dt="2025-10-23T05:46:06.297" v="9213" actId="208"/>
          <ac:spMkLst>
            <pc:docMk/>
            <pc:sldMk cId="537986554" sldId="261"/>
            <ac:spMk id="383" creationId="{7257D204-8106-C690-4B4C-4F1C077A2159}"/>
          </ac:spMkLst>
        </pc:spChg>
        <pc:spChg chg="mod">
          <ac:chgData name="Atchi Padmarani" userId="fe059d67-2bf4-46a8-ba9e-d5041048c89a" providerId="ADAL" clId="{BE86370A-B29F-4F42-BC7C-8661773008D0}" dt="2025-10-23T05:43:27.841" v="8250" actId="164"/>
          <ac:spMkLst>
            <pc:docMk/>
            <pc:sldMk cId="537986554" sldId="261"/>
            <ac:spMk id="385" creationId="{C0702ADC-8FD8-61FE-36DF-73E47C05DD8C}"/>
          </ac:spMkLst>
        </pc:spChg>
        <pc:spChg chg="mod">
          <ac:chgData name="Atchi Padmarani" userId="fe059d67-2bf4-46a8-ba9e-d5041048c89a" providerId="ADAL" clId="{BE86370A-B29F-4F42-BC7C-8661773008D0}" dt="2025-10-23T05:43:27.841" v="8250" actId="164"/>
          <ac:spMkLst>
            <pc:docMk/>
            <pc:sldMk cId="537986554" sldId="261"/>
            <ac:spMk id="386" creationId="{E49D6385-6D3B-BAE5-5E13-B94482FDC864}"/>
          </ac:spMkLst>
        </pc:spChg>
        <pc:spChg chg="mod ord">
          <ac:chgData name="Atchi Padmarani" userId="fe059d67-2bf4-46a8-ba9e-d5041048c89a" providerId="ADAL" clId="{BE86370A-B29F-4F42-BC7C-8661773008D0}" dt="2025-10-23T05:46:06.297" v="9213" actId="208"/>
          <ac:spMkLst>
            <pc:docMk/>
            <pc:sldMk cId="537986554" sldId="261"/>
            <ac:spMk id="390" creationId="{FF91AD3B-2C5A-0758-CBDB-9F3D4F285395}"/>
          </ac:spMkLst>
        </pc:spChg>
        <pc:spChg chg="mod">
          <ac:chgData name="Atchi Padmarani" userId="fe059d67-2bf4-46a8-ba9e-d5041048c89a" providerId="ADAL" clId="{BE86370A-B29F-4F42-BC7C-8661773008D0}" dt="2025-10-23T05:43:27.841" v="8250" actId="164"/>
          <ac:spMkLst>
            <pc:docMk/>
            <pc:sldMk cId="537986554" sldId="261"/>
            <ac:spMk id="392" creationId="{895A39AB-9501-7EBB-A923-4F7C74E38800}"/>
          </ac:spMkLst>
        </pc:spChg>
        <pc:spChg chg="mod">
          <ac:chgData name="Atchi Padmarani" userId="fe059d67-2bf4-46a8-ba9e-d5041048c89a" providerId="ADAL" clId="{BE86370A-B29F-4F42-BC7C-8661773008D0}" dt="2025-10-23T05:40:15.456" v="8079"/>
          <ac:spMkLst>
            <pc:docMk/>
            <pc:sldMk cId="537986554" sldId="261"/>
            <ac:spMk id="393" creationId="{7DBEC855-65CB-FE31-8B15-76DB53165091}"/>
          </ac:spMkLst>
        </pc:spChg>
        <pc:spChg chg="mod ord topLvl">
          <ac:chgData name="Atchi Padmarani" userId="fe059d67-2bf4-46a8-ba9e-d5041048c89a" providerId="ADAL" clId="{BE86370A-B29F-4F42-BC7C-8661773008D0}" dt="2025-10-23T05:46:06.297" v="9213" actId="208"/>
          <ac:spMkLst>
            <pc:docMk/>
            <pc:sldMk cId="537986554" sldId="261"/>
            <ac:spMk id="397" creationId="{AE9DC0A8-1A8F-80C7-3C09-6651AD03413A}"/>
          </ac:spMkLst>
        </pc:spChg>
        <pc:spChg chg="mod">
          <ac:chgData name="Atchi Padmarani" userId="fe059d67-2bf4-46a8-ba9e-d5041048c89a" providerId="ADAL" clId="{BE86370A-B29F-4F42-BC7C-8661773008D0}" dt="2025-10-23T05:43:27.841" v="8250" actId="164"/>
          <ac:spMkLst>
            <pc:docMk/>
            <pc:sldMk cId="537986554" sldId="261"/>
            <ac:spMk id="399" creationId="{1F1CEBBD-B4A6-7D25-4FDB-10259D2276B1}"/>
          </ac:spMkLst>
        </pc:spChg>
        <pc:spChg chg="mod">
          <ac:chgData name="Atchi Padmarani" userId="fe059d67-2bf4-46a8-ba9e-d5041048c89a" providerId="ADAL" clId="{BE86370A-B29F-4F42-BC7C-8661773008D0}" dt="2025-10-23T05:43:27.841" v="8250" actId="164"/>
          <ac:spMkLst>
            <pc:docMk/>
            <pc:sldMk cId="537986554" sldId="261"/>
            <ac:spMk id="400" creationId="{3CB5822F-DE2E-BD28-968D-725D4E9A1693}"/>
          </ac:spMkLst>
        </pc:spChg>
        <pc:spChg chg="mod ord">
          <ac:chgData name="Atchi Padmarani" userId="fe059d67-2bf4-46a8-ba9e-d5041048c89a" providerId="ADAL" clId="{BE86370A-B29F-4F42-BC7C-8661773008D0}" dt="2025-10-23T05:44:54.727" v="9161"/>
          <ac:spMkLst>
            <pc:docMk/>
            <pc:sldMk cId="537986554" sldId="261"/>
            <ac:spMk id="436" creationId="{08F893E0-920A-F0A1-B417-AD1BD5C96079}"/>
          </ac:spMkLst>
        </pc:spChg>
        <pc:spChg chg="mod ord">
          <ac:chgData name="Atchi Padmarani" userId="fe059d67-2bf4-46a8-ba9e-d5041048c89a" providerId="ADAL" clId="{BE86370A-B29F-4F42-BC7C-8661773008D0}" dt="2025-10-23T05:46:06.297" v="9213" actId="208"/>
          <ac:spMkLst>
            <pc:docMk/>
            <pc:sldMk cId="537986554" sldId="261"/>
            <ac:spMk id="441" creationId="{3B3CE2AD-0F94-3C23-3F06-614616EC156F}"/>
          </ac:spMkLst>
        </pc:spChg>
        <pc:spChg chg="mod ord">
          <ac:chgData name="Atchi Padmarani" userId="fe059d67-2bf4-46a8-ba9e-d5041048c89a" providerId="ADAL" clId="{BE86370A-B29F-4F42-BC7C-8661773008D0}" dt="2025-10-23T05:43:24.532" v="8249" actId="164"/>
          <ac:spMkLst>
            <pc:docMk/>
            <pc:sldMk cId="537986554" sldId="261"/>
            <ac:spMk id="442" creationId="{9CA3851A-075F-741D-FAEB-11B62D9130AA}"/>
          </ac:spMkLst>
        </pc:spChg>
        <pc:spChg chg="mod">
          <ac:chgData name="Atchi Padmarani" userId="fe059d67-2bf4-46a8-ba9e-d5041048c89a" providerId="ADAL" clId="{BE86370A-B29F-4F42-BC7C-8661773008D0}" dt="2025-10-23T05:43:54.591" v="8267"/>
          <ac:spMkLst>
            <pc:docMk/>
            <pc:sldMk cId="537986554" sldId="261"/>
            <ac:spMk id="443" creationId="{0C04712F-3F6A-CD93-B607-533621294E8A}"/>
          </ac:spMkLst>
        </pc:spChg>
        <pc:spChg chg="mod ord">
          <ac:chgData name="Atchi Padmarani" userId="fe059d67-2bf4-46a8-ba9e-d5041048c89a" providerId="ADAL" clId="{BE86370A-B29F-4F42-BC7C-8661773008D0}" dt="2025-10-23T05:43:24.532" v="8249" actId="164"/>
          <ac:spMkLst>
            <pc:docMk/>
            <pc:sldMk cId="537986554" sldId="261"/>
            <ac:spMk id="447" creationId="{5C09F590-F353-3523-6E69-D14E32C8E96C}"/>
          </ac:spMkLst>
        </pc:spChg>
        <pc:spChg chg="mod ord topLvl">
          <ac:chgData name="Atchi Padmarani" userId="fe059d67-2bf4-46a8-ba9e-d5041048c89a" providerId="ADAL" clId="{BE86370A-B29F-4F42-BC7C-8661773008D0}" dt="2025-10-23T05:45:40.426" v="9207" actId="165"/>
          <ac:spMkLst>
            <pc:docMk/>
            <pc:sldMk cId="537986554" sldId="261"/>
            <ac:spMk id="448" creationId="{BC3E49A1-89C1-B2CE-BB23-237172168713}"/>
          </ac:spMkLst>
        </pc:spChg>
        <pc:spChg chg="mod">
          <ac:chgData name="Atchi Padmarani" userId="fe059d67-2bf4-46a8-ba9e-d5041048c89a" providerId="ADAL" clId="{BE86370A-B29F-4F42-BC7C-8661773008D0}" dt="2025-10-23T05:43:54.591" v="8267"/>
          <ac:spMkLst>
            <pc:docMk/>
            <pc:sldMk cId="537986554" sldId="261"/>
            <ac:spMk id="449" creationId="{E0D5EFAE-17E8-6E4D-80ED-6A86F0288618}"/>
          </ac:spMkLst>
        </pc:spChg>
        <pc:spChg chg="mod ord">
          <ac:chgData name="Atchi Padmarani" userId="fe059d67-2bf4-46a8-ba9e-d5041048c89a" providerId="ADAL" clId="{BE86370A-B29F-4F42-BC7C-8661773008D0}" dt="2025-10-23T05:44:54.637" v="8859"/>
          <ac:spMkLst>
            <pc:docMk/>
            <pc:sldMk cId="537986554" sldId="261"/>
            <ac:spMk id="450" creationId="{B491E1F2-43AA-F4C4-55F6-F33EDC57F095}"/>
          </ac:spMkLst>
        </pc:spChg>
        <pc:spChg chg="mod ord">
          <ac:chgData name="Atchi Padmarani" userId="fe059d67-2bf4-46a8-ba9e-d5041048c89a" providerId="ADAL" clId="{BE86370A-B29F-4F42-BC7C-8661773008D0}" dt="2025-10-23T05:44:54.637" v="8873"/>
          <ac:spMkLst>
            <pc:docMk/>
            <pc:sldMk cId="537986554" sldId="261"/>
            <ac:spMk id="451" creationId="{4A8F93D9-7FEC-557A-7B7B-9516130FCB85}"/>
          </ac:spMkLst>
        </pc:spChg>
        <pc:spChg chg="mod ord">
          <ac:chgData name="Atchi Padmarani" userId="fe059d67-2bf4-46a8-ba9e-d5041048c89a" providerId="ADAL" clId="{BE86370A-B29F-4F42-BC7C-8661773008D0}" dt="2025-10-23T05:44:54.637" v="8881"/>
          <ac:spMkLst>
            <pc:docMk/>
            <pc:sldMk cId="537986554" sldId="261"/>
            <ac:spMk id="452" creationId="{6FD62954-0124-7AD9-6FB3-8B935D930367}"/>
          </ac:spMkLst>
        </pc:spChg>
        <pc:spChg chg="mod ord">
          <ac:chgData name="Atchi Padmarani" userId="fe059d67-2bf4-46a8-ba9e-d5041048c89a" providerId="ADAL" clId="{BE86370A-B29F-4F42-BC7C-8661773008D0}" dt="2025-10-23T05:46:06.297" v="9213" actId="208"/>
          <ac:spMkLst>
            <pc:docMk/>
            <pc:sldMk cId="537986554" sldId="261"/>
            <ac:spMk id="453" creationId="{911D8653-861E-21FF-FEC5-EE707563CF91}"/>
          </ac:spMkLst>
        </pc:spChg>
        <pc:spChg chg="mod ord topLvl">
          <ac:chgData name="Atchi Padmarani" userId="fe059d67-2bf4-46a8-ba9e-d5041048c89a" providerId="ADAL" clId="{BE86370A-B29F-4F42-BC7C-8661773008D0}" dt="2025-10-23T05:45:40.426" v="9207" actId="165"/>
          <ac:spMkLst>
            <pc:docMk/>
            <pc:sldMk cId="537986554" sldId="261"/>
            <ac:spMk id="454" creationId="{E44722E3-B43A-FC7B-694A-7B73F729C641}"/>
          </ac:spMkLst>
        </pc:spChg>
        <pc:spChg chg="mod">
          <ac:chgData name="Atchi Padmarani" userId="fe059d67-2bf4-46a8-ba9e-d5041048c89a" providerId="ADAL" clId="{BE86370A-B29F-4F42-BC7C-8661773008D0}" dt="2025-10-23T05:43:54.591" v="8267"/>
          <ac:spMkLst>
            <pc:docMk/>
            <pc:sldMk cId="537986554" sldId="261"/>
            <ac:spMk id="455" creationId="{1B0A882A-4875-A349-05AE-7651245CD25C}"/>
          </ac:spMkLst>
        </pc:spChg>
        <pc:spChg chg="mod ord">
          <ac:chgData name="Atchi Padmarani" userId="fe059d67-2bf4-46a8-ba9e-d5041048c89a" providerId="ADAL" clId="{BE86370A-B29F-4F42-BC7C-8661773008D0}" dt="2025-10-23T05:44:54.637" v="8889"/>
          <ac:spMkLst>
            <pc:docMk/>
            <pc:sldMk cId="537986554" sldId="261"/>
            <ac:spMk id="456" creationId="{FBCFDCAA-B5F4-BF43-F94F-1BC0B8BF05D6}"/>
          </ac:spMkLst>
        </pc:spChg>
        <pc:spChg chg="mod ord">
          <ac:chgData name="Atchi Padmarani" userId="fe059d67-2bf4-46a8-ba9e-d5041048c89a" providerId="ADAL" clId="{BE86370A-B29F-4F42-BC7C-8661773008D0}" dt="2025-10-23T05:46:06.297" v="9213" actId="208"/>
          <ac:spMkLst>
            <pc:docMk/>
            <pc:sldMk cId="537986554" sldId="261"/>
            <ac:spMk id="459" creationId="{91D5AE61-2682-93BE-8CD9-E31A059AD169}"/>
          </ac:spMkLst>
        </pc:spChg>
        <pc:spChg chg="mod ord">
          <ac:chgData name="Atchi Padmarani" userId="fe059d67-2bf4-46a8-ba9e-d5041048c89a" providerId="ADAL" clId="{BE86370A-B29F-4F42-BC7C-8661773008D0}" dt="2025-10-23T05:44:54.637" v="8863"/>
          <ac:spMkLst>
            <pc:docMk/>
            <pc:sldMk cId="537986554" sldId="261"/>
            <ac:spMk id="460" creationId="{B6CAFACC-565F-ECFE-87FA-71394594C72C}"/>
          </ac:spMkLst>
        </pc:spChg>
        <pc:spChg chg="mod ord topLvl">
          <ac:chgData name="Atchi Padmarani" userId="fe059d67-2bf4-46a8-ba9e-d5041048c89a" providerId="ADAL" clId="{BE86370A-B29F-4F42-BC7C-8661773008D0}" dt="2025-10-23T05:45:40.426" v="9207" actId="165"/>
          <ac:spMkLst>
            <pc:docMk/>
            <pc:sldMk cId="537986554" sldId="261"/>
            <ac:spMk id="461" creationId="{C022185C-E5F3-E765-6933-28E334F8C697}"/>
          </ac:spMkLst>
        </pc:spChg>
        <pc:spChg chg="mod">
          <ac:chgData name="Atchi Padmarani" userId="fe059d67-2bf4-46a8-ba9e-d5041048c89a" providerId="ADAL" clId="{BE86370A-B29F-4F42-BC7C-8661773008D0}" dt="2025-10-23T05:43:24.532" v="8249" actId="164"/>
          <ac:spMkLst>
            <pc:docMk/>
            <pc:sldMk cId="537986554" sldId="261"/>
            <ac:spMk id="462" creationId="{88479343-186D-9C89-6E1B-CA4A213E7CFF}"/>
          </ac:spMkLst>
        </pc:spChg>
        <pc:spChg chg="mod ord">
          <ac:chgData name="Atchi Padmarani" userId="fe059d67-2bf4-46a8-ba9e-d5041048c89a" providerId="ADAL" clId="{BE86370A-B29F-4F42-BC7C-8661773008D0}" dt="2025-10-23T05:44:54.637" v="8867"/>
          <ac:spMkLst>
            <pc:docMk/>
            <pc:sldMk cId="537986554" sldId="261"/>
            <ac:spMk id="463" creationId="{5CE8E049-CB9A-BAA1-F920-0421A34F9241}"/>
          </ac:spMkLst>
        </pc:spChg>
        <pc:spChg chg="mod ord">
          <ac:chgData name="Atchi Padmarani" userId="fe059d67-2bf4-46a8-ba9e-d5041048c89a" providerId="ADAL" clId="{BE86370A-B29F-4F42-BC7C-8661773008D0}" dt="2025-10-23T05:44:54.637" v="8875"/>
          <ac:spMkLst>
            <pc:docMk/>
            <pc:sldMk cId="537986554" sldId="261"/>
            <ac:spMk id="479" creationId="{E4B2B566-B037-5909-B8B0-C12863C9425B}"/>
          </ac:spMkLst>
        </pc:spChg>
        <pc:spChg chg="mod ord">
          <ac:chgData name="Atchi Padmarani" userId="fe059d67-2bf4-46a8-ba9e-d5041048c89a" providerId="ADAL" clId="{BE86370A-B29F-4F42-BC7C-8661773008D0}" dt="2025-10-23T05:44:54.637" v="8877"/>
          <ac:spMkLst>
            <pc:docMk/>
            <pc:sldMk cId="537986554" sldId="261"/>
            <ac:spMk id="480" creationId="{C18D931B-8C4E-FD48-F1CD-CCCDBA3E911A}"/>
          </ac:spMkLst>
        </pc:spChg>
        <pc:spChg chg="mod ord">
          <ac:chgData name="Atchi Padmarani" userId="fe059d67-2bf4-46a8-ba9e-d5041048c89a" providerId="ADAL" clId="{BE86370A-B29F-4F42-BC7C-8661773008D0}" dt="2025-10-23T05:44:54.637" v="8879"/>
          <ac:spMkLst>
            <pc:docMk/>
            <pc:sldMk cId="537986554" sldId="261"/>
            <ac:spMk id="481" creationId="{8AE89FB3-4DE8-EBD9-BFB7-D034254E1370}"/>
          </ac:spMkLst>
        </pc:spChg>
        <pc:spChg chg="mod ord">
          <ac:chgData name="Atchi Padmarani" userId="fe059d67-2bf4-46a8-ba9e-d5041048c89a" providerId="ADAL" clId="{BE86370A-B29F-4F42-BC7C-8661773008D0}" dt="2025-10-23T05:44:54.637" v="8883"/>
          <ac:spMkLst>
            <pc:docMk/>
            <pc:sldMk cId="537986554" sldId="261"/>
            <ac:spMk id="483" creationId="{3AC4FA57-3D56-955B-AB21-154A0EEC06F4}"/>
          </ac:spMkLst>
        </pc:spChg>
        <pc:spChg chg="mod ord">
          <ac:chgData name="Atchi Padmarani" userId="fe059d67-2bf4-46a8-ba9e-d5041048c89a" providerId="ADAL" clId="{BE86370A-B29F-4F42-BC7C-8661773008D0}" dt="2025-10-23T05:44:54.637" v="8885"/>
          <ac:spMkLst>
            <pc:docMk/>
            <pc:sldMk cId="537986554" sldId="261"/>
            <ac:spMk id="484" creationId="{C38AE8F5-86D3-7B6B-87C5-69B21501AB09}"/>
          </ac:spMkLst>
        </pc:spChg>
        <pc:spChg chg="mod ord">
          <ac:chgData name="Atchi Padmarani" userId="fe059d67-2bf4-46a8-ba9e-d5041048c89a" providerId="ADAL" clId="{BE86370A-B29F-4F42-BC7C-8661773008D0}" dt="2025-10-23T05:44:54.637" v="8887"/>
          <ac:spMkLst>
            <pc:docMk/>
            <pc:sldMk cId="537986554" sldId="261"/>
            <ac:spMk id="485" creationId="{79912B43-D60C-AF64-1521-1F21638B737F}"/>
          </ac:spMkLst>
        </pc:spChg>
        <pc:spChg chg="mod ord">
          <ac:chgData name="Atchi Padmarani" userId="fe059d67-2bf4-46a8-ba9e-d5041048c89a" providerId="ADAL" clId="{BE86370A-B29F-4F42-BC7C-8661773008D0}" dt="2025-10-23T05:44:54.653" v="8897"/>
          <ac:spMkLst>
            <pc:docMk/>
            <pc:sldMk cId="537986554" sldId="261"/>
            <ac:spMk id="489" creationId="{0B6B983C-A83E-E62E-6E44-5CE74FD54888}"/>
          </ac:spMkLst>
        </pc:spChg>
        <pc:spChg chg="mod">
          <ac:chgData name="Atchi Padmarani" userId="fe059d67-2bf4-46a8-ba9e-d5041048c89a" providerId="ADAL" clId="{BE86370A-B29F-4F42-BC7C-8661773008D0}" dt="2025-10-23T05:44:54.653" v="8900"/>
          <ac:spMkLst>
            <pc:docMk/>
            <pc:sldMk cId="537986554" sldId="261"/>
            <ac:spMk id="491" creationId="{87F86DE3-7BF3-2696-DA1D-82FD0348A90A}"/>
          </ac:spMkLst>
        </pc:spChg>
        <pc:spChg chg="mod">
          <ac:chgData name="Atchi Padmarani" userId="fe059d67-2bf4-46a8-ba9e-d5041048c89a" providerId="ADAL" clId="{BE86370A-B29F-4F42-BC7C-8661773008D0}" dt="2025-10-23T05:44:54.653" v="8901"/>
          <ac:spMkLst>
            <pc:docMk/>
            <pc:sldMk cId="537986554" sldId="261"/>
            <ac:spMk id="492" creationId="{B1D65A8C-7E9A-C28A-8127-FA1B2E6236EA}"/>
          </ac:spMkLst>
        </pc:spChg>
        <pc:spChg chg="mod ord">
          <ac:chgData name="Atchi Padmarani" userId="fe059d67-2bf4-46a8-ba9e-d5041048c89a" providerId="ADAL" clId="{BE86370A-B29F-4F42-BC7C-8661773008D0}" dt="2025-10-23T05:44:54.637" v="8861"/>
          <ac:spMkLst>
            <pc:docMk/>
            <pc:sldMk cId="537986554" sldId="261"/>
            <ac:spMk id="495" creationId="{830ED43D-A656-082F-244F-A6AFBC3BF6F8}"/>
          </ac:spMkLst>
        </pc:spChg>
        <pc:spChg chg="mod ord">
          <ac:chgData name="Atchi Padmarani" userId="fe059d67-2bf4-46a8-ba9e-d5041048c89a" providerId="ADAL" clId="{BE86370A-B29F-4F42-BC7C-8661773008D0}" dt="2025-10-23T05:44:54.637" v="8865"/>
          <ac:spMkLst>
            <pc:docMk/>
            <pc:sldMk cId="537986554" sldId="261"/>
            <ac:spMk id="496" creationId="{79027A67-39DE-812C-7320-3EEE462893C2}"/>
          </ac:spMkLst>
        </pc:spChg>
        <pc:spChg chg="mod ord">
          <ac:chgData name="Atchi Padmarani" userId="fe059d67-2bf4-46a8-ba9e-d5041048c89a" providerId="ADAL" clId="{BE86370A-B29F-4F42-BC7C-8661773008D0}" dt="2025-10-23T05:44:54.637" v="8869"/>
          <ac:spMkLst>
            <pc:docMk/>
            <pc:sldMk cId="537986554" sldId="261"/>
            <ac:spMk id="497" creationId="{4AD5E0E9-9FEC-6F5D-37C9-CC2DA657762B}"/>
          </ac:spMkLst>
        </pc:spChg>
        <pc:spChg chg="mod ord">
          <ac:chgData name="Atchi Padmarani" userId="fe059d67-2bf4-46a8-ba9e-d5041048c89a" providerId="ADAL" clId="{BE86370A-B29F-4F42-BC7C-8661773008D0}" dt="2025-10-23T05:44:54.637" v="8891"/>
          <ac:spMkLst>
            <pc:docMk/>
            <pc:sldMk cId="537986554" sldId="261"/>
            <ac:spMk id="499" creationId="{2A6C4F84-C977-74C4-2F7A-BE8C87793EFC}"/>
          </ac:spMkLst>
        </pc:spChg>
        <pc:spChg chg="mod ord">
          <ac:chgData name="Atchi Padmarani" userId="fe059d67-2bf4-46a8-ba9e-d5041048c89a" providerId="ADAL" clId="{BE86370A-B29F-4F42-BC7C-8661773008D0}" dt="2025-10-23T05:44:54.637" v="8893"/>
          <ac:spMkLst>
            <pc:docMk/>
            <pc:sldMk cId="537986554" sldId="261"/>
            <ac:spMk id="500" creationId="{9F1496FF-020E-6592-2B6D-2A8025C91A11}"/>
          </ac:spMkLst>
        </pc:spChg>
        <pc:spChg chg="mod ord">
          <ac:chgData name="Atchi Padmarani" userId="fe059d67-2bf4-46a8-ba9e-d5041048c89a" providerId="ADAL" clId="{BE86370A-B29F-4F42-BC7C-8661773008D0}" dt="2025-10-23T05:44:54.637" v="8895"/>
          <ac:spMkLst>
            <pc:docMk/>
            <pc:sldMk cId="537986554" sldId="261"/>
            <ac:spMk id="501" creationId="{9934B06F-D163-09F6-CB61-1CC164958FD6}"/>
          </ac:spMkLst>
        </pc:spChg>
        <pc:spChg chg="mod ord">
          <ac:chgData name="Atchi Padmarani" userId="fe059d67-2bf4-46a8-ba9e-d5041048c89a" providerId="ADAL" clId="{BE86370A-B29F-4F42-BC7C-8661773008D0}" dt="2025-10-23T05:44:54.653" v="8915"/>
          <ac:spMkLst>
            <pc:docMk/>
            <pc:sldMk cId="537986554" sldId="261"/>
            <ac:spMk id="503" creationId="{992D7D8C-AE39-FDBB-8251-470C01E41AF6}"/>
          </ac:spMkLst>
        </pc:spChg>
        <pc:spChg chg="mod ord">
          <ac:chgData name="Atchi Padmarani" userId="fe059d67-2bf4-46a8-ba9e-d5041048c89a" providerId="ADAL" clId="{BE86370A-B29F-4F42-BC7C-8661773008D0}" dt="2025-10-23T05:44:54.653" v="8917"/>
          <ac:spMkLst>
            <pc:docMk/>
            <pc:sldMk cId="537986554" sldId="261"/>
            <ac:spMk id="504" creationId="{64A2396F-713A-317F-3834-7459E84B1DA1}"/>
          </ac:spMkLst>
        </pc:spChg>
        <pc:spChg chg="mod ord">
          <ac:chgData name="Atchi Padmarani" userId="fe059d67-2bf4-46a8-ba9e-d5041048c89a" providerId="ADAL" clId="{BE86370A-B29F-4F42-BC7C-8661773008D0}" dt="2025-10-23T05:44:54.660" v="8919"/>
          <ac:spMkLst>
            <pc:docMk/>
            <pc:sldMk cId="537986554" sldId="261"/>
            <ac:spMk id="505" creationId="{12886326-6553-5D20-E32D-02BC6AF70585}"/>
          </ac:spMkLst>
        </pc:spChg>
        <pc:spChg chg="mod ord">
          <ac:chgData name="Atchi Padmarani" userId="fe059d67-2bf4-46a8-ba9e-d5041048c89a" providerId="ADAL" clId="{BE86370A-B29F-4F42-BC7C-8661773008D0}" dt="2025-10-23T05:44:54.653" v="8909"/>
          <ac:spMkLst>
            <pc:docMk/>
            <pc:sldMk cId="537986554" sldId="261"/>
            <ac:spMk id="508" creationId="{25A4D62F-948D-9C5A-9FE1-59FCC03D7E3F}"/>
          </ac:spMkLst>
        </pc:spChg>
        <pc:spChg chg="mod">
          <ac:chgData name="Atchi Padmarani" userId="fe059d67-2bf4-46a8-ba9e-d5041048c89a" providerId="ADAL" clId="{BE86370A-B29F-4F42-BC7C-8661773008D0}" dt="2025-10-23T05:44:54.653" v="8910"/>
          <ac:spMkLst>
            <pc:docMk/>
            <pc:sldMk cId="537986554" sldId="261"/>
            <ac:spMk id="509" creationId="{83690CF2-7B93-5DC4-0299-DE82BA1DB474}"/>
          </ac:spMkLst>
        </pc:spChg>
        <pc:spChg chg="mod">
          <ac:chgData name="Atchi Padmarani" userId="fe059d67-2bf4-46a8-ba9e-d5041048c89a" providerId="ADAL" clId="{BE86370A-B29F-4F42-BC7C-8661773008D0}" dt="2025-10-23T05:44:54.653" v="8911"/>
          <ac:spMkLst>
            <pc:docMk/>
            <pc:sldMk cId="537986554" sldId="261"/>
            <ac:spMk id="510" creationId="{F4E6261D-141B-31A2-BFE5-5E204F2997EC}"/>
          </ac:spMkLst>
        </pc:spChg>
        <pc:grpChg chg="add del mod ord">
          <ac:chgData name="Atchi Padmarani" userId="fe059d67-2bf4-46a8-ba9e-d5041048c89a" providerId="ADAL" clId="{BE86370A-B29F-4F42-BC7C-8661773008D0}" dt="2025-10-23T05:40:36.868" v="8137" actId="165"/>
          <ac:grpSpMkLst>
            <pc:docMk/>
            <pc:sldMk cId="537986554" sldId="261"/>
            <ac:grpSpMk id="7" creationId="{9BB6DC53-1451-0F0E-CEB1-4F47CA39F3C9}"/>
          </ac:grpSpMkLst>
        </pc:grpChg>
        <pc:grpChg chg="add mod ord">
          <ac:chgData name="Atchi Padmarani" userId="fe059d67-2bf4-46a8-ba9e-d5041048c89a" providerId="ADAL" clId="{BE86370A-B29F-4F42-BC7C-8661773008D0}" dt="2025-10-23T05:44:54.727" v="9165"/>
          <ac:grpSpMkLst>
            <pc:docMk/>
            <pc:sldMk cId="537986554" sldId="261"/>
            <ac:grpSpMk id="14" creationId="{21E2A05D-6252-478E-D057-5C5DCD18AD72}"/>
          </ac:grpSpMkLst>
        </pc:grpChg>
        <pc:grpChg chg="add mod">
          <ac:chgData name="Atchi Padmarani" userId="fe059d67-2bf4-46a8-ba9e-d5041048c89a" providerId="ADAL" clId="{BE86370A-B29F-4F42-BC7C-8661773008D0}" dt="2025-10-23T05:44:54.727" v="9163"/>
          <ac:grpSpMkLst>
            <pc:docMk/>
            <pc:sldMk cId="537986554" sldId="261"/>
            <ac:grpSpMk id="19" creationId="{A1BA71E9-088F-ACB9-8B61-8A073428E82A}"/>
          </ac:grpSpMkLst>
        </pc:grpChg>
        <pc:grpChg chg="mod">
          <ac:chgData name="Atchi Padmarani" userId="fe059d67-2bf4-46a8-ba9e-d5041048c89a" providerId="ADAL" clId="{BE86370A-B29F-4F42-BC7C-8661773008D0}" dt="2025-10-23T05:44:54.727" v="9162"/>
          <ac:grpSpMkLst>
            <pc:docMk/>
            <pc:sldMk cId="537986554" sldId="261"/>
            <ac:grpSpMk id="22" creationId="{A132CEE8-30A9-30FF-8E9B-505C98F2EB3E}"/>
          </ac:grpSpMkLst>
        </pc:grpChg>
        <pc:grpChg chg="mod">
          <ac:chgData name="Atchi Padmarani" userId="fe059d67-2bf4-46a8-ba9e-d5041048c89a" providerId="ADAL" clId="{BE86370A-B29F-4F42-BC7C-8661773008D0}" dt="2025-10-23T05:44:54.725" v="9157"/>
          <ac:grpSpMkLst>
            <pc:docMk/>
            <pc:sldMk cId="537986554" sldId="261"/>
            <ac:grpSpMk id="29" creationId="{BF11CB2B-6A29-F0F8-36BB-FBF8CDDA08E0}"/>
          </ac:grpSpMkLst>
        </pc:grpChg>
        <pc:grpChg chg="del mod ord">
          <ac:chgData name="Atchi Padmarani" userId="fe059d67-2bf4-46a8-ba9e-d5041048c89a" providerId="ADAL" clId="{BE86370A-B29F-4F42-BC7C-8661773008D0}" dt="2025-10-23T05:40:20.652" v="8131" actId="478"/>
          <ac:grpSpMkLst>
            <pc:docMk/>
            <pc:sldMk cId="537986554" sldId="261"/>
            <ac:grpSpMk id="30" creationId="{12DE4B01-ED67-96DA-A48F-8A4891EE5BFD}"/>
          </ac:grpSpMkLst>
        </pc:grpChg>
        <pc:grpChg chg="add del mod">
          <ac:chgData name="Atchi Padmarani" userId="fe059d67-2bf4-46a8-ba9e-d5041048c89a" providerId="ADAL" clId="{BE86370A-B29F-4F42-BC7C-8661773008D0}" dt="2025-10-23T05:45:32.274" v="9206" actId="165"/>
          <ac:grpSpMkLst>
            <pc:docMk/>
            <pc:sldMk cId="537986554" sldId="261"/>
            <ac:grpSpMk id="48" creationId="{74F926F8-6D3D-C9C6-F235-90D4AF3C0CF8}"/>
          </ac:grpSpMkLst>
        </pc:grpChg>
        <pc:grpChg chg="mod ord">
          <ac:chgData name="Atchi Padmarani" userId="fe059d67-2bf4-46a8-ba9e-d5041048c89a" providerId="ADAL" clId="{BE86370A-B29F-4F42-BC7C-8661773008D0}" dt="2025-10-23T05:44:54.701" v="9092"/>
          <ac:grpSpMkLst>
            <pc:docMk/>
            <pc:sldMk cId="537986554" sldId="261"/>
            <ac:grpSpMk id="91" creationId="{C11D699E-075C-A1E3-055F-0861FF1BEC69}"/>
          </ac:grpSpMkLst>
        </pc:grpChg>
        <pc:grpChg chg="mod ord">
          <ac:chgData name="Atchi Padmarani" userId="fe059d67-2bf4-46a8-ba9e-d5041048c89a" providerId="ADAL" clId="{BE86370A-B29F-4F42-BC7C-8661773008D0}" dt="2025-10-23T05:44:54.637" v="8857"/>
          <ac:grpSpMkLst>
            <pc:docMk/>
            <pc:sldMk cId="537986554" sldId="261"/>
            <ac:grpSpMk id="124" creationId="{E9355E25-6D6B-C6EE-04D5-044F193EB766}"/>
          </ac:grpSpMkLst>
        </pc:grpChg>
        <pc:grpChg chg="mod">
          <ac:chgData name="Atchi Padmarani" userId="fe059d67-2bf4-46a8-ba9e-d5041048c89a" providerId="ADAL" clId="{BE86370A-B29F-4F42-BC7C-8661773008D0}" dt="2025-10-23T05:44:54.701" v="9101"/>
          <ac:grpSpMkLst>
            <pc:docMk/>
            <pc:sldMk cId="537986554" sldId="261"/>
            <ac:grpSpMk id="125" creationId="{791A9C58-4A6A-D703-61F7-A2691DB32F8D}"/>
          </ac:grpSpMkLst>
        </pc:grpChg>
        <pc:grpChg chg="mod">
          <ac:chgData name="Atchi Padmarani" userId="fe059d67-2bf4-46a8-ba9e-d5041048c89a" providerId="ADAL" clId="{BE86370A-B29F-4F42-BC7C-8661773008D0}" dt="2025-10-23T05:47:45.097" v="9246" actId="14100"/>
          <ac:grpSpMkLst>
            <pc:docMk/>
            <pc:sldMk cId="537986554" sldId="261"/>
            <ac:grpSpMk id="127" creationId="{8FAF1AFC-26EF-EFA7-95F1-C37695CCB661}"/>
          </ac:grpSpMkLst>
        </pc:grpChg>
        <pc:grpChg chg="del mod ord">
          <ac:chgData name="Atchi Padmarani" userId="fe059d67-2bf4-46a8-ba9e-d5041048c89a" providerId="ADAL" clId="{BE86370A-B29F-4F42-BC7C-8661773008D0}" dt="2025-10-23T05:42:19.536" v="8185" actId="165"/>
          <ac:grpSpMkLst>
            <pc:docMk/>
            <pc:sldMk cId="537986554" sldId="261"/>
            <ac:grpSpMk id="185" creationId="{61577CB0-0AB7-F6C6-D811-B61D1160441D}"/>
          </ac:grpSpMkLst>
        </pc:grpChg>
        <pc:grpChg chg="mod">
          <ac:chgData name="Atchi Padmarani" userId="fe059d67-2bf4-46a8-ba9e-d5041048c89a" providerId="ADAL" clId="{BE86370A-B29F-4F42-BC7C-8661773008D0}" dt="2025-10-23T05:40:15.456" v="8084"/>
          <ac:grpSpMkLst>
            <pc:docMk/>
            <pc:sldMk cId="537986554" sldId="261"/>
            <ac:grpSpMk id="196" creationId="{6FFEFE40-957B-7CB9-6C8B-0E84E96AB020}"/>
          </ac:grpSpMkLst>
        </pc:grpChg>
        <pc:grpChg chg="mod">
          <ac:chgData name="Atchi Padmarani" userId="fe059d67-2bf4-46a8-ba9e-d5041048c89a" providerId="ADAL" clId="{BE86370A-B29F-4F42-BC7C-8661773008D0}" dt="2025-10-23T05:40:15.472" v="8112"/>
          <ac:grpSpMkLst>
            <pc:docMk/>
            <pc:sldMk cId="537986554" sldId="261"/>
            <ac:grpSpMk id="208" creationId="{E96FCA6A-A3FF-7E2E-BCB2-27CB985818AB}"/>
          </ac:grpSpMkLst>
        </pc:grpChg>
        <pc:grpChg chg="mod">
          <ac:chgData name="Atchi Padmarani" userId="fe059d67-2bf4-46a8-ba9e-d5041048c89a" providerId="ADAL" clId="{BE86370A-B29F-4F42-BC7C-8661773008D0}" dt="2025-10-23T05:40:15.456" v="8085"/>
          <ac:grpSpMkLst>
            <pc:docMk/>
            <pc:sldMk cId="537986554" sldId="261"/>
            <ac:grpSpMk id="249" creationId="{555E7980-68D7-FEEF-AA45-A997AEBDDF5A}"/>
          </ac:grpSpMkLst>
        </pc:grpChg>
        <pc:grpChg chg="mod">
          <ac:chgData name="Atchi Padmarani" userId="fe059d67-2bf4-46a8-ba9e-d5041048c89a" providerId="ADAL" clId="{BE86370A-B29F-4F42-BC7C-8661773008D0}" dt="2025-10-23T05:40:15.456" v="8086"/>
          <ac:grpSpMkLst>
            <pc:docMk/>
            <pc:sldMk cId="537986554" sldId="261"/>
            <ac:grpSpMk id="257" creationId="{C25815E2-38E0-EAF1-ADF9-165B5B47969C}"/>
          </ac:grpSpMkLst>
        </pc:grpChg>
        <pc:grpChg chg="mod">
          <ac:chgData name="Atchi Padmarani" userId="fe059d67-2bf4-46a8-ba9e-d5041048c89a" providerId="ADAL" clId="{BE86370A-B29F-4F42-BC7C-8661773008D0}" dt="2025-10-23T05:40:15.456" v="8087"/>
          <ac:grpSpMkLst>
            <pc:docMk/>
            <pc:sldMk cId="537986554" sldId="261"/>
            <ac:grpSpMk id="263" creationId="{AE2A1C7F-89FF-9B3C-0BC2-C02F2BEB7C4C}"/>
          </ac:grpSpMkLst>
        </pc:grpChg>
        <pc:grpChg chg="mod">
          <ac:chgData name="Atchi Padmarani" userId="fe059d67-2bf4-46a8-ba9e-d5041048c89a" providerId="ADAL" clId="{BE86370A-B29F-4F42-BC7C-8661773008D0}" dt="2025-10-23T05:40:15.472" v="8113"/>
          <ac:grpSpMkLst>
            <pc:docMk/>
            <pc:sldMk cId="537986554" sldId="261"/>
            <ac:grpSpMk id="271" creationId="{4DB1C269-CCA3-927E-AA25-EFD2F192A07E}"/>
          </ac:grpSpMkLst>
        </pc:grpChg>
        <pc:grpChg chg="mod">
          <ac:chgData name="Atchi Padmarani" userId="fe059d67-2bf4-46a8-ba9e-d5041048c89a" providerId="ADAL" clId="{BE86370A-B29F-4F42-BC7C-8661773008D0}" dt="2025-10-23T05:40:15.472" v="8114"/>
          <ac:grpSpMkLst>
            <pc:docMk/>
            <pc:sldMk cId="537986554" sldId="261"/>
            <ac:grpSpMk id="276" creationId="{269D9831-891F-0755-F101-776B61BFE2C7}"/>
          </ac:grpSpMkLst>
        </pc:grpChg>
        <pc:grpChg chg="mod">
          <ac:chgData name="Atchi Padmarani" userId="fe059d67-2bf4-46a8-ba9e-d5041048c89a" providerId="ADAL" clId="{BE86370A-B29F-4F42-BC7C-8661773008D0}" dt="2025-10-23T05:40:15.472" v="8115"/>
          <ac:grpSpMkLst>
            <pc:docMk/>
            <pc:sldMk cId="537986554" sldId="261"/>
            <ac:grpSpMk id="280" creationId="{BA7612B8-B25E-6980-79F5-785A83A5830E}"/>
          </ac:grpSpMkLst>
        </pc:grpChg>
        <pc:grpChg chg="del mod ord">
          <ac:chgData name="Atchi Padmarani" userId="fe059d67-2bf4-46a8-ba9e-d5041048c89a" providerId="ADAL" clId="{BE86370A-B29F-4F42-BC7C-8661773008D0}" dt="2025-10-23T05:41:22.536" v="8166" actId="165"/>
          <ac:grpSpMkLst>
            <pc:docMk/>
            <pc:sldMk cId="537986554" sldId="261"/>
            <ac:grpSpMk id="329" creationId="{C13221D0-6E40-0080-A9C7-1453D6C6DFFE}"/>
          </ac:grpSpMkLst>
        </pc:grpChg>
        <pc:grpChg chg="mod">
          <ac:chgData name="Atchi Padmarani" userId="fe059d67-2bf4-46a8-ba9e-d5041048c89a" providerId="ADAL" clId="{BE86370A-B29F-4F42-BC7C-8661773008D0}" dt="2025-10-23T05:40:15.472" v="8124"/>
          <ac:grpSpMkLst>
            <pc:docMk/>
            <pc:sldMk cId="537986554" sldId="261"/>
            <ac:grpSpMk id="337" creationId="{EC9B9C87-F786-F572-A897-53883FAFEB05}"/>
          </ac:grpSpMkLst>
        </pc:grpChg>
        <pc:grpChg chg="mod">
          <ac:chgData name="Atchi Padmarani" userId="fe059d67-2bf4-46a8-ba9e-d5041048c89a" providerId="ADAL" clId="{BE86370A-B29F-4F42-BC7C-8661773008D0}" dt="2025-10-23T05:40:15.472" v="8125"/>
          <ac:grpSpMkLst>
            <pc:docMk/>
            <pc:sldMk cId="537986554" sldId="261"/>
            <ac:grpSpMk id="344" creationId="{DA99BB88-F8DB-AA3E-86F6-7EB8225B9945}"/>
          </ac:grpSpMkLst>
        </pc:grpChg>
        <pc:grpChg chg="mod">
          <ac:chgData name="Atchi Padmarani" userId="fe059d67-2bf4-46a8-ba9e-d5041048c89a" providerId="ADAL" clId="{BE86370A-B29F-4F42-BC7C-8661773008D0}" dt="2025-10-23T05:40:15.472" v="8126"/>
          <ac:grpSpMkLst>
            <pc:docMk/>
            <pc:sldMk cId="537986554" sldId="261"/>
            <ac:grpSpMk id="353" creationId="{CDEE2115-50FE-D830-BBFD-5387CB13FBB7}"/>
          </ac:grpSpMkLst>
        </pc:grpChg>
        <pc:graphicFrameChg chg="mod">
          <ac:chgData name="Atchi Padmarani" userId="fe059d67-2bf4-46a8-ba9e-d5041048c89a" providerId="ADAL" clId="{BE86370A-B29F-4F42-BC7C-8661773008D0}" dt="2025-10-23T05:44:54.733" v="9185"/>
          <ac:graphicFrameMkLst>
            <pc:docMk/>
            <pc:sldMk cId="537986554" sldId="261"/>
            <ac:graphicFrameMk id="5" creationId="{B37ACD32-5381-02D1-D371-0B5C3AE66FAD}"/>
          </ac:graphicFrameMkLst>
        </pc:graphicFrameChg>
        <pc:cxnChg chg="mod">
          <ac:chgData name="Atchi Padmarani" userId="fe059d67-2bf4-46a8-ba9e-d5041048c89a" providerId="ADAL" clId="{BE86370A-B29F-4F42-BC7C-8661773008D0}" dt="2025-10-23T05:42:10.078" v="8180" actId="208"/>
          <ac:cxnSpMkLst>
            <pc:docMk/>
            <pc:sldMk cId="537986554" sldId="261"/>
            <ac:cxnSpMk id="15" creationId="{BAC092A4-FDBC-65FB-E58F-D7179AC88A12}"/>
          </ac:cxnSpMkLst>
        </pc:cxnChg>
        <pc:cxnChg chg="mod ord">
          <ac:chgData name="Atchi Padmarani" userId="fe059d67-2bf4-46a8-ba9e-d5041048c89a" providerId="ADAL" clId="{BE86370A-B29F-4F42-BC7C-8661773008D0}" dt="2025-10-23T05:44:54.669" v="9012"/>
          <ac:cxnSpMkLst>
            <pc:docMk/>
            <pc:sldMk cId="537986554" sldId="261"/>
            <ac:cxnSpMk id="50" creationId="{A2CFD7A1-D7CA-BCF0-3028-64A7A9341281}"/>
          </ac:cxnSpMkLst>
        </pc:cxnChg>
        <pc:cxnChg chg="mod ord">
          <ac:chgData name="Atchi Padmarani" userId="fe059d67-2bf4-46a8-ba9e-d5041048c89a" providerId="ADAL" clId="{BE86370A-B29F-4F42-BC7C-8661773008D0}" dt="2025-10-23T05:44:54.669" v="9014"/>
          <ac:cxnSpMkLst>
            <pc:docMk/>
            <pc:sldMk cId="537986554" sldId="261"/>
            <ac:cxnSpMk id="51" creationId="{270985E0-6413-0CF1-4DED-057763734CCF}"/>
          </ac:cxnSpMkLst>
        </pc:cxnChg>
        <pc:cxnChg chg="mod ord">
          <ac:chgData name="Atchi Padmarani" userId="fe059d67-2bf4-46a8-ba9e-d5041048c89a" providerId="ADAL" clId="{BE86370A-B29F-4F42-BC7C-8661773008D0}" dt="2025-10-23T05:44:54.685" v="9032"/>
          <ac:cxnSpMkLst>
            <pc:docMk/>
            <pc:sldMk cId="537986554" sldId="261"/>
            <ac:cxnSpMk id="77" creationId="{9E6B1F03-E905-D894-E172-DFD965801549}"/>
          </ac:cxnSpMkLst>
        </pc:cxnChg>
        <pc:cxnChg chg="mod ord">
          <ac:chgData name="Atchi Padmarani" userId="fe059d67-2bf4-46a8-ba9e-d5041048c89a" providerId="ADAL" clId="{BE86370A-B29F-4F42-BC7C-8661773008D0}" dt="2025-10-23T05:44:54.685" v="9042"/>
          <ac:cxnSpMkLst>
            <pc:docMk/>
            <pc:sldMk cId="537986554" sldId="261"/>
            <ac:cxnSpMk id="94" creationId="{48E99975-25BE-7895-E985-97B549FD691F}"/>
          </ac:cxnSpMkLst>
        </pc:cxnChg>
        <pc:cxnChg chg="mod ord">
          <ac:chgData name="Atchi Padmarani" userId="fe059d67-2bf4-46a8-ba9e-d5041048c89a" providerId="ADAL" clId="{BE86370A-B29F-4F42-BC7C-8661773008D0}" dt="2025-10-23T05:44:54.660" v="8925"/>
          <ac:cxnSpMkLst>
            <pc:docMk/>
            <pc:sldMk cId="537986554" sldId="261"/>
            <ac:cxnSpMk id="104" creationId="{4CBFD931-2023-5E5A-3ED0-55C18C3366BE}"/>
          </ac:cxnSpMkLst>
        </pc:cxnChg>
        <pc:cxnChg chg="mod ord">
          <ac:chgData name="Atchi Padmarani" userId="fe059d67-2bf4-46a8-ba9e-d5041048c89a" providerId="ADAL" clId="{BE86370A-B29F-4F42-BC7C-8661773008D0}" dt="2025-10-23T05:44:54.685" v="9044"/>
          <ac:cxnSpMkLst>
            <pc:docMk/>
            <pc:sldMk cId="537986554" sldId="261"/>
            <ac:cxnSpMk id="109" creationId="{196A9EC2-D71F-AD16-0ABA-732DEBBEAA87}"/>
          </ac:cxnSpMkLst>
        </pc:cxnChg>
        <pc:cxnChg chg="mod ord">
          <ac:chgData name="Atchi Padmarani" userId="fe059d67-2bf4-46a8-ba9e-d5041048c89a" providerId="ADAL" clId="{BE86370A-B29F-4F42-BC7C-8661773008D0}" dt="2025-10-23T05:44:54.685" v="9046"/>
          <ac:cxnSpMkLst>
            <pc:docMk/>
            <pc:sldMk cId="537986554" sldId="261"/>
            <ac:cxnSpMk id="113" creationId="{CBC3A2AE-1D0C-629E-CE00-C4684B46BC4B}"/>
          </ac:cxnSpMkLst>
        </pc:cxnChg>
        <pc:cxnChg chg="mod ord">
          <ac:chgData name="Atchi Padmarani" userId="fe059d67-2bf4-46a8-ba9e-d5041048c89a" providerId="ADAL" clId="{BE86370A-B29F-4F42-BC7C-8661773008D0}" dt="2025-10-23T05:44:54.660" v="8931"/>
          <ac:cxnSpMkLst>
            <pc:docMk/>
            <pc:sldMk cId="537986554" sldId="261"/>
            <ac:cxnSpMk id="114" creationId="{74F0A26F-5F50-CEEC-A7AA-76DC43B1EE5C}"/>
          </ac:cxnSpMkLst>
        </pc:cxnChg>
        <pc:cxnChg chg="mod ord">
          <ac:chgData name="Atchi Padmarani" userId="fe059d67-2bf4-46a8-ba9e-d5041048c89a" providerId="ADAL" clId="{BE86370A-B29F-4F42-BC7C-8661773008D0}" dt="2025-10-23T05:44:54.685" v="9048"/>
          <ac:cxnSpMkLst>
            <pc:docMk/>
            <pc:sldMk cId="537986554" sldId="261"/>
            <ac:cxnSpMk id="119" creationId="{EE3793D3-65DC-27D2-83AE-2131B552B848}"/>
          </ac:cxnSpMkLst>
        </pc:cxnChg>
        <pc:cxnChg chg="mod ord">
          <ac:chgData name="Atchi Padmarani" userId="fe059d67-2bf4-46a8-ba9e-d5041048c89a" providerId="ADAL" clId="{BE86370A-B29F-4F42-BC7C-8661773008D0}" dt="2025-10-23T05:44:54.685" v="9050"/>
          <ac:cxnSpMkLst>
            <pc:docMk/>
            <pc:sldMk cId="537986554" sldId="261"/>
            <ac:cxnSpMk id="130" creationId="{786EEF8F-80C5-4688-4B8F-05F784F67DF4}"/>
          </ac:cxnSpMkLst>
        </pc:cxnChg>
        <pc:cxnChg chg="mod ord">
          <ac:chgData name="Atchi Padmarani" userId="fe059d67-2bf4-46a8-ba9e-d5041048c89a" providerId="ADAL" clId="{BE86370A-B29F-4F42-BC7C-8661773008D0}" dt="2025-10-23T05:44:54.660" v="8936"/>
          <ac:cxnSpMkLst>
            <pc:docMk/>
            <pc:sldMk cId="537986554" sldId="261"/>
            <ac:cxnSpMk id="164" creationId="{0ED42B72-0C45-1C37-9E38-DB49825F200B}"/>
          </ac:cxnSpMkLst>
        </pc:cxnChg>
        <pc:cxnChg chg="mod ord">
          <ac:chgData name="Atchi Padmarani" userId="fe059d67-2bf4-46a8-ba9e-d5041048c89a" providerId="ADAL" clId="{BE86370A-B29F-4F42-BC7C-8661773008D0}" dt="2025-10-23T05:44:54.701" v="9122"/>
          <ac:cxnSpMkLst>
            <pc:docMk/>
            <pc:sldMk cId="537986554" sldId="261"/>
            <ac:cxnSpMk id="173" creationId="{A3C6D4C5-3934-66F1-F85A-073589BAAF74}"/>
          </ac:cxnSpMkLst>
        </pc:cxnChg>
        <pc:cxnChg chg="mod ord">
          <ac:chgData name="Atchi Padmarani" userId="fe059d67-2bf4-46a8-ba9e-d5041048c89a" providerId="ADAL" clId="{BE86370A-B29F-4F42-BC7C-8661773008D0}" dt="2025-10-23T05:44:54.717" v="9124"/>
          <ac:cxnSpMkLst>
            <pc:docMk/>
            <pc:sldMk cId="537986554" sldId="261"/>
            <ac:cxnSpMk id="174" creationId="{05F1CB0E-9D26-6F5B-A956-390849138B6C}"/>
          </ac:cxnSpMkLst>
        </pc:cxnChg>
        <pc:cxnChg chg="mod ord">
          <ac:chgData name="Atchi Padmarani" userId="fe059d67-2bf4-46a8-ba9e-d5041048c89a" providerId="ADAL" clId="{BE86370A-B29F-4F42-BC7C-8661773008D0}" dt="2025-10-23T05:44:54.717" v="9126"/>
          <ac:cxnSpMkLst>
            <pc:docMk/>
            <pc:sldMk cId="537986554" sldId="261"/>
            <ac:cxnSpMk id="175" creationId="{EA1DCBF6-92EE-F1A9-49D1-F0AA391C003C}"/>
          </ac:cxnSpMkLst>
        </pc:cxnChg>
        <pc:cxnChg chg="mod ord">
          <ac:chgData name="Atchi Padmarani" userId="fe059d67-2bf4-46a8-ba9e-d5041048c89a" providerId="ADAL" clId="{BE86370A-B29F-4F42-BC7C-8661773008D0}" dt="2025-10-23T05:44:54.717" v="9128"/>
          <ac:cxnSpMkLst>
            <pc:docMk/>
            <pc:sldMk cId="537986554" sldId="261"/>
            <ac:cxnSpMk id="176" creationId="{513E4965-8D87-9011-5B38-9973B6348027}"/>
          </ac:cxnSpMkLst>
        </pc:cxnChg>
        <pc:cxnChg chg="mod ord">
          <ac:chgData name="Atchi Padmarani" userId="fe059d67-2bf4-46a8-ba9e-d5041048c89a" providerId="ADAL" clId="{BE86370A-B29F-4F42-BC7C-8661773008D0}" dt="2025-10-23T05:44:54.685" v="9056"/>
          <ac:cxnSpMkLst>
            <pc:docMk/>
            <pc:sldMk cId="537986554" sldId="261"/>
            <ac:cxnSpMk id="215" creationId="{0793EC20-D620-988E-3B24-990EFE730CEA}"/>
          </ac:cxnSpMkLst>
        </pc:cxnChg>
        <pc:cxnChg chg="mod ord">
          <ac:chgData name="Atchi Padmarani" userId="fe059d67-2bf4-46a8-ba9e-d5041048c89a" providerId="ADAL" clId="{BE86370A-B29F-4F42-BC7C-8661773008D0}" dt="2025-10-23T05:44:54.685" v="9071"/>
          <ac:cxnSpMkLst>
            <pc:docMk/>
            <pc:sldMk cId="537986554" sldId="261"/>
            <ac:cxnSpMk id="282" creationId="{55E1621C-E436-BCA2-40DF-AFDEF5C8F0F7}"/>
          </ac:cxnSpMkLst>
        </pc:cxnChg>
        <pc:cxnChg chg="mod ord">
          <ac:chgData name="Atchi Padmarani" userId="fe059d67-2bf4-46a8-ba9e-d5041048c89a" providerId="ADAL" clId="{BE86370A-B29F-4F42-BC7C-8661773008D0}" dt="2025-10-23T05:44:54.653" v="8899"/>
          <ac:cxnSpMkLst>
            <pc:docMk/>
            <pc:sldMk cId="537986554" sldId="261"/>
            <ac:cxnSpMk id="490" creationId="{FF36DDE8-20CB-432F-7559-3A0D928C3F2F}"/>
          </ac:cxnSpMkLst>
        </pc:cxnChg>
        <pc:cxnChg chg="mod ord">
          <ac:chgData name="Atchi Padmarani" userId="fe059d67-2bf4-46a8-ba9e-d5041048c89a" providerId="ADAL" clId="{BE86370A-B29F-4F42-BC7C-8661773008D0}" dt="2025-10-23T05:44:54.653" v="8913"/>
          <ac:cxnSpMkLst>
            <pc:docMk/>
            <pc:sldMk cId="537986554" sldId="261"/>
            <ac:cxnSpMk id="511" creationId="{D0AE207B-C12F-AFA8-0404-03B769FC6D91}"/>
          </ac:cxnSpMkLst>
        </pc:cxnChg>
      </pc:sldChg>
      <pc:sldChg chg="addSp delSp modSp add del mod">
        <pc:chgData name="Atchi Padmarani" userId="fe059d67-2bf4-46a8-ba9e-d5041048c89a" providerId="ADAL" clId="{BE86370A-B29F-4F42-BC7C-8661773008D0}" dt="2025-10-23T05:36:07.553" v="5514" actId="2890"/>
        <pc:sldMkLst>
          <pc:docMk/>
          <pc:sldMk cId="3734128542" sldId="261"/>
        </pc:sldMkLst>
        <pc:spChg chg="add del">
          <ac:chgData name="Atchi Padmarani" userId="fe059d67-2bf4-46a8-ba9e-d5041048c89a" providerId="ADAL" clId="{BE86370A-B29F-4F42-BC7C-8661773008D0}" dt="2025-10-23T05:35:46.647" v="5486" actId="478"/>
          <ac:spMkLst>
            <pc:docMk/>
            <pc:sldMk cId="3734128542" sldId="261"/>
            <ac:spMk id="43" creationId="{D920DB41-65A2-ACBF-7A37-CE08D32FAAA3}"/>
          </ac:spMkLst>
        </pc:spChg>
        <pc:spChg chg="add del">
          <ac:chgData name="Atchi Padmarani" userId="fe059d67-2bf4-46a8-ba9e-d5041048c89a" providerId="ADAL" clId="{BE86370A-B29F-4F42-BC7C-8661773008D0}" dt="2025-10-23T05:35:46.679" v="5487" actId="478"/>
          <ac:spMkLst>
            <pc:docMk/>
            <pc:sldMk cId="3734128542" sldId="261"/>
            <ac:spMk id="178" creationId="{AFF68FB1-6300-7C57-7D5E-73EA433F1EE2}"/>
          </ac:spMkLst>
        </pc:spChg>
        <pc:spChg chg="add del">
          <ac:chgData name="Atchi Padmarani" userId="fe059d67-2bf4-46a8-ba9e-d5041048c89a" providerId="ADAL" clId="{BE86370A-B29F-4F42-BC7C-8661773008D0}" dt="2025-10-23T05:35:46.097" v="5485" actId="478"/>
          <ac:spMkLst>
            <pc:docMk/>
            <pc:sldMk cId="3734128542" sldId="261"/>
            <ac:spMk id="195" creationId="{EAB1B9CE-F695-1650-070F-8AC80EDBB9CF}"/>
          </ac:spMkLst>
        </pc:spChg>
        <pc:graphicFrameChg chg="mod">
          <ac:chgData name="Atchi Padmarani" userId="fe059d67-2bf4-46a8-ba9e-d5041048c89a" providerId="ADAL" clId="{BE86370A-B29F-4F42-BC7C-8661773008D0}" dt="2025-10-23T05:36:07.011" v="5513"/>
          <ac:graphicFrameMkLst>
            <pc:docMk/>
            <pc:sldMk cId="3734128542" sldId="261"/>
            <ac:graphicFrameMk id="5" creationId="{5684E313-1732-AE91-ECAC-2A1B378FB515}"/>
          </ac:graphicFrameMkLst>
        </pc:graphicFrameChg>
      </pc:sldChg>
      <pc:sldMasterChg chg="del">
        <pc:chgData name="Atchi Padmarani" userId="fe059d67-2bf4-46a8-ba9e-d5041048c89a" providerId="ADAL" clId="{BE86370A-B29F-4F42-BC7C-8661773008D0}" dt="2025-10-23T04:34:55.008" v="0" actId="2696"/>
        <pc:sldMasterMkLst>
          <pc:docMk/>
          <pc:sldMasterMk cId="435996548" sldId="2147485185"/>
        </pc:sldMasterMkLst>
      </pc:sldMasterChg>
      <pc:sldMasterChg chg="del">
        <pc:chgData name="Atchi Padmarani" userId="fe059d67-2bf4-46a8-ba9e-d5041048c89a" providerId="ADAL" clId="{BE86370A-B29F-4F42-BC7C-8661773008D0}" dt="2025-10-23T04:34:56.856" v="1" actId="2696"/>
        <pc:sldMasterMkLst>
          <pc:docMk/>
          <pc:sldMasterMk cId="4058659966" sldId="2147485326"/>
        </pc:sldMasterMkLst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484869809992965E-3"/>
          <c:y val="0.11158798283261803"/>
          <c:w val="0.98170302603800141"/>
          <c:h val="0.77682403433476399"/>
        </c:manualLayout>
      </c:layout>
      <c:barChart>
        <c:barDir val="col"/>
        <c:grouping val="clustered"/>
        <c:varyColors val="0"/>
        <c:ser>
          <c:idx val="3"/>
          <c:order val="3"/>
          <c:invertIfNegative val="0"/>
          <c:extLst>
            <c:ext xmlns:c16="http://schemas.microsoft.com/office/drawing/2014/chart" uri="{C3380CC4-5D6E-409C-BE32-E72D297353CC}">
              <c16:uniqueId val="{00000003-6142-490A-8697-55ABA9BD1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4800</c:v>
                </c:pt>
                <c:pt idx="1">
                  <c:v>4700</c:v>
                </c:pt>
                <c:pt idx="2">
                  <c:v>4000</c:v>
                </c:pt>
                <c:pt idx="3">
                  <c:v>7600</c:v>
                </c:pt>
                <c:pt idx="4">
                  <c:v>7459</c:v>
                </c:pt>
                <c:pt idx="5">
                  <c:v>73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6142-490A-8697-55ABA9BD15EF}"/>
            </c:ext>
          </c:extLst>
        </c:ser>
        <c:ser>
          <c:idx val="1"/>
          <c:order val="1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6100</c:v>
                </c:pt>
                <c:pt idx="1">
                  <c:v>6000</c:v>
                </c:pt>
                <c:pt idx="2">
                  <c:v>5300</c:v>
                </c:pt>
                <c:pt idx="3">
                  <c:v>5450</c:v>
                </c:pt>
                <c:pt idx="4">
                  <c:v>5300</c:v>
                </c:pt>
                <c:pt idx="5">
                  <c:v>54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6142-490A-8697-55ABA9BD15EF}"/>
            </c:ext>
          </c:extLst>
        </c:ser>
        <c:ser>
          <c:idx val="2"/>
          <c:order val="2"/>
          <c:spPr>
            <a:ln w="28575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3500</c:v>
                </c:pt>
                <c:pt idx="1">
                  <c:v>5000</c:v>
                </c:pt>
                <c:pt idx="2">
                  <c:v>9000</c:v>
                </c:pt>
                <c:pt idx="3">
                  <c:v>5400</c:v>
                </c:pt>
                <c:pt idx="4">
                  <c:v>4200</c:v>
                </c:pt>
                <c:pt idx="5">
                  <c:v>46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142-490A-8697-55ABA9BD1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9955543"/>
        <c:axId val="1"/>
      </c:lineChart>
      <c:catAx>
        <c:axId val="5599555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"/>
          <c:min val="15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crossAx val="559955543"/>
        <c:crosses val="min"/>
        <c:crossBetween val="midCat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"/>
          <c:min val="0"/>
        </c:scaling>
        <c:delete val="0"/>
        <c:axPos val="r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2"/>
        <c:crosses val="max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484869809992965E-3"/>
          <c:y val="0.11158798283261803"/>
          <c:w val="0.98170302603800141"/>
          <c:h val="0.77682403433476399"/>
        </c:manualLayout>
      </c:layout>
      <c:barChart>
        <c:barDir val="col"/>
        <c:grouping val="clustered"/>
        <c:varyColors val="0"/>
        <c:ser>
          <c:idx val="3"/>
          <c:order val="3"/>
          <c:invertIfNegative val="0"/>
          <c:extLst>
            <c:ext xmlns:c16="http://schemas.microsoft.com/office/drawing/2014/chart" uri="{C3380CC4-5D6E-409C-BE32-E72D297353CC}">
              <c16:uniqueId val="{00000003-3A96-49E5-8225-66471F07B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F18D1F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4800</c:v>
                </c:pt>
                <c:pt idx="1">
                  <c:v>4700</c:v>
                </c:pt>
                <c:pt idx="2">
                  <c:v>4000</c:v>
                </c:pt>
                <c:pt idx="3">
                  <c:v>7600</c:v>
                </c:pt>
                <c:pt idx="4">
                  <c:v>7459</c:v>
                </c:pt>
                <c:pt idx="5">
                  <c:v>73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A96-49E5-8225-66471F07B90F}"/>
            </c:ext>
          </c:extLst>
        </c:ser>
        <c:ser>
          <c:idx val="1"/>
          <c:order val="1"/>
          <c:spPr>
            <a:ln w="28575" cmpd="sng" algn="ctr">
              <a:solidFill>
                <a:srgbClr val="7B1223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6100</c:v>
                </c:pt>
                <c:pt idx="1">
                  <c:v>6000</c:v>
                </c:pt>
                <c:pt idx="2">
                  <c:v>5300</c:v>
                </c:pt>
                <c:pt idx="3">
                  <c:v>5450</c:v>
                </c:pt>
                <c:pt idx="4">
                  <c:v>5300</c:v>
                </c:pt>
                <c:pt idx="5">
                  <c:v>54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3A96-49E5-8225-66471F07B90F}"/>
            </c:ext>
          </c:extLst>
        </c:ser>
        <c:ser>
          <c:idx val="2"/>
          <c:order val="2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3500</c:v>
                </c:pt>
                <c:pt idx="1">
                  <c:v>5000</c:v>
                </c:pt>
                <c:pt idx="2">
                  <c:v>9000</c:v>
                </c:pt>
                <c:pt idx="3">
                  <c:v>5400</c:v>
                </c:pt>
                <c:pt idx="4">
                  <c:v>4200</c:v>
                </c:pt>
                <c:pt idx="5">
                  <c:v>46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96-49E5-8225-66471F07B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9958783"/>
        <c:axId val="1"/>
      </c:lineChart>
      <c:catAx>
        <c:axId val="5599587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"/>
          <c:min val="15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crossAx val="559958783"/>
        <c:crosses val="min"/>
        <c:crossBetween val="midCat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"/>
          <c:min val="0"/>
        </c:scaling>
        <c:delete val="0"/>
        <c:axPos val="r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2"/>
        <c:crosses val="max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484869809992965E-3"/>
          <c:y val="0.11158798283261803"/>
          <c:w val="0.98170302603800141"/>
          <c:h val="0.77682403433476399"/>
        </c:manualLayout>
      </c:layout>
      <c:barChart>
        <c:barDir val="col"/>
        <c:grouping val="clustered"/>
        <c:varyColors val="0"/>
        <c:ser>
          <c:idx val="3"/>
          <c:order val="3"/>
          <c:invertIfNegative val="0"/>
          <c:extLst>
            <c:ext xmlns:c16="http://schemas.microsoft.com/office/drawing/2014/chart" uri="{C3380CC4-5D6E-409C-BE32-E72D297353CC}">
              <c16:uniqueId val="{00000003-32C8-4AF5-BB9A-B5264C1CE1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4800</c:v>
                </c:pt>
                <c:pt idx="1">
                  <c:v>4700</c:v>
                </c:pt>
                <c:pt idx="2">
                  <c:v>4000</c:v>
                </c:pt>
                <c:pt idx="3">
                  <c:v>7600</c:v>
                </c:pt>
                <c:pt idx="4">
                  <c:v>7459</c:v>
                </c:pt>
                <c:pt idx="5">
                  <c:v>73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2C8-4AF5-BB9A-B5264C1CE167}"/>
            </c:ext>
          </c:extLst>
        </c:ser>
        <c:ser>
          <c:idx val="1"/>
          <c:order val="1"/>
          <c:spPr>
            <a:ln w="28575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6100</c:v>
                </c:pt>
                <c:pt idx="1">
                  <c:v>6000</c:v>
                </c:pt>
                <c:pt idx="2">
                  <c:v>5300</c:v>
                </c:pt>
                <c:pt idx="3">
                  <c:v>5450</c:v>
                </c:pt>
                <c:pt idx="4">
                  <c:v>5300</c:v>
                </c:pt>
                <c:pt idx="5">
                  <c:v>54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32C8-4AF5-BB9A-B5264C1CE167}"/>
            </c:ext>
          </c:extLst>
        </c:ser>
        <c:ser>
          <c:idx val="2"/>
          <c:order val="2"/>
          <c:spPr>
            <a:ln w="28575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3500</c:v>
                </c:pt>
                <c:pt idx="1">
                  <c:v>5000</c:v>
                </c:pt>
                <c:pt idx="2">
                  <c:v>9000</c:v>
                </c:pt>
                <c:pt idx="3">
                  <c:v>5400</c:v>
                </c:pt>
                <c:pt idx="4">
                  <c:v>4200</c:v>
                </c:pt>
                <c:pt idx="5">
                  <c:v>46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2C8-4AF5-BB9A-B5264C1CE1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5996840"/>
        <c:axId val="1"/>
      </c:lineChart>
      <c:catAx>
        <c:axId val="2115996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"/>
          <c:min val="15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crossAx val="2115996840"/>
        <c:crosses val="min"/>
        <c:crossBetween val="midCat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"/>
          <c:min val="0"/>
        </c:scaling>
        <c:delete val="0"/>
        <c:axPos val="r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2"/>
        <c:crosses val="max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484869809992965E-3"/>
          <c:y val="0.11158798283261803"/>
          <c:w val="0.98170302603800141"/>
          <c:h val="0.77682403433476399"/>
        </c:manualLayout>
      </c:layout>
      <c:barChart>
        <c:barDir val="col"/>
        <c:grouping val="clustered"/>
        <c:varyColors val="0"/>
        <c:ser>
          <c:idx val="3"/>
          <c:order val="3"/>
          <c:invertIfNegative val="0"/>
          <c:extLst>
            <c:ext xmlns:c16="http://schemas.microsoft.com/office/drawing/2014/chart" uri="{C3380CC4-5D6E-409C-BE32-E72D297353CC}">
              <c16:uniqueId val="{00000003-7D5F-4010-8DC2-7231DE233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F18D1F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4800</c:v>
                </c:pt>
                <c:pt idx="1">
                  <c:v>4700</c:v>
                </c:pt>
                <c:pt idx="2">
                  <c:v>4000</c:v>
                </c:pt>
                <c:pt idx="3">
                  <c:v>7600</c:v>
                </c:pt>
                <c:pt idx="4">
                  <c:v>7459</c:v>
                </c:pt>
                <c:pt idx="5">
                  <c:v>73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D5F-4010-8DC2-7231DE2339CE}"/>
            </c:ext>
          </c:extLst>
        </c:ser>
        <c:ser>
          <c:idx val="1"/>
          <c:order val="1"/>
          <c:spPr>
            <a:ln w="28575" cmpd="sng" algn="ctr">
              <a:solidFill>
                <a:srgbClr val="7B1223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6100</c:v>
                </c:pt>
                <c:pt idx="1">
                  <c:v>6000</c:v>
                </c:pt>
                <c:pt idx="2">
                  <c:v>5300</c:v>
                </c:pt>
                <c:pt idx="3">
                  <c:v>5450</c:v>
                </c:pt>
                <c:pt idx="4">
                  <c:v>5300</c:v>
                </c:pt>
                <c:pt idx="5">
                  <c:v>54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7D5F-4010-8DC2-7231DE2339CE}"/>
            </c:ext>
          </c:extLst>
        </c:ser>
        <c:ser>
          <c:idx val="2"/>
          <c:order val="2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3500</c:v>
                </c:pt>
                <c:pt idx="1">
                  <c:v>5000</c:v>
                </c:pt>
                <c:pt idx="2">
                  <c:v>9000</c:v>
                </c:pt>
                <c:pt idx="3">
                  <c:v>5400</c:v>
                </c:pt>
                <c:pt idx="4">
                  <c:v>4200</c:v>
                </c:pt>
                <c:pt idx="5">
                  <c:v>46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D5F-4010-8DC2-7231DE233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7230335"/>
        <c:axId val="1"/>
      </c:lineChart>
      <c:catAx>
        <c:axId val="5472303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"/>
          <c:min val="15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crossAx val="547230335"/>
        <c:crosses val="min"/>
        <c:crossBetween val="midCat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"/>
          <c:min val="0"/>
        </c:scaling>
        <c:delete val="0"/>
        <c:axPos val="r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accent5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2"/>
        <c:crosses val="max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5,000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 rtl="0"/>
            <a:endParaRPr lang="pt-BR">
              <a:latin typeface="+mn-lt"/>
              <a:ea typeface="+mn-ea"/>
              <a:cs typeface="+mn-cs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r>
              <a:rPr lang="pt-BR"/>
              <a:t>Notes view: </a:t>
            </a:r>
            <a:fld id="{128CEAFE-FA94-43E5-B0FF-D47E1CCDD1B4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pt-BR" err="1"/>
              <a:t>Edit</a:t>
            </a:r>
            <a:r>
              <a:rPr lang="pt-BR"/>
              <a:t> Master </a:t>
            </a:r>
            <a:r>
              <a:rPr lang="pt-BR" err="1"/>
              <a:t>text</a:t>
            </a:r>
            <a:r>
              <a:rPr lang="pt-BR"/>
              <a:t> </a:t>
            </a:r>
            <a:r>
              <a:rPr lang="pt-BR" err="1"/>
              <a:t>styles</a:t>
            </a:r>
            <a:endParaRPr lang="pt-BR"/>
          </a:p>
          <a:p>
            <a:pPr lvl="1"/>
            <a:r>
              <a:rPr lang="pt-BR" err="1"/>
              <a:t>Second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  <a:p>
            <a:pPr lvl="2"/>
            <a:r>
              <a:rPr lang="pt-BR" err="1"/>
              <a:t>Third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  <a:p>
            <a:pPr lvl="3"/>
            <a:r>
              <a:rPr lang="pt-BR" err="1"/>
              <a:t>Fourth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  <a:p>
            <a:pPr lvl="4"/>
            <a:r>
              <a:rPr lang="pt-BR" err="1"/>
              <a:t>Fifth</a:t>
            </a:r>
            <a:r>
              <a:rPr lang="pt-BR"/>
              <a:t> </a:t>
            </a:r>
            <a:r>
              <a:rPr lang="pt-BR" err="1"/>
              <a:t>level</a:t>
            </a:r>
            <a:endParaRPr lang="pt-BR"/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F2C7CF5F-7CF3-4DF3-838A-EE34544862CC}" type="datetimeFigureOut">
              <a:rPr lang="pt-BR" smtClean="0"/>
              <a:pPr/>
              <a:t>23/10/20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272E55-9932-99A2-664B-0F8A144F3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D75DA5-FD8D-D443-EB30-F81140F40A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F2612A-A5A4-733F-90A7-4F4FA84FB9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6FF70E-58A5-ECEC-2677-6DB667A9D6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00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176319-BC91-E3E1-88B1-D9732CB2F8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423E12-45FD-F820-47BF-EC9AF0658A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975D14-E357-3439-4DB3-0E90B36B66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380580-E6CC-CA3F-FF53-A1319CD426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412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pt-BR"/>
              <a:t>Notes view: </a:t>
            </a:r>
            <a:fld id="{128CEAFE-FA94-43E5-B0FF-D47E1CCDD1B4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5516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5C6E2C-2BBB-8DAB-CF24-3B94F7FD07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A43E78-E5B0-F56B-6E2E-D07268036C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A2130C-C552-89BE-7E27-87159801E9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2BE8E0-3EB9-3FE1-1AA4-F3AF11F10A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pt-BR"/>
              <a:t>Notes view: </a:t>
            </a:r>
            <a:fld id="{128CEAFE-FA94-43E5-B0FF-D47E1CCDD1B4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0520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5.emf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5" Type="http://schemas.openxmlformats.org/officeDocument/2006/relationships/image" Target="../media/image8.png"/><Relationship Id="rId4" Type="http://schemas.openxmlformats.org/officeDocument/2006/relationships/image" Target="../media/image10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6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5.emf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Relationship Id="rId6" Type="http://schemas.openxmlformats.org/officeDocument/2006/relationships/image" Target="../media/image4.emf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3177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781D41E8-BDB5-493F-B5C5-28ED85677C6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7015"/>
          <a:stretch>
            <a:fillRect/>
          </a:stretch>
        </p:blipFill>
        <p:spPr>
          <a:xfrm>
            <a:off x="0" y="0"/>
            <a:ext cx="8166026" cy="6858000"/>
          </a:xfrm>
          <a:custGeom>
            <a:avLst/>
            <a:gdLst>
              <a:gd name="connsiteX0" fmla="*/ 0 w 8166026"/>
              <a:gd name="connsiteY0" fmla="*/ 0 h 6858000"/>
              <a:gd name="connsiteX1" fmla="*/ 8166026 w 8166026"/>
              <a:gd name="connsiteY1" fmla="*/ 0 h 6858000"/>
              <a:gd name="connsiteX2" fmla="*/ 8166026 w 8166026"/>
              <a:gd name="connsiteY2" fmla="*/ 6858000 h 6858000"/>
              <a:gd name="connsiteX3" fmla="*/ 0 w 816602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6026" h="6858000">
                <a:moveTo>
                  <a:pt x="0" y="0"/>
                </a:moveTo>
                <a:lnTo>
                  <a:pt x="8166026" y="0"/>
                </a:lnTo>
                <a:lnTo>
                  <a:pt x="816602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tângulo com Canto Arredondado do Mesmo Lado 1">
            <a:extLst>
              <a:ext uri="{FF2B5EF4-FFF2-40B4-BE49-F238E27FC236}">
                <a16:creationId xmlns:a16="http://schemas.microsoft.com/office/drawing/2014/main" id="{8B4AE236-19B5-4ACC-9B07-43398BF88838}"/>
              </a:ext>
            </a:extLst>
          </p:cNvPr>
          <p:cNvSpPr/>
          <p:nvPr/>
        </p:nvSpPr>
        <p:spPr>
          <a:xfrm rot="5400000">
            <a:off x="421073" y="1382234"/>
            <a:ext cx="3529832" cy="43719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1D07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 i="0">
              <a:latin typeface="+mn-lt"/>
              <a:ea typeface="+mn-ea"/>
              <a:cs typeface="+mn-cs"/>
            </a:endParaRPr>
          </a:p>
        </p:txBody>
      </p:sp>
      <p:pic>
        <p:nvPicPr>
          <p:cNvPr id="19" name="Imagem 6">
            <a:extLst>
              <a:ext uri="{FF2B5EF4-FFF2-40B4-BE49-F238E27FC236}">
                <a16:creationId xmlns:a16="http://schemas.microsoft.com/office/drawing/2014/main" id="{BA1E1BC0-4C62-4794-A376-CF94611981C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13094" y="6556793"/>
            <a:ext cx="1741119" cy="188472"/>
          </a:xfrm>
          <a:prstGeom prst="rect">
            <a:avLst/>
          </a:prstGeom>
        </p:spPr>
      </p:pic>
      <p:pic>
        <p:nvPicPr>
          <p:cNvPr id="23" name="Imagem 21">
            <a:extLst>
              <a:ext uri="{FF2B5EF4-FFF2-40B4-BE49-F238E27FC236}">
                <a16:creationId xmlns:a16="http://schemas.microsoft.com/office/drawing/2014/main" id="{447840CD-A543-4B7A-8F02-695F3A98EF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7741" y="2506883"/>
            <a:ext cx="1757985" cy="2265096"/>
          </a:xfrm>
          <a:prstGeom prst="rect">
            <a:avLst/>
          </a:prstGeom>
        </p:spPr>
      </p:pic>
      <p:sp>
        <p:nvSpPr>
          <p:cNvPr id="24" name="Forma Livre 22">
            <a:extLst>
              <a:ext uri="{FF2B5EF4-FFF2-40B4-BE49-F238E27FC236}">
                <a16:creationId xmlns:a16="http://schemas.microsoft.com/office/drawing/2014/main" id="{5CF38A96-E05D-478A-8762-61A3F0AE2578}"/>
              </a:ext>
            </a:extLst>
          </p:cNvPr>
          <p:cNvSpPr/>
          <p:nvPr/>
        </p:nvSpPr>
        <p:spPr>
          <a:xfrm>
            <a:off x="0" y="0"/>
            <a:ext cx="3365736" cy="310896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E311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 i="0">
              <a:latin typeface="+mn-lt"/>
              <a:ea typeface="+mn-ea"/>
              <a:cs typeface="+mn-cs"/>
            </a:endParaRPr>
          </a:p>
        </p:txBody>
      </p:sp>
      <p:sp>
        <p:nvSpPr>
          <p:cNvPr id="25" name="Forma Livre 23">
            <a:extLst>
              <a:ext uri="{FF2B5EF4-FFF2-40B4-BE49-F238E27FC236}">
                <a16:creationId xmlns:a16="http://schemas.microsoft.com/office/drawing/2014/main" id="{9FF164F0-A280-46B3-9EAB-EC5C44867EC3}"/>
              </a:ext>
            </a:extLst>
          </p:cNvPr>
          <p:cNvSpPr/>
          <p:nvPr/>
        </p:nvSpPr>
        <p:spPr>
          <a:xfrm rot="10800000">
            <a:off x="6096000" y="6294907"/>
            <a:ext cx="6096000" cy="563093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 i="0">
              <a:latin typeface="+mn-lt"/>
              <a:ea typeface="+mn-ea"/>
              <a:cs typeface="+mn-cs"/>
            </a:endParaRPr>
          </a:p>
        </p:txBody>
      </p:sp>
      <p:sp>
        <p:nvSpPr>
          <p:cNvPr id="28" name="CaixaDeTexto 24">
            <a:extLst>
              <a:ext uri="{FF2B5EF4-FFF2-40B4-BE49-F238E27FC236}">
                <a16:creationId xmlns:a16="http://schemas.microsoft.com/office/drawing/2014/main" id="{32F6C700-BB76-4732-8F25-338A18F34D9A}"/>
              </a:ext>
            </a:extLst>
          </p:cNvPr>
          <p:cNvSpPr txBox="1"/>
          <p:nvPr/>
        </p:nvSpPr>
        <p:spPr>
          <a:xfrm>
            <a:off x="947741" y="5424126"/>
            <a:ext cx="252107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 </a:t>
            </a:r>
          </a:p>
          <a:p>
            <a:r>
              <a:rPr lang="pt-BR" b="1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DEDICAÇÃO </a:t>
            </a:r>
          </a:p>
          <a:p>
            <a:r>
              <a:rPr lang="pt-BR" b="1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TOTAL</a:t>
            </a:r>
          </a:p>
          <a:p>
            <a:r>
              <a:rPr lang="pt-BR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NUNCA FOI TÃO FORT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11C2469C-BB06-446C-B246-10DDE82684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4939717" y="3054656"/>
            <a:ext cx="6947484" cy="584775"/>
          </a:xfrm>
        </p:spPr>
        <p:txBody>
          <a:bodyPr vert="horz" lIns="91440" tIns="45720" rIns="91440" bIns="45720" anchor="t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rgbClr val="4040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/>
              <a:t>DIGITE O SEU TÍTULO PRINCIPAL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9FFAFC0-421E-4E47-88C6-8FEB6F31F3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939717" y="3639431"/>
            <a:ext cx="6947484" cy="46166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>
              <a:lnSpc>
                <a:spcPct val="110000"/>
              </a:lnSpc>
              <a:buNone/>
              <a:defRPr sz="2400">
                <a:solidFill>
                  <a:srgbClr val="40404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DIGITE O SEU TÍTULO SECUNDÁRIO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804EF98-C8D5-458C-905C-7A0D28B250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39717" y="4101096"/>
            <a:ext cx="6947484" cy="461665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sz="2400" dirty="0">
                <a:solidFill>
                  <a:srgbClr val="404040"/>
                </a:solidFill>
              </a:defRPr>
            </a:lvl1pPr>
          </a:lstStyle>
          <a:p>
            <a:pPr lvl="0">
              <a:buNone/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78115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F8EEA32-DC3E-40F5-BC41-148C416A1F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9683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8EEA32-DC3E-40F5-BC41-148C416A1F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2" name="Agrupar 13">
            <a:extLst>
              <a:ext uri="{FF2B5EF4-FFF2-40B4-BE49-F238E27FC236}">
                <a16:creationId xmlns:a16="http://schemas.microsoft.com/office/drawing/2014/main" id="{A796E6FE-0C9F-A2F6-714F-7EBA2BAA5214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4" name="Retângulo com Canto Arredondado do Mesmo Lado 12">
              <a:extLst>
                <a:ext uri="{FF2B5EF4-FFF2-40B4-BE49-F238E27FC236}">
                  <a16:creationId xmlns:a16="http://schemas.microsoft.com/office/drawing/2014/main" id="{724F808B-1997-63E4-AA3C-A1E401B3ADD3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" name="Retângulo com Canto Arredondado do Mesmo Lado 11">
              <a:extLst>
                <a:ext uri="{FF2B5EF4-FFF2-40B4-BE49-F238E27FC236}">
                  <a16:creationId xmlns:a16="http://schemas.microsoft.com/office/drawing/2014/main" id="{4D70390F-122D-9587-9C97-FC3B85B9F9F7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6" name="Imagem 8">
              <a:extLst>
                <a:ext uri="{FF2B5EF4-FFF2-40B4-BE49-F238E27FC236}">
                  <a16:creationId xmlns:a16="http://schemas.microsoft.com/office/drawing/2014/main" id="{DF3203D3-FA7E-0BF3-84AA-86C7860C7E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12AE698A-8864-E4F8-9B18-AB09D77D91D9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03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20EC801-057E-4F97-845C-A0A3F18300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906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0EC801-057E-4F97-845C-A0A3F1830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F7A4B3-D699-4B7B-A678-D54D9AE46A24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73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91C8DB4-3F10-409E-9477-58280667AE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952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1C8DB4-3F10-409E-9477-58280667AE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044B2E-E253-439B-91BA-0D8C0548DF8C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268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3708446-FE2F-452A-965D-9231BA8746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8855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708446-FE2F-452A-965D-9231BA8746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ADD0B198-AC6F-4EC2-9D69-4E008B4453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28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4A2FBB-5774-4277-B355-E4406EFC0A71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500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EE3D328-C69F-48AE-AF9A-D4BD883375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877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E3D328-C69F-48AE-AF9A-D4BD883375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28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A229249-160B-46BD-B8EF-27BC09BA4AA9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88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09910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7060D2C-D218-4C00-8047-3BEA195546BB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24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1B52D24-098F-41C7-863A-5829F13A9D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7610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B52D24-098F-41C7-863A-5829F13A9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C7B817E-E4C5-4D5F-9D30-80DEAB17F9D3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051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20C685A-E509-4DE6-886B-0607B7FF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0124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0C685A-E509-4DE6-886B-0607B7FF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2E69E0B-8ED3-4BCB-94F3-7A38F35BC0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4673646" cy="430887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C825239-5EFB-4450-8278-BA779604E184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789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ECF0BD1-9D7A-49B3-B357-C4B4C3A00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694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CF0BD1-9D7A-49B3-B357-C4B4C3A00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6FABAFB-0417-4DD1-8D35-C84C52351F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4673646" cy="43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EBFD52-17D6-4F4D-8007-823FCE2EB565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231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2CA3F3A-3E73-4003-AD57-13F9D4DAAD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984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CA3F3A-3E73-4003-AD57-13F9D4DAAD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A055734-02B4-4AD1-B191-67C7F47A4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6256800" cy="430887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52C0CA-F5E1-43A3-A430-26806C1549BF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26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BE64A8D-4F63-4DD6-B560-0668ED1A6B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170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E64A8D-4F63-4DD6-B560-0668ED1A6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526A128-D593-4C46-86E7-7A6552078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rma Livre 12">
            <a:extLst>
              <a:ext uri="{FF2B5EF4-FFF2-40B4-BE49-F238E27FC236}">
                <a16:creationId xmlns:a16="http://schemas.microsoft.com/office/drawing/2014/main" id="{10AF3573-564F-48E1-8D41-3CF367812A66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6" name="Agrupar 13">
            <a:extLst>
              <a:ext uri="{FF2B5EF4-FFF2-40B4-BE49-F238E27FC236}">
                <a16:creationId xmlns:a16="http://schemas.microsoft.com/office/drawing/2014/main" id="{8DFA4485-7D68-40D4-AED9-3C99CD31CF6C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7" name="Retângulo com Canto Arredondado do Mesmo Lado 12">
              <a:extLst>
                <a:ext uri="{FF2B5EF4-FFF2-40B4-BE49-F238E27FC236}">
                  <a16:creationId xmlns:a16="http://schemas.microsoft.com/office/drawing/2014/main" id="{18ED2487-399E-42DB-B6EB-3361DD118C1B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tângulo com Canto Arredondado do Mesmo Lado 11">
              <a:extLst>
                <a:ext uri="{FF2B5EF4-FFF2-40B4-BE49-F238E27FC236}">
                  <a16:creationId xmlns:a16="http://schemas.microsoft.com/office/drawing/2014/main" id="{23E78627-18F7-4385-8F00-676B71786E4B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9" name="Imagem 8">
              <a:extLst>
                <a:ext uri="{FF2B5EF4-FFF2-40B4-BE49-F238E27FC236}">
                  <a16:creationId xmlns:a16="http://schemas.microsoft.com/office/drawing/2014/main" id="{013383A6-8F3D-4691-B5CA-9E73DF6B85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5139AFC-1F2D-42C8-8108-311BDC70F6E7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99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39F87DE-1D3A-4F39-8AD1-BB6E5DF5DE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72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9F87DE-1D3A-4F39-8AD1-BB6E5DF5DE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797C77E-F61A-4A2A-8774-27B65C8D3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6256800" cy="43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722BA36-3E05-4008-A3E2-E8023CD54E12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390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0660541-E4C4-427E-8280-CD9EC310C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572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660541-E4C4-427E-8280-CD9EC310C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F58334-3CB1-4409-8CBA-5BA37AFFB22F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807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8043B7E-888C-49A5-A585-83053AAD26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463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43B7E-888C-49A5-A585-83053AAD2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Forma Livre 12">
            <a:extLst>
              <a:ext uri="{FF2B5EF4-FFF2-40B4-BE49-F238E27FC236}">
                <a16:creationId xmlns:a16="http://schemas.microsoft.com/office/drawing/2014/main" id="{18EA0875-37AA-409A-A672-FA3F27EE4EC3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3" name="Agrupar 13">
            <a:extLst>
              <a:ext uri="{FF2B5EF4-FFF2-40B4-BE49-F238E27FC236}">
                <a16:creationId xmlns:a16="http://schemas.microsoft.com/office/drawing/2014/main" id="{2A0C0401-A2F3-4AF6-AAF0-B6D4E1DC6A80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4" name="Retângulo com Canto Arredondado do Mesmo Lado 12">
              <a:extLst>
                <a:ext uri="{FF2B5EF4-FFF2-40B4-BE49-F238E27FC236}">
                  <a16:creationId xmlns:a16="http://schemas.microsoft.com/office/drawing/2014/main" id="{B70064E0-6137-435A-8AC5-5E417696EA3D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tângulo com Canto Arredondado do Mesmo Lado 11">
              <a:extLst>
                <a:ext uri="{FF2B5EF4-FFF2-40B4-BE49-F238E27FC236}">
                  <a16:creationId xmlns:a16="http://schemas.microsoft.com/office/drawing/2014/main" id="{46ED163A-0920-4DBA-8CB0-455178B6FD9F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6" name="Imagem 8">
              <a:extLst>
                <a:ext uri="{FF2B5EF4-FFF2-40B4-BE49-F238E27FC236}">
                  <a16:creationId xmlns:a16="http://schemas.microsoft.com/office/drawing/2014/main" id="{C9095C41-D7D5-42B6-A2A8-1BF3837E80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CFB103DC-4022-4A4B-99B5-FFF0E329A1FC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6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3900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32BA37-FFEB-462E-ABBC-15B21325D9CE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97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732D35D-80AB-41BC-B84F-C9D38A93A4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796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32D35D-80AB-41BC-B84F-C9D38A93A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AA93097-C729-4DFC-96FC-4A09FBE0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074493-1997-41ED-9D5C-C1CF9049EBAA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101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5251B26-5A60-4E70-9BA9-D2AC513816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8076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251B26-5A60-4E70-9BA9-D2AC513816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Forma Livre 12">
            <a:extLst>
              <a:ext uri="{FF2B5EF4-FFF2-40B4-BE49-F238E27FC236}">
                <a16:creationId xmlns:a16="http://schemas.microsoft.com/office/drawing/2014/main" id="{D616B5DA-85B3-4E8F-9998-C6FD4F0EBF5E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0" name="Agrupar 13">
            <a:extLst>
              <a:ext uri="{FF2B5EF4-FFF2-40B4-BE49-F238E27FC236}">
                <a16:creationId xmlns:a16="http://schemas.microsoft.com/office/drawing/2014/main" id="{1C91FCD6-A8C3-4BEE-ACAD-C48E6C066D8E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1" name="Retângulo com Canto Arredondado do Mesmo Lado 12">
              <a:extLst>
                <a:ext uri="{FF2B5EF4-FFF2-40B4-BE49-F238E27FC236}">
                  <a16:creationId xmlns:a16="http://schemas.microsoft.com/office/drawing/2014/main" id="{F339CE9B-5908-46E6-A829-20A09ED53C73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Retângulo com Canto Arredondado do Mesmo Lado 11">
              <a:extLst>
                <a:ext uri="{FF2B5EF4-FFF2-40B4-BE49-F238E27FC236}">
                  <a16:creationId xmlns:a16="http://schemas.microsoft.com/office/drawing/2014/main" id="{7DBB67A1-AB3D-4744-A068-6D543AD3BBAA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3" name="Imagem 8">
              <a:extLst>
                <a:ext uri="{FF2B5EF4-FFF2-40B4-BE49-F238E27FC236}">
                  <a16:creationId xmlns:a16="http://schemas.microsoft.com/office/drawing/2014/main" id="{1C6BF611-B41F-4DCC-85E7-446BBB6383F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026B95D6-2EC8-4132-A427-895719B80B5E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03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F4FB2E6-5056-430F-A922-E42BB300DF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8090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4FB2E6-5056-430F-A922-E42BB300D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D94F77-BE82-4856-A7AB-183BE4B687B8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982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8607C6A-96A9-4F19-9275-8A3C8CC7B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357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607C6A-96A9-4F19-9275-8A3C8CC7B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Forma Livre 12">
            <a:extLst>
              <a:ext uri="{FF2B5EF4-FFF2-40B4-BE49-F238E27FC236}">
                <a16:creationId xmlns:a16="http://schemas.microsoft.com/office/drawing/2014/main" id="{63A5EA7B-49A5-44D9-A226-4C9A7FC2B526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DE18FE45-1E1A-4255-AAA7-81A9C32374E9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5" name="Retângulo com Canto Arredondado do Mesmo Lado 12">
              <a:extLst>
                <a:ext uri="{FF2B5EF4-FFF2-40B4-BE49-F238E27FC236}">
                  <a16:creationId xmlns:a16="http://schemas.microsoft.com/office/drawing/2014/main" id="{6B49EC2C-BF21-4BDC-ADE1-D4EB584523DE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tângulo com Canto Arredondado do Mesmo Lado 11">
              <a:extLst>
                <a:ext uri="{FF2B5EF4-FFF2-40B4-BE49-F238E27FC236}">
                  <a16:creationId xmlns:a16="http://schemas.microsoft.com/office/drawing/2014/main" id="{1EC5C1C9-9C95-48B7-8527-5D9EADF65AF1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7" name="Imagem 8">
              <a:extLst>
                <a:ext uri="{FF2B5EF4-FFF2-40B4-BE49-F238E27FC236}">
                  <a16:creationId xmlns:a16="http://schemas.microsoft.com/office/drawing/2014/main" id="{41B99994-96E8-4DC0-91BE-FF3191EF8DD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A0972E4C-3909-4A2D-A789-087D4FF9B84A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986C394-02EE-49D2-BC11-1F3F6ABC02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456507"/>
            <a:ext cx="6209072" cy="3739485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20" name="Title 6">
            <a:extLst>
              <a:ext uri="{FF2B5EF4-FFF2-40B4-BE49-F238E27FC236}">
                <a16:creationId xmlns:a16="http://schemas.microsoft.com/office/drawing/2014/main" id="{0A4709D6-0AD5-414B-A902-349F9E224EA3}"/>
              </a:ext>
            </a:extLst>
          </p:cNvPr>
          <p:cNvSpPr txBox="1">
            <a:spLocks/>
          </p:cNvSpPr>
          <p:nvPr/>
        </p:nvSpPr>
        <p:spPr>
          <a:xfrm>
            <a:off x="639043" y="2973076"/>
            <a:ext cx="3291840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BF9DA5-7BA4-4084-811F-8408580075C4}"/>
              </a:ext>
            </a:extLst>
          </p:cNvPr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274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solidFill>
          <a:srgbClr val="1D07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440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aixaDeTexto 4">
            <a:extLst>
              <a:ext uri="{FF2B5EF4-FFF2-40B4-BE49-F238E27FC236}">
                <a16:creationId xmlns:a16="http://schemas.microsoft.com/office/drawing/2014/main" id="{706DF478-1AD5-4F76-A3E2-F8E8045CA9FB}"/>
              </a:ext>
            </a:extLst>
          </p:cNvPr>
          <p:cNvSpPr txBox="1"/>
          <p:nvPr/>
        </p:nvSpPr>
        <p:spPr>
          <a:xfrm>
            <a:off x="1341266" y="2290227"/>
            <a:ext cx="95094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OBRIGADO!</a:t>
            </a:r>
            <a:endParaRPr lang="pt-BR" sz="80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1" name="Imagem 5">
            <a:extLst>
              <a:ext uri="{FF2B5EF4-FFF2-40B4-BE49-F238E27FC236}">
                <a16:creationId xmlns:a16="http://schemas.microsoft.com/office/drawing/2014/main" id="{D13B3FE9-C3A1-4891-9F5B-1E5BBFCE87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23478" y="5168022"/>
            <a:ext cx="992336" cy="1278587"/>
          </a:xfrm>
          <a:prstGeom prst="rect">
            <a:avLst/>
          </a:prstGeom>
        </p:spPr>
      </p:pic>
      <p:sp>
        <p:nvSpPr>
          <p:cNvPr id="12" name="Retângulo com Canto Arredondado do Mesmo Lado 1">
            <a:extLst>
              <a:ext uri="{FF2B5EF4-FFF2-40B4-BE49-F238E27FC236}">
                <a16:creationId xmlns:a16="http://schemas.microsoft.com/office/drawing/2014/main" id="{FFAD8FB6-976F-4809-8EBD-80EC51C16BB8}"/>
              </a:ext>
            </a:extLst>
          </p:cNvPr>
          <p:cNvSpPr/>
          <p:nvPr/>
        </p:nvSpPr>
        <p:spPr>
          <a:xfrm rot="16200000">
            <a:off x="-2307445" y="3323895"/>
            <a:ext cx="4825101" cy="210209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E6183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sp>
        <p:nvSpPr>
          <p:cNvPr id="13" name="Retângulo com Canto Arredondado do Mesmo Lado 3">
            <a:extLst>
              <a:ext uri="{FF2B5EF4-FFF2-40B4-BE49-F238E27FC236}">
                <a16:creationId xmlns:a16="http://schemas.microsoft.com/office/drawing/2014/main" id="{CD009CC8-706F-4238-B6E0-BF0D11B50478}"/>
              </a:ext>
            </a:extLst>
          </p:cNvPr>
          <p:cNvSpPr/>
          <p:nvPr/>
        </p:nvSpPr>
        <p:spPr>
          <a:xfrm rot="5400000">
            <a:off x="9679595" y="3323895"/>
            <a:ext cx="4825101" cy="210209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E6183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6976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CCDBA0F-72AB-4C44-993F-F4C7CBAD13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752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CDBA0F-72AB-4C44-993F-F4C7CBAD1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7B610C7-8DFE-4750-8541-B4F954481252}"/>
              </a:ext>
            </a:extLst>
          </p:cNvPr>
          <p:cNvGrpSpPr/>
          <p:nvPr/>
        </p:nvGrpSpPr>
        <p:grpSpPr>
          <a:xfrm>
            <a:off x="-600" y="-12527"/>
            <a:ext cx="12193800" cy="6870527"/>
            <a:chOff x="-600" y="-12527"/>
            <a:chExt cx="12193800" cy="6870527"/>
          </a:xfrm>
        </p:grpSpPr>
        <p:sp>
          <p:nvSpPr>
            <p:cNvPr id="98" name="Forma Livre 12">
              <a:extLst>
                <a:ext uri="{FF2B5EF4-FFF2-40B4-BE49-F238E27FC236}">
                  <a16:creationId xmlns:a16="http://schemas.microsoft.com/office/drawing/2014/main" id="{12AA42EA-C208-4385-9C0C-FD5DF01D452F}"/>
                </a:ext>
              </a:extLst>
            </p:cNvPr>
            <p:cNvSpPr/>
            <p:nvPr userDrawn="1"/>
          </p:nvSpPr>
          <p:spPr>
            <a:xfrm rot="10800000" flipH="1" flipV="1">
              <a:off x="0" y="-12527"/>
              <a:ext cx="4574974" cy="387069"/>
            </a:xfrm>
            <a:custGeom>
              <a:avLst/>
              <a:gdLst>
                <a:gd name="connsiteX0" fmla="*/ 0 w 3346704"/>
                <a:gd name="connsiteY0" fmla="*/ 0 h 309138"/>
                <a:gd name="connsiteX1" fmla="*/ 3343243 w 3346704"/>
                <a:gd name="connsiteY1" fmla="*/ 0 h 309138"/>
                <a:gd name="connsiteX2" fmla="*/ 3346704 w 3346704"/>
                <a:gd name="connsiteY2" fmla="*/ 34337 h 309138"/>
                <a:gd name="connsiteX3" fmla="*/ 3071903 w 3346704"/>
                <a:gd name="connsiteY3" fmla="*/ 309138 h 309138"/>
                <a:gd name="connsiteX4" fmla="*/ 0 w 3346704"/>
                <a:gd name="connsiteY4" fmla="*/ 309138 h 309138"/>
                <a:gd name="connsiteX5" fmla="*/ 0 w 3346704"/>
                <a:gd name="connsiteY5" fmla="*/ 0 h 3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46704" h="309138">
                  <a:moveTo>
                    <a:pt x="0" y="0"/>
                  </a:moveTo>
                  <a:lnTo>
                    <a:pt x="3343243" y="0"/>
                  </a:lnTo>
                  <a:lnTo>
                    <a:pt x="3346704" y="34337"/>
                  </a:lnTo>
                  <a:cubicBezTo>
                    <a:pt x="3346704" y="186105"/>
                    <a:pt x="3223671" y="309138"/>
                    <a:pt x="3071903" y="309138"/>
                  </a:cubicBezTo>
                  <a:lnTo>
                    <a:pt x="0" y="3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t-BR" b="1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99" name="Agrupar 13">
              <a:extLst>
                <a:ext uri="{FF2B5EF4-FFF2-40B4-BE49-F238E27FC236}">
                  <a16:creationId xmlns:a16="http://schemas.microsoft.com/office/drawing/2014/main" id="{29ED9E29-3916-4B1F-ABBD-F584DE3DD2F8}"/>
                </a:ext>
              </a:extLst>
            </p:cNvPr>
            <p:cNvGrpSpPr/>
            <p:nvPr userDrawn="1"/>
          </p:nvGrpSpPr>
          <p:grpSpPr>
            <a:xfrm>
              <a:off x="10464953" y="6526060"/>
              <a:ext cx="1727049" cy="294362"/>
              <a:chOff x="9528659" y="6366476"/>
              <a:chExt cx="2663343" cy="453946"/>
            </a:xfrm>
          </p:grpSpPr>
          <p:sp>
            <p:nvSpPr>
              <p:cNvPr id="100" name="Retângulo com Canto Arredondado do Mesmo Lado 12">
                <a:extLst>
                  <a:ext uri="{FF2B5EF4-FFF2-40B4-BE49-F238E27FC236}">
                    <a16:creationId xmlns:a16="http://schemas.microsoft.com/office/drawing/2014/main" id="{BAD5D055-BCCE-4081-94C5-8B28BA81C595}"/>
                  </a:ext>
                </a:extLst>
              </p:cNvPr>
              <p:cNvSpPr/>
              <p:nvPr userDrawn="1"/>
            </p:nvSpPr>
            <p:spPr>
              <a:xfrm rot="16200000">
                <a:off x="10457994" y="5437141"/>
                <a:ext cx="453946" cy="2312615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E3113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b="1" i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01" name="Retângulo com Canto Arredondado do Mesmo Lado 11">
                <a:extLst>
                  <a:ext uri="{FF2B5EF4-FFF2-40B4-BE49-F238E27FC236}">
                    <a16:creationId xmlns:a16="http://schemas.microsoft.com/office/drawing/2014/main" id="{75DD95A4-CC34-4637-9E7E-6B42A8878962}"/>
                  </a:ext>
                </a:extLst>
              </p:cNvPr>
              <p:cNvSpPr/>
              <p:nvPr userDrawn="1"/>
            </p:nvSpPr>
            <p:spPr>
              <a:xfrm rot="16200000">
                <a:off x="10808722" y="5437141"/>
                <a:ext cx="453946" cy="2312615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1D07E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b="1" i="0">
                  <a:latin typeface="+mn-lt"/>
                  <a:ea typeface="+mn-ea"/>
                  <a:cs typeface="+mn-cs"/>
                </a:endParaRPr>
              </a:p>
            </p:txBody>
          </p:sp>
          <p:pic>
            <p:nvPicPr>
              <p:cNvPr id="102" name="Imagem 8">
                <a:extLst>
                  <a:ext uri="{FF2B5EF4-FFF2-40B4-BE49-F238E27FC236}">
                    <a16:creationId xmlns:a16="http://schemas.microsoft.com/office/drawing/2014/main" id="{45510253-4033-4160-80BF-B94422DF731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9993936" y="6483039"/>
                <a:ext cx="2039928" cy="220817"/>
              </a:xfrm>
              <a:prstGeom prst="rect">
                <a:avLst/>
              </a:prstGeom>
            </p:spPr>
          </p:pic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AFF5178-5C76-4D8D-B0C5-2F9CE34ED35D}"/>
                </a:ext>
              </a:extLst>
            </p:cNvPr>
            <p:cNvSpPr txBox="1"/>
            <p:nvPr userDrawn="1"/>
          </p:nvSpPr>
          <p:spPr>
            <a:xfrm>
              <a:off x="10420630" y="6544197"/>
              <a:ext cx="344967" cy="24622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>
              <a:defPPr>
                <a:defRPr lang="en-US"/>
              </a:defPPr>
              <a:lvl1pPr algn="ctr">
                <a:defRPr sz="1000">
                  <a:solidFill>
                    <a:srgbClr val="FFFFFF"/>
                  </a:solidFill>
                  <a:latin typeface="Century Gothic" panose="020F0302020204030204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/>
              <a:fld id="{DFCF27A5-1A5B-48D3-A060-2758FFBB1ADD}" type="slidenum">
                <a:rPr lang="en-US" smtClean="0"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pPr lvl="0"/>
                <a:t>‹#›</a:t>
              </a:fld>
              <a:endParaRPr lang="en-US"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94" name="No fly zone">
              <a:extLst>
                <a:ext uri="{FF2B5EF4-FFF2-40B4-BE49-F238E27FC236}">
                  <a16:creationId xmlns:a16="http://schemas.microsoft.com/office/drawing/2014/main" id="{62042EE5-FF56-4C8A-B373-598E5B9333DB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EDBEB68-500B-4D5A-ABB1-B57A25F6F222}"/>
                </a:ext>
              </a:extLst>
            </p:cNvPr>
            <p:cNvGrpSpPr/>
            <p:nvPr userDrawn="1"/>
          </p:nvGrpSpPr>
          <p:grpSpPr>
            <a:xfrm>
              <a:off x="-600" y="692049"/>
              <a:ext cx="12193200" cy="5328568"/>
              <a:chOff x="-600" y="622800"/>
              <a:chExt cx="12193200" cy="5397817"/>
            </a:xfrm>
          </p:grpSpPr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0AB5FD0-C471-42C6-A42D-9BAA36ED22D0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320D72AC-1236-4C55-8625-1C5CBC654811}"/>
                  </a:ext>
                </a:extLst>
              </p:cNvPr>
              <p:cNvCxnSpPr/>
              <p:nvPr/>
            </p:nvCxnSpPr>
            <p:spPr>
              <a:xfrm>
                <a:off x="-600" y="87286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CBE67816-7382-4948-BBED-9EEE4B1A239D}"/>
                  </a:ext>
                </a:extLst>
              </p:cNvPr>
              <p:cNvCxnSpPr/>
              <p:nvPr/>
            </p:nvCxnSpPr>
            <p:spPr>
              <a:xfrm>
                <a:off x="-600" y="112293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4D363491-C1F2-4ED8-9128-A5A31189570C}"/>
                  </a:ext>
                </a:extLst>
              </p:cNvPr>
              <p:cNvCxnSpPr/>
              <p:nvPr/>
            </p:nvCxnSpPr>
            <p:spPr>
              <a:xfrm>
                <a:off x="-600" y="139553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33884EBB-01E5-46BE-A0CA-FDDF6AD0A30A}"/>
                  </a:ext>
                </a:extLst>
              </p:cNvPr>
              <p:cNvCxnSpPr/>
              <p:nvPr/>
            </p:nvCxnSpPr>
            <p:spPr>
              <a:xfrm>
                <a:off x="-600" y="16681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1CAA2954-06AF-4F23-B35B-E708937545FD}"/>
                  </a:ext>
                </a:extLst>
              </p:cNvPr>
              <p:cNvCxnSpPr/>
              <p:nvPr/>
            </p:nvCxnSpPr>
            <p:spPr>
              <a:xfrm>
                <a:off x="-600" y="19407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9E5F51E1-CB55-4B5A-A25D-53AF5C24ACC5}"/>
                  </a:ext>
                </a:extLst>
              </p:cNvPr>
              <p:cNvCxnSpPr/>
              <p:nvPr/>
            </p:nvCxnSpPr>
            <p:spPr>
              <a:xfrm>
                <a:off x="-600" y="223216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F9DFC2FA-989E-44E2-B746-D4BBD8CBF736}"/>
                  </a:ext>
                </a:extLst>
              </p:cNvPr>
              <p:cNvCxnSpPr/>
              <p:nvPr/>
            </p:nvCxnSpPr>
            <p:spPr>
              <a:xfrm>
                <a:off x="-600" y="252358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2A281756-A669-4B14-ADEC-8EA3BF0F7A2B}"/>
                  </a:ext>
                </a:extLst>
              </p:cNvPr>
              <p:cNvCxnSpPr/>
              <p:nvPr/>
            </p:nvCxnSpPr>
            <p:spPr>
              <a:xfrm>
                <a:off x="-600" y="281500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0BFE0D5-D8BD-4190-B009-9FA11F26FE0C}"/>
                  </a:ext>
                </a:extLst>
              </p:cNvPr>
              <p:cNvCxnSpPr/>
              <p:nvPr/>
            </p:nvCxnSpPr>
            <p:spPr>
              <a:xfrm>
                <a:off x="-600" y="310642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A2C60B09-F698-478B-AB17-EFC139DE1567}"/>
                  </a:ext>
                </a:extLst>
              </p:cNvPr>
              <p:cNvCxnSpPr/>
              <p:nvPr/>
            </p:nvCxnSpPr>
            <p:spPr>
              <a:xfrm>
                <a:off x="-600" y="33978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2572F095-6C3F-4391-9E5E-47A9403DFC90}"/>
                  </a:ext>
                </a:extLst>
              </p:cNvPr>
              <p:cNvCxnSpPr/>
              <p:nvPr/>
            </p:nvCxnSpPr>
            <p:spPr>
              <a:xfrm>
                <a:off x="-600" y="368926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97063D9E-F227-417E-8D7F-9F3CD7DCBDCF}"/>
                  </a:ext>
                </a:extLst>
              </p:cNvPr>
              <p:cNvCxnSpPr/>
              <p:nvPr/>
            </p:nvCxnSpPr>
            <p:spPr>
              <a:xfrm>
                <a:off x="-600" y="398068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F895D13C-6AD6-4A0F-8A9F-63CEFACD2E93}"/>
                  </a:ext>
                </a:extLst>
              </p:cNvPr>
              <p:cNvCxnSpPr/>
              <p:nvPr/>
            </p:nvCxnSpPr>
            <p:spPr>
              <a:xfrm>
                <a:off x="-600" y="427210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7A5F7642-41C5-4369-9E3D-AA2378449F88}"/>
                  </a:ext>
                </a:extLst>
              </p:cNvPr>
              <p:cNvCxnSpPr/>
              <p:nvPr/>
            </p:nvCxnSpPr>
            <p:spPr>
              <a:xfrm>
                <a:off x="-600" y="456352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EE7FB8D1-22E2-44DC-97A1-B5F0FE7E2143}"/>
                  </a:ext>
                </a:extLst>
              </p:cNvPr>
              <p:cNvCxnSpPr/>
              <p:nvPr/>
            </p:nvCxnSpPr>
            <p:spPr>
              <a:xfrm>
                <a:off x="-600" y="48549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A60CAE34-1894-42B4-827A-65E1A0350D68}"/>
                  </a:ext>
                </a:extLst>
              </p:cNvPr>
              <p:cNvCxnSpPr/>
              <p:nvPr/>
            </p:nvCxnSpPr>
            <p:spPr>
              <a:xfrm>
                <a:off x="-600" y="514636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06C98D42-29B1-468A-A722-7E3D9586A8C9}"/>
                  </a:ext>
                </a:extLst>
              </p:cNvPr>
              <p:cNvCxnSpPr/>
              <p:nvPr/>
            </p:nvCxnSpPr>
            <p:spPr>
              <a:xfrm>
                <a:off x="-600" y="543778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F34E218D-9C2E-4E59-B922-7B01DF0846FF}"/>
                  </a:ext>
                </a:extLst>
              </p:cNvPr>
              <p:cNvCxnSpPr/>
              <p:nvPr/>
            </p:nvCxnSpPr>
            <p:spPr>
              <a:xfrm>
                <a:off x="-600" y="572920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34E37050-E28C-46DA-B1B4-CF6FBE61E830}"/>
                  </a:ext>
                </a:extLst>
              </p:cNvPr>
              <p:cNvCxnSpPr/>
              <p:nvPr/>
            </p:nvCxnSpPr>
            <p:spPr>
              <a:xfrm>
                <a:off x="-600" y="602061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0" name="Gutter space">
              <a:extLst>
                <a:ext uri="{FF2B5EF4-FFF2-40B4-BE49-F238E27FC236}">
                  <a16:creationId xmlns:a16="http://schemas.microsoft.com/office/drawing/2014/main" id="{1B1C8983-69F4-4405-875E-1E7A420A1C8D}"/>
                </a:ext>
              </a:extLst>
            </p:cNvPr>
            <p:cNvGrpSpPr/>
            <p:nvPr userDrawn="1"/>
          </p:nvGrpSpPr>
          <p:grpSpPr>
            <a:xfrm>
              <a:off x="1277000" y="692049"/>
              <a:ext cx="9638000" cy="5328568"/>
              <a:chOff x="1277000" y="623550"/>
              <a:chExt cx="9638000" cy="5537047"/>
            </a:xfrm>
          </p:grpSpPr>
          <p:sp>
            <p:nvSpPr>
              <p:cNvPr id="132" name="Rectangle 34">
                <a:extLst>
                  <a:ext uri="{FF2B5EF4-FFF2-40B4-BE49-F238E27FC236}">
                    <a16:creationId xmlns:a16="http://schemas.microsoft.com/office/drawing/2014/main" id="{F2C9F02A-A484-43CC-95CD-DCD86E4B55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3" name="Rectangle 35">
                <a:extLst>
                  <a:ext uri="{FF2B5EF4-FFF2-40B4-BE49-F238E27FC236}">
                    <a16:creationId xmlns:a16="http://schemas.microsoft.com/office/drawing/2014/main" id="{7E29CF67-A081-4E2C-9347-002DB7AB9F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8" name="Rectangle 36">
                <a:extLst>
                  <a:ext uri="{FF2B5EF4-FFF2-40B4-BE49-F238E27FC236}">
                    <a16:creationId xmlns:a16="http://schemas.microsoft.com/office/drawing/2014/main" id="{E7DB2851-7BCC-4664-A380-FB9F6BD4F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9" name="Rectangle 37">
                <a:extLst>
                  <a:ext uri="{FF2B5EF4-FFF2-40B4-BE49-F238E27FC236}">
                    <a16:creationId xmlns:a16="http://schemas.microsoft.com/office/drawing/2014/main" id="{A1314E12-807E-4502-8D88-B834268F3F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0" name="Rectangle 38">
                <a:extLst>
                  <a:ext uri="{FF2B5EF4-FFF2-40B4-BE49-F238E27FC236}">
                    <a16:creationId xmlns:a16="http://schemas.microsoft.com/office/drawing/2014/main" id="{40D46A7E-C014-4FE8-80F8-C7AED3680D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1" name="Rectangle 39">
                <a:extLst>
                  <a:ext uri="{FF2B5EF4-FFF2-40B4-BE49-F238E27FC236}">
                    <a16:creationId xmlns:a16="http://schemas.microsoft.com/office/drawing/2014/main" id="{ECB9D798-979D-4B72-8F3F-EDB9B33689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2" name="Rectangle 40">
                <a:extLst>
                  <a:ext uri="{FF2B5EF4-FFF2-40B4-BE49-F238E27FC236}">
                    <a16:creationId xmlns:a16="http://schemas.microsoft.com/office/drawing/2014/main" id="{D357D61B-8131-49A1-B83A-477D2105D7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3" name="Rectangle 41">
                <a:extLst>
                  <a:ext uri="{FF2B5EF4-FFF2-40B4-BE49-F238E27FC236}">
                    <a16:creationId xmlns:a16="http://schemas.microsoft.com/office/drawing/2014/main" id="{795E28C5-5091-47DD-A99B-A8EE2FF22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4" name="Rectangle 42">
                <a:extLst>
                  <a:ext uri="{FF2B5EF4-FFF2-40B4-BE49-F238E27FC236}">
                    <a16:creationId xmlns:a16="http://schemas.microsoft.com/office/drawing/2014/main" id="{67945C10-9ED6-4F47-8F93-547645EC14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5" name="Rectangle 43">
                <a:extLst>
                  <a:ext uri="{FF2B5EF4-FFF2-40B4-BE49-F238E27FC236}">
                    <a16:creationId xmlns:a16="http://schemas.microsoft.com/office/drawing/2014/main" id="{5864371F-67A3-44E4-93F9-F243CFFDBA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6" name="Rectangle 44">
                <a:extLst>
                  <a:ext uri="{FF2B5EF4-FFF2-40B4-BE49-F238E27FC236}">
                    <a16:creationId xmlns:a16="http://schemas.microsoft.com/office/drawing/2014/main" id="{1FE2DA82-6369-45EB-9080-60F853A5CA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21" name="Slide edges">
              <a:extLst>
                <a:ext uri="{FF2B5EF4-FFF2-40B4-BE49-F238E27FC236}">
                  <a16:creationId xmlns:a16="http://schemas.microsoft.com/office/drawing/2014/main" id="{91707CC9-06B4-4C69-AEBD-38DA91E351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" name="Footnote measure">
              <a:extLst>
                <a:ext uri="{FF2B5EF4-FFF2-40B4-BE49-F238E27FC236}">
                  <a16:creationId xmlns:a16="http://schemas.microsoft.com/office/drawing/2014/main" id="{7420E833-EE6B-4A35-8127-39358E1B39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0000" y="6374921"/>
              <a:ext cx="9756384" cy="41549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" name="Whitespace measure">
              <a:extLst>
                <a:ext uri="{FF2B5EF4-FFF2-40B4-BE49-F238E27FC236}">
                  <a16:creationId xmlns:a16="http://schemas.microsoft.com/office/drawing/2014/main" id="{92B3A45B-81AD-4292-AF8A-3004006C341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9400" y="1727200"/>
              <a:ext cx="10932229" cy="21354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24" name="Five column measure">
              <a:extLst>
                <a:ext uri="{FF2B5EF4-FFF2-40B4-BE49-F238E27FC236}">
                  <a16:creationId xmlns:a16="http://schemas.microsoft.com/office/drawing/2014/main" id="{A906C39D-977D-4B36-9F79-0745C7E682D5}"/>
                </a:ext>
              </a:extLst>
            </p:cNvPr>
            <p:cNvGrpSpPr/>
            <p:nvPr userDrawn="1"/>
          </p:nvGrpSpPr>
          <p:grpSpPr>
            <a:xfrm>
              <a:off x="629400" y="5835142"/>
              <a:ext cx="10933200" cy="79536"/>
              <a:chOff x="629400" y="5975122"/>
              <a:chExt cx="10933200" cy="79536"/>
            </a:xfrm>
          </p:grpSpPr>
          <p:sp>
            <p:nvSpPr>
              <p:cNvPr id="127" name="Rectangle 5">
                <a:extLst>
                  <a:ext uri="{FF2B5EF4-FFF2-40B4-BE49-F238E27FC236}">
                    <a16:creationId xmlns:a16="http://schemas.microsoft.com/office/drawing/2014/main" id="{D64BAA6C-F66B-4063-A522-BD6B4CFE1B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8" name="Rectangle 7">
                <a:extLst>
                  <a:ext uri="{FF2B5EF4-FFF2-40B4-BE49-F238E27FC236}">
                    <a16:creationId xmlns:a16="http://schemas.microsoft.com/office/drawing/2014/main" id="{F7F79CFA-46D1-4724-AB58-88693AE7E0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9" name="Rectangle 9">
                <a:extLst>
                  <a:ext uri="{FF2B5EF4-FFF2-40B4-BE49-F238E27FC236}">
                    <a16:creationId xmlns:a16="http://schemas.microsoft.com/office/drawing/2014/main" id="{55945CBF-A86C-43ED-BCD1-BB434E7CB8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0" name="Rectangle 11">
                <a:extLst>
                  <a:ext uri="{FF2B5EF4-FFF2-40B4-BE49-F238E27FC236}">
                    <a16:creationId xmlns:a16="http://schemas.microsoft.com/office/drawing/2014/main" id="{52D3EC46-55E0-4860-AB09-EBDBFA848A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1" name="Rectangle 13">
                <a:extLst>
                  <a:ext uri="{FF2B5EF4-FFF2-40B4-BE49-F238E27FC236}">
                    <a16:creationId xmlns:a16="http://schemas.microsoft.com/office/drawing/2014/main" id="{96DC0820-0977-45CC-8C31-FDB652811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25" name="Live area">
              <a:extLst>
                <a:ext uri="{FF2B5EF4-FFF2-40B4-BE49-F238E27FC236}">
                  <a16:creationId xmlns:a16="http://schemas.microsoft.com/office/drawing/2014/main" id="{32CB0F6A-BDEB-41CA-AF35-B7982FA38092}"/>
                </a:ext>
              </a:extLst>
            </p:cNvPr>
            <p:cNvSpPr/>
            <p:nvPr userDrawn="1"/>
          </p:nvSpPr>
          <p:spPr>
            <a:xfrm>
              <a:off x="630000" y="1940744"/>
              <a:ext cx="10933200" cy="4079873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" name="Footnote example">
              <a:extLst>
                <a:ext uri="{FF2B5EF4-FFF2-40B4-BE49-F238E27FC236}">
                  <a16:creationId xmlns:a16="http://schemas.microsoft.com/office/drawing/2014/main" id="{6479AB4F-CA80-4B34-846D-65A6A0AE26A6}"/>
                </a:ext>
              </a:extLst>
            </p:cNvPr>
            <p:cNvSpPr txBox="1"/>
            <p:nvPr userDrawn="1"/>
          </p:nvSpPr>
          <p:spPr>
            <a:xfrm>
              <a:off x="630000" y="6374921"/>
              <a:ext cx="975638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9A9A9A"/>
                  </a:solidFill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9A9A9A"/>
                  </a:solidFill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9A9A9A"/>
                  </a:solidFill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2999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BE64A8D-4F63-4DD6-B560-0668ED1A6B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009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E64A8D-4F63-4DD6-B560-0668ED1A6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41A9BC3A-AC47-C784-5D81-A3CD394F57FB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E9EAF1"/>
              </a:gs>
              <a:gs pos="100000">
                <a:srgbClr val="DDDFEB"/>
              </a:gs>
            </a:gsLst>
            <a:lin ang="0" scaled="0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16" name="Agrupar 13">
            <a:extLst>
              <a:ext uri="{FF2B5EF4-FFF2-40B4-BE49-F238E27FC236}">
                <a16:creationId xmlns:a16="http://schemas.microsoft.com/office/drawing/2014/main" id="{8DFA4485-7D68-40D4-AED9-3C99CD31CF6C}"/>
              </a:ext>
            </a:extLst>
          </p:cNvPr>
          <p:cNvGrpSpPr/>
          <p:nvPr/>
        </p:nvGrpSpPr>
        <p:grpSpPr>
          <a:xfrm>
            <a:off x="10464951" y="6148922"/>
            <a:ext cx="1727049" cy="294362"/>
            <a:chOff x="9528659" y="6366476"/>
            <a:chExt cx="2663343" cy="453946"/>
          </a:xfrm>
        </p:grpSpPr>
        <p:sp>
          <p:nvSpPr>
            <p:cNvPr id="17" name="Retângulo com Canto Arredondado do Mesmo Lado 12">
              <a:extLst>
                <a:ext uri="{FF2B5EF4-FFF2-40B4-BE49-F238E27FC236}">
                  <a16:creationId xmlns:a16="http://schemas.microsoft.com/office/drawing/2014/main" id="{18ED2487-399E-42DB-B6EB-3361DD118C1B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tângulo com Canto Arredondado do Mesmo Lado 11">
              <a:extLst>
                <a:ext uri="{FF2B5EF4-FFF2-40B4-BE49-F238E27FC236}">
                  <a16:creationId xmlns:a16="http://schemas.microsoft.com/office/drawing/2014/main" id="{23E78627-18F7-4385-8F00-676B71786E4B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9" name="Imagem 8">
              <a:extLst>
                <a:ext uri="{FF2B5EF4-FFF2-40B4-BE49-F238E27FC236}">
                  <a16:creationId xmlns:a16="http://schemas.microsoft.com/office/drawing/2014/main" id="{013383A6-8F3D-4691-B5CA-9E73DF6B85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pic>
        <p:nvPicPr>
          <p:cNvPr id="2" name="Imagem 21">
            <a:extLst>
              <a:ext uri="{FF2B5EF4-FFF2-40B4-BE49-F238E27FC236}">
                <a16:creationId xmlns:a16="http://schemas.microsoft.com/office/drawing/2014/main" id="{6F1BE5BE-5E5A-9E0E-D91E-6D792B236F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7429" y="5388233"/>
            <a:ext cx="818845" cy="1055050"/>
          </a:xfrm>
          <a:prstGeom prst="rect">
            <a:avLst/>
          </a:prstGeom>
        </p:spPr>
      </p:pic>
      <p:sp>
        <p:nvSpPr>
          <p:cNvPr id="3" name="CaixaDeTexto 24">
            <a:extLst>
              <a:ext uri="{FF2B5EF4-FFF2-40B4-BE49-F238E27FC236}">
                <a16:creationId xmlns:a16="http://schemas.microsoft.com/office/drawing/2014/main" id="{3711FF28-CCF9-EFF4-7A19-6650CCD97A94}"/>
              </a:ext>
            </a:extLst>
          </p:cNvPr>
          <p:cNvSpPr txBox="1"/>
          <p:nvPr/>
        </p:nvSpPr>
        <p:spPr>
          <a:xfrm>
            <a:off x="4446318" y="5612286"/>
            <a:ext cx="329936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400">
                <a:solidFill>
                  <a:srgbClr val="404E9E"/>
                </a:solidFill>
                <a:latin typeface="+mn-lt"/>
                <a:ea typeface="+mn-ea"/>
                <a:cs typeface="+mn-cs"/>
              </a:rPr>
              <a:t>A </a:t>
            </a:r>
            <a:r>
              <a:rPr lang="pt-BR" sz="2400" b="1" i="0">
                <a:solidFill>
                  <a:srgbClr val="404E9E"/>
                </a:solidFill>
                <a:latin typeface="+mn-lt"/>
                <a:ea typeface="+mn-ea"/>
                <a:cs typeface="+mn-cs"/>
              </a:rPr>
              <a:t>DEDICAÇÃO TOTAL</a:t>
            </a:r>
          </a:p>
          <a:p>
            <a:pPr algn="ctr"/>
            <a:r>
              <a:rPr lang="pt-BR" sz="2400">
                <a:solidFill>
                  <a:srgbClr val="404E9E"/>
                </a:solidFill>
                <a:latin typeface="+mn-lt"/>
                <a:ea typeface="+mn-ea"/>
                <a:cs typeface="+mn-cs"/>
              </a:rPr>
              <a:t>NUNCA FOI TÃO FOR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79858F-73D7-37B8-887F-E1AA34568579}"/>
              </a:ext>
            </a:extLst>
          </p:cNvPr>
          <p:cNvSpPr/>
          <p:nvPr/>
        </p:nvSpPr>
        <p:spPr>
          <a:xfrm>
            <a:off x="0" y="-1"/>
            <a:ext cx="12192000" cy="1699169"/>
          </a:xfrm>
          <a:prstGeom prst="rect">
            <a:avLst/>
          </a:prstGeom>
          <a:solidFill>
            <a:srgbClr val="404E9E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3D6BDA-88CC-F90A-A030-0EA6E7D7D63D}"/>
              </a:ext>
            </a:extLst>
          </p:cNvPr>
          <p:cNvSpPr/>
          <p:nvPr/>
        </p:nvSpPr>
        <p:spPr>
          <a:xfrm>
            <a:off x="0" y="6601645"/>
            <a:ext cx="12192000" cy="256355"/>
          </a:xfrm>
          <a:prstGeom prst="rect">
            <a:avLst/>
          </a:prstGeom>
          <a:solidFill>
            <a:srgbClr val="404E9E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F6C86B6-D4F0-AE7D-E599-CE1C81F37021}"/>
              </a:ext>
            </a:extLst>
          </p:cNvPr>
          <p:cNvSpPr/>
          <p:nvPr/>
        </p:nvSpPr>
        <p:spPr>
          <a:xfrm>
            <a:off x="0" y="1331089"/>
            <a:ext cx="2720294" cy="368078"/>
          </a:xfrm>
          <a:custGeom>
            <a:avLst/>
            <a:gdLst>
              <a:gd name="connsiteX0" fmla="*/ 0 w 2720294"/>
              <a:gd name="connsiteY0" fmla="*/ 0 h 368078"/>
              <a:gd name="connsiteX1" fmla="*/ 2536255 w 2720294"/>
              <a:gd name="connsiteY1" fmla="*/ 0 h 368078"/>
              <a:gd name="connsiteX2" fmla="*/ 2720294 w 2720294"/>
              <a:gd name="connsiteY2" fmla="*/ 184039 h 368078"/>
              <a:gd name="connsiteX3" fmla="*/ 2720294 w 2720294"/>
              <a:gd name="connsiteY3" fmla="*/ 368078 h 368078"/>
              <a:gd name="connsiteX4" fmla="*/ 0 w 2720294"/>
              <a:gd name="connsiteY4" fmla="*/ 368078 h 36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20294" h="368078">
                <a:moveTo>
                  <a:pt x="0" y="0"/>
                </a:moveTo>
                <a:lnTo>
                  <a:pt x="2536255" y="0"/>
                </a:lnTo>
                <a:cubicBezTo>
                  <a:pt x="2637897" y="0"/>
                  <a:pt x="2720294" y="82397"/>
                  <a:pt x="2720294" y="184039"/>
                </a:cubicBezTo>
                <a:lnTo>
                  <a:pt x="2720294" y="368078"/>
                </a:lnTo>
                <a:lnTo>
                  <a:pt x="0" y="368078"/>
                </a:lnTo>
                <a:close/>
              </a:path>
            </a:pathLst>
          </a:custGeom>
          <a:solidFill>
            <a:srgbClr val="C31B3A"/>
          </a:solidFill>
          <a:ln w="9525" cap="rnd" cmpd="sng" algn="ctr">
            <a:solidFill>
              <a:srgbClr val="C31B3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E37B57B-8FCF-9FD0-A3F1-085EF7154D82}"/>
              </a:ext>
            </a:extLst>
          </p:cNvPr>
          <p:cNvSpPr/>
          <p:nvPr/>
        </p:nvSpPr>
        <p:spPr>
          <a:xfrm flipH="1">
            <a:off x="9471706" y="1331089"/>
            <a:ext cx="2720294" cy="368078"/>
          </a:xfrm>
          <a:custGeom>
            <a:avLst/>
            <a:gdLst>
              <a:gd name="connsiteX0" fmla="*/ 0 w 2720294"/>
              <a:gd name="connsiteY0" fmla="*/ 0 h 368078"/>
              <a:gd name="connsiteX1" fmla="*/ 2536255 w 2720294"/>
              <a:gd name="connsiteY1" fmla="*/ 0 h 368078"/>
              <a:gd name="connsiteX2" fmla="*/ 2720294 w 2720294"/>
              <a:gd name="connsiteY2" fmla="*/ 184039 h 368078"/>
              <a:gd name="connsiteX3" fmla="*/ 2720294 w 2720294"/>
              <a:gd name="connsiteY3" fmla="*/ 368078 h 368078"/>
              <a:gd name="connsiteX4" fmla="*/ 0 w 2720294"/>
              <a:gd name="connsiteY4" fmla="*/ 368078 h 36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20294" h="368078">
                <a:moveTo>
                  <a:pt x="0" y="0"/>
                </a:moveTo>
                <a:lnTo>
                  <a:pt x="2536255" y="0"/>
                </a:lnTo>
                <a:cubicBezTo>
                  <a:pt x="2637897" y="0"/>
                  <a:pt x="2720294" y="82397"/>
                  <a:pt x="2720294" y="184039"/>
                </a:cubicBezTo>
                <a:lnTo>
                  <a:pt x="2720294" y="368078"/>
                </a:lnTo>
                <a:lnTo>
                  <a:pt x="0" y="368078"/>
                </a:lnTo>
                <a:close/>
              </a:path>
            </a:pathLst>
          </a:custGeom>
          <a:solidFill>
            <a:srgbClr val="C31B3A"/>
          </a:solidFill>
          <a:ln w="9525" cap="rnd" cmpd="sng" algn="ctr">
            <a:solidFill>
              <a:srgbClr val="C31B3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" name="CaixaDeTexto 24">
            <a:extLst>
              <a:ext uri="{FF2B5EF4-FFF2-40B4-BE49-F238E27FC236}">
                <a16:creationId xmlns:a16="http://schemas.microsoft.com/office/drawing/2014/main" id="{94AB3C8D-45AA-E842-C83B-731DDC878D50}"/>
              </a:ext>
            </a:extLst>
          </p:cNvPr>
          <p:cNvSpPr txBox="1"/>
          <p:nvPr/>
        </p:nvSpPr>
        <p:spPr>
          <a:xfrm>
            <a:off x="3583838" y="183884"/>
            <a:ext cx="50243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400" spc="90" baseline="0">
                <a:solidFill>
                  <a:srgbClr val="FCFDFD"/>
                </a:solidFill>
                <a:latin typeface="+mn-lt"/>
                <a:ea typeface="+mn-ea"/>
                <a:cs typeface="+mn-cs"/>
              </a:rPr>
              <a:t>PROGRAMA DE TRANSFORMAÇÃO </a:t>
            </a:r>
          </a:p>
        </p:txBody>
      </p:sp>
      <p:sp>
        <p:nvSpPr>
          <p:cNvPr id="22" name="CaixaDeTexto 24">
            <a:extLst>
              <a:ext uri="{FF2B5EF4-FFF2-40B4-BE49-F238E27FC236}">
                <a16:creationId xmlns:a16="http://schemas.microsoft.com/office/drawing/2014/main" id="{566F3578-D445-FE6B-22F8-E0EF6A7FD981}"/>
              </a:ext>
            </a:extLst>
          </p:cNvPr>
          <p:cNvSpPr txBox="1"/>
          <p:nvPr/>
        </p:nvSpPr>
        <p:spPr>
          <a:xfrm>
            <a:off x="5157442" y="693042"/>
            <a:ext cx="187711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5400" b="1" spc="90" baseline="0">
                <a:solidFill>
                  <a:srgbClr val="FCFDFD"/>
                </a:solidFill>
                <a:latin typeface="+mn-lt"/>
                <a:ea typeface="+mn-ea"/>
                <a:cs typeface="+mn-cs"/>
              </a:rPr>
              <a:t>CB25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B4BB64D-745E-81DA-44B7-44CDF4E8E8B4}"/>
              </a:ext>
            </a:extLst>
          </p:cNvPr>
          <p:cNvCxnSpPr/>
          <p:nvPr/>
        </p:nvCxnSpPr>
        <p:spPr>
          <a:xfrm>
            <a:off x="3733879" y="1154707"/>
            <a:ext cx="115062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4C0DAA0-EB15-C421-C03F-6FB7FE437BE5}"/>
              </a:ext>
            </a:extLst>
          </p:cNvPr>
          <p:cNvCxnSpPr/>
          <p:nvPr/>
        </p:nvCxnSpPr>
        <p:spPr>
          <a:xfrm>
            <a:off x="7307503" y="1154707"/>
            <a:ext cx="1150620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aixaDeTexto 4">
            <a:extLst>
              <a:ext uri="{FF2B5EF4-FFF2-40B4-BE49-F238E27FC236}">
                <a16:creationId xmlns:a16="http://schemas.microsoft.com/office/drawing/2014/main" id="{F2CE240E-046A-695F-7523-B8107047CBC6}"/>
              </a:ext>
            </a:extLst>
          </p:cNvPr>
          <p:cNvSpPr txBox="1"/>
          <p:nvPr/>
        </p:nvSpPr>
        <p:spPr>
          <a:xfrm>
            <a:off x="1341266" y="1737999"/>
            <a:ext cx="95094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0" b="1">
                <a:solidFill>
                  <a:srgbClr val="404E9E"/>
                </a:solidFill>
                <a:latin typeface="+mn-lt"/>
                <a:ea typeface="+mn-ea"/>
                <a:cs typeface="+mn-cs"/>
              </a:rPr>
              <a:t>OBRIGADO!</a:t>
            </a:r>
            <a:endParaRPr lang="pt-BR" sz="8000">
              <a:solidFill>
                <a:srgbClr val="404E9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CaixaDeTexto 24">
            <a:extLst>
              <a:ext uri="{FF2B5EF4-FFF2-40B4-BE49-F238E27FC236}">
                <a16:creationId xmlns:a16="http://schemas.microsoft.com/office/drawing/2014/main" id="{B9ABD2F4-755C-F29E-35F0-A18C2A8641C4}"/>
              </a:ext>
            </a:extLst>
          </p:cNvPr>
          <p:cNvSpPr txBox="1"/>
          <p:nvPr/>
        </p:nvSpPr>
        <p:spPr>
          <a:xfrm>
            <a:off x="1340545" y="2943246"/>
            <a:ext cx="95109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400">
                <a:solidFill>
                  <a:srgbClr val="404E9E"/>
                </a:solidFill>
                <a:latin typeface="+mn-lt"/>
                <a:ea typeface="+mn-ea"/>
                <a:cs typeface="+mn-cs"/>
              </a:rPr>
              <a:t>Sua contribuição está sendo chave para atingirmos nossos objetivo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05AF89E-9175-EC12-4A68-CC4B3CCFF84F}"/>
              </a:ext>
            </a:extLst>
          </p:cNvPr>
          <p:cNvCxnSpPr/>
          <p:nvPr/>
        </p:nvCxnSpPr>
        <p:spPr>
          <a:xfrm>
            <a:off x="1340545" y="4800600"/>
            <a:ext cx="2735580" cy="0"/>
          </a:xfrm>
          <a:prstGeom prst="line">
            <a:avLst/>
          </a:prstGeom>
          <a:ln w="12700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9FD7CF9-D38E-CBF0-AC74-F6C9A16BD187}"/>
              </a:ext>
            </a:extLst>
          </p:cNvPr>
          <p:cNvCxnSpPr/>
          <p:nvPr/>
        </p:nvCxnSpPr>
        <p:spPr>
          <a:xfrm>
            <a:off x="4728210" y="4800600"/>
            <a:ext cx="2735580" cy="0"/>
          </a:xfrm>
          <a:prstGeom prst="line">
            <a:avLst/>
          </a:prstGeom>
          <a:ln w="12700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E7652E8-DB84-B24E-7A85-03163DC054CB}"/>
              </a:ext>
            </a:extLst>
          </p:cNvPr>
          <p:cNvCxnSpPr/>
          <p:nvPr/>
        </p:nvCxnSpPr>
        <p:spPr>
          <a:xfrm>
            <a:off x="8115903" y="4800600"/>
            <a:ext cx="2735580" cy="0"/>
          </a:xfrm>
          <a:prstGeom prst="line">
            <a:avLst/>
          </a:prstGeom>
          <a:ln w="12700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ixaDeTexto 24">
            <a:extLst>
              <a:ext uri="{FF2B5EF4-FFF2-40B4-BE49-F238E27FC236}">
                <a16:creationId xmlns:a16="http://schemas.microsoft.com/office/drawing/2014/main" id="{E712FC91-CCD5-01DD-AC4E-6A9012542496}"/>
              </a:ext>
            </a:extLst>
          </p:cNvPr>
          <p:cNvSpPr txBox="1"/>
          <p:nvPr/>
        </p:nvSpPr>
        <p:spPr>
          <a:xfrm>
            <a:off x="1606848" y="4873338"/>
            <a:ext cx="22268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600">
                <a:solidFill>
                  <a:srgbClr val="404E9E"/>
                </a:solidFill>
                <a:latin typeface="+mn-lt"/>
                <a:ea typeface="+mn-ea"/>
                <a:cs typeface="+mn-cs"/>
              </a:rPr>
              <a:t>Alexandre Lima (TMO)</a:t>
            </a:r>
          </a:p>
        </p:txBody>
      </p:sp>
      <p:sp>
        <p:nvSpPr>
          <p:cNvPr id="35" name="CaixaDeTexto 24">
            <a:extLst>
              <a:ext uri="{FF2B5EF4-FFF2-40B4-BE49-F238E27FC236}">
                <a16:creationId xmlns:a16="http://schemas.microsoft.com/office/drawing/2014/main" id="{9951848F-C528-B49C-A871-3C17798DFA92}"/>
              </a:ext>
            </a:extLst>
          </p:cNvPr>
          <p:cNvSpPr txBox="1"/>
          <p:nvPr/>
        </p:nvSpPr>
        <p:spPr>
          <a:xfrm>
            <a:off x="8412731" y="4873338"/>
            <a:ext cx="21419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600">
                <a:solidFill>
                  <a:srgbClr val="404E9E"/>
                </a:solidFill>
                <a:latin typeface="+mn-lt"/>
                <a:ea typeface="+mn-ea"/>
                <a:cs typeface="+mn-cs"/>
              </a:rPr>
              <a:t>Andreia Nunes (</a:t>
            </a:r>
            <a:r>
              <a:rPr lang="pt-BR" sz="1600" err="1">
                <a:solidFill>
                  <a:srgbClr val="404E9E"/>
                </a:solidFill>
                <a:latin typeface="+mn-lt"/>
                <a:ea typeface="+mn-ea"/>
                <a:cs typeface="+mn-cs"/>
              </a:rPr>
              <a:t>G&amp;G</a:t>
            </a:r>
            <a:r>
              <a:rPr lang="pt-BR" sz="1600">
                <a:solidFill>
                  <a:srgbClr val="404E9E"/>
                </a:solidFill>
                <a:latin typeface="+mn-lt"/>
                <a:ea typeface="+mn-ea"/>
                <a:cs typeface="+mn-cs"/>
              </a:rPr>
              <a:t>)</a:t>
            </a:r>
          </a:p>
        </p:txBody>
      </p:sp>
      <p:sp>
        <p:nvSpPr>
          <p:cNvPr id="36" name="CaixaDeTexto 24">
            <a:extLst>
              <a:ext uri="{FF2B5EF4-FFF2-40B4-BE49-F238E27FC236}">
                <a16:creationId xmlns:a16="http://schemas.microsoft.com/office/drawing/2014/main" id="{BA000E45-3524-F56F-92B6-71E587A2851A}"/>
              </a:ext>
            </a:extLst>
          </p:cNvPr>
          <p:cNvSpPr txBox="1"/>
          <p:nvPr/>
        </p:nvSpPr>
        <p:spPr>
          <a:xfrm>
            <a:off x="4740890" y="4842561"/>
            <a:ext cx="27102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>
                <a:solidFill>
                  <a:srgbClr val="404E9E"/>
                </a:solidFill>
                <a:latin typeface="+mn-lt"/>
                <a:ea typeface="+mn-ea"/>
                <a:cs typeface="+mn-cs"/>
              </a:rPr>
              <a:t>Renato Franklin (CEO)</a:t>
            </a:r>
          </a:p>
        </p:txBody>
      </p:sp>
    </p:spTree>
    <p:extLst>
      <p:ext uri="{BB962C8B-B14F-4D97-AF65-F5344CB8AC3E}">
        <p14:creationId xmlns:p14="http://schemas.microsoft.com/office/powerpoint/2010/main" val="223410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Slide">
    <p:bg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585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7255C7A4-F6D4-4C13-BCC4-2D155CDB2B9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7015"/>
          <a:stretch>
            <a:fillRect/>
          </a:stretch>
        </p:blipFill>
        <p:spPr>
          <a:xfrm>
            <a:off x="0" y="0"/>
            <a:ext cx="8166026" cy="6858000"/>
          </a:xfrm>
          <a:custGeom>
            <a:avLst/>
            <a:gdLst>
              <a:gd name="connsiteX0" fmla="*/ 0 w 8166026"/>
              <a:gd name="connsiteY0" fmla="*/ 0 h 6858000"/>
              <a:gd name="connsiteX1" fmla="*/ 8166026 w 8166026"/>
              <a:gd name="connsiteY1" fmla="*/ 0 h 6858000"/>
              <a:gd name="connsiteX2" fmla="*/ 8166026 w 8166026"/>
              <a:gd name="connsiteY2" fmla="*/ 6858000 h 6858000"/>
              <a:gd name="connsiteX3" fmla="*/ 0 w 816602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66026" h="6858000">
                <a:moveTo>
                  <a:pt x="0" y="0"/>
                </a:moveTo>
                <a:lnTo>
                  <a:pt x="8166026" y="0"/>
                </a:lnTo>
                <a:lnTo>
                  <a:pt x="816602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tângulo com Canto Arredondado do Mesmo Lado 1">
            <a:extLst>
              <a:ext uri="{FF2B5EF4-FFF2-40B4-BE49-F238E27FC236}">
                <a16:creationId xmlns:a16="http://schemas.microsoft.com/office/drawing/2014/main" id="{1970C3DF-82B0-4B26-9F9D-81264F8184AB}"/>
              </a:ext>
            </a:extLst>
          </p:cNvPr>
          <p:cNvSpPr/>
          <p:nvPr/>
        </p:nvSpPr>
        <p:spPr>
          <a:xfrm rot="5400000">
            <a:off x="421073" y="1382234"/>
            <a:ext cx="3529832" cy="43719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1D07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 i="0">
              <a:latin typeface="+mn-lt"/>
              <a:ea typeface="+mn-ea"/>
              <a:cs typeface="+mn-cs"/>
            </a:endParaRPr>
          </a:p>
        </p:txBody>
      </p:sp>
      <p:pic>
        <p:nvPicPr>
          <p:cNvPr id="19" name="Imagem 6">
            <a:extLst>
              <a:ext uri="{FF2B5EF4-FFF2-40B4-BE49-F238E27FC236}">
                <a16:creationId xmlns:a16="http://schemas.microsoft.com/office/drawing/2014/main" id="{BD5A2317-0FEB-45DD-BAAC-1AC5141183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13094" y="6556793"/>
            <a:ext cx="1741119" cy="188472"/>
          </a:xfrm>
          <a:prstGeom prst="rect">
            <a:avLst/>
          </a:prstGeom>
        </p:spPr>
      </p:pic>
      <p:pic>
        <p:nvPicPr>
          <p:cNvPr id="23" name="Imagem 21">
            <a:extLst>
              <a:ext uri="{FF2B5EF4-FFF2-40B4-BE49-F238E27FC236}">
                <a16:creationId xmlns:a16="http://schemas.microsoft.com/office/drawing/2014/main" id="{A24A894A-4297-4802-9B6D-88AE5E79CC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7741" y="2469305"/>
            <a:ext cx="1757985" cy="2265096"/>
          </a:xfrm>
          <a:prstGeom prst="rect">
            <a:avLst/>
          </a:prstGeom>
        </p:spPr>
      </p:pic>
      <p:sp>
        <p:nvSpPr>
          <p:cNvPr id="24" name="Forma Livre 22">
            <a:extLst>
              <a:ext uri="{FF2B5EF4-FFF2-40B4-BE49-F238E27FC236}">
                <a16:creationId xmlns:a16="http://schemas.microsoft.com/office/drawing/2014/main" id="{06AE4EEC-38C0-41E1-BD8C-F22388B6FE67}"/>
              </a:ext>
            </a:extLst>
          </p:cNvPr>
          <p:cNvSpPr/>
          <p:nvPr/>
        </p:nvSpPr>
        <p:spPr>
          <a:xfrm>
            <a:off x="0" y="0"/>
            <a:ext cx="3365736" cy="310896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E311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 i="0">
              <a:latin typeface="+mn-lt"/>
              <a:ea typeface="+mn-ea"/>
              <a:cs typeface="+mn-cs"/>
            </a:endParaRPr>
          </a:p>
        </p:txBody>
      </p:sp>
      <p:sp>
        <p:nvSpPr>
          <p:cNvPr id="25" name="Forma Livre 23">
            <a:extLst>
              <a:ext uri="{FF2B5EF4-FFF2-40B4-BE49-F238E27FC236}">
                <a16:creationId xmlns:a16="http://schemas.microsoft.com/office/drawing/2014/main" id="{8F10BCEB-A7C6-4E74-8F2E-B65897B8F4F5}"/>
              </a:ext>
            </a:extLst>
          </p:cNvPr>
          <p:cNvSpPr/>
          <p:nvPr/>
        </p:nvSpPr>
        <p:spPr>
          <a:xfrm rot="10800000">
            <a:off x="6096000" y="6294907"/>
            <a:ext cx="6096000" cy="563093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 i="0">
              <a:latin typeface="+mn-lt"/>
              <a:ea typeface="+mn-ea"/>
              <a:cs typeface="+mn-cs"/>
            </a:endParaRPr>
          </a:p>
        </p:txBody>
      </p:sp>
      <p:sp>
        <p:nvSpPr>
          <p:cNvPr id="28" name="CaixaDeTexto 24">
            <a:extLst>
              <a:ext uri="{FF2B5EF4-FFF2-40B4-BE49-F238E27FC236}">
                <a16:creationId xmlns:a16="http://schemas.microsoft.com/office/drawing/2014/main" id="{E130BF60-BDB2-4750-8FE3-62ECD8C318E6}"/>
              </a:ext>
            </a:extLst>
          </p:cNvPr>
          <p:cNvSpPr txBox="1"/>
          <p:nvPr/>
        </p:nvSpPr>
        <p:spPr>
          <a:xfrm>
            <a:off x="947741" y="5424126"/>
            <a:ext cx="252107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 </a:t>
            </a:r>
          </a:p>
          <a:p>
            <a:r>
              <a:rPr lang="pt-BR" b="1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DEDICAÇÃO </a:t>
            </a:r>
          </a:p>
          <a:p>
            <a:r>
              <a:rPr lang="pt-BR" b="1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TOTAL</a:t>
            </a:r>
          </a:p>
          <a:p>
            <a:r>
              <a:rPr lang="pt-BR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NUNCA FOI TÃO FORT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91A046C-61F6-46B2-ABA9-E61B7ABBA9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4939717" y="3054656"/>
            <a:ext cx="6947484" cy="584775"/>
          </a:xfrm>
        </p:spPr>
        <p:txBody>
          <a:bodyPr vert="horz" lIns="91440" tIns="45720" rIns="91440" bIns="45720" anchor="t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rgbClr val="4040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/>
              <a:t>DIGITE O SEU TÍTULO PRINCIPAL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20B9E87D-D653-4710-BFD0-5DE55C5E9E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939717" y="3639431"/>
            <a:ext cx="6947484" cy="46166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>
              <a:lnSpc>
                <a:spcPct val="110000"/>
              </a:lnSpc>
              <a:buNone/>
              <a:defRPr sz="2400">
                <a:solidFill>
                  <a:srgbClr val="40404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DIGITE O SEU TÍTULO SECUNDÁRIO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AD356B41-5F7F-45E5-A663-03C1DDD79A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39717" y="4101096"/>
            <a:ext cx="6947484" cy="461665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sz="2400" dirty="0">
                <a:solidFill>
                  <a:srgbClr val="404040"/>
                </a:solidFill>
              </a:defRPr>
            </a:lvl1pPr>
          </a:lstStyle>
          <a:p>
            <a:pPr lvl="0">
              <a:buNone/>
            </a:pPr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07323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DBA45E-A978-4A8F-A0FD-0C6DE8070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3390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DBA45E-A978-4A8F-A0FD-0C6DE8070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Forma Livre 12">
            <a:extLst>
              <a:ext uri="{FF2B5EF4-FFF2-40B4-BE49-F238E27FC236}">
                <a16:creationId xmlns:a16="http://schemas.microsoft.com/office/drawing/2014/main" id="{7859320E-9158-4D98-8EF4-82630F6B01A5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7325709-669C-45B8-9E3D-8E2D2E150B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09701555-97DB-453D-837E-3E3611FDAE70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5" name="Retângulo com Canto Arredondado do Mesmo Lado 12">
              <a:extLst>
                <a:ext uri="{FF2B5EF4-FFF2-40B4-BE49-F238E27FC236}">
                  <a16:creationId xmlns:a16="http://schemas.microsoft.com/office/drawing/2014/main" id="{B726CDDC-49F3-4A27-BACE-C519A0AEDE71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tângulo com Canto Arredondado do Mesmo Lado 11">
              <a:extLst>
                <a:ext uri="{FF2B5EF4-FFF2-40B4-BE49-F238E27FC236}">
                  <a16:creationId xmlns:a16="http://schemas.microsoft.com/office/drawing/2014/main" id="{E2D434C8-2BDF-4CDF-8997-03F638047161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7" name="Imagem 8">
              <a:extLst>
                <a:ext uri="{FF2B5EF4-FFF2-40B4-BE49-F238E27FC236}">
                  <a16:creationId xmlns:a16="http://schemas.microsoft.com/office/drawing/2014/main" id="{24681189-3E95-4581-BCF3-58E4C4D349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E96D27D-17C8-4004-A285-1EDFDCB5A889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47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7AF3585-0B7D-4E7D-96F1-1469C16237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345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AF3585-0B7D-4E7D-96F1-1469C1623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000" y="2085629"/>
            <a:ext cx="10933200" cy="393498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Forma Livre 12">
            <a:extLst>
              <a:ext uri="{FF2B5EF4-FFF2-40B4-BE49-F238E27FC236}">
                <a16:creationId xmlns:a16="http://schemas.microsoft.com/office/drawing/2014/main" id="{399D53F3-8C45-4071-8E9B-936B1C997080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A8708E9-CE74-41AA-AFED-02591D6619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2" name="Agrupar 13">
            <a:extLst>
              <a:ext uri="{FF2B5EF4-FFF2-40B4-BE49-F238E27FC236}">
                <a16:creationId xmlns:a16="http://schemas.microsoft.com/office/drawing/2014/main" id="{32CA1D59-AD68-43EF-94AB-57AD4A5CED03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3" name="Retângulo com Canto Arredondado do Mesmo Lado 12">
              <a:extLst>
                <a:ext uri="{FF2B5EF4-FFF2-40B4-BE49-F238E27FC236}">
                  <a16:creationId xmlns:a16="http://schemas.microsoft.com/office/drawing/2014/main" id="{88AE6184-3F34-4809-BDBB-046266E3A727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tângulo com Canto Arredondado do Mesmo Lado 11">
              <a:extLst>
                <a:ext uri="{FF2B5EF4-FFF2-40B4-BE49-F238E27FC236}">
                  <a16:creationId xmlns:a16="http://schemas.microsoft.com/office/drawing/2014/main" id="{BDF8852C-D34D-4B7C-86C9-A87A4E0859C0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5" name="Imagem 8">
              <a:extLst>
                <a:ext uri="{FF2B5EF4-FFF2-40B4-BE49-F238E27FC236}">
                  <a16:creationId xmlns:a16="http://schemas.microsoft.com/office/drawing/2014/main" id="{ECEDAAFF-FFFA-4B0C-B333-C9DB662AFE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66D227C5-4615-47FF-B83F-CB21D42109AD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79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5A0AB5F-F284-452B-BD2D-0B791A257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489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A0AB5F-F284-452B-BD2D-0B791A257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4317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77CCA3-2A44-457C-A312-73134477E5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56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77CCA3-2A44-457C-A312-73134477E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rma Livre 12">
            <a:extLst>
              <a:ext uri="{FF2B5EF4-FFF2-40B4-BE49-F238E27FC236}">
                <a16:creationId xmlns:a16="http://schemas.microsoft.com/office/drawing/2014/main" id="{69E7D07E-AA3A-428A-B1DA-2D435CB1FC63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5" name="Agrupar 13">
            <a:extLst>
              <a:ext uri="{FF2B5EF4-FFF2-40B4-BE49-F238E27FC236}">
                <a16:creationId xmlns:a16="http://schemas.microsoft.com/office/drawing/2014/main" id="{373BA74E-D8BE-4683-A14E-1423235D7FBD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6" name="Retângulo com Canto Arredondado do Mesmo Lado 12">
              <a:extLst>
                <a:ext uri="{FF2B5EF4-FFF2-40B4-BE49-F238E27FC236}">
                  <a16:creationId xmlns:a16="http://schemas.microsoft.com/office/drawing/2014/main" id="{0387D30A-02D3-4F14-879C-A892BD26568F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tângulo com Canto Arredondado do Mesmo Lado 11">
              <a:extLst>
                <a:ext uri="{FF2B5EF4-FFF2-40B4-BE49-F238E27FC236}">
                  <a16:creationId xmlns:a16="http://schemas.microsoft.com/office/drawing/2014/main" id="{63C4E4BF-319E-43C6-8087-1BC5324F1CC5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8" name="Imagem 8">
              <a:extLst>
                <a:ext uri="{FF2B5EF4-FFF2-40B4-BE49-F238E27FC236}">
                  <a16:creationId xmlns:a16="http://schemas.microsoft.com/office/drawing/2014/main" id="{13CC317F-9EAE-45C2-ADFC-76E3C60AC0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48599072-6E9B-46E9-A940-FEBF9DF81778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87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B7CD2EF-99F5-4F0C-AD65-B654F8DDCD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2597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7CD2EF-99F5-4F0C-AD65-B654F8DDC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rma Livre 12">
            <a:extLst>
              <a:ext uri="{FF2B5EF4-FFF2-40B4-BE49-F238E27FC236}">
                <a16:creationId xmlns:a16="http://schemas.microsoft.com/office/drawing/2014/main" id="{352162ED-2735-427A-A959-BC9241726EDE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2" name="Agrupar 13">
            <a:extLst>
              <a:ext uri="{FF2B5EF4-FFF2-40B4-BE49-F238E27FC236}">
                <a16:creationId xmlns:a16="http://schemas.microsoft.com/office/drawing/2014/main" id="{E623F7CB-3080-4B64-816F-E64CC1DC2E7F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3" name="Retângulo com Canto Arredondado do Mesmo Lado 12">
              <a:extLst>
                <a:ext uri="{FF2B5EF4-FFF2-40B4-BE49-F238E27FC236}">
                  <a16:creationId xmlns:a16="http://schemas.microsoft.com/office/drawing/2014/main" id="{D6F82F2B-A327-4E68-AEEB-DDDCCEADFB5C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tângulo com Canto Arredondado do Mesmo Lado 11">
              <a:extLst>
                <a:ext uri="{FF2B5EF4-FFF2-40B4-BE49-F238E27FC236}">
                  <a16:creationId xmlns:a16="http://schemas.microsoft.com/office/drawing/2014/main" id="{AAA17CBF-C9DD-4922-AF70-7DF7C6627EDB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5" name="Imagem 8">
              <a:extLst>
                <a:ext uri="{FF2B5EF4-FFF2-40B4-BE49-F238E27FC236}">
                  <a16:creationId xmlns:a16="http://schemas.microsoft.com/office/drawing/2014/main" id="{F7BA8F75-2D04-45C9-98F6-EE812E3C18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2EF545F-E0E6-49EF-A118-F3A3C6144DBB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2858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4E361F6-C5F5-4073-98F8-E17789C0AC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5622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E361F6-C5F5-4073-98F8-E17789C0A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4" name="Rectangle 23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F9BDAC-58D4-4F34-874A-61F87B61FF53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579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FC39D2-E2F1-4B8D-8067-47FA256BEE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6852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FC39D2-E2F1-4B8D-8067-47FA256BE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63711F1-2973-4261-8137-5A6C19E61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1" y="692049"/>
            <a:ext cx="6276528" cy="430887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EAB747-E31E-4C33-A10A-D5FFC904199C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691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C136F69-A0CB-4451-9D2B-8C01EDBA5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0836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136F69-A0CB-4451-9D2B-8C01EDBA5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A6FA67D-D375-480B-8C88-29B24BF2D2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8101584" cy="430887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9FCDA0-DAC3-4058-97C7-3A2B620A4F16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07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8C55339-C7B4-4CE9-AC9A-33582AEC2B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760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C55339-C7B4-4CE9-AC9A-33582AEC2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C64275-5436-4A75-9ECD-1602C624CE77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545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43894B7-7F01-4B65-832A-999B09ECF9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699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3894B7-7F01-4B65-832A-999B09ECF9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000" y="2085628"/>
            <a:ext cx="10933200" cy="393498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4EB593-B369-4799-B192-E53C3E1DB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rma Livre 12">
            <a:extLst>
              <a:ext uri="{FF2B5EF4-FFF2-40B4-BE49-F238E27FC236}">
                <a16:creationId xmlns:a16="http://schemas.microsoft.com/office/drawing/2014/main" id="{75056D7F-FCEA-44E6-BBC1-8367B11E5ED9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20" name="Agrupar 13">
            <a:extLst>
              <a:ext uri="{FF2B5EF4-FFF2-40B4-BE49-F238E27FC236}">
                <a16:creationId xmlns:a16="http://schemas.microsoft.com/office/drawing/2014/main" id="{168A4BA7-4666-4126-8DBA-BC2E608EEC62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21" name="Retângulo com Canto Arredondado do Mesmo Lado 12">
              <a:extLst>
                <a:ext uri="{FF2B5EF4-FFF2-40B4-BE49-F238E27FC236}">
                  <a16:creationId xmlns:a16="http://schemas.microsoft.com/office/drawing/2014/main" id="{589DF549-4A2B-4E97-8786-0D4DB93E53EC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Retângulo com Canto Arredondado do Mesmo Lado 11">
              <a:extLst>
                <a:ext uri="{FF2B5EF4-FFF2-40B4-BE49-F238E27FC236}">
                  <a16:creationId xmlns:a16="http://schemas.microsoft.com/office/drawing/2014/main" id="{F4AC874B-E37C-4278-94E9-B84BB6A51D75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23" name="Imagem 8">
              <a:extLst>
                <a:ext uri="{FF2B5EF4-FFF2-40B4-BE49-F238E27FC236}">
                  <a16:creationId xmlns:a16="http://schemas.microsoft.com/office/drawing/2014/main" id="{17C168B6-49D2-4293-B61C-6F0C4B49E0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95E7319-D6C1-4675-AD35-44A64239B5DE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455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600B31C-8E68-425B-8710-3E0175EA18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9220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00B31C-8E68-425B-8710-3E0175EA1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5CE257D-1E10-4F8F-BBED-B194386DBC77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842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DE53EBA-B313-446B-BB8E-30B03DF70B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61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E53EBA-B313-446B-BB8E-30B03DF70B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8C489F-E143-4053-8C07-95C082EBE0DB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535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6995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FCCAA9DC-A7F3-4633-9C73-3A523FAEB5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FA26AB-D7D9-45AD-8334-FF55706EEF13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66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9A1BAA-862B-47E7-87EB-F8E499A5E4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3828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9A1BAA-862B-47E7-87EB-F8E499A5E4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3137A13-4D7E-4348-ABF2-1BDF37A966A7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01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A8B8F90-4951-426D-B7D6-615263561B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310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8B8F90-4951-426D-B7D6-615263561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CA9A89C-A54C-451D-9C67-FA8F363D7C35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106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7AD389-3606-420F-8F9F-06FC01FF3B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634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7AD389-3606-420F-8F9F-06FC01FF3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D5CB297-B91B-45F0-96AC-177B427C6D7A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954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CF27B6D-0D5B-4D49-8B4A-FEFF60716C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743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F27B6D-0D5B-4D49-8B4A-FEFF60716C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C7E1C91-2050-4CC6-A6BF-113F06C2AB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4747822" cy="430887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9AB41E-0BE1-4A0B-BD82-8F6545F3EE0F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025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DBDE249-6131-4120-A2BE-ABC710962A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75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DE249-6131-4120-A2BE-ABC710962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5BDA6B9A-4296-4166-A716-2FAEEF55B6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4747822" cy="43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9BC6D4-69E9-4B11-B8E6-0DB0D18D73F3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44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834B59-41F9-4598-BBF1-A6497520B9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1543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834B59-41F9-4598-BBF1-A6497520B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06F549D-9929-426B-83C0-4DDF100EE1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6254496" cy="430887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C41B21-9D0E-4AB0-83E6-9A493C6C5F77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0224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22A43F-42C1-42D6-A49B-C03A079BB5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064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22A43F-42C1-42D6-A49B-C03A079BB5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E756EEC-373E-4350-A0A8-15DF55D02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6254496" cy="43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C07B9E-A376-4B6B-B087-F58B0FA6EB60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810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35D624-8269-47A3-A62C-1BC45BE49C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507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35D624-8269-47A3-A62C-1BC45BE49C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9324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12B0F74-9063-4986-8609-18C46CCC7A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120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2B0F74-9063-4986-8609-18C46CCC7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8845BC-1875-4F4B-B938-EDFA55241462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539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A842A2D-DEC7-47E8-85C1-B2468460CF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97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842A2D-DEC7-47E8-85C1-B2468460CF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Forma Livre 12">
            <a:extLst>
              <a:ext uri="{FF2B5EF4-FFF2-40B4-BE49-F238E27FC236}">
                <a16:creationId xmlns:a16="http://schemas.microsoft.com/office/drawing/2014/main" id="{045742FF-6503-4326-9B41-D76B24E53FC9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3" name="Agrupar 13">
            <a:extLst>
              <a:ext uri="{FF2B5EF4-FFF2-40B4-BE49-F238E27FC236}">
                <a16:creationId xmlns:a16="http://schemas.microsoft.com/office/drawing/2014/main" id="{5D6B1C78-96E2-4721-88A7-553464707EE5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4" name="Retângulo com Canto Arredondado do Mesmo Lado 12">
              <a:extLst>
                <a:ext uri="{FF2B5EF4-FFF2-40B4-BE49-F238E27FC236}">
                  <a16:creationId xmlns:a16="http://schemas.microsoft.com/office/drawing/2014/main" id="{14B3E93A-EDD4-466A-846E-759F66C3EE14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tângulo com Canto Arredondado do Mesmo Lado 11">
              <a:extLst>
                <a:ext uri="{FF2B5EF4-FFF2-40B4-BE49-F238E27FC236}">
                  <a16:creationId xmlns:a16="http://schemas.microsoft.com/office/drawing/2014/main" id="{2B6350C3-0379-412A-84F9-65122B4B19F1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6" name="Imagem 8">
              <a:extLst>
                <a:ext uri="{FF2B5EF4-FFF2-40B4-BE49-F238E27FC236}">
                  <a16:creationId xmlns:a16="http://schemas.microsoft.com/office/drawing/2014/main" id="{9209A0A6-FA75-40DB-9679-2EE7BDBDC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8360B39A-9ED8-49A4-8261-EF53EE5C5145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67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229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CB1465-F7CA-42BA-9CBE-40F70EE1875F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215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F1CA2D-553C-4266-9D1F-97244583A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6242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F1CA2D-553C-4266-9D1F-97244583A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3672423-0B6E-4EA3-8421-E33753F2CE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AF3A9C-BB26-4B07-B9C4-54606FA2BA61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56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BAF3DB6-3F02-4015-9971-01CB434E5A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391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AF3DB6-3F02-4015-9971-01CB434E5A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608551"/>
            <a:ext cx="2926080" cy="17005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F4E3602-EF7E-49C2-A41B-AD54A55D3D62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423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CC47245-9845-412C-A315-6C54D01F2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540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C47245-9845-412C-A315-6C54D01F2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A4D28D-6830-4D8A-9AA0-D56028451424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06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55D83AC-196D-49B3-BF0C-5B71C31CC1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86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D83AC-196D-49B3-BF0C-5B71C31CC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Forma Livre 12">
            <a:extLst>
              <a:ext uri="{FF2B5EF4-FFF2-40B4-BE49-F238E27FC236}">
                <a16:creationId xmlns:a16="http://schemas.microsoft.com/office/drawing/2014/main" id="{EFDA927E-147F-48D6-B55D-2179D92B3D57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0" name="Agrupar 13">
            <a:extLst>
              <a:ext uri="{FF2B5EF4-FFF2-40B4-BE49-F238E27FC236}">
                <a16:creationId xmlns:a16="http://schemas.microsoft.com/office/drawing/2014/main" id="{4E34D85F-E2BC-4578-8281-F23DFF62C7CA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1" name="Retângulo com Canto Arredondado do Mesmo Lado 12">
              <a:extLst>
                <a:ext uri="{FF2B5EF4-FFF2-40B4-BE49-F238E27FC236}">
                  <a16:creationId xmlns:a16="http://schemas.microsoft.com/office/drawing/2014/main" id="{53A85A5B-7DEE-4B43-82CF-AA93A23D4118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Retângulo com Canto Arredondado do Mesmo Lado 11">
              <a:extLst>
                <a:ext uri="{FF2B5EF4-FFF2-40B4-BE49-F238E27FC236}">
                  <a16:creationId xmlns:a16="http://schemas.microsoft.com/office/drawing/2014/main" id="{49EF8617-2020-4F49-B188-6B9E73E99E02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3" name="Imagem 8">
              <a:extLst>
                <a:ext uri="{FF2B5EF4-FFF2-40B4-BE49-F238E27FC236}">
                  <a16:creationId xmlns:a16="http://schemas.microsoft.com/office/drawing/2014/main" id="{4810349A-6597-40F4-8790-B8C2AD79EA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28900D49-DCB3-4DDE-B1DF-56BA2FD828B9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219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55D83AC-196D-49B3-BF0C-5B71C31CC1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86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5D83AC-196D-49B3-BF0C-5B71C31CC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82629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0AA1DEC-A61F-4C90-821C-3BEB184EAC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8285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AA1DEC-A61F-4C90-821C-3BEB184EAC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50BC8E9-1C00-45CD-BBC0-2C086BFC82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456507"/>
            <a:ext cx="6209072" cy="3739485"/>
          </a:xfrm>
        </p:spPr>
        <p:txBody>
          <a:bodyPr/>
          <a:lstStyle>
            <a:lvl1pPr>
              <a:defRPr sz="9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CD10E21C-390D-4F22-9788-7BC68582565C}"/>
              </a:ext>
            </a:extLst>
          </p:cNvPr>
          <p:cNvSpPr txBox="1">
            <a:spLocks/>
          </p:cNvSpPr>
          <p:nvPr/>
        </p:nvSpPr>
        <p:spPr>
          <a:xfrm>
            <a:off x="639043" y="2973076"/>
            <a:ext cx="3291840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2ABCCD-7C2C-4199-8151-B9C50529A059}"/>
              </a:ext>
            </a:extLst>
          </p:cNvPr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rma Livre 12">
            <a:extLst>
              <a:ext uri="{FF2B5EF4-FFF2-40B4-BE49-F238E27FC236}">
                <a16:creationId xmlns:a16="http://schemas.microsoft.com/office/drawing/2014/main" id="{EC3688AC-C8C7-46FC-A2D3-E649F4A256AF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7" name="Agrupar 13">
            <a:extLst>
              <a:ext uri="{FF2B5EF4-FFF2-40B4-BE49-F238E27FC236}">
                <a16:creationId xmlns:a16="http://schemas.microsoft.com/office/drawing/2014/main" id="{38ED565E-C41F-4005-8656-D7992E686CB4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8" name="Retângulo com Canto Arredondado do Mesmo Lado 12">
              <a:extLst>
                <a:ext uri="{FF2B5EF4-FFF2-40B4-BE49-F238E27FC236}">
                  <a16:creationId xmlns:a16="http://schemas.microsoft.com/office/drawing/2014/main" id="{BA1A0494-9E6B-43C9-AB2C-E29831656D3C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Retângulo com Canto Arredondado do Mesmo Lado 11">
              <a:extLst>
                <a:ext uri="{FF2B5EF4-FFF2-40B4-BE49-F238E27FC236}">
                  <a16:creationId xmlns:a16="http://schemas.microsoft.com/office/drawing/2014/main" id="{BD5BDFD8-523B-4A50-87C9-54BA953C46B9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20" name="Imagem 8">
              <a:extLst>
                <a:ext uri="{FF2B5EF4-FFF2-40B4-BE49-F238E27FC236}">
                  <a16:creationId xmlns:a16="http://schemas.microsoft.com/office/drawing/2014/main" id="{493F3AA1-0421-4768-9E00-E41F983E00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A49FFD83-B38C-4AA9-970F-A96B883629B8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34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solidFill>
          <a:srgbClr val="1D07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604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aixaDeTexto 4">
            <a:extLst>
              <a:ext uri="{FF2B5EF4-FFF2-40B4-BE49-F238E27FC236}">
                <a16:creationId xmlns:a16="http://schemas.microsoft.com/office/drawing/2014/main" id="{7272DEA0-D1CE-4838-B4B2-41D6F5D66940}"/>
              </a:ext>
            </a:extLst>
          </p:cNvPr>
          <p:cNvSpPr txBox="1"/>
          <p:nvPr/>
        </p:nvSpPr>
        <p:spPr>
          <a:xfrm>
            <a:off x="1341266" y="2290227"/>
            <a:ext cx="95094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OBRIGADO!</a:t>
            </a:r>
            <a:endParaRPr lang="pt-BR" sz="80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1" name="Imagem 5">
            <a:extLst>
              <a:ext uri="{FF2B5EF4-FFF2-40B4-BE49-F238E27FC236}">
                <a16:creationId xmlns:a16="http://schemas.microsoft.com/office/drawing/2014/main" id="{3A75B628-1A51-4D81-9E8C-D3F8003774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23478" y="5168022"/>
            <a:ext cx="992336" cy="1278587"/>
          </a:xfrm>
          <a:prstGeom prst="rect">
            <a:avLst/>
          </a:prstGeom>
        </p:spPr>
      </p:pic>
      <p:sp>
        <p:nvSpPr>
          <p:cNvPr id="12" name="Retângulo com Canto Arredondado do Mesmo Lado 1">
            <a:extLst>
              <a:ext uri="{FF2B5EF4-FFF2-40B4-BE49-F238E27FC236}">
                <a16:creationId xmlns:a16="http://schemas.microsoft.com/office/drawing/2014/main" id="{15C24E2E-0A44-4256-A4F5-12E9281BCCED}"/>
              </a:ext>
            </a:extLst>
          </p:cNvPr>
          <p:cNvSpPr/>
          <p:nvPr/>
        </p:nvSpPr>
        <p:spPr>
          <a:xfrm rot="16200000">
            <a:off x="-2307445" y="3323895"/>
            <a:ext cx="4825101" cy="210209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E6183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sp>
        <p:nvSpPr>
          <p:cNvPr id="13" name="Retângulo com Canto Arredondado do Mesmo Lado 3">
            <a:extLst>
              <a:ext uri="{FF2B5EF4-FFF2-40B4-BE49-F238E27FC236}">
                <a16:creationId xmlns:a16="http://schemas.microsoft.com/office/drawing/2014/main" id="{CF37E2A1-7077-4749-A001-B1005F1A21A7}"/>
              </a:ext>
            </a:extLst>
          </p:cNvPr>
          <p:cNvSpPr/>
          <p:nvPr/>
        </p:nvSpPr>
        <p:spPr>
          <a:xfrm rot="5400000">
            <a:off x="9679595" y="3323895"/>
            <a:ext cx="4825101" cy="210209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E6183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621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3ABB113-2D0C-434D-9EC0-AFBED97CF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023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ABB113-2D0C-434D-9EC0-AFBED97CF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69272A-0D3F-4641-B19F-594FF1560F0D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75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B62B97C-73C4-4E69-9FD1-B9F9A5035D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330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62B97C-73C4-4E69-9FD1-B9F9A5035D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1" name="Forma Livre 12">
            <a:extLst>
              <a:ext uri="{FF2B5EF4-FFF2-40B4-BE49-F238E27FC236}">
                <a16:creationId xmlns:a16="http://schemas.microsoft.com/office/drawing/2014/main" id="{EE757D57-2F5F-4163-9742-F28B871F92D0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02" name="Agrupar 13">
            <a:extLst>
              <a:ext uri="{FF2B5EF4-FFF2-40B4-BE49-F238E27FC236}">
                <a16:creationId xmlns:a16="http://schemas.microsoft.com/office/drawing/2014/main" id="{A74A3673-1E7E-4832-BA75-3BBEA42622F3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03" name="Retângulo com Canto Arredondado do Mesmo Lado 12">
              <a:extLst>
                <a:ext uri="{FF2B5EF4-FFF2-40B4-BE49-F238E27FC236}">
                  <a16:creationId xmlns:a16="http://schemas.microsoft.com/office/drawing/2014/main" id="{14B5EF7F-850B-404C-A41C-5F1CE8987C26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" name="Retângulo com Canto Arredondado do Mesmo Lado 11">
              <a:extLst>
                <a:ext uri="{FF2B5EF4-FFF2-40B4-BE49-F238E27FC236}">
                  <a16:creationId xmlns:a16="http://schemas.microsoft.com/office/drawing/2014/main" id="{7578AA16-ED67-4729-83F1-3ABF8772B7B9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05" name="Imagem 8">
              <a:extLst>
                <a:ext uri="{FF2B5EF4-FFF2-40B4-BE49-F238E27FC236}">
                  <a16:creationId xmlns:a16="http://schemas.microsoft.com/office/drawing/2014/main" id="{81DDA8B3-277E-4A7E-BF4C-8D189558AF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BAD9C53F-63FA-4B4B-B81D-684DF3056D0E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796FCBEC-89C3-48EC-9075-9930F891C316}"/>
              </a:ext>
            </a:extLst>
          </p:cNvPr>
          <p:cNvGrpSpPr/>
          <p:nvPr/>
        </p:nvGrpSpPr>
        <p:grpSpPr>
          <a:xfrm>
            <a:off x="-600" y="-12527"/>
            <a:ext cx="12193800" cy="6870527"/>
            <a:chOff x="-600" y="-12527"/>
            <a:chExt cx="12193800" cy="6870527"/>
          </a:xfrm>
        </p:grpSpPr>
        <p:sp>
          <p:nvSpPr>
            <p:cNvPr id="153" name="Forma Livre 12">
              <a:extLst>
                <a:ext uri="{FF2B5EF4-FFF2-40B4-BE49-F238E27FC236}">
                  <a16:creationId xmlns:a16="http://schemas.microsoft.com/office/drawing/2014/main" id="{C27DA49C-D10D-4F92-B51D-F0367DEA5C87}"/>
                </a:ext>
              </a:extLst>
            </p:cNvPr>
            <p:cNvSpPr/>
            <p:nvPr userDrawn="1"/>
          </p:nvSpPr>
          <p:spPr>
            <a:xfrm rot="10800000" flipH="1" flipV="1">
              <a:off x="0" y="-12527"/>
              <a:ext cx="4574974" cy="387069"/>
            </a:xfrm>
            <a:custGeom>
              <a:avLst/>
              <a:gdLst>
                <a:gd name="connsiteX0" fmla="*/ 0 w 3346704"/>
                <a:gd name="connsiteY0" fmla="*/ 0 h 309138"/>
                <a:gd name="connsiteX1" fmla="*/ 3343243 w 3346704"/>
                <a:gd name="connsiteY1" fmla="*/ 0 h 309138"/>
                <a:gd name="connsiteX2" fmla="*/ 3346704 w 3346704"/>
                <a:gd name="connsiteY2" fmla="*/ 34337 h 309138"/>
                <a:gd name="connsiteX3" fmla="*/ 3071903 w 3346704"/>
                <a:gd name="connsiteY3" fmla="*/ 309138 h 309138"/>
                <a:gd name="connsiteX4" fmla="*/ 0 w 3346704"/>
                <a:gd name="connsiteY4" fmla="*/ 309138 h 309138"/>
                <a:gd name="connsiteX5" fmla="*/ 0 w 3346704"/>
                <a:gd name="connsiteY5" fmla="*/ 0 h 3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46704" h="309138">
                  <a:moveTo>
                    <a:pt x="0" y="0"/>
                  </a:moveTo>
                  <a:lnTo>
                    <a:pt x="3343243" y="0"/>
                  </a:lnTo>
                  <a:lnTo>
                    <a:pt x="3346704" y="34337"/>
                  </a:lnTo>
                  <a:cubicBezTo>
                    <a:pt x="3346704" y="186105"/>
                    <a:pt x="3223671" y="309138"/>
                    <a:pt x="3071903" y="309138"/>
                  </a:cubicBezTo>
                  <a:lnTo>
                    <a:pt x="0" y="3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pt-BR" b="1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4" name="Agrupar 13">
              <a:extLst>
                <a:ext uri="{FF2B5EF4-FFF2-40B4-BE49-F238E27FC236}">
                  <a16:creationId xmlns:a16="http://schemas.microsoft.com/office/drawing/2014/main" id="{2C294202-7379-475A-AE96-7595F5121B1A}"/>
                </a:ext>
              </a:extLst>
            </p:cNvPr>
            <p:cNvGrpSpPr/>
            <p:nvPr userDrawn="1"/>
          </p:nvGrpSpPr>
          <p:grpSpPr>
            <a:xfrm>
              <a:off x="10464953" y="6526060"/>
              <a:ext cx="1727049" cy="294362"/>
              <a:chOff x="9528659" y="6366476"/>
              <a:chExt cx="2663343" cy="453946"/>
            </a:xfrm>
          </p:grpSpPr>
          <p:sp>
            <p:nvSpPr>
              <p:cNvPr id="201" name="Retângulo com Canto Arredondado do Mesmo Lado 12">
                <a:extLst>
                  <a:ext uri="{FF2B5EF4-FFF2-40B4-BE49-F238E27FC236}">
                    <a16:creationId xmlns:a16="http://schemas.microsoft.com/office/drawing/2014/main" id="{E2A442C9-713A-4F30-8E2E-574ED1EDE342}"/>
                  </a:ext>
                </a:extLst>
              </p:cNvPr>
              <p:cNvSpPr/>
              <p:nvPr userDrawn="1"/>
            </p:nvSpPr>
            <p:spPr>
              <a:xfrm rot="16200000">
                <a:off x="10457994" y="5437141"/>
                <a:ext cx="453946" cy="2312615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E3113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b="1" i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2" name="Retângulo com Canto Arredondado do Mesmo Lado 11">
                <a:extLst>
                  <a:ext uri="{FF2B5EF4-FFF2-40B4-BE49-F238E27FC236}">
                    <a16:creationId xmlns:a16="http://schemas.microsoft.com/office/drawing/2014/main" id="{260478C1-2CF2-4A7E-812A-D5DEC11F9270}"/>
                  </a:ext>
                </a:extLst>
              </p:cNvPr>
              <p:cNvSpPr/>
              <p:nvPr userDrawn="1"/>
            </p:nvSpPr>
            <p:spPr>
              <a:xfrm rot="16200000">
                <a:off x="10808722" y="5437141"/>
                <a:ext cx="453946" cy="2312615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1D07E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b="1" i="0">
                  <a:latin typeface="+mn-lt"/>
                  <a:ea typeface="+mn-ea"/>
                  <a:cs typeface="+mn-cs"/>
                </a:endParaRPr>
              </a:p>
            </p:txBody>
          </p:sp>
          <p:pic>
            <p:nvPicPr>
              <p:cNvPr id="203" name="Imagem 8">
                <a:extLst>
                  <a:ext uri="{FF2B5EF4-FFF2-40B4-BE49-F238E27FC236}">
                    <a16:creationId xmlns:a16="http://schemas.microsoft.com/office/drawing/2014/main" id="{1125B7B2-FE8C-44C4-89EF-35C96206A3B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9993936" y="6483039"/>
                <a:ext cx="2039928" cy="220817"/>
              </a:xfrm>
              <a:prstGeom prst="rect">
                <a:avLst/>
              </a:prstGeom>
            </p:spPr>
          </p:pic>
        </p:grp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36C9CCED-04B5-4E51-B947-4CC737EC9CDC}"/>
                </a:ext>
              </a:extLst>
            </p:cNvPr>
            <p:cNvSpPr txBox="1"/>
            <p:nvPr userDrawn="1"/>
          </p:nvSpPr>
          <p:spPr>
            <a:xfrm>
              <a:off x="10420630" y="6544197"/>
              <a:ext cx="344967" cy="24622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>
              <a:defPPr>
                <a:defRPr lang="en-US"/>
              </a:defPPr>
              <a:lvl1pPr algn="ctr">
                <a:defRPr sz="1000">
                  <a:solidFill>
                    <a:srgbClr val="FFFFFF"/>
                  </a:solidFill>
                  <a:latin typeface="Century Gothic" panose="020F0302020204030204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/>
              <a:fld id="{DFCF27A5-1A5B-48D3-A060-2758FFBB1ADD}" type="slidenum">
                <a:rPr lang="en-US" smtClean="0"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pPr lvl="0"/>
                <a:t>‹#›</a:t>
              </a:fld>
              <a:endParaRPr lang="en-US"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6" name="No fly zone">
              <a:extLst>
                <a:ext uri="{FF2B5EF4-FFF2-40B4-BE49-F238E27FC236}">
                  <a16:creationId xmlns:a16="http://schemas.microsoft.com/office/drawing/2014/main" id="{DFE245A9-DF86-4B51-BB2F-50D626E451A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D032497F-2D74-4AAC-AFF2-CE11874C92D5}"/>
                </a:ext>
              </a:extLst>
            </p:cNvPr>
            <p:cNvGrpSpPr/>
            <p:nvPr userDrawn="1"/>
          </p:nvGrpSpPr>
          <p:grpSpPr>
            <a:xfrm>
              <a:off x="-600" y="692049"/>
              <a:ext cx="12193200" cy="5328568"/>
              <a:chOff x="-600" y="622800"/>
              <a:chExt cx="12193200" cy="5397817"/>
            </a:xfrm>
          </p:grpSpPr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3818AE35-14EE-4E85-8FFB-3988946A1BA1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>
                <a:extLst>
                  <a:ext uri="{FF2B5EF4-FFF2-40B4-BE49-F238E27FC236}">
                    <a16:creationId xmlns:a16="http://schemas.microsoft.com/office/drawing/2014/main" id="{63F07C20-E1F7-44FA-894C-CF85842DD946}"/>
                  </a:ext>
                </a:extLst>
              </p:cNvPr>
              <p:cNvCxnSpPr/>
              <p:nvPr/>
            </p:nvCxnSpPr>
            <p:spPr>
              <a:xfrm>
                <a:off x="-600" y="87286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>
                <a:extLst>
                  <a:ext uri="{FF2B5EF4-FFF2-40B4-BE49-F238E27FC236}">
                    <a16:creationId xmlns:a16="http://schemas.microsoft.com/office/drawing/2014/main" id="{42438438-36B0-49C2-A0A7-1A3C568394CD}"/>
                  </a:ext>
                </a:extLst>
              </p:cNvPr>
              <p:cNvCxnSpPr/>
              <p:nvPr/>
            </p:nvCxnSpPr>
            <p:spPr>
              <a:xfrm>
                <a:off x="-600" y="112293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43B7AE39-7733-450D-BC16-B253C09F7199}"/>
                  </a:ext>
                </a:extLst>
              </p:cNvPr>
              <p:cNvCxnSpPr/>
              <p:nvPr/>
            </p:nvCxnSpPr>
            <p:spPr>
              <a:xfrm>
                <a:off x="-600" y="139553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1338B0AE-3B67-43DB-9CE5-38DFC62A92DD}"/>
                  </a:ext>
                </a:extLst>
              </p:cNvPr>
              <p:cNvCxnSpPr/>
              <p:nvPr/>
            </p:nvCxnSpPr>
            <p:spPr>
              <a:xfrm>
                <a:off x="-600" y="166814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>
                <a:extLst>
                  <a:ext uri="{FF2B5EF4-FFF2-40B4-BE49-F238E27FC236}">
                    <a16:creationId xmlns:a16="http://schemas.microsoft.com/office/drawing/2014/main" id="{BAA83663-613D-4BF6-A8F3-D0A4618BECD6}"/>
                  </a:ext>
                </a:extLst>
              </p:cNvPr>
              <p:cNvCxnSpPr/>
              <p:nvPr/>
            </p:nvCxnSpPr>
            <p:spPr>
              <a:xfrm>
                <a:off x="-600" y="19407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559BF7AF-C4C3-4B32-A511-6BE4005A89E1}"/>
                  </a:ext>
                </a:extLst>
              </p:cNvPr>
              <p:cNvCxnSpPr/>
              <p:nvPr/>
            </p:nvCxnSpPr>
            <p:spPr>
              <a:xfrm>
                <a:off x="-600" y="223216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DD6BFF26-AD3F-4A8C-AC14-419B04B17822}"/>
                  </a:ext>
                </a:extLst>
              </p:cNvPr>
              <p:cNvCxnSpPr/>
              <p:nvPr/>
            </p:nvCxnSpPr>
            <p:spPr>
              <a:xfrm>
                <a:off x="-600" y="252358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9613CD7F-81BE-4CF7-B506-3A50DC159D3A}"/>
                  </a:ext>
                </a:extLst>
              </p:cNvPr>
              <p:cNvCxnSpPr/>
              <p:nvPr/>
            </p:nvCxnSpPr>
            <p:spPr>
              <a:xfrm>
                <a:off x="-600" y="281500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FE572705-2911-439A-984C-AC35DEA95BF6}"/>
                  </a:ext>
                </a:extLst>
              </p:cNvPr>
              <p:cNvCxnSpPr/>
              <p:nvPr/>
            </p:nvCxnSpPr>
            <p:spPr>
              <a:xfrm>
                <a:off x="-600" y="310642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>
                <a:extLst>
                  <a:ext uri="{FF2B5EF4-FFF2-40B4-BE49-F238E27FC236}">
                    <a16:creationId xmlns:a16="http://schemas.microsoft.com/office/drawing/2014/main" id="{119C4166-1B0A-4BE3-BE55-67AB1605164A}"/>
                  </a:ext>
                </a:extLst>
              </p:cNvPr>
              <p:cNvCxnSpPr/>
              <p:nvPr/>
            </p:nvCxnSpPr>
            <p:spPr>
              <a:xfrm>
                <a:off x="-600" y="33978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9F88899A-2F92-47D2-BA41-91F7EB731D95}"/>
                  </a:ext>
                </a:extLst>
              </p:cNvPr>
              <p:cNvCxnSpPr/>
              <p:nvPr/>
            </p:nvCxnSpPr>
            <p:spPr>
              <a:xfrm>
                <a:off x="-600" y="368926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C9A91B33-2136-457E-B3C4-F7A80B917D6E}"/>
                  </a:ext>
                </a:extLst>
              </p:cNvPr>
              <p:cNvCxnSpPr/>
              <p:nvPr/>
            </p:nvCxnSpPr>
            <p:spPr>
              <a:xfrm>
                <a:off x="-600" y="398068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919FDAD4-948A-414A-80F7-C5145F9F576F}"/>
                  </a:ext>
                </a:extLst>
              </p:cNvPr>
              <p:cNvCxnSpPr/>
              <p:nvPr/>
            </p:nvCxnSpPr>
            <p:spPr>
              <a:xfrm>
                <a:off x="-600" y="427210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06D0C3C9-A2B0-408C-92DD-090C014A5210}"/>
                  </a:ext>
                </a:extLst>
              </p:cNvPr>
              <p:cNvCxnSpPr/>
              <p:nvPr/>
            </p:nvCxnSpPr>
            <p:spPr>
              <a:xfrm>
                <a:off x="-600" y="456352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Straight Connector 195">
                <a:extLst>
                  <a:ext uri="{FF2B5EF4-FFF2-40B4-BE49-F238E27FC236}">
                    <a16:creationId xmlns:a16="http://schemas.microsoft.com/office/drawing/2014/main" id="{4F70539E-82FA-4169-B5F3-A6BD3A0DD611}"/>
                  </a:ext>
                </a:extLst>
              </p:cNvPr>
              <p:cNvCxnSpPr/>
              <p:nvPr/>
            </p:nvCxnSpPr>
            <p:spPr>
              <a:xfrm>
                <a:off x="-600" y="48549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00E3D5FA-75B0-4DEF-B768-611B37387981}"/>
                  </a:ext>
                </a:extLst>
              </p:cNvPr>
              <p:cNvCxnSpPr/>
              <p:nvPr/>
            </p:nvCxnSpPr>
            <p:spPr>
              <a:xfrm>
                <a:off x="-600" y="514636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7614810C-76B9-48F4-8569-F92894DC7E94}"/>
                  </a:ext>
                </a:extLst>
              </p:cNvPr>
              <p:cNvCxnSpPr/>
              <p:nvPr/>
            </p:nvCxnSpPr>
            <p:spPr>
              <a:xfrm>
                <a:off x="-600" y="543778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Straight Connector 198">
                <a:extLst>
                  <a:ext uri="{FF2B5EF4-FFF2-40B4-BE49-F238E27FC236}">
                    <a16:creationId xmlns:a16="http://schemas.microsoft.com/office/drawing/2014/main" id="{CF9EF908-D5DB-4FE8-9789-C45BA714928D}"/>
                  </a:ext>
                </a:extLst>
              </p:cNvPr>
              <p:cNvCxnSpPr/>
              <p:nvPr/>
            </p:nvCxnSpPr>
            <p:spPr>
              <a:xfrm>
                <a:off x="-600" y="572920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>
                <a:extLst>
                  <a:ext uri="{FF2B5EF4-FFF2-40B4-BE49-F238E27FC236}">
                    <a16:creationId xmlns:a16="http://schemas.microsoft.com/office/drawing/2014/main" id="{12C3B888-2B62-4A0B-B86C-C871E9DFD5BB}"/>
                  </a:ext>
                </a:extLst>
              </p:cNvPr>
              <p:cNvCxnSpPr/>
              <p:nvPr/>
            </p:nvCxnSpPr>
            <p:spPr>
              <a:xfrm>
                <a:off x="-600" y="602061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8" name="Gutter space">
              <a:extLst>
                <a:ext uri="{FF2B5EF4-FFF2-40B4-BE49-F238E27FC236}">
                  <a16:creationId xmlns:a16="http://schemas.microsoft.com/office/drawing/2014/main" id="{C4E1EE3B-1BAA-40B4-9C9D-B5B7C276D5CF}"/>
                </a:ext>
              </a:extLst>
            </p:cNvPr>
            <p:cNvGrpSpPr/>
            <p:nvPr userDrawn="1"/>
          </p:nvGrpSpPr>
          <p:grpSpPr>
            <a:xfrm>
              <a:off x="1277000" y="692049"/>
              <a:ext cx="9638000" cy="5328568"/>
              <a:chOff x="1277000" y="623550"/>
              <a:chExt cx="9638000" cy="5537047"/>
            </a:xfrm>
          </p:grpSpPr>
          <p:sp>
            <p:nvSpPr>
              <p:cNvPr id="170" name="Rectangle 34">
                <a:extLst>
                  <a:ext uri="{FF2B5EF4-FFF2-40B4-BE49-F238E27FC236}">
                    <a16:creationId xmlns:a16="http://schemas.microsoft.com/office/drawing/2014/main" id="{05E1F8B1-2155-495F-9B2F-2B9C1774CD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1" name="Rectangle 35">
                <a:extLst>
                  <a:ext uri="{FF2B5EF4-FFF2-40B4-BE49-F238E27FC236}">
                    <a16:creationId xmlns:a16="http://schemas.microsoft.com/office/drawing/2014/main" id="{D5B5D875-2782-4053-B0B8-0EE545F0D1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2" name="Rectangle 36">
                <a:extLst>
                  <a:ext uri="{FF2B5EF4-FFF2-40B4-BE49-F238E27FC236}">
                    <a16:creationId xmlns:a16="http://schemas.microsoft.com/office/drawing/2014/main" id="{3C1E92A4-F147-44B9-B595-FB1FBA93B2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3" name="Rectangle 37">
                <a:extLst>
                  <a:ext uri="{FF2B5EF4-FFF2-40B4-BE49-F238E27FC236}">
                    <a16:creationId xmlns:a16="http://schemas.microsoft.com/office/drawing/2014/main" id="{B00A15C0-658F-47FF-9CB1-9E16AD0903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4" name="Rectangle 38">
                <a:extLst>
                  <a:ext uri="{FF2B5EF4-FFF2-40B4-BE49-F238E27FC236}">
                    <a16:creationId xmlns:a16="http://schemas.microsoft.com/office/drawing/2014/main" id="{5AE2591B-2458-49A6-9713-FE123E7389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5" name="Rectangle 39">
                <a:extLst>
                  <a:ext uri="{FF2B5EF4-FFF2-40B4-BE49-F238E27FC236}">
                    <a16:creationId xmlns:a16="http://schemas.microsoft.com/office/drawing/2014/main" id="{2CA6BC48-1F85-4B54-B3ED-C7353388B6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6" name="Rectangle 40">
                <a:extLst>
                  <a:ext uri="{FF2B5EF4-FFF2-40B4-BE49-F238E27FC236}">
                    <a16:creationId xmlns:a16="http://schemas.microsoft.com/office/drawing/2014/main" id="{DD802691-0153-47E5-A6B2-D1F84A4E4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7" name="Rectangle 41">
                <a:extLst>
                  <a:ext uri="{FF2B5EF4-FFF2-40B4-BE49-F238E27FC236}">
                    <a16:creationId xmlns:a16="http://schemas.microsoft.com/office/drawing/2014/main" id="{10AB8124-508F-42B8-8471-A761D8E6F9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8" name="Rectangle 42">
                <a:extLst>
                  <a:ext uri="{FF2B5EF4-FFF2-40B4-BE49-F238E27FC236}">
                    <a16:creationId xmlns:a16="http://schemas.microsoft.com/office/drawing/2014/main" id="{D9CD2C4C-5785-4CF3-A88C-C1287944A3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9" name="Rectangle 43">
                <a:extLst>
                  <a:ext uri="{FF2B5EF4-FFF2-40B4-BE49-F238E27FC236}">
                    <a16:creationId xmlns:a16="http://schemas.microsoft.com/office/drawing/2014/main" id="{7DDAA5C7-DF49-48BE-86A8-3861B48008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0" name="Rectangle 44">
                <a:extLst>
                  <a:ext uri="{FF2B5EF4-FFF2-40B4-BE49-F238E27FC236}">
                    <a16:creationId xmlns:a16="http://schemas.microsoft.com/office/drawing/2014/main" id="{16112507-8FD8-481A-A689-B88BBC3898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9" name="Slide edges">
              <a:extLst>
                <a:ext uri="{FF2B5EF4-FFF2-40B4-BE49-F238E27FC236}">
                  <a16:creationId xmlns:a16="http://schemas.microsoft.com/office/drawing/2014/main" id="{D4E22051-BDDD-48B8-BDB1-B8806D7860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0" name="Footnote measure">
              <a:extLst>
                <a:ext uri="{FF2B5EF4-FFF2-40B4-BE49-F238E27FC236}">
                  <a16:creationId xmlns:a16="http://schemas.microsoft.com/office/drawing/2014/main" id="{D9348672-2D27-47B6-89AF-0238AADD07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0000" y="6374921"/>
              <a:ext cx="9756384" cy="415498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1" name="Whitespace measure">
              <a:extLst>
                <a:ext uri="{FF2B5EF4-FFF2-40B4-BE49-F238E27FC236}">
                  <a16:creationId xmlns:a16="http://schemas.microsoft.com/office/drawing/2014/main" id="{06F729C9-6012-46E9-BB6D-075F7F66F7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9400" y="1727200"/>
              <a:ext cx="10932229" cy="21354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62" name="Five column measure">
              <a:extLst>
                <a:ext uri="{FF2B5EF4-FFF2-40B4-BE49-F238E27FC236}">
                  <a16:creationId xmlns:a16="http://schemas.microsoft.com/office/drawing/2014/main" id="{063922FD-1BEC-4948-B33A-E3120F7CEAC8}"/>
                </a:ext>
              </a:extLst>
            </p:cNvPr>
            <p:cNvGrpSpPr/>
            <p:nvPr userDrawn="1"/>
          </p:nvGrpSpPr>
          <p:grpSpPr>
            <a:xfrm>
              <a:off x="629400" y="5835142"/>
              <a:ext cx="10933200" cy="79536"/>
              <a:chOff x="629400" y="5975122"/>
              <a:chExt cx="10933200" cy="79536"/>
            </a:xfrm>
          </p:grpSpPr>
          <p:sp>
            <p:nvSpPr>
              <p:cNvPr id="165" name="Rectangle 5">
                <a:extLst>
                  <a:ext uri="{FF2B5EF4-FFF2-40B4-BE49-F238E27FC236}">
                    <a16:creationId xmlns:a16="http://schemas.microsoft.com/office/drawing/2014/main" id="{4210E9F6-9371-4843-AC07-6A44EFD90C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7">
                <a:extLst>
                  <a:ext uri="{FF2B5EF4-FFF2-40B4-BE49-F238E27FC236}">
                    <a16:creationId xmlns:a16="http://schemas.microsoft.com/office/drawing/2014/main" id="{3F5F7290-85BF-4327-9844-1E2EF5FF10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9">
                <a:extLst>
                  <a:ext uri="{FF2B5EF4-FFF2-40B4-BE49-F238E27FC236}">
                    <a16:creationId xmlns:a16="http://schemas.microsoft.com/office/drawing/2014/main" id="{416A7F97-B245-48E0-B3E7-71183CDE3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11">
                <a:extLst>
                  <a:ext uri="{FF2B5EF4-FFF2-40B4-BE49-F238E27FC236}">
                    <a16:creationId xmlns:a16="http://schemas.microsoft.com/office/drawing/2014/main" id="{253BA35A-5E99-48C1-BBE6-6DFEE995D6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13">
                <a:extLst>
                  <a:ext uri="{FF2B5EF4-FFF2-40B4-BE49-F238E27FC236}">
                    <a16:creationId xmlns:a16="http://schemas.microsoft.com/office/drawing/2014/main" id="{F1B8CD62-D0C1-4BA9-8D6E-87F7A9E7BB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63" name="Live area">
              <a:extLst>
                <a:ext uri="{FF2B5EF4-FFF2-40B4-BE49-F238E27FC236}">
                  <a16:creationId xmlns:a16="http://schemas.microsoft.com/office/drawing/2014/main" id="{D6CE3051-A6DC-415C-ADF2-149329DB9AA9}"/>
                </a:ext>
              </a:extLst>
            </p:cNvPr>
            <p:cNvSpPr/>
            <p:nvPr userDrawn="1"/>
          </p:nvSpPr>
          <p:spPr>
            <a:xfrm>
              <a:off x="630000" y="1940744"/>
              <a:ext cx="10933200" cy="4079873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4" name="Footnote example">
              <a:extLst>
                <a:ext uri="{FF2B5EF4-FFF2-40B4-BE49-F238E27FC236}">
                  <a16:creationId xmlns:a16="http://schemas.microsoft.com/office/drawing/2014/main" id="{BE317C4D-AAB5-4E06-A848-7C3C8E67295A}"/>
                </a:ext>
              </a:extLst>
            </p:cNvPr>
            <p:cNvSpPr txBox="1"/>
            <p:nvPr userDrawn="1"/>
          </p:nvSpPr>
          <p:spPr>
            <a:xfrm>
              <a:off x="630000" y="6374921"/>
              <a:ext cx="975638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9A9A9A"/>
                  </a:solidFill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9A9A9A"/>
                  </a:solidFill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9A9A9A"/>
                  </a:solidFill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93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209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Rectangle 10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D219286-53C1-4858-AAC9-F486CE43267E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65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7528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57AF660-4CA0-4F50-8377-8B77FCA4D161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979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7576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083B78D-BB3A-4234-9DBD-470B1BBDB19E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830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3227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30000" y="3207715"/>
            <a:ext cx="1547143" cy="3877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5C5A04-E7CA-4CEE-9246-23546A2ED05B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976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23851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chemeClr val="tx2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Forma Livre 12">
            <a:extLst>
              <a:ext uri="{FF2B5EF4-FFF2-40B4-BE49-F238E27FC236}">
                <a16:creationId xmlns:a16="http://schemas.microsoft.com/office/drawing/2014/main" id="{A1BF881D-9E9E-40DB-8D51-CD70EBBE729B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1480305E-5849-4E2C-838E-591D9FB21CEC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5" name="Retângulo com Canto Arredondado do Mesmo Lado 12">
              <a:extLst>
                <a:ext uri="{FF2B5EF4-FFF2-40B4-BE49-F238E27FC236}">
                  <a16:creationId xmlns:a16="http://schemas.microsoft.com/office/drawing/2014/main" id="{D1C362FF-0CCA-4388-8C4F-4FAB4872CB4C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tângulo com Canto Arredondado do Mesmo Lado 11">
              <a:extLst>
                <a:ext uri="{FF2B5EF4-FFF2-40B4-BE49-F238E27FC236}">
                  <a16:creationId xmlns:a16="http://schemas.microsoft.com/office/drawing/2014/main" id="{E78D43AE-4777-444E-9A84-73030653F93C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7" name="Imagem 8">
              <a:extLst>
                <a:ext uri="{FF2B5EF4-FFF2-40B4-BE49-F238E27FC236}">
                  <a16:creationId xmlns:a16="http://schemas.microsoft.com/office/drawing/2014/main" id="{E6CC1ADD-ECB1-4C84-AA3D-9973690B69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29F4519A-8B36-433A-8195-842BDA574679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25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6353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Forma Livre 12">
            <a:extLst>
              <a:ext uri="{FF2B5EF4-FFF2-40B4-BE49-F238E27FC236}">
                <a16:creationId xmlns:a16="http://schemas.microsoft.com/office/drawing/2014/main" id="{00282462-3CA1-4A13-801F-70E89B44FA05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9" name="Agrupar 13">
            <a:extLst>
              <a:ext uri="{FF2B5EF4-FFF2-40B4-BE49-F238E27FC236}">
                <a16:creationId xmlns:a16="http://schemas.microsoft.com/office/drawing/2014/main" id="{9BBC3E00-CA5A-4EA1-BC04-19A5DE0027A3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1" name="Retângulo com Canto Arredondado do Mesmo Lado 12">
              <a:extLst>
                <a:ext uri="{FF2B5EF4-FFF2-40B4-BE49-F238E27FC236}">
                  <a16:creationId xmlns:a16="http://schemas.microsoft.com/office/drawing/2014/main" id="{4F6CCF50-7D96-4D18-B1F7-EFD2C3AB3FA6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Retângulo com Canto Arredondado do Mesmo Lado 11">
              <a:extLst>
                <a:ext uri="{FF2B5EF4-FFF2-40B4-BE49-F238E27FC236}">
                  <a16:creationId xmlns:a16="http://schemas.microsoft.com/office/drawing/2014/main" id="{83F45117-E255-4A8D-A875-633EC53DBC9B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3" name="Imagem 8">
              <a:extLst>
                <a:ext uri="{FF2B5EF4-FFF2-40B4-BE49-F238E27FC236}">
                  <a16:creationId xmlns:a16="http://schemas.microsoft.com/office/drawing/2014/main" id="{D4E2459A-9777-425B-97FE-9FDDB84545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47F6AFF3-1D68-4B84-9FED-B25F03FF6E0C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803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6402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rma Livre 12">
            <a:extLst>
              <a:ext uri="{FF2B5EF4-FFF2-40B4-BE49-F238E27FC236}">
                <a16:creationId xmlns:a16="http://schemas.microsoft.com/office/drawing/2014/main" id="{991E603E-8528-437A-9AEC-A472107F1253}"/>
              </a:ext>
            </a:extLst>
          </p:cNvPr>
          <p:cNvSpPr/>
          <p:nvPr/>
        </p:nvSpPr>
        <p:spPr>
          <a:xfrm rot="10800000" flipH="1" flipV="1">
            <a:off x="0" y="-12527"/>
            <a:ext cx="4574974" cy="387069"/>
          </a:xfrm>
          <a:custGeom>
            <a:avLst/>
            <a:gdLst>
              <a:gd name="connsiteX0" fmla="*/ 0 w 3346704"/>
              <a:gd name="connsiteY0" fmla="*/ 0 h 309138"/>
              <a:gd name="connsiteX1" fmla="*/ 3343243 w 3346704"/>
              <a:gd name="connsiteY1" fmla="*/ 0 h 309138"/>
              <a:gd name="connsiteX2" fmla="*/ 3346704 w 3346704"/>
              <a:gd name="connsiteY2" fmla="*/ 34337 h 309138"/>
              <a:gd name="connsiteX3" fmla="*/ 3071903 w 3346704"/>
              <a:gd name="connsiteY3" fmla="*/ 309138 h 309138"/>
              <a:gd name="connsiteX4" fmla="*/ 0 w 3346704"/>
              <a:gd name="connsiteY4" fmla="*/ 309138 h 309138"/>
              <a:gd name="connsiteX5" fmla="*/ 0 w 3346704"/>
              <a:gd name="connsiteY5" fmla="*/ 0 h 30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46704" h="309138">
                <a:moveTo>
                  <a:pt x="0" y="0"/>
                </a:moveTo>
                <a:lnTo>
                  <a:pt x="3343243" y="0"/>
                </a:lnTo>
                <a:lnTo>
                  <a:pt x="3346704" y="34337"/>
                </a:lnTo>
                <a:cubicBezTo>
                  <a:pt x="3346704" y="186105"/>
                  <a:pt x="3223671" y="309138"/>
                  <a:pt x="3071903" y="309138"/>
                </a:cubicBezTo>
                <a:lnTo>
                  <a:pt x="0" y="309138"/>
                </a:lnTo>
                <a:lnTo>
                  <a:pt x="0" y="0"/>
                </a:lnTo>
                <a:close/>
              </a:path>
            </a:pathLst>
          </a:custGeom>
          <a:solidFill>
            <a:srgbClr val="1D07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b="1">
              <a:latin typeface="+mn-lt"/>
              <a:ea typeface="+mn-ea"/>
              <a:cs typeface="+mn-cs"/>
            </a:endParaRPr>
          </a:p>
        </p:txBody>
      </p:sp>
      <p:grpSp>
        <p:nvGrpSpPr>
          <p:cNvPr id="10" name="Agrupar 13">
            <a:extLst>
              <a:ext uri="{FF2B5EF4-FFF2-40B4-BE49-F238E27FC236}">
                <a16:creationId xmlns:a16="http://schemas.microsoft.com/office/drawing/2014/main" id="{46485F3B-7E1C-49FA-B709-A6A7A3A04F06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11" name="Retângulo com Canto Arredondado do Mesmo Lado 12">
              <a:extLst>
                <a:ext uri="{FF2B5EF4-FFF2-40B4-BE49-F238E27FC236}">
                  <a16:creationId xmlns:a16="http://schemas.microsoft.com/office/drawing/2014/main" id="{AD55C63C-DBAA-42E3-9B69-987B5751D1C0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Retângulo com Canto Arredondado do Mesmo Lado 11">
              <a:extLst>
                <a:ext uri="{FF2B5EF4-FFF2-40B4-BE49-F238E27FC236}">
                  <a16:creationId xmlns:a16="http://schemas.microsoft.com/office/drawing/2014/main" id="{96AF6A86-2AC5-48AD-BC6B-0991D35E0236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3" name="Imagem 8">
              <a:extLst>
                <a:ext uri="{FF2B5EF4-FFF2-40B4-BE49-F238E27FC236}">
                  <a16:creationId xmlns:a16="http://schemas.microsoft.com/office/drawing/2014/main" id="{8E0DDD30-F1CD-4D5E-9502-1DE3ED5D94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282C3F84-FEC5-4C25-98A5-A173EBA1B319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898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559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F5C51A-4B10-449C-8EB2-471DA19F9725}"/>
              </a:ext>
            </a:extLst>
          </p:cNvPr>
          <p:cNvSpPr txBox="1"/>
          <p:nvPr/>
        </p:nvSpPr>
        <p:spPr>
          <a:xfrm>
            <a:off x="630000" y="3207715"/>
            <a:ext cx="1547143" cy="3877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BC49CF-FC01-4607-89B6-7AD2913EA4BE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258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1540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608551"/>
            <a:ext cx="2926080" cy="17005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2C4A9B5-3434-4751-A2BC-F041CF15168D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782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126AD00-BBF0-48FB-BF07-ACA9E4CD4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406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26AD00-BBF0-48FB-BF07-ACA9E4CD4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C279093-FDD9-4E07-A871-F41B1815F697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443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rrow half">
    <p:bg>
      <p:bgPr>
        <a:gradFill flip="none" rotWithShape="1">
          <a:gsLst>
            <a:gs pos="0">
              <a:schemeClr val="accent2"/>
            </a:gs>
            <a:gs pos="33000">
              <a:schemeClr val="accent1"/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20C685A-E509-4DE6-886B-0607B7FF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0C685A-E509-4DE6-886B-0607B7FF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/>
        </p:nvSpPr>
        <p:spPr bwMode="white">
          <a:xfrm>
            <a:off x="1" y="0"/>
            <a:ext cx="656590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9387" y="3589606"/>
            <a:ext cx="1450467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2E69E0B-8ED3-4BCB-94F3-7A38F35BC0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4673646" cy="430887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7" name="Agrupar 13">
            <a:extLst>
              <a:ext uri="{FF2B5EF4-FFF2-40B4-BE49-F238E27FC236}">
                <a16:creationId xmlns:a16="http://schemas.microsoft.com/office/drawing/2014/main" id="{4AE101FA-0748-B0B8-3E4E-2E2D0B64C9AA}"/>
              </a:ext>
            </a:extLst>
          </p:cNvPr>
          <p:cNvGrpSpPr/>
          <p:nvPr/>
        </p:nvGrpSpPr>
        <p:grpSpPr>
          <a:xfrm>
            <a:off x="10464953" y="6526060"/>
            <a:ext cx="1727049" cy="294362"/>
            <a:chOff x="9528659" y="6366476"/>
            <a:chExt cx="2663343" cy="453946"/>
          </a:xfrm>
        </p:grpSpPr>
        <p:sp>
          <p:nvSpPr>
            <p:cNvPr id="8" name="Retângulo com Canto Arredondado do Mesmo Lado 12">
              <a:extLst>
                <a:ext uri="{FF2B5EF4-FFF2-40B4-BE49-F238E27FC236}">
                  <a16:creationId xmlns:a16="http://schemas.microsoft.com/office/drawing/2014/main" id="{3EC44F5A-AE1D-0348-9BD8-D4E8374A282E}"/>
                </a:ext>
              </a:extLst>
            </p:cNvPr>
            <p:cNvSpPr/>
            <p:nvPr userDrawn="1"/>
          </p:nvSpPr>
          <p:spPr>
            <a:xfrm rot="16200000">
              <a:off x="10457994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3113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Retângulo com Canto Arredondado do Mesmo Lado 11">
              <a:extLst>
                <a:ext uri="{FF2B5EF4-FFF2-40B4-BE49-F238E27FC236}">
                  <a16:creationId xmlns:a16="http://schemas.microsoft.com/office/drawing/2014/main" id="{E9A2D377-79E6-4F02-C61E-98F90B1C2B6D}"/>
                </a:ext>
              </a:extLst>
            </p:cNvPr>
            <p:cNvSpPr/>
            <p:nvPr userDrawn="1"/>
          </p:nvSpPr>
          <p:spPr>
            <a:xfrm rot="16200000">
              <a:off x="10808722" y="5437141"/>
              <a:ext cx="453946" cy="231261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1D07E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b="1" i="0"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2" name="Imagem 8">
              <a:extLst>
                <a:ext uri="{FF2B5EF4-FFF2-40B4-BE49-F238E27FC236}">
                  <a16:creationId xmlns:a16="http://schemas.microsoft.com/office/drawing/2014/main" id="{FE883466-9B3B-A21C-F4F1-E9C78F48D4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9993936" y="6483039"/>
              <a:ext cx="2039928" cy="220817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28DB4BC-80E6-17EB-3BDF-7D9035C3A227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53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5,00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142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91D0B16-E801-4EB8-8DFE-59D5A82E92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820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1D0B16-E801-4EB8-8DFE-59D5A82E9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6" name="Rectangle 25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96FD69-D5B9-4BF3-A18B-510B1D649BAE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17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0687764-B67B-4BAF-8F02-4D9C58FF3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7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687764-B67B-4BAF-8F02-4D9C58FF3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5FB54B-77B7-4399-A19C-AEE1896A6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92049"/>
            <a:ext cx="6256800" cy="430887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CAA20D6-02A5-4669-B13A-1A0D09B2710D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902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4028963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270" imgH="270" progId="TCLayout.ActiveDocument.1">
                  <p:embed/>
                </p:oleObj>
              </mc:Choice>
              <mc:Fallback>
                <p:oleObj name="think-cell Slide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92049"/>
            <a:ext cx="10933200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200" cy="41949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50B60E-CF83-47A2-B882-4EE694183D7A}"/>
              </a:ext>
            </a:extLst>
          </p:cNvPr>
          <p:cNvSpPr txBox="1"/>
          <p:nvPr/>
        </p:nvSpPr>
        <p:spPr>
          <a:xfrm>
            <a:off x="10420630" y="6544197"/>
            <a:ext cx="344967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FFFFFF"/>
                </a:solidFill>
                <a:latin typeface="Century Gothic" panose="020F03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lvl="0"/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2649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5" r:id="rId1"/>
    <p:sldLayoutId id="2147485256" r:id="rId2"/>
    <p:sldLayoutId id="2147485257" r:id="rId3"/>
    <p:sldLayoutId id="2147485258" r:id="rId4"/>
    <p:sldLayoutId id="2147485259" r:id="rId5"/>
    <p:sldLayoutId id="2147485260" r:id="rId6"/>
    <p:sldLayoutId id="2147485261" r:id="rId7"/>
    <p:sldLayoutId id="2147485262" r:id="rId8"/>
    <p:sldLayoutId id="2147485263" r:id="rId9"/>
    <p:sldLayoutId id="2147485264" r:id="rId10"/>
    <p:sldLayoutId id="2147485265" r:id="rId11"/>
    <p:sldLayoutId id="2147485266" r:id="rId12"/>
    <p:sldLayoutId id="2147485267" r:id="rId13"/>
    <p:sldLayoutId id="2147485268" r:id="rId14"/>
    <p:sldLayoutId id="2147485269" r:id="rId15"/>
    <p:sldLayoutId id="2147485270" r:id="rId16"/>
    <p:sldLayoutId id="2147485271" r:id="rId17"/>
    <p:sldLayoutId id="2147485272" r:id="rId18"/>
    <p:sldLayoutId id="2147485273" r:id="rId19"/>
    <p:sldLayoutId id="2147485274" r:id="rId20"/>
    <p:sldLayoutId id="2147485275" r:id="rId21"/>
    <p:sldLayoutId id="2147485276" r:id="rId22"/>
    <p:sldLayoutId id="2147485277" r:id="rId23"/>
    <p:sldLayoutId id="2147485278" r:id="rId24"/>
    <p:sldLayoutId id="2147485279" r:id="rId25"/>
    <p:sldLayoutId id="2147485280" r:id="rId26"/>
    <p:sldLayoutId id="2147485281" r:id="rId27"/>
    <p:sldLayoutId id="2147485282" r:id="rId28"/>
    <p:sldLayoutId id="2147485283" r:id="rId29"/>
    <p:sldLayoutId id="2147485284" r:id="rId30"/>
    <p:sldLayoutId id="2147485285" r:id="rId31"/>
    <p:sldLayoutId id="2147485286" r:id="rId32"/>
    <p:sldLayoutId id="2147485287" r:id="rId33"/>
    <p:sldLayoutId id="2147485288" r:id="rId34"/>
    <p:sldLayoutId id="2147485289" r:id="rId35"/>
    <p:sldLayoutId id="2147485290" r:id="rId36"/>
    <p:sldLayoutId id="2147485291" r:id="rId37"/>
    <p:sldLayoutId id="2147485292" r:id="rId38"/>
    <p:sldLayoutId id="2147485293" r:id="rId39"/>
    <p:sldLayoutId id="2147485294" r:id="rId40"/>
    <p:sldLayoutId id="2147485295" r:id="rId41"/>
    <p:sldLayoutId id="2147485296" r:id="rId42"/>
    <p:sldLayoutId id="2147485297" r:id="rId43"/>
    <p:sldLayoutId id="2147485298" r:id="rId44"/>
    <p:sldLayoutId id="2147485299" r:id="rId45"/>
    <p:sldLayoutId id="2147485300" r:id="rId46"/>
    <p:sldLayoutId id="2147485301" r:id="rId47"/>
    <p:sldLayoutId id="2147485302" r:id="rId48"/>
    <p:sldLayoutId id="2147485303" r:id="rId49"/>
    <p:sldLayoutId id="2147485304" r:id="rId50"/>
    <p:sldLayoutId id="2147485305" r:id="rId51"/>
    <p:sldLayoutId id="2147485306" r:id="rId52"/>
    <p:sldLayoutId id="2147485307" r:id="rId53"/>
    <p:sldLayoutId id="2147485308" r:id="rId54"/>
    <p:sldLayoutId id="2147485309" r:id="rId55"/>
    <p:sldLayoutId id="2147485310" r:id="rId56"/>
    <p:sldLayoutId id="2147485311" r:id="rId57"/>
    <p:sldLayoutId id="2147485312" r:id="rId58"/>
    <p:sldLayoutId id="2147485313" r:id="rId59"/>
    <p:sldLayoutId id="2147485314" r:id="rId60"/>
    <p:sldLayoutId id="2147485315" r:id="rId61"/>
    <p:sldLayoutId id="2147485316" r:id="rId62"/>
    <p:sldLayoutId id="2147485317" r:id="rId63"/>
    <p:sldLayoutId id="2147485318" r:id="rId64"/>
    <p:sldLayoutId id="2147485319" r:id="rId65"/>
    <p:sldLayoutId id="2147485320" r:id="rId66"/>
    <p:sldLayoutId id="2147485321" r:id="rId67"/>
    <p:sldLayoutId id="2147485322" r:id="rId68"/>
    <p:sldLayoutId id="2147485323" r:id="rId69"/>
    <p:sldLayoutId id="2147485324" r:id="rId70"/>
    <p:sldLayoutId id="2147485325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71A3A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E71A3A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b="1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71A3A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b="1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b="1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6">
          <p15:clr>
            <a:srgbClr val="F26B43"/>
          </p15:clr>
        </p15:guide>
        <p15:guide id="2" pos="394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37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79.xml"/><Relationship Id="rId7" Type="http://schemas.openxmlformats.org/officeDocument/2006/relationships/oleObject" Target="../embeddings/oleObject72.bin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31.xml"/><Relationship Id="rId4" Type="http://schemas.openxmlformats.org/officeDocument/2006/relationships/tags" Target="../tags/tag8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83.xml"/><Relationship Id="rId7" Type="http://schemas.openxmlformats.org/officeDocument/2006/relationships/oleObject" Target="../embeddings/oleObject73.bin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31.xml"/><Relationship Id="rId4" Type="http://schemas.openxmlformats.org/officeDocument/2006/relationships/tags" Target="../tags/tag8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tags" Target="../tags/tag110.xml"/><Relationship Id="rId39" Type="http://schemas.openxmlformats.org/officeDocument/2006/relationships/tags" Target="../tags/tag123.xml"/><Relationship Id="rId3" Type="http://schemas.openxmlformats.org/officeDocument/2006/relationships/tags" Target="../tags/tag87.xml"/><Relationship Id="rId21" Type="http://schemas.openxmlformats.org/officeDocument/2006/relationships/tags" Target="../tags/tag105.xml"/><Relationship Id="rId34" Type="http://schemas.openxmlformats.org/officeDocument/2006/relationships/tags" Target="../tags/tag118.xml"/><Relationship Id="rId42" Type="http://schemas.openxmlformats.org/officeDocument/2006/relationships/tags" Target="../tags/tag126.xml"/><Relationship Id="rId47" Type="http://schemas.openxmlformats.org/officeDocument/2006/relationships/chart" Target="../charts/chart1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tags" Target="../tags/tag117.xml"/><Relationship Id="rId38" Type="http://schemas.openxmlformats.org/officeDocument/2006/relationships/tags" Target="../tags/tag122.xml"/><Relationship Id="rId46" Type="http://schemas.openxmlformats.org/officeDocument/2006/relationships/image" Target="../media/image14.emf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29" Type="http://schemas.openxmlformats.org/officeDocument/2006/relationships/tags" Target="../tags/tag113.xml"/><Relationship Id="rId41" Type="http://schemas.openxmlformats.org/officeDocument/2006/relationships/tags" Target="../tags/tag125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37" Type="http://schemas.openxmlformats.org/officeDocument/2006/relationships/tags" Target="../tags/tag121.xml"/><Relationship Id="rId40" Type="http://schemas.openxmlformats.org/officeDocument/2006/relationships/tags" Target="../tags/tag124.xml"/><Relationship Id="rId45" Type="http://schemas.openxmlformats.org/officeDocument/2006/relationships/oleObject" Target="../embeddings/oleObject74.bin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tags" Target="../tags/tag120.xml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31" Type="http://schemas.openxmlformats.org/officeDocument/2006/relationships/tags" Target="../tags/tag115.xml"/><Relationship Id="rId44" Type="http://schemas.openxmlformats.org/officeDocument/2006/relationships/notesSlide" Target="../notesSlides/notesSlide3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tags" Target="../tags/tag119.xml"/><Relationship Id="rId43" Type="http://schemas.openxmlformats.org/officeDocument/2006/relationships/slideLayout" Target="../slideLayouts/slideLayout2.xml"/><Relationship Id="rId48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26" Type="http://schemas.openxmlformats.org/officeDocument/2006/relationships/tags" Target="../tags/tag152.xml"/><Relationship Id="rId39" Type="http://schemas.openxmlformats.org/officeDocument/2006/relationships/tags" Target="../tags/tag165.xml"/><Relationship Id="rId3" Type="http://schemas.openxmlformats.org/officeDocument/2006/relationships/tags" Target="../tags/tag129.xml"/><Relationship Id="rId21" Type="http://schemas.openxmlformats.org/officeDocument/2006/relationships/tags" Target="../tags/tag147.xml"/><Relationship Id="rId34" Type="http://schemas.openxmlformats.org/officeDocument/2006/relationships/tags" Target="../tags/tag160.xml"/><Relationship Id="rId42" Type="http://schemas.openxmlformats.org/officeDocument/2006/relationships/tags" Target="../tags/tag168.xml"/><Relationship Id="rId47" Type="http://schemas.openxmlformats.org/officeDocument/2006/relationships/chart" Target="../charts/chart3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33" Type="http://schemas.openxmlformats.org/officeDocument/2006/relationships/tags" Target="../tags/tag159.xml"/><Relationship Id="rId38" Type="http://schemas.openxmlformats.org/officeDocument/2006/relationships/tags" Target="../tags/tag164.xml"/><Relationship Id="rId46" Type="http://schemas.openxmlformats.org/officeDocument/2006/relationships/image" Target="../media/image14.emf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29" Type="http://schemas.openxmlformats.org/officeDocument/2006/relationships/tags" Target="../tags/tag155.xml"/><Relationship Id="rId41" Type="http://schemas.openxmlformats.org/officeDocument/2006/relationships/tags" Target="../tags/tag167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tags" Target="../tags/tag150.xml"/><Relationship Id="rId32" Type="http://schemas.openxmlformats.org/officeDocument/2006/relationships/tags" Target="../tags/tag158.xml"/><Relationship Id="rId37" Type="http://schemas.openxmlformats.org/officeDocument/2006/relationships/tags" Target="../tags/tag163.xml"/><Relationship Id="rId40" Type="http://schemas.openxmlformats.org/officeDocument/2006/relationships/tags" Target="../tags/tag166.xml"/><Relationship Id="rId45" Type="http://schemas.openxmlformats.org/officeDocument/2006/relationships/oleObject" Target="../embeddings/oleObject75.bin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tags" Target="../tags/tag149.xml"/><Relationship Id="rId28" Type="http://schemas.openxmlformats.org/officeDocument/2006/relationships/tags" Target="../tags/tag154.xml"/><Relationship Id="rId36" Type="http://schemas.openxmlformats.org/officeDocument/2006/relationships/tags" Target="../tags/tag162.xml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31" Type="http://schemas.openxmlformats.org/officeDocument/2006/relationships/tags" Target="../tags/tag157.xml"/><Relationship Id="rId44" Type="http://schemas.openxmlformats.org/officeDocument/2006/relationships/notesSlide" Target="../notesSlides/notesSlide4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Relationship Id="rId27" Type="http://schemas.openxmlformats.org/officeDocument/2006/relationships/tags" Target="../tags/tag153.xml"/><Relationship Id="rId30" Type="http://schemas.openxmlformats.org/officeDocument/2006/relationships/tags" Target="../tags/tag156.xml"/><Relationship Id="rId35" Type="http://schemas.openxmlformats.org/officeDocument/2006/relationships/tags" Target="../tags/tag161.xml"/><Relationship Id="rId43" Type="http://schemas.openxmlformats.org/officeDocument/2006/relationships/slideLayout" Target="../slideLayouts/slideLayout2.xml"/><Relationship Id="rId48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0BE8302-4683-4161-747D-0D62568659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490FD-B0CC-2E01-EBB2-01144A771A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992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490FD-B0CC-2E01-EBB2-01144A771A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5" name="Rectangle: Top Corners Rounded 194">
            <a:extLst>
              <a:ext uri="{FF2B5EF4-FFF2-40B4-BE49-F238E27FC236}">
                <a16:creationId xmlns:a16="http://schemas.microsoft.com/office/drawing/2014/main" id="{F05A309F-E608-8647-139D-D447DD210AF1}"/>
              </a:ext>
            </a:extLst>
          </p:cNvPr>
          <p:cNvSpPr/>
          <p:nvPr/>
        </p:nvSpPr>
        <p:spPr>
          <a:xfrm flipV="1">
            <a:off x="464596" y="2003476"/>
            <a:ext cx="11264396" cy="4397828"/>
          </a:xfrm>
          <a:prstGeom prst="round2SameRect">
            <a:avLst>
              <a:gd name="adj1" fmla="val 2079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78" name="Rectangle: Top Corners Rounded 177">
            <a:extLst>
              <a:ext uri="{FF2B5EF4-FFF2-40B4-BE49-F238E27FC236}">
                <a16:creationId xmlns:a16="http://schemas.microsoft.com/office/drawing/2014/main" id="{684AD3A7-E98C-66A0-71BB-506CF4F335F4}"/>
              </a:ext>
            </a:extLst>
          </p:cNvPr>
          <p:cNvSpPr/>
          <p:nvPr/>
        </p:nvSpPr>
        <p:spPr>
          <a:xfrm flipV="1">
            <a:off x="464596" y="1973943"/>
            <a:ext cx="11264396" cy="4397828"/>
          </a:xfrm>
          <a:prstGeom prst="round2SameRect">
            <a:avLst>
              <a:gd name="adj1" fmla="val 2079"/>
              <a:gd name="adj2" fmla="val 0"/>
            </a:avLst>
          </a:prstGeom>
          <a:solidFill>
            <a:srgbClr val="F0F0F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753305-937B-163B-ECAD-86761C5BAD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692150"/>
            <a:ext cx="10933112" cy="861774"/>
          </a:xfrm>
        </p:spPr>
        <p:txBody>
          <a:bodyPr vert="horz"/>
          <a:lstStyle/>
          <a:p>
            <a:r>
              <a:rPr lang="en-US" noProof="0">
                <a:solidFill>
                  <a:schemeClr val="accent6"/>
                </a:solidFill>
              </a:rPr>
              <a:t>Como? | </a:t>
            </a:r>
            <a:r>
              <a:rPr lang="en-US" err="1"/>
              <a:t>Visualização</a:t>
            </a:r>
            <a:r>
              <a:rPr lang="en-US"/>
              <a:t> de status da </a:t>
            </a:r>
            <a:r>
              <a:rPr lang="en-US" err="1"/>
              <a:t>alocação</a:t>
            </a:r>
            <a:r>
              <a:rPr lang="en-US"/>
              <a:t> de estoque de </a:t>
            </a:r>
            <a:r>
              <a:rPr lang="en-US" err="1"/>
              <a:t>maneira</a:t>
            </a:r>
            <a:r>
              <a:rPr lang="en-US"/>
              <a:t> simples e </a:t>
            </a:r>
            <a:r>
              <a:rPr lang="en-US" err="1"/>
              <a:t>direta</a:t>
            </a:r>
            <a:endParaRPr lang="en-US" noProof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066712-E467-E876-5984-B16DB469080D}"/>
              </a:ext>
            </a:extLst>
          </p:cNvPr>
          <p:cNvSpPr/>
          <p:nvPr/>
        </p:nvSpPr>
        <p:spPr>
          <a:xfrm>
            <a:off x="5234177" y="-17003"/>
            <a:ext cx="1724845" cy="312822"/>
          </a:xfrm>
          <a:prstGeom prst="rect">
            <a:avLst/>
          </a:prstGeom>
          <a:solidFill>
            <a:srgbClr val="E71A3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noProof="0">
                <a:solidFill>
                  <a:srgbClr val="FFFFFF"/>
                </a:solidFill>
              </a:rPr>
              <a:t>ILUSTRATIVO</a:t>
            </a:r>
          </a:p>
        </p:txBody>
      </p:sp>
      <p:sp>
        <p:nvSpPr>
          <p:cNvPr id="256" name="Rectangle 255" hidden="1">
            <a:extLst>
              <a:ext uri="{FF2B5EF4-FFF2-40B4-BE49-F238E27FC236}">
                <a16:creationId xmlns:a16="http://schemas.microsoft.com/office/drawing/2014/main" id="{43811543-06F8-D248-38E2-8D181B37654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noProof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62CFE102-1A61-7130-F490-E755B18EEEB8}"/>
              </a:ext>
            </a:extLst>
          </p:cNvPr>
          <p:cNvSpPr txBox="1"/>
          <p:nvPr/>
        </p:nvSpPr>
        <p:spPr>
          <a:xfrm>
            <a:off x="-391886" y="-1756229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noProof="0">
              <a:solidFill>
                <a:schemeClr val="tx1"/>
              </a:solidFill>
            </a:endParaRPr>
          </a:p>
        </p:txBody>
      </p:sp>
      <p:sp>
        <p:nvSpPr>
          <p:cNvPr id="8" name="Textfeld 1">
            <a:extLst>
              <a:ext uri="{FF2B5EF4-FFF2-40B4-BE49-F238E27FC236}">
                <a16:creationId xmlns:a16="http://schemas.microsoft.com/office/drawing/2014/main" id="{E27C6431-1CC2-6964-933F-15ADB9A4BCA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324551" y="5611263"/>
            <a:ext cx="2743200" cy="483209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SD 22.Oct.25:
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mapes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e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outras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métricas</a:t>
            </a:r>
            <a:endParaRPr lang="en-US" sz="1200" b="1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EC7569DC-2598-6133-8E49-4C316059C18B}"/>
              </a:ext>
            </a:extLst>
          </p:cNvPr>
          <p:cNvSpPr>
            <a:spLocks/>
          </p:cNvSpPr>
          <p:nvPr/>
        </p:nvSpPr>
        <p:spPr>
          <a:xfrm>
            <a:off x="4795369" y="3424092"/>
            <a:ext cx="2938385" cy="1956568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28" name="Rounded Rectangle 287">
            <a:extLst>
              <a:ext uri="{FF2B5EF4-FFF2-40B4-BE49-F238E27FC236}">
                <a16:creationId xmlns:a16="http://schemas.microsoft.com/office/drawing/2014/main" id="{E8831E95-80A2-8ABE-C703-392545C7254D}"/>
              </a:ext>
            </a:extLst>
          </p:cNvPr>
          <p:cNvSpPr>
            <a:spLocks/>
          </p:cNvSpPr>
          <p:nvPr/>
        </p:nvSpPr>
        <p:spPr>
          <a:xfrm>
            <a:off x="6951472" y="3477958"/>
            <a:ext cx="659621" cy="203935"/>
          </a:xfrm>
          <a:prstGeom prst="roundRect">
            <a:avLst/>
          </a:prstGeom>
          <a:solidFill>
            <a:schemeClr val="accent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rgbClr val="FFFFFF"/>
                </a:solidFill>
              </a:rPr>
              <a:t>% baixa cobertura</a:t>
            </a:r>
          </a:p>
        </p:txBody>
      </p:sp>
      <p:sp>
        <p:nvSpPr>
          <p:cNvPr id="49" name="Rounded Rectangle 287">
            <a:extLst>
              <a:ext uri="{FF2B5EF4-FFF2-40B4-BE49-F238E27FC236}">
                <a16:creationId xmlns:a16="http://schemas.microsoft.com/office/drawing/2014/main" id="{E4299D83-9CE1-B483-A5A6-54907BCEA623}"/>
              </a:ext>
            </a:extLst>
          </p:cNvPr>
          <p:cNvSpPr>
            <a:spLocks/>
          </p:cNvSpPr>
          <p:nvPr/>
        </p:nvSpPr>
        <p:spPr>
          <a:xfrm>
            <a:off x="6254743" y="3477958"/>
            <a:ext cx="659621" cy="203935"/>
          </a:xfrm>
          <a:prstGeom prst="roundRect">
            <a:avLst/>
          </a:prstGeom>
          <a:solidFill>
            <a:schemeClr val="accent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% excesso</a:t>
            </a:r>
            <a:endParaRPr lang="en-US" sz="600" noProof="0">
              <a:solidFill>
                <a:srgbClr val="FFFFFF"/>
              </a:solidFill>
            </a:endParaRPr>
          </a:p>
        </p:txBody>
      </p:sp>
      <p:sp>
        <p:nvSpPr>
          <p:cNvPr id="53" name="Rounded Rectangle 287">
            <a:extLst>
              <a:ext uri="{FF2B5EF4-FFF2-40B4-BE49-F238E27FC236}">
                <a16:creationId xmlns:a16="http://schemas.microsoft.com/office/drawing/2014/main" id="{EE5C8A0D-A1ED-30CC-80B7-99F0675A964F}"/>
              </a:ext>
            </a:extLst>
          </p:cNvPr>
          <p:cNvSpPr>
            <a:spLocks/>
          </p:cNvSpPr>
          <p:nvPr/>
        </p:nvSpPr>
        <p:spPr>
          <a:xfrm>
            <a:off x="5558015" y="3477958"/>
            <a:ext cx="659621" cy="203935"/>
          </a:xfrm>
          <a:prstGeom prst="roundRect">
            <a:avLst/>
          </a:prstGeom>
          <a:solidFill>
            <a:schemeClr val="accent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Receita com baixa saúde</a:t>
            </a:r>
            <a:endParaRPr lang="en-US" sz="600" noProof="0">
              <a:solidFill>
                <a:srgbClr val="FFFFFF"/>
              </a:solidFill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50B20A43-2E25-A4B0-29D7-C38AC0791C6C}"/>
              </a:ext>
            </a:extLst>
          </p:cNvPr>
          <p:cNvGrpSpPr/>
          <p:nvPr/>
        </p:nvGrpSpPr>
        <p:grpSpPr>
          <a:xfrm>
            <a:off x="7636990" y="3732013"/>
            <a:ext cx="51005" cy="1503474"/>
            <a:chOff x="7538836" y="3770113"/>
            <a:chExt cx="51005" cy="1503474"/>
          </a:xfrm>
        </p:grpSpPr>
        <p:sp>
          <p:nvSpPr>
            <p:cNvPr id="457" name="Rectangle: Rounded Corners 61">
              <a:extLst>
                <a:ext uri="{FF2B5EF4-FFF2-40B4-BE49-F238E27FC236}">
                  <a16:creationId xmlns:a16="http://schemas.microsoft.com/office/drawing/2014/main" id="{446FD308-428D-B60A-6ACA-07A0D539930D}"/>
                </a:ext>
              </a:extLst>
            </p:cNvPr>
            <p:cNvSpPr>
              <a:spLocks/>
            </p:cNvSpPr>
            <p:nvPr/>
          </p:nvSpPr>
          <p:spPr>
            <a:xfrm>
              <a:off x="7538836" y="3770113"/>
              <a:ext cx="51005" cy="560731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 w="9525" cap="rnd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sp>
          <p:nvSpPr>
            <p:cNvPr id="458" name="Rectangle: Rounded Corners 62">
              <a:extLst>
                <a:ext uri="{FF2B5EF4-FFF2-40B4-BE49-F238E27FC236}">
                  <a16:creationId xmlns:a16="http://schemas.microsoft.com/office/drawing/2014/main" id="{9251A885-E04E-65DA-26C1-40B064868E73}"/>
                </a:ext>
              </a:extLst>
            </p:cNvPr>
            <p:cNvSpPr>
              <a:spLocks/>
            </p:cNvSpPr>
            <p:nvPr/>
          </p:nvSpPr>
          <p:spPr>
            <a:xfrm>
              <a:off x="7551200" y="3804707"/>
              <a:ext cx="26281" cy="147658"/>
            </a:xfrm>
            <a:prstGeom prst="roundRect">
              <a:avLst>
                <a:gd name="adj" fmla="val 50000"/>
              </a:avLst>
            </a:prstGeom>
            <a:solidFill>
              <a:srgbClr val="C8C8C8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35BBE224-616C-FAC5-7F19-D4C540DC5294}"/>
                </a:ext>
              </a:extLst>
            </p:cNvPr>
            <p:cNvGrpSpPr/>
            <p:nvPr/>
          </p:nvGrpSpPr>
          <p:grpSpPr>
            <a:xfrm>
              <a:off x="7538836" y="4509494"/>
              <a:ext cx="51005" cy="764093"/>
              <a:chOff x="7538836" y="4509494"/>
              <a:chExt cx="51005" cy="764093"/>
            </a:xfrm>
          </p:grpSpPr>
          <p:sp>
            <p:nvSpPr>
              <p:cNvPr id="493" name="Rectangle: Rounded Corners 61">
                <a:extLst>
                  <a:ext uri="{FF2B5EF4-FFF2-40B4-BE49-F238E27FC236}">
                    <a16:creationId xmlns:a16="http://schemas.microsoft.com/office/drawing/2014/main" id="{DF9FAA95-E183-C805-A765-1975B5CBA8E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38836" y="4509494"/>
                <a:ext cx="51005" cy="764093"/>
              </a:xfrm>
              <a:prstGeom prst="roundRect">
                <a:avLst>
                  <a:gd name="adj" fmla="val 50000"/>
                </a:avLst>
              </a:prstGeom>
              <a:solidFill>
                <a:srgbClr val="F2F2F2"/>
              </a:solidFill>
              <a:ln w="9525" cap="rnd" cmpd="sng" algn="ctr">
                <a:solidFill>
                  <a:srgbClr val="7F7F7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>
                  <a:solidFill>
                    <a:schemeClr val="tx1"/>
                  </a:solidFill>
                </a:endParaRPr>
              </a:p>
            </p:txBody>
          </p:sp>
          <p:sp>
            <p:nvSpPr>
              <p:cNvPr id="494" name="Rectangle: Rounded Corners 62">
                <a:extLst>
                  <a:ext uri="{FF2B5EF4-FFF2-40B4-BE49-F238E27FC236}">
                    <a16:creationId xmlns:a16="http://schemas.microsoft.com/office/drawing/2014/main" id="{BA8174A9-63DD-EAA9-0B5C-7207A33A644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51200" y="4536338"/>
                <a:ext cx="26281" cy="62622"/>
              </a:xfrm>
              <a:prstGeom prst="roundRect">
                <a:avLst>
                  <a:gd name="adj" fmla="val 50000"/>
                </a:avLst>
              </a:prstGeom>
              <a:solidFill>
                <a:srgbClr val="C8C8C8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50" name="Rounded Rectangle 287">
            <a:extLst>
              <a:ext uri="{FF2B5EF4-FFF2-40B4-BE49-F238E27FC236}">
                <a16:creationId xmlns:a16="http://schemas.microsoft.com/office/drawing/2014/main" id="{AAAB44EE-70C1-5205-B0B0-6D2D869E944F}"/>
              </a:ext>
            </a:extLst>
          </p:cNvPr>
          <p:cNvSpPr>
            <a:spLocks/>
          </p:cNvSpPr>
          <p:nvPr/>
        </p:nvSpPr>
        <p:spPr>
          <a:xfrm>
            <a:off x="5558015" y="373023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11M </a:t>
            </a:r>
            <a:r>
              <a:rPr lang="en-US" sz="600" spc="-20">
                <a:solidFill>
                  <a:schemeClr val="accent1"/>
                </a:solidFill>
              </a:rPr>
              <a:t>(12%)</a:t>
            </a:r>
            <a:endParaRPr lang="en-US" sz="800" spc="-20" noProof="0">
              <a:solidFill>
                <a:schemeClr val="accent1"/>
              </a:solidFill>
            </a:endParaRPr>
          </a:p>
        </p:txBody>
      </p:sp>
      <p:sp>
        <p:nvSpPr>
          <p:cNvPr id="495" name="Rounded Rectangle 287">
            <a:extLst>
              <a:ext uri="{FF2B5EF4-FFF2-40B4-BE49-F238E27FC236}">
                <a16:creationId xmlns:a16="http://schemas.microsoft.com/office/drawing/2014/main" id="{E8578E7B-E4D2-2FF1-1ECA-85350328142D}"/>
              </a:ext>
            </a:extLst>
          </p:cNvPr>
          <p:cNvSpPr>
            <a:spLocks/>
          </p:cNvSpPr>
          <p:nvPr/>
        </p:nvSpPr>
        <p:spPr>
          <a:xfrm>
            <a:off x="5558015" y="4398027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1,2M </a:t>
            </a:r>
            <a:r>
              <a:rPr lang="en-US" sz="600" spc="-20">
                <a:solidFill>
                  <a:schemeClr val="accent1"/>
                </a:solidFill>
              </a:rPr>
              <a:t>(14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60" name="Rounded Rectangle 287">
            <a:extLst>
              <a:ext uri="{FF2B5EF4-FFF2-40B4-BE49-F238E27FC236}">
                <a16:creationId xmlns:a16="http://schemas.microsoft.com/office/drawing/2014/main" id="{43DD4973-FFF1-BE1E-F6C2-165B185E2E05}"/>
              </a:ext>
            </a:extLst>
          </p:cNvPr>
          <p:cNvSpPr>
            <a:spLocks/>
          </p:cNvSpPr>
          <p:nvPr/>
        </p:nvSpPr>
        <p:spPr>
          <a:xfrm>
            <a:off x="6254743" y="373023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 noProof="0">
                <a:solidFill>
                  <a:schemeClr val="accent1"/>
                </a:solidFill>
              </a:rPr>
              <a:t>15% </a:t>
            </a:r>
            <a:r>
              <a:rPr lang="en-US" sz="400" spc="-20" noProof="0">
                <a:solidFill>
                  <a:schemeClr val="accent1"/>
                </a:solidFill>
              </a:rPr>
              <a:t>(82/740 </a:t>
            </a:r>
            <a:r>
              <a:rPr lang="en-US" sz="400" spc="-20" noProof="0" err="1">
                <a:solidFill>
                  <a:schemeClr val="accent1"/>
                </a:solidFill>
              </a:rPr>
              <a:t>lojas</a:t>
            </a:r>
            <a:r>
              <a:rPr lang="en-US" sz="400" spc="-20" noProof="0">
                <a:solidFill>
                  <a:schemeClr val="accent1"/>
                </a:solidFill>
              </a:rPr>
              <a:t>)</a:t>
            </a:r>
            <a:endParaRPr lang="en-US" sz="800" spc="-20" noProof="0">
              <a:solidFill>
                <a:schemeClr val="accent1"/>
              </a:solidFill>
            </a:endParaRPr>
          </a:p>
        </p:txBody>
      </p:sp>
      <p:sp>
        <p:nvSpPr>
          <p:cNvPr id="496" name="Rounded Rectangle 287">
            <a:extLst>
              <a:ext uri="{FF2B5EF4-FFF2-40B4-BE49-F238E27FC236}">
                <a16:creationId xmlns:a16="http://schemas.microsoft.com/office/drawing/2014/main" id="{5CCF5E10-D7A7-34CA-BB56-C8B572AA811E}"/>
              </a:ext>
            </a:extLst>
          </p:cNvPr>
          <p:cNvSpPr>
            <a:spLocks/>
          </p:cNvSpPr>
          <p:nvPr/>
        </p:nvSpPr>
        <p:spPr>
          <a:xfrm>
            <a:off x="6254743" y="4398027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18% </a:t>
            </a:r>
            <a:r>
              <a:rPr lang="en-US" sz="400" spc="-20">
                <a:solidFill>
                  <a:schemeClr val="accent1"/>
                </a:solidFill>
              </a:rPr>
              <a:t>(8/42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63" name="Rounded Rectangle 287">
            <a:extLst>
              <a:ext uri="{FF2B5EF4-FFF2-40B4-BE49-F238E27FC236}">
                <a16:creationId xmlns:a16="http://schemas.microsoft.com/office/drawing/2014/main" id="{4FC37F19-B107-7A40-C2C8-8B6436A6A6C9}"/>
              </a:ext>
            </a:extLst>
          </p:cNvPr>
          <p:cNvSpPr>
            <a:spLocks/>
          </p:cNvSpPr>
          <p:nvPr/>
        </p:nvSpPr>
        <p:spPr>
          <a:xfrm>
            <a:off x="6951472" y="373023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35% </a:t>
            </a:r>
            <a:r>
              <a:rPr lang="en-US" sz="400" spc="-20">
                <a:solidFill>
                  <a:schemeClr val="accent1"/>
                </a:solidFill>
              </a:rPr>
              <a:t>(213/740 </a:t>
            </a:r>
            <a:r>
              <a:rPr lang="en-US" sz="400" spc="-20" err="1">
                <a:solidFill>
                  <a:schemeClr val="accent1"/>
                </a:solidFill>
              </a:rPr>
              <a:t>lojas</a:t>
            </a:r>
            <a:r>
              <a:rPr lang="en-US" sz="400" spc="-20">
                <a:solidFill>
                  <a:schemeClr val="accent1"/>
                </a:solidFill>
              </a:rPr>
              <a:t>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97" name="Rounded Rectangle 287">
            <a:extLst>
              <a:ext uri="{FF2B5EF4-FFF2-40B4-BE49-F238E27FC236}">
                <a16:creationId xmlns:a16="http://schemas.microsoft.com/office/drawing/2014/main" id="{8AD4B252-0640-BBC5-1C26-7FDDB76923F4}"/>
              </a:ext>
            </a:extLst>
          </p:cNvPr>
          <p:cNvSpPr>
            <a:spLocks/>
          </p:cNvSpPr>
          <p:nvPr/>
        </p:nvSpPr>
        <p:spPr>
          <a:xfrm>
            <a:off x="6951472" y="4398027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21% </a:t>
            </a:r>
            <a:r>
              <a:rPr lang="en-US" sz="400" spc="-20">
                <a:solidFill>
                  <a:schemeClr val="accent1"/>
                </a:solidFill>
              </a:rPr>
              <a:t>(9/42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4" name="Rounded Rectangle 287">
            <a:extLst>
              <a:ext uri="{FF2B5EF4-FFF2-40B4-BE49-F238E27FC236}">
                <a16:creationId xmlns:a16="http://schemas.microsoft.com/office/drawing/2014/main" id="{56975525-44DA-5ED2-3B18-FE29B84C5568}"/>
              </a:ext>
            </a:extLst>
          </p:cNvPr>
          <p:cNvSpPr>
            <a:spLocks/>
          </p:cNvSpPr>
          <p:nvPr/>
        </p:nvSpPr>
        <p:spPr>
          <a:xfrm>
            <a:off x="4861287" y="3477958"/>
            <a:ext cx="659621" cy="203935"/>
          </a:xfrm>
          <a:prstGeom prst="roundRect">
            <a:avLst/>
          </a:prstGeom>
          <a:solidFill>
            <a:schemeClr val="accent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 err="1">
                <a:solidFill>
                  <a:srgbClr val="FFFFFF"/>
                </a:solidFill>
              </a:rPr>
              <a:t>Produto</a:t>
            </a:r>
            <a:r>
              <a:rPr lang="en-US" sz="600" noProof="0">
                <a:solidFill>
                  <a:srgbClr val="FFFFFF"/>
                </a:solidFill>
              </a:rPr>
              <a:t> / local</a:t>
            </a:r>
          </a:p>
        </p:txBody>
      </p:sp>
      <p:sp>
        <p:nvSpPr>
          <p:cNvPr id="451" name="Rounded Rectangle 287">
            <a:extLst>
              <a:ext uri="{FF2B5EF4-FFF2-40B4-BE49-F238E27FC236}">
                <a16:creationId xmlns:a16="http://schemas.microsoft.com/office/drawing/2014/main" id="{C92CD979-64C8-EDA0-9892-810C4871DB03}"/>
              </a:ext>
            </a:extLst>
          </p:cNvPr>
          <p:cNvSpPr>
            <a:spLocks/>
          </p:cNvSpPr>
          <p:nvPr/>
        </p:nvSpPr>
        <p:spPr>
          <a:xfrm>
            <a:off x="4861699" y="3725989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rgbClr val="1F22CF"/>
                </a:solidFill>
              </a:rPr>
              <a:t>Sams. Gal. A06</a:t>
            </a:r>
          </a:p>
        </p:txBody>
      </p:sp>
      <p:sp>
        <p:nvSpPr>
          <p:cNvPr id="479" name="Rounded Rectangle 287">
            <a:extLst>
              <a:ext uri="{FF2B5EF4-FFF2-40B4-BE49-F238E27FC236}">
                <a16:creationId xmlns:a16="http://schemas.microsoft.com/office/drawing/2014/main" id="{31EFAE79-685D-1A95-C83F-FEA91E68F0A7}"/>
              </a:ext>
            </a:extLst>
          </p:cNvPr>
          <p:cNvSpPr>
            <a:spLocks/>
          </p:cNvSpPr>
          <p:nvPr/>
        </p:nvSpPr>
        <p:spPr>
          <a:xfrm>
            <a:off x="5558015" y="3952831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10M </a:t>
            </a:r>
            <a:r>
              <a:rPr lang="en-US" sz="600" spc="-20">
                <a:solidFill>
                  <a:schemeClr val="accent1"/>
                </a:solidFill>
              </a:rPr>
              <a:t>(15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80" name="Rounded Rectangle 287">
            <a:extLst>
              <a:ext uri="{FF2B5EF4-FFF2-40B4-BE49-F238E27FC236}">
                <a16:creationId xmlns:a16="http://schemas.microsoft.com/office/drawing/2014/main" id="{85144CDB-A076-7A63-E318-5777275549C6}"/>
              </a:ext>
            </a:extLst>
          </p:cNvPr>
          <p:cNvSpPr>
            <a:spLocks/>
          </p:cNvSpPr>
          <p:nvPr/>
        </p:nvSpPr>
        <p:spPr>
          <a:xfrm>
            <a:off x="6254743" y="3952831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11% </a:t>
            </a:r>
            <a:r>
              <a:rPr lang="en-US" sz="400" spc="-20">
                <a:solidFill>
                  <a:schemeClr val="accent1"/>
                </a:solidFill>
              </a:rPr>
              <a:t>(63/598 lojas)</a:t>
            </a:r>
            <a:endParaRPr lang="en-US" sz="1000" spc="-20">
              <a:solidFill>
                <a:schemeClr val="accent1"/>
              </a:solidFill>
            </a:endParaRPr>
          </a:p>
        </p:txBody>
      </p:sp>
      <p:sp>
        <p:nvSpPr>
          <p:cNvPr id="481" name="Rounded Rectangle 287">
            <a:extLst>
              <a:ext uri="{FF2B5EF4-FFF2-40B4-BE49-F238E27FC236}">
                <a16:creationId xmlns:a16="http://schemas.microsoft.com/office/drawing/2014/main" id="{014F6C62-D9C3-F348-AAB7-5D8CB5140800}"/>
              </a:ext>
            </a:extLst>
          </p:cNvPr>
          <p:cNvSpPr>
            <a:spLocks/>
          </p:cNvSpPr>
          <p:nvPr/>
        </p:nvSpPr>
        <p:spPr>
          <a:xfrm>
            <a:off x="6951472" y="3952831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23% </a:t>
            </a:r>
            <a:r>
              <a:rPr lang="en-US" sz="400" spc="-20">
                <a:solidFill>
                  <a:schemeClr val="accent1"/>
                </a:solidFill>
              </a:rPr>
              <a:t>(125/598 lojas)</a:t>
            </a:r>
            <a:endParaRPr lang="en-US" sz="1000" spc="-20">
              <a:solidFill>
                <a:schemeClr val="accent1"/>
              </a:solidFill>
            </a:endParaRPr>
          </a:p>
        </p:txBody>
      </p:sp>
      <p:sp>
        <p:nvSpPr>
          <p:cNvPr id="452" name="Rounded Rectangle 287">
            <a:extLst>
              <a:ext uri="{FF2B5EF4-FFF2-40B4-BE49-F238E27FC236}">
                <a16:creationId xmlns:a16="http://schemas.microsoft.com/office/drawing/2014/main" id="{F59DE4DB-2926-9D6B-04A2-0A9FB3881B62}"/>
              </a:ext>
            </a:extLst>
          </p:cNvPr>
          <p:cNvSpPr>
            <a:spLocks/>
          </p:cNvSpPr>
          <p:nvPr/>
        </p:nvSpPr>
        <p:spPr>
          <a:xfrm>
            <a:off x="4861699" y="3948587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1F22CF"/>
                </a:solidFill>
              </a:rPr>
              <a:t>Motorola G05</a:t>
            </a:r>
            <a:endParaRPr lang="en-US" sz="600" noProof="0">
              <a:solidFill>
                <a:srgbClr val="1F22CF"/>
              </a:solidFill>
            </a:endParaRPr>
          </a:p>
        </p:txBody>
      </p:sp>
      <p:sp>
        <p:nvSpPr>
          <p:cNvPr id="483" name="Rounded Rectangle 287">
            <a:extLst>
              <a:ext uri="{FF2B5EF4-FFF2-40B4-BE49-F238E27FC236}">
                <a16:creationId xmlns:a16="http://schemas.microsoft.com/office/drawing/2014/main" id="{4E4745D8-1F66-E89E-9B26-615ADE726422}"/>
              </a:ext>
            </a:extLst>
          </p:cNvPr>
          <p:cNvSpPr>
            <a:spLocks/>
          </p:cNvSpPr>
          <p:nvPr/>
        </p:nvSpPr>
        <p:spPr>
          <a:xfrm>
            <a:off x="5558015" y="4175429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9M </a:t>
            </a:r>
            <a:r>
              <a:rPr lang="en-US" sz="600" spc="-20">
                <a:solidFill>
                  <a:schemeClr val="accent1"/>
                </a:solidFill>
              </a:rPr>
              <a:t>(21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84" name="Rounded Rectangle 287">
            <a:extLst>
              <a:ext uri="{FF2B5EF4-FFF2-40B4-BE49-F238E27FC236}">
                <a16:creationId xmlns:a16="http://schemas.microsoft.com/office/drawing/2014/main" id="{FA37B397-11B5-4AD6-F5E2-A8D5682F610C}"/>
              </a:ext>
            </a:extLst>
          </p:cNvPr>
          <p:cNvSpPr>
            <a:spLocks/>
          </p:cNvSpPr>
          <p:nvPr/>
        </p:nvSpPr>
        <p:spPr>
          <a:xfrm>
            <a:off x="6254743" y="4175429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1% </a:t>
            </a:r>
            <a:r>
              <a:rPr lang="en-US" sz="400" spc="-20">
                <a:solidFill>
                  <a:schemeClr val="accent1"/>
                </a:solidFill>
              </a:rPr>
              <a:t>(5/523 lojas)</a:t>
            </a:r>
            <a:endParaRPr lang="en-US" sz="1000" spc="-20">
              <a:solidFill>
                <a:schemeClr val="accent1"/>
              </a:solidFill>
            </a:endParaRPr>
          </a:p>
        </p:txBody>
      </p:sp>
      <p:sp>
        <p:nvSpPr>
          <p:cNvPr id="485" name="Rounded Rectangle 287">
            <a:extLst>
              <a:ext uri="{FF2B5EF4-FFF2-40B4-BE49-F238E27FC236}">
                <a16:creationId xmlns:a16="http://schemas.microsoft.com/office/drawing/2014/main" id="{09867701-5066-1152-68FC-4E3CF8B6C190}"/>
              </a:ext>
            </a:extLst>
          </p:cNvPr>
          <p:cNvSpPr>
            <a:spLocks/>
          </p:cNvSpPr>
          <p:nvPr/>
        </p:nvSpPr>
        <p:spPr>
          <a:xfrm>
            <a:off x="6951472" y="4175429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42% </a:t>
            </a:r>
            <a:r>
              <a:rPr lang="en-US" sz="400" spc="-20">
                <a:solidFill>
                  <a:schemeClr val="accent1"/>
                </a:solidFill>
              </a:rPr>
              <a:t>(210/523 lojas)</a:t>
            </a:r>
            <a:endParaRPr lang="en-US" sz="1000" spc="-20">
              <a:solidFill>
                <a:schemeClr val="accent1"/>
              </a:solidFill>
            </a:endParaRPr>
          </a:p>
        </p:txBody>
      </p:sp>
      <p:sp>
        <p:nvSpPr>
          <p:cNvPr id="456" name="Rounded Rectangle 287">
            <a:extLst>
              <a:ext uri="{FF2B5EF4-FFF2-40B4-BE49-F238E27FC236}">
                <a16:creationId xmlns:a16="http://schemas.microsoft.com/office/drawing/2014/main" id="{7AFC4A43-EDA4-E5AB-53B4-ECE02652A432}"/>
              </a:ext>
            </a:extLst>
          </p:cNvPr>
          <p:cNvSpPr>
            <a:spLocks/>
          </p:cNvSpPr>
          <p:nvPr/>
        </p:nvSpPr>
        <p:spPr>
          <a:xfrm>
            <a:off x="4861699" y="4171185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err="1">
                <a:solidFill>
                  <a:srgbClr val="1F22CF"/>
                </a:solidFill>
              </a:rPr>
              <a:t>Iphone</a:t>
            </a:r>
            <a:r>
              <a:rPr lang="en-US" sz="600">
                <a:solidFill>
                  <a:srgbClr val="1F22CF"/>
                </a:solidFill>
              </a:rPr>
              <a:t> 15 128gb</a:t>
            </a:r>
            <a:endParaRPr lang="en-US" sz="600" noProof="0">
              <a:solidFill>
                <a:srgbClr val="1F22CF"/>
              </a:solidFill>
            </a:endParaRPr>
          </a:p>
        </p:txBody>
      </p:sp>
      <p:sp>
        <p:nvSpPr>
          <p:cNvPr id="499" name="Rounded Rectangle 287">
            <a:extLst>
              <a:ext uri="{FF2B5EF4-FFF2-40B4-BE49-F238E27FC236}">
                <a16:creationId xmlns:a16="http://schemas.microsoft.com/office/drawing/2014/main" id="{3C8A2DE1-52D5-F264-5C54-A3889A82A002}"/>
              </a:ext>
            </a:extLst>
          </p:cNvPr>
          <p:cNvSpPr>
            <a:spLocks/>
          </p:cNvSpPr>
          <p:nvPr/>
        </p:nvSpPr>
        <p:spPr>
          <a:xfrm>
            <a:off x="5558015" y="4620624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860k </a:t>
            </a:r>
            <a:r>
              <a:rPr lang="en-US" sz="600" spc="-20">
                <a:solidFill>
                  <a:schemeClr val="accent1"/>
                </a:solidFill>
              </a:rPr>
              <a:t>(22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00" name="Rounded Rectangle 287">
            <a:extLst>
              <a:ext uri="{FF2B5EF4-FFF2-40B4-BE49-F238E27FC236}">
                <a16:creationId xmlns:a16="http://schemas.microsoft.com/office/drawing/2014/main" id="{E1580870-13F7-B878-B68E-5BE129B9A6FC}"/>
              </a:ext>
            </a:extLst>
          </p:cNvPr>
          <p:cNvSpPr>
            <a:spLocks/>
          </p:cNvSpPr>
          <p:nvPr/>
        </p:nvSpPr>
        <p:spPr>
          <a:xfrm>
            <a:off x="6254743" y="4620624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15% </a:t>
            </a:r>
            <a:r>
              <a:rPr lang="en-US" sz="400" spc="-20">
                <a:solidFill>
                  <a:schemeClr val="accent1"/>
                </a:solidFill>
              </a:rPr>
              <a:t>(7/42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01" name="Rounded Rectangle 287">
            <a:extLst>
              <a:ext uri="{FF2B5EF4-FFF2-40B4-BE49-F238E27FC236}">
                <a16:creationId xmlns:a16="http://schemas.microsoft.com/office/drawing/2014/main" id="{7C2F2E03-091D-1B9A-3B0D-9581F02671DE}"/>
              </a:ext>
            </a:extLst>
          </p:cNvPr>
          <p:cNvSpPr>
            <a:spLocks/>
          </p:cNvSpPr>
          <p:nvPr/>
        </p:nvSpPr>
        <p:spPr>
          <a:xfrm>
            <a:off x="6951472" y="4620624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37% </a:t>
            </a:r>
            <a:r>
              <a:rPr lang="en-US" sz="400" spc="-20">
                <a:solidFill>
                  <a:schemeClr val="accent1"/>
                </a:solidFill>
              </a:rPr>
              <a:t>(17/42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89" name="Rounded Rectangle 287">
            <a:extLst>
              <a:ext uri="{FF2B5EF4-FFF2-40B4-BE49-F238E27FC236}">
                <a16:creationId xmlns:a16="http://schemas.microsoft.com/office/drawing/2014/main" id="{D55A0A02-8F3D-48CE-6E77-7D67430F5AC4}"/>
              </a:ext>
            </a:extLst>
          </p:cNvPr>
          <p:cNvSpPr>
            <a:spLocks/>
          </p:cNvSpPr>
          <p:nvPr/>
        </p:nvSpPr>
        <p:spPr>
          <a:xfrm>
            <a:off x="4861698" y="4616381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noProof="0">
              <a:solidFill>
                <a:srgbClr val="7173E9"/>
              </a:solidFill>
            </a:endParaRPr>
          </a:p>
        </p:txBody>
      </p:sp>
      <p:cxnSp>
        <p:nvCxnSpPr>
          <p:cNvPr id="490" name="Straight Connector 489">
            <a:extLst>
              <a:ext uri="{FF2B5EF4-FFF2-40B4-BE49-F238E27FC236}">
                <a16:creationId xmlns:a16="http://schemas.microsoft.com/office/drawing/2014/main" id="{E295A5DC-2495-77CF-9429-56AFCA9B2703}"/>
              </a:ext>
            </a:extLst>
          </p:cNvPr>
          <p:cNvCxnSpPr>
            <a:cxnSpLocks/>
          </p:cNvCxnSpPr>
          <p:nvPr/>
        </p:nvCxnSpPr>
        <p:spPr>
          <a:xfrm>
            <a:off x="5103829" y="4630919"/>
            <a:ext cx="0" cy="149084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" name="Rounded Rectangle 287">
            <a:extLst>
              <a:ext uri="{FF2B5EF4-FFF2-40B4-BE49-F238E27FC236}">
                <a16:creationId xmlns:a16="http://schemas.microsoft.com/office/drawing/2014/main" id="{8AF83FB9-45C4-2608-9EB4-25500997A074}"/>
              </a:ext>
            </a:extLst>
          </p:cNvPr>
          <p:cNvSpPr>
            <a:spLocks/>
          </p:cNvSpPr>
          <p:nvPr/>
        </p:nvSpPr>
        <p:spPr>
          <a:xfrm>
            <a:off x="4861287" y="4630919"/>
            <a:ext cx="216743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chemeClr val="tx2"/>
                </a:solidFill>
              </a:rPr>
              <a:t>4000</a:t>
            </a:r>
          </a:p>
        </p:txBody>
      </p:sp>
      <p:sp>
        <p:nvSpPr>
          <p:cNvPr id="492" name="Rounded Rectangle 287">
            <a:extLst>
              <a:ext uri="{FF2B5EF4-FFF2-40B4-BE49-F238E27FC236}">
                <a16:creationId xmlns:a16="http://schemas.microsoft.com/office/drawing/2014/main" id="{DA810A91-5B07-DD90-B984-CA883D15D75C}"/>
              </a:ext>
            </a:extLst>
          </p:cNvPr>
          <p:cNvSpPr>
            <a:spLocks/>
          </p:cNvSpPr>
          <p:nvPr/>
        </p:nvSpPr>
        <p:spPr>
          <a:xfrm>
            <a:off x="5103829" y="4630919"/>
            <a:ext cx="403729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500" spc="-20" err="1">
                <a:solidFill>
                  <a:schemeClr val="tx2"/>
                </a:solidFill>
              </a:rPr>
              <a:t>Berrini</a:t>
            </a:r>
            <a:endParaRPr lang="en-US" sz="500" spc="-20" noProof="0">
              <a:solidFill>
                <a:schemeClr val="tx2"/>
              </a:solidFill>
            </a:endParaRPr>
          </a:p>
        </p:txBody>
      </p:sp>
      <p:sp>
        <p:nvSpPr>
          <p:cNvPr id="92" name="Rounded Rectangle 287">
            <a:extLst>
              <a:ext uri="{FF2B5EF4-FFF2-40B4-BE49-F238E27FC236}">
                <a16:creationId xmlns:a16="http://schemas.microsoft.com/office/drawing/2014/main" id="{0F90988F-7C7E-3F28-21EC-E82BED8EAFB7}"/>
              </a:ext>
            </a:extLst>
          </p:cNvPr>
          <p:cNvSpPr>
            <a:spLocks/>
          </p:cNvSpPr>
          <p:nvPr/>
        </p:nvSpPr>
        <p:spPr>
          <a:xfrm>
            <a:off x="5558015" y="5065822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423k </a:t>
            </a:r>
            <a:r>
              <a:rPr lang="en-US" sz="600" spc="-20">
                <a:solidFill>
                  <a:schemeClr val="accent1"/>
                </a:solidFill>
              </a:rPr>
              <a:t>(7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93" name="Rounded Rectangle 287">
            <a:extLst>
              <a:ext uri="{FF2B5EF4-FFF2-40B4-BE49-F238E27FC236}">
                <a16:creationId xmlns:a16="http://schemas.microsoft.com/office/drawing/2014/main" id="{226C02D6-7CA8-6036-1AAC-D22F2186316A}"/>
              </a:ext>
            </a:extLst>
          </p:cNvPr>
          <p:cNvSpPr>
            <a:spLocks/>
          </p:cNvSpPr>
          <p:nvPr/>
        </p:nvSpPr>
        <p:spPr>
          <a:xfrm>
            <a:off x="6254743" y="5065822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12% </a:t>
            </a:r>
            <a:r>
              <a:rPr lang="en-US" sz="400" spc="-20">
                <a:solidFill>
                  <a:schemeClr val="accent1"/>
                </a:solidFill>
              </a:rPr>
              <a:t>(4/36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95" name="Rounded Rectangle 287">
            <a:extLst>
              <a:ext uri="{FF2B5EF4-FFF2-40B4-BE49-F238E27FC236}">
                <a16:creationId xmlns:a16="http://schemas.microsoft.com/office/drawing/2014/main" id="{D7D9A535-168E-CB8A-EE57-44603BB7C68C}"/>
              </a:ext>
            </a:extLst>
          </p:cNvPr>
          <p:cNvSpPr>
            <a:spLocks/>
          </p:cNvSpPr>
          <p:nvPr/>
        </p:nvSpPr>
        <p:spPr>
          <a:xfrm>
            <a:off x="6951472" y="5065822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27% </a:t>
            </a:r>
            <a:r>
              <a:rPr lang="en-US" sz="400" spc="-20">
                <a:solidFill>
                  <a:schemeClr val="accent1"/>
                </a:solidFill>
              </a:rPr>
              <a:t>(10/36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08" name="Rounded Rectangle 287">
            <a:extLst>
              <a:ext uri="{FF2B5EF4-FFF2-40B4-BE49-F238E27FC236}">
                <a16:creationId xmlns:a16="http://schemas.microsoft.com/office/drawing/2014/main" id="{A5AA7EB0-675C-36FA-F10A-B323A1F1549A}"/>
              </a:ext>
            </a:extLst>
          </p:cNvPr>
          <p:cNvSpPr>
            <a:spLocks/>
          </p:cNvSpPr>
          <p:nvPr/>
        </p:nvSpPr>
        <p:spPr>
          <a:xfrm>
            <a:off x="4861698" y="5061579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noProof="0">
              <a:solidFill>
                <a:srgbClr val="7173E9"/>
              </a:solidFill>
            </a:endParaRPr>
          </a:p>
        </p:txBody>
      </p:sp>
      <p:sp>
        <p:nvSpPr>
          <p:cNvPr id="509" name="Rounded Rectangle 287">
            <a:extLst>
              <a:ext uri="{FF2B5EF4-FFF2-40B4-BE49-F238E27FC236}">
                <a16:creationId xmlns:a16="http://schemas.microsoft.com/office/drawing/2014/main" id="{63321B38-4E80-ADD9-4048-7933CF82F9E0}"/>
              </a:ext>
            </a:extLst>
          </p:cNvPr>
          <p:cNvSpPr>
            <a:spLocks/>
          </p:cNvSpPr>
          <p:nvPr/>
        </p:nvSpPr>
        <p:spPr>
          <a:xfrm>
            <a:off x="4861287" y="5076117"/>
            <a:ext cx="216743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chemeClr val="tx2"/>
                </a:solidFill>
              </a:rPr>
              <a:t>1171</a:t>
            </a:r>
          </a:p>
        </p:txBody>
      </p:sp>
      <p:sp>
        <p:nvSpPr>
          <p:cNvPr id="510" name="Rounded Rectangle 287">
            <a:extLst>
              <a:ext uri="{FF2B5EF4-FFF2-40B4-BE49-F238E27FC236}">
                <a16:creationId xmlns:a16="http://schemas.microsoft.com/office/drawing/2014/main" id="{6696BDB3-A6F1-7FDB-0761-F8B2CE62DE99}"/>
              </a:ext>
            </a:extLst>
          </p:cNvPr>
          <p:cNvSpPr>
            <a:spLocks/>
          </p:cNvSpPr>
          <p:nvPr/>
        </p:nvSpPr>
        <p:spPr>
          <a:xfrm>
            <a:off x="5103829" y="5076117"/>
            <a:ext cx="403729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500" spc="-20" noProof="0">
                <a:solidFill>
                  <a:schemeClr val="tx2"/>
                </a:solidFill>
              </a:rPr>
              <a:t>Duque de Caxias</a:t>
            </a:r>
          </a:p>
        </p:txBody>
      </p:sp>
      <p:cxnSp>
        <p:nvCxnSpPr>
          <p:cNvPr id="511" name="Straight Connector 510">
            <a:extLst>
              <a:ext uri="{FF2B5EF4-FFF2-40B4-BE49-F238E27FC236}">
                <a16:creationId xmlns:a16="http://schemas.microsoft.com/office/drawing/2014/main" id="{004203E1-376A-D072-45CA-87F0BA972F0B}"/>
              </a:ext>
            </a:extLst>
          </p:cNvPr>
          <p:cNvCxnSpPr>
            <a:cxnSpLocks/>
          </p:cNvCxnSpPr>
          <p:nvPr/>
        </p:nvCxnSpPr>
        <p:spPr>
          <a:xfrm>
            <a:off x="5103829" y="5076117"/>
            <a:ext cx="0" cy="149084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ounded Rectangle 287">
            <a:extLst>
              <a:ext uri="{FF2B5EF4-FFF2-40B4-BE49-F238E27FC236}">
                <a16:creationId xmlns:a16="http://schemas.microsoft.com/office/drawing/2014/main" id="{3783120D-561E-FD48-ADDA-3F080D120EA4}"/>
              </a:ext>
            </a:extLst>
          </p:cNvPr>
          <p:cNvSpPr>
            <a:spLocks/>
          </p:cNvSpPr>
          <p:nvPr/>
        </p:nvSpPr>
        <p:spPr>
          <a:xfrm>
            <a:off x="5558015" y="484322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458k </a:t>
            </a:r>
            <a:r>
              <a:rPr lang="en-US" sz="600" spc="-20">
                <a:solidFill>
                  <a:schemeClr val="accent1"/>
                </a:solidFill>
              </a:rPr>
              <a:t>(13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04" name="Rounded Rectangle 287">
            <a:extLst>
              <a:ext uri="{FF2B5EF4-FFF2-40B4-BE49-F238E27FC236}">
                <a16:creationId xmlns:a16="http://schemas.microsoft.com/office/drawing/2014/main" id="{7789B1C5-3292-11E7-ED3F-C7AE1E9AFCBF}"/>
              </a:ext>
            </a:extLst>
          </p:cNvPr>
          <p:cNvSpPr>
            <a:spLocks/>
          </p:cNvSpPr>
          <p:nvPr/>
        </p:nvSpPr>
        <p:spPr>
          <a:xfrm>
            <a:off x="6254743" y="484322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21% </a:t>
            </a:r>
            <a:r>
              <a:rPr lang="en-US" sz="400" spc="-20">
                <a:solidFill>
                  <a:schemeClr val="accent1"/>
                </a:solidFill>
              </a:rPr>
              <a:t>(9/45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05" name="Rounded Rectangle 287">
            <a:extLst>
              <a:ext uri="{FF2B5EF4-FFF2-40B4-BE49-F238E27FC236}">
                <a16:creationId xmlns:a16="http://schemas.microsoft.com/office/drawing/2014/main" id="{8C9E63E1-2AA9-01A0-D3FF-59C9311EB00A}"/>
              </a:ext>
            </a:extLst>
          </p:cNvPr>
          <p:cNvSpPr>
            <a:spLocks/>
          </p:cNvSpPr>
          <p:nvPr/>
        </p:nvSpPr>
        <p:spPr>
          <a:xfrm>
            <a:off x="6951472" y="484322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32% </a:t>
            </a:r>
            <a:r>
              <a:rPr lang="en-US" sz="400" spc="-20">
                <a:solidFill>
                  <a:schemeClr val="accent1"/>
                </a:solidFill>
              </a:rPr>
              <a:t>(14/45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99" name="Rounded Rectangle 287">
            <a:extLst>
              <a:ext uri="{FF2B5EF4-FFF2-40B4-BE49-F238E27FC236}">
                <a16:creationId xmlns:a16="http://schemas.microsoft.com/office/drawing/2014/main" id="{755535A0-36FC-C609-AB00-5F8FE4EA7493}"/>
              </a:ext>
            </a:extLst>
          </p:cNvPr>
          <p:cNvSpPr>
            <a:spLocks/>
          </p:cNvSpPr>
          <p:nvPr/>
        </p:nvSpPr>
        <p:spPr>
          <a:xfrm>
            <a:off x="4861698" y="4838979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noProof="0">
              <a:solidFill>
                <a:srgbClr val="7173E9"/>
              </a:solidFill>
            </a:endParaRPr>
          </a:p>
        </p:txBody>
      </p:sp>
      <p:sp>
        <p:nvSpPr>
          <p:cNvPr id="100" name="Rounded Rectangle 287">
            <a:extLst>
              <a:ext uri="{FF2B5EF4-FFF2-40B4-BE49-F238E27FC236}">
                <a16:creationId xmlns:a16="http://schemas.microsoft.com/office/drawing/2014/main" id="{08D45E89-9396-BEB6-0DAF-B85D8FD1661A}"/>
              </a:ext>
            </a:extLst>
          </p:cNvPr>
          <p:cNvSpPr>
            <a:spLocks/>
          </p:cNvSpPr>
          <p:nvPr/>
        </p:nvSpPr>
        <p:spPr>
          <a:xfrm>
            <a:off x="4861287" y="4853517"/>
            <a:ext cx="216743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chemeClr val="tx2"/>
                </a:solidFill>
              </a:rPr>
              <a:t>1008</a:t>
            </a:r>
          </a:p>
        </p:txBody>
      </p:sp>
      <p:sp>
        <p:nvSpPr>
          <p:cNvPr id="101" name="Rounded Rectangle 287">
            <a:extLst>
              <a:ext uri="{FF2B5EF4-FFF2-40B4-BE49-F238E27FC236}">
                <a16:creationId xmlns:a16="http://schemas.microsoft.com/office/drawing/2014/main" id="{59E8A165-D17F-063E-D0E0-9EC1E90C1740}"/>
              </a:ext>
            </a:extLst>
          </p:cNvPr>
          <p:cNvSpPr>
            <a:spLocks/>
          </p:cNvSpPr>
          <p:nvPr/>
        </p:nvSpPr>
        <p:spPr>
          <a:xfrm>
            <a:off x="5103829" y="4853517"/>
            <a:ext cx="403729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500" spc="-20" noProof="0">
                <a:solidFill>
                  <a:schemeClr val="tx2"/>
                </a:solidFill>
              </a:rPr>
              <a:t>Suzano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DEEC6AE-EF83-B444-BBCA-147433E851E0}"/>
              </a:ext>
            </a:extLst>
          </p:cNvPr>
          <p:cNvCxnSpPr>
            <a:cxnSpLocks/>
          </p:cNvCxnSpPr>
          <p:nvPr/>
        </p:nvCxnSpPr>
        <p:spPr>
          <a:xfrm>
            <a:off x="5103829" y="4853517"/>
            <a:ext cx="0" cy="149084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ounded Rectangle 287">
            <a:extLst>
              <a:ext uri="{FF2B5EF4-FFF2-40B4-BE49-F238E27FC236}">
                <a16:creationId xmlns:a16="http://schemas.microsoft.com/office/drawing/2014/main" id="{0B509C48-E391-7DD9-18FC-A05F386F8744}"/>
              </a:ext>
            </a:extLst>
          </p:cNvPr>
          <p:cNvSpPr>
            <a:spLocks/>
          </p:cNvSpPr>
          <p:nvPr/>
        </p:nvSpPr>
        <p:spPr>
          <a:xfrm>
            <a:off x="4861698" y="4393783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noProof="0">
              <a:solidFill>
                <a:srgbClr val="7173E9"/>
              </a:solidFill>
            </a:endParaRPr>
          </a:p>
        </p:txBody>
      </p:sp>
      <p:sp>
        <p:nvSpPr>
          <p:cNvPr id="107" name="Rounded Rectangle 287">
            <a:extLst>
              <a:ext uri="{FF2B5EF4-FFF2-40B4-BE49-F238E27FC236}">
                <a16:creationId xmlns:a16="http://schemas.microsoft.com/office/drawing/2014/main" id="{DC5B6ED8-428D-36C1-1DC4-200A6D98BC10}"/>
              </a:ext>
            </a:extLst>
          </p:cNvPr>
          <p:cNvSpPr>
            <a:spLocks/>
          </p:cNvSpPr>
          <p:nvPr/>
        </p:nvSpPr>
        <p:spPr>
          <a:xfrm>
            <a:off x="4861287" y="4408321"/>
            <a:ext cx="216743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chemeClr val="tx2"/>
                </a:solidFill>
              </a:rPr>
              <a:t>3000</a:t>
            </a:r>
          </a:p>
        </p:txBody>
      </p:sp>
      <p:sp>
        <p:nvSpPr>
          <p:cNvPr id="108" name="Rounded Rectangle 287">
            <a:extLst>
              <a:ext uri="{FF2B5EF4-FFF2-40B4-BE49-F238E27FC236}">
                <a16:creationId xmlns:a16="http://schemas.microsoft.com/office/drawing/2014/main" id="{34E919FD-CDC4-8646-024C-C48496A21774}"/>
              </a:ext>
            </a:extLst>
          </p:cNvPr>
          <p:cNvSpPr>
            <a:spLocks/>
          </p:cNvSpPr>
          <p:nvPr/>
        </p:nvSpPr>
        <p:spPr>
          <a:xfrm>
            <a:off x="5103829" y="4408321"/>
            <a:ext cx="403729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500" spc="-20" noProof="0">
                <a:solidFill>
                  <a:schemeClr val="tx2"/>
                </a:solidFill>
              </a:rPr>
              <a:t>CB </a:t>
            </a:r>
            <a:r>
              <a:rPr lang="en-US" sz="500" spc="-20" noProof="0" err="1">
                <a:solidFill>
                  <a:schemeClr val="tx2"/>
                </a:solidFill>
              </a:rPr>
              <a:t>Exper</a:t>
            </a:r>
            <a:r>
              <a:rPr lang="en-US" sz="500" spc="-20" noProof="0">
                <a:solidFill>
                  <a:schemeClr val="tx2"/>
                </a:solidFill>
              </a:rPr>
              <a:t>.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59A889B-7E70-2D47-1F7F-0F0C1497FD9A}"/>
              </a:ext>
            </a:extLst>
          </p:cNvPr>
          <p:cNvCxnSpPr>
            <a:cxnSpLocks/>
          </p:cNvCxnSpPr>
          <p:nvPr/>
        </p:nvCxnSpPr>
        <p:spPr>
          <a:xfrm>
            <a:off x="5103829" y="4408321"/>
            <a:ext cx="0" cy="149084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20F093EC-36DA-F972-A1E5-D77B8D4FFEEB}"/>
              </a:ext>
            </a:extLst>
          </p:cNvPr>
          <p:cNvSpPr txBox="1">
            <a:spLocks/>
          </p:cNvSpPr>
          <p:nvPr/>
        </p:nvSpPr>
        <p:spPr>
          <a:xfrm>
            <a:off x="4824318" y="3249186"/>
            <a:ext cx="2880487" cy="174906"/>
          </a:xfrm>
          <a:prstGeom prst="round2SameRect">
            <a:avLst/>
          </a:prstGeom>
          <a:solidFill>
            <a:schemeClr val="tx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Maiores </a:t>
            </a:r>
            <a:r>
              <a:rPr lang="en-US" sz="1000" b="1" err="1">
                <a:solidFill>
                  <a:schemeClr val="bg1"/>
                </a:solidFill>
              </a:rPr>
              <a:t>ofensores</a:t>
            </a:r>
            <a:endParaRPr lang="en-US" sz="1000" b="1">
              <a:solidFill>
                <a:schemeClr val="bg1"/>
              </a:solidFill>
            </a:endParaRPr>
          </a:p>
        </p:txBody>
      </p:sp>
      <p:grpSp>
        <p:nvGrpSpPr>
          <p:cNvPr id="127" name="bcgIcons_Alert ">
            <a:extLst>
              <a:ext uri="{FF2B5EF4-FFF2-40B4-BE49-F238E27FC236}">
                <a16:creationId xmlns:a16="http://schemas.microsoft.com/office/drawing/2014/main" id="{973AE17C-FD33-34C3-E51A-940A093C46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59176" y="3253087"/>
            <a:ext cx="166948" cy="167104"/>
            <a:chOff x="1682" y="0"/>
            <a:chExt cx="4316" cy="4320"/>
          </a:xfrm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889695E6-6283-9403-DEAD-35C7C8D41CE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5">
              <a:extLst>
                <a:ext uri="{FF2B5EF4-FFF2-40B4-BE49-F238E27FC236}">
                  <a16:creationId xmlns:a16="http://schemas.microsoft.com/office/drawing/2014/main" id="{C46605F2-BFBF-E1F5-0B13-059CC2D3E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8" y="720"/>
              <a:ext cx="3300" cy="2876"/>
            </a:xfrm>
            <a:custGeom>
              <a:avLst/>
              <a:gdLst>
                <a:gd name="T0" fmla="*/ 1716 w 1762"/>
                <a:gd name="T1" fmla="*/ 1534 h 1534"/>
                <a:gd name="T2" fmla="*/ 46 w 1762"/>
                <a:gd name="T3" fmla="*/ 1534 h 1534"/>
                <a:gd name="T4" fmla="*/ 8 w 1762"/>
                <a:gd name="T5" fmla="*/ 1512 h 1534"/>
                <a:gd name="T6" fmla="*/ 8 w 1762"/>
                <a:gd name="T7" fmla="*/ 1468 h 1534"/>
                <a:gd name="T8" fmla="*/ 843 w 1762"/>
                <a:gd name="T9" fmla="*/ 22 h 1534"/>
                <a:gd name="T10" fmla="*/ 881 w 1762"/>
                <a:gd name="T11" fmla="*/ 0 h 1534"/>
                <a:gd name="T12" fmla="*/ 919 w 1762"/>
                <a:gd name="T13" fmla="*/ 22 h 1534"/>
                <a:gd name="T14" fmla="*/ 919 w 1762"/>
                <a:gd name="T15" fmla="*/ 22 h 1534"/>
                <a:gd name="T16" fmla="*/ 1754 w 1762"/>
                <a:gd name="T17" fmla="*/ 1468 h 1534"/>
                <a:gd name="T18" fmla="*/ 1754 w 1762"/>
                <a:gd name="T19" fmla="*/ 1512 h 1534"/>
                <a:gd name="T20" fmla="*/ 1716 w 1762"/>
                <a:gd name="T21" fmla="*/ 1534 h 1534"/>
                <a:gd name="T22" fmla="*/ 881 w 1762"/>
                <a:gd name="T23" fmla="*/ 44 h 1534"/>
                <a:gd name="T24" fmla="*/ 46 w 1762"/>
                <a:gd name="T25" fmla="*/ 1490 h 1534"/>
                <a:gd name="T26" fmla="*/ 1716 w 1762"/>
                <a:gd name="T27" fmla="*/ 1490 h 1534"/>
                <a:gd name="T28" fmla="*/ 881 w 1762"/>
                <a:gd name="T29" fmla="*/ 44 h 1534"/>
                <a:gd name="T30" fmla="*/ 881 w 1762"/>
                <a:gd name="T31" fmla="*/ 44 h 1534"/>
                <a:gd name="T32" fmla="*/ 881 w 1762"/>
                <a:gd name="T33" fmla="*/ 44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2" h="1534">
                  <a:moveTo>
                    <a:pt x="1716" y="1534"/>
                  </a:moveTo>
                  <a:cubicBezTo>
                    <a:pt x="46" y="1534"/>
                    <a:pt x="46" y="1534"/>
                    <a:pt x="46" y="1534"/>
                  </a:cubicBezTo>
                  <a:cubicBezTo>
                    <a:pt x="30" y="1534"/>
                    <a:pt x="16" y="1526"/>
                    <a:pt x="8" y="1512"/>
                  </a:cubicBezTo>
                  <a:cubicBezTo>
                    <a:pt x="0" y="1498"/>
                    <a:pt x="0" y="1482"/>
                    <a:pt x="8" y="1468"/>
                  </a:cubicBezTo>
                  <a:cubicBezTo>
                    <a:pt x="843" y="22"/>
                    <a:pt x="843" y="22"/>
                    <a:pt x="843" y="22"/>
                  </a:cubicBezTo>
                  <a:cubicBezTo>
                    <a:pt x="851" y="8"/>
                    <a:pt x="865" y="0"/>
                    <a:pt x="881" y="0"/>
                  </a:cubicBezTo>
                  <a:cubicBezTo>
                    <a:pt x="897" y="0"/>
                    <a:pt x="911" y="8"/>
                    <a:pt x="919" y="22"/>
                  </a:cubicBezTo>
                  <a:cubicBezTo>
                    <a:pt x="919" y="22"/>
                    <a:pt x="919" y="22"/>
                    <a:pt x="919" y="22"/>
                  </a:cubicBezTo>
                  <a:cubicBezTo>
                    <a:pt x="1754" y="1468"/>
                    <a:pt x="1754" y="1468"/>
                    <a:pt x="1754" y="1468"/>
                  </a:cubicBezTo>
                  <a:cubicBezTo>
                    <a:pt x="1762" y="1482"/>
                    <a:pt x="1762" y="1498"/>
                    <a:pt x="1754" y="1512"/>
                  </a:cubicBezTo>
                  <a:cubicBezTo>
                    <a:pt x="1746" y="1526"/>
                    <a:pt x="1732" y="1534"/>
                    <a:pt x="1716" y="1534"/>
                  </a:cubicBezTo>
                  <a:close/>
                  <a:moveTo>
                    <a:pt x="881" y="44"/>
                  </a:moveTo>
                  <a:cubicBezTo>
                    <a:pt x="46" y="1490"/>
                    <a:pt x="46" y="1490"/>
                    <a:pt x="46" y="1490"/>
                  </a:cubicBezTo>
                  <a:cubicBezTo>
                    <a:pt x="1716" y="1490"/>
                    <a:pt x="1716" y="1490"/>
                    <a:pt x="1716" y="1490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63" name="Freeform 6">
              <a:extLst>
                <a:ext uri="{FF2B5EF4-FFF2-40B4-BE49-F238E27FC236}">
                  <a16:creationId xmlns:a16="http://schemas.microsoft.com/office/drawing/2014/main" id="{6E995534-C1B6-ED98-9A66-3862B64D9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6" y="982"/>
              <a:ext cx="2825" cy="2449"/>
            </a:xfrm>
            <a:custGeom>
              <a:avLst/>
              <a:gdLst>
                <a:gd name="T0" fmla="*/ 1504 w 1508"/>
                <a:gd name="T1" fmla="*/ 1291 h 1306"/>
                <a:gd name="T2" fmla="*/ 763 w 1508"/>
                <a:gd name="T3" fmla="*/ 7 h 1306"/>
                <a:gd name="T4" fmla="*/ 745 w 1508"/>
                <a:gd name="T5" fmla="*/ 7 h 1306"/>
                <a:gd name="T6" fmla="*/ 4 w 1508"/>
                <a:gd name="T7" fmla="*/ 1291 h 1306"/>
                <a:gd name="T8" fmla="*/ 13 w 1508"/>
                <a:gd name="T9" fmla="*/ 1306 h 1306"/>
                <a:gd name="T10" fmla="*/ 1495 w 1508"/>
                <a:gd name="T11" fmla="*/ 1306 h 1306"/>
                <a:gd name="T12" fmla="*/ 1504 w 1508"/>
                <a:gd name="T13" fmla="*/ 1291 h 1306"/>
                <a:gd name="T14" fmla="*/ 694 w 1508"/>
                <a:gd name="T15" fmla="*/ 419 h 1306"/>
                <a:gd name="T16" fmla="*/ 814 w 1508"/>
                <a:gd name="T17" fmla="*/ 419 h 1306"/>
                <a:gd name="T18" fmla="*/ 814 w 1508"/>
                <a:gd name="T19" fmla="*/ 608 h 1306"/>
                <a:gd name="T20" fmla="*/ 778 w 1508"/>
                <a:gd name="T21" fmla="*/ 932 h 1306"/>
                <a:gd name="T22" fmla="*/ 730 w 1508"/>
                <a:gd name="T23" fmla="*/ 932 h 1306"/>
                <a:gd name="T24" fmla="*/ 694 w 1508"/>
                <a:gd name="T25" fmla="*/ 608 h 1306"/>
                <a:gd name="T26" fmla="*/ 694 w 1508"/>
                <a:gd name="T27" fmla="*/ 419 h 1306"/>
                <a:gd name="T28" fmla="*/ 808 w 1508"/>
                <a:gd name="T29" fmla="*/ 1095 h 1306"/>
                <a:gd name="T30" fmla="*/ 755 w 1508"/>
                <a:gd name="T31" fmla="*/ 1117 h 1306"/>
                <a:gd name="T32" fmla="*/ 701 w 1508"/>
                <a:gd name="T33" fmla="*/ 1095 h 1306"/>
                <a:gd name="T34" fmla="*/ 678 w 1508"/>
                <a:gd name="T35" fmla="*/ 1041 h 1306"/>
                <a:gd name="T36" fmla="*/ 701 w 1508"/>
                <a:gd name="T37" fmla="*/ 988 h 1306"/>
                <a:gd name="T38" fmla="*/ 755 w 1508"/>
                <a:gd name="T39" fmla="*/ 965 h 1306"/>
                <a:gd name="T40" fmla="*/ 808 w 1508"/>
                <a:gd name="T41" fmla="*/ 988 h 1306"/>
                <a:gd name="T42" fmla="*/ 830 w 1508"/>
                <a:gd name="T43" fmla="*/ 1041 h 1306"/>
                <a:gd name="T44" fmla="*/ 808 w 1508"/>
                <a:gd name="T45" fmla="*/ 1095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08" h="1306">
                  <a:moveTo>
                    <a:pt x="1504" y="1291"/>
                  </a:moveTo>
                  <a:cubicBezTo>
                    <a:pt x="763" y="7"/>
                    <a:pt x="763" y="7"/>
                    <a:pt x="763" y="7"/>
                  </a:cubicBezTo>
                  <a:cubicBezTo>
                    <a:pt x="759" y="0"/>
                    <a:pt x="749" y="0"/>
                    <a:pt x="745" y="7"/>
                  </a:cubicBezTo>
                  <a:cubicBezTo>
                    <a:pt x="4" y="1291"/>
                    <a:pt x="4" y="1291"/>
                    <a:pt x="4" y="1291"/>
                  </a:cubicBezTo>
                  <a:cubicBezTo>
                    <a:pt x="0" y="1298"/>
                    <a:pt x="5" y="1306"/>
                    <a:pt x="13" y="1306"/>
                  </a:cubicBezTo>
                  <a:cubicBezTo>
                    <a:pt x="1495" y="1306"/>
                    <a:pt x="1495" y="1306"/>
                    <a:pt x="1495" y="1306"/>
                  </a:cubicBezTo>
                  <a:cubicBezTo>
                    <a:pt x="1503" y="1306"/>
                    <a:pt x="1508" y="1298"/>
                    <a:pt x="1504" y="1291"/>
                  </a:cubicBezTo>
                  <a:close/>
                  <a:moveTo>
                    <a:pt x="694" y="419"/>
                  </a:moveTo>
                  <a:cubicBezTo>
                    <a:pt x="814" y="419"/>
                    <a:pt x="814" y="419"/>
                    <a:pt x="814" y="419"/>
                  </a:cubicBezTo>
                  <a:cubicBezTo>
                    <a:pt x="814" y="608"/>
                    <a:pt x="814" y="608"/>
                    <a:pt x="814" y="608"/>
                  </a:cubicBezTo>
                  <a:cubicBezTo>
                    <a:pt x="814" y="669"/>
                    <a:pt x="803" y="778"/>
                    <a:pt x="778" y="932"/>
                  </a:cubicBezTo>
                  <a:cubicBezTo>
                    <a:pt x="730" y="932"/>
                    <a:pt x="730" y="932"/>
                    <a:pt x="730" y="932"/>
                  </a:cubicBezTo>
                  <a:cubicBezTo>
                    <a:pt x="706" y="778"/>
                    <a:pt x="694" y="669"/>
                    <a:pt x="694" y="608"/>
                  </a:cubicBezTo>
                  <a:lnTo>
                    <a:pt x="694" y="419"/>
                  </a:lnTo>
                  <a:close/>
                  <a:moveTo>
                    <a:pt x="808" y="1095"/>
                  </a:moveTo>
                  <a:cubicBezTo>
                    <a:pt x="794" y="1110"/>
                    <a:pt x="776" y="1117"/>
                    <a:pt x="755" y="1117"/>
                  </a:cubicBezTo>
                  <a:cubicBezTo>
                    <a:pt x="733" y="1117"/>
                    <a:pt x="715" y="1110"/>
                    <a:pt x="701" y="1095"/>
                  </a:cubicBezTo>
                  <a:cubicBezTo>
                    <a:pt x="686" y="1080"/>
                    <a:pt x="678" y="1063"/>
                    <a:pt x="678" y="1041"/>
                  </a:cubicBezTo>
                  <a:cubicBezTo>
                    <a:pt x="678" y="1020"/>
                    <a:pt x="686" y="1002"/>
                    <a:pt x="701" y="988"/>
                  </a:cubicBezTo>
                  <a:cubicBezTo>
                    <a:pt x="715" y="973"/>
                    <a:pt x="733" y="965"/>
                    <a:pt x="755" y="965"/>
                  </a:cubicBezTo>
                  <a:cubicBezTo>
                    <a:pt x="776" y="965"/>
                    <a:pt x="794" y="973"/>
                    <a:pt x="808" y="988"/>
                  </a:cubicBezTo>
                  <a:cubicBezTo>
                    <a:pt x="823" y="1002"/>
                    <a:pt x="830" y="1020"/>
                    <a:pt x="830" y="1041"/>
                  </a:cubicBezTo>
                  <a:cubicBezTo>
                    <a:pt x="830" y="1063"/>
                    <a:pt x="823" y="1080"/>
                    <a:pt x="808" y="109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B1345930-6362-59FA-0005-DC12E634E2FE}"/>
              </a:ext>
            </a:extLst>
          </p:cNvPr>
          <p:cNvCxnSpPr>
            <a:cxnSpLocks/>
          </p:cNvCxnSpPr>
          <p:nvPr/>
        </p:nvCxnSpPr>
        <p:spPr>
          <a:xfrm>
            <a:off x="4832436" y="4371564"/>
            <a:ext cx="2872369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tangle 171">
            <a:extLst>
              <a:ext uri="{FF2B5EF4-FFF2-40B4-BE49-F238E27FC236}">
                <a16:creationId xmlns:a16="http://schemas.microsoft.com/office/drawing/2014/main" id="{6D44D1C2-A4AE-5956-AB1E-1795BA672B58}"/>
              </a:ext>
            </a:extLst>
          </p:cNvPr>
          <p:cNvSpPr/>
          <p:nvPr/>
        </p:nvSpPr>
        <p:spPr>
          <a:xfrm>
            <a:off x="7981045" y="5482648"/>
            <a:ext cx="3467766" cy="733949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5" name="Rectangle: Rounded Corners 238">
            <a:extLst>
              <a:ext uri="{FF2B5EF4-FFF2-40B4-BE49-F238E27FC236}">
                <a16:creationId xmlns:a16="http://schemas.microsoft.com/office/drawing/2014/main" id="{67CA420D-F5FB-A9C6-7746-5D33A8DAEE26}"/>
              </a:ext>
            </a:extLst>
          </p:cNvPr>
          <p:cNvSpPr>
            <a:spLocks/>
          </p:cNvSpPr>
          <p:nvPr/>
        </p:nvSpPr>
        <p:spPr>
          <a:xfrm>
            <a:off x="8048372" y="5409863"/>
            <a:ext cx="3355320" cy="150812"/>
          </a:xfrm>
          <a:prstGeom prst="parallelogram">
            <a:avLst/>
          </a:prstGeom>
          <a:solidFill>
            <a:schemeClr val="tx2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noProof="0">
                <a:solidFill>
                  <a:schemeClr val="tx2"/>
                </a:solidFill>
              </a:rPr>
              <a:t>Previsão de demanda</a:t>
            </a:r>
          </a:p>
        </p:txBody>
      </p:sp>
      <p:sp>
        <p:nvSpPr>
          <p:cNvPr id="86" name="Rounded Rectangle 458">
            <a:extLst>
              <a:ext uri="{FF2B5EF4-FFF2-40B4-BE49-F238E27FC236}">
                <a16:creationId xmlns:a16="http://schemas.microsoft.com/office/drawing/2014/main" id="{218948A6-E69A-87BA-A443-A54D876010D5}"/>
              </a:ext>
            </a:extLst>
          </p:cNvPr>
          <p:cNvSpPr>
            <a:spLocks/>
          </p:cNvSpPr>
          <p:nvPr/>
        </p:nvSpPr>
        <p:spPr>
          <a:xfrm>
            <a:off x="8495539" y="5648967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96325E7-DD35-A4A6-3307-6E4FF00EFDE7}"/>
              </a:ext>
            </a:extLst>
          </p:cNvPr>
          <p:cNvSpPr txBox="1">
            <a:spLocks/>
          </p:cNvSpPr>
          <p:nvPr/>
        </p:nvSpPr>
        <p:spPr>
          <a:xfrm>
            <a:off x="8567879" y="5817355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10%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</a:t>
            </a:r>
            <a:r>
              <a:rPr lang="en-US" sz="300">
                <a:solidFill>
                  <a:srgbClr val="1F22CF"/>
                </a:solidFill>
              </a:rPr>
              <a:t>1,2 p.p.</a:t>
            </a:r>
            <a:r>
              <a:rPr lang="en-US" sz="300" noProof="0">
                <a:solidFill>
                  <a:srgbClr val="1F22CF"/>
                </a:solidFill>
              </a:rPr>
              <a:t>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</a:t>
            </a:r>
            <a:r>
              <a:rPr lang="en-US" sz="300">
                <a:solidFill>
                  <a:schemeClr val="tx1"/>
                </a:solidFill>
              </a:rPr>
              <a:t>12%</a:t>
            </a:r>
            <a:r>
              <a:rPr lang="en-US" sz="300" noProof="0">
                <a:solidFill>
                  <a:schemeClr val="tx1"/>
                </a:solidFill>
              </a:rPr>
              <a:t>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183" name="Rounded Rectangle 458">
            <a:extLst>
              <a:ext uri="{FF2B5EF4-FFF2-40B4-BE49-F238E27FC236}">
                <a16:creationId xmlns:a16="http://schemas.microsoft.com/office/drawing/2014/main" id="{56BD38F6-E9E4-3FFF-764D-9A797E89A6D1}"/>
              </a:ext>
            </a:extLst>
          </p:cNvPr>
          <p:cNvSpPr>
            <a:spLocks/>
          </p:cNvSpPr>
          <p:nvPr/>
        </p:nvSpPr>
        <p:spPr>
          <a:xfrm>
            <a:off x="9325949" y="5648967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9494BD00-B874-BD05-7333-C7A84D8740F5}"/>
              </a:ext>
            </a:extLst>
          </p:cNvPr>
          <p:cNvSpPr txBox="1">
            <a:spLocks/>
          </p:cNvSpPr>
          <p:nvPr/>
        </p:nvSpPr>
        <p:spPr>
          <a:xfrm>
            <a:off x="9398288" y="5817355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8%</a:t>
            </a:r>
          </a:p>
          <a:p>
            <a:pPr algn="ctr"/>
            <a:r>
              <a:rPr lang="en-US" sz="300" noProof="0">
                <a:solidFill>
                  <a:schemeClr val="accent6"/>
                </a:solidFill>
              </a:rPr>
              <a:t>(+0,9 p.p.)</a:t>
            </a:r>
            <a:endParaRPr lang="en-US" sz="1600" noProof="0">
              <a:solidFill>
                <a:schemeClr val="accent6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</a:t>
            </a:r>
            <a:r>
              <a:rPr lang="en-US" sz="300">
                <a:solidFill>
                  <a:schemeClr val="tx1"/>
                </a:solidFill>
              </a:rPr>
              <a:t>7,1%</a:t>
            </a:r>
            <a:r>
              <a:rPr lang="en-US" sz="300" noProof="0">
                <a:solidFill>
                  <a:schemeClr val="tx1"/>
                </a:solidFill>
              </a:rPr>
              <a:t>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199" name="Rounded Rectangle 458">
            <a:extLst>
              <a:ext uri="{FF2B5EF4-FFF2-40B4-BE49-F238E27FC236}">
                <a16:creationId xmlns:a16="http://schemas.microsoft.com/office/drawing/2014/main" id="{4EFD25B8-2553-8193-923D-ED20CFB759D1}"/>
              </a:ext>
            </a:extLst>
          </p:cNvPr>
          <p:cNvSpPr>
            <a:spLocks/>
          </p:cNvSpPr>
          <p:nvPr/>
        </p:nvSpPr>
        <p:spPr>
          <a:xfrm>
            <a:off x="10156368" y="5648967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1BE78383-8492-50B9-80CC-5B2BB2D07D47}"/>
              </a:ext>
            </a:extLst>
          </p:cNvPr>
          <p:cNvSpPr txBox="1">
            <a:spLocks/>
          </p:cNvSpPr>
          <p:nvPr/>
        </p:nvSpPr>
        <p:spPr>
          <a:xfrm>
            <a:off x="10228708" y="5817355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13%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</a:t>
            </a:r>
            <a:r>
              <a:rPr lang="en-US" sz="300">
                <a:solidFill>
                  <a:srgbClr val="1F22CF"/>
                </a:solidFill>
              </a:rPr>
              <a:t>2,2 p.p.</a:t>
            </a:r>
            <a:r>
              <a:rPr lang="en-US" sz="300" noProof="0">
                <a:solidFill>
                  <a:srgbClr val="1F22CF"/>
                </a:solidFill>
              </a:rPr>
              <a:t>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15,3%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80C2CDF-BB8D-7D88-247B-7040CE893D3D}"/>
              </a:ext>
            </a:extLst>
          </p:cNvPr>
          <p:cNvSpPr/>
          <p:nvPr/>
        </p:nvSpPr>
        <p:spPr>
          <a:xfrm>
            <a:off x="1050323" y="2422495"/>
            <a:ext cx="1160166" cy="113308"/>
          </a:xfrm>
          <a:prstGeom prst="roundRect">
            <a:avLst>
              <a:gd name="adj" fmla="val 40350"/>
            </a:avLst>
          </a:prstGeom>
          <a:solidFill>
            <a:srgbClr val="FFFFFF"/>
          </a:solidFill>
          <a:ln w="9525" cap="rnd" cmpd="sng" algn="ctr">
            <a:solidFill>
              <a:srgbClr val="7173E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TELEFONIA CELULAR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65685C3-16DB-C1A2-8C2E-20098157C2E9}"/>
              </a:ext>
            </a:extLst>
          </p:cNvPr>
          <p:cNvSpPr/>
          <p:nvPr/>
        </p:nvSpPr>
        <p:spPr>
          <a:xfrm>
            <a:off x="2381043" y="2422495"/>
            <a:ext cx="1160166" cy="113308"/>
          </a:xfrm>
          <a:prstGeom prst="roundRect">
            <a:avLst>
              <a:gd name="adj" fmla="val 40350"/>
            </a:avLst>
          </a:prstGeom>
          <a:solidFill>
            <a:srgbClr val="FFFFFF"/>
          </a:solidFill>
          <a:ln w="9525" cap="rnd" cmpd="sng" algn="ctr">
            <a:solidFill>
              <a:srgbClr val="7173E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122" name="Freeform 5">
            <a:extLst>
              <a:ext uri="{FF2B5EF4-FFF2-40B4-BE49-F238E27FC236}">
                <a16:creationId xmlns:a16="http://schemas.microsoft.com/office/drawing/2014/main" id="{5ED6DE99-5BE1-D3FB-E96A-A3971F9E3498}"/>
              </a:ext>
            </a:extLst>
          </p:cNvPr>
          <p:cNvSpPr>
            <a:spLocks/>
          </p:cNvSpPr>
          <p:nvPr/>
        </p:nvSpPr>
        <p:spPr bwMode="auto">
          <a:xfrm>
            <a:off x="3067175" y="4026837"/>
            <a:ext cx="545530" cy="499352"/>
          </a:xfrm>
          <a:custGeom>
            <a:avLst/>
            <a:gdLst>
              <a:gd name="T0" fmla="*/ 456 w 463"/>
              <a:gd name="T1" fmla="*/ 74 h 444"/>
              <a:gd name="T2" fmla="*/ 449 w 463"/>
              <a:gd name="T3" fmla="*/ 93 h 444"/>
              <a:gd name="T4" fmla="*/ 456 w 463"/>
              <a:gd name="T5" fmla="*/ 139 h 444"/>
              <a:gd name="T6" fmla="*/ 460 w 463"/>
              <a:gd name="T7" fmla="*/ 167 h 444"/>
              <a:gd name="T8" fmla="*/ 437 w 463"/>
              <a:gd name="T9" fmla="*/ 179 h 444"/>
              <a:gd name="T10" fmla="*/ 418 w 463"/>
              <a:gd name="T11" fmla="*/ 174 h 444"/>
              <a:gd name="T12" fmla="*/ 404 w 463"/>
              <a:gd name="T13" fmla="*/ 183 h 444"/>
              <a:gd name="T14" fmla="*/ 397 w 463"/>
              <a:gd name="T15" fmla="*/ 202 h 444"/>
              <a:gd name="T16" fmla="*/ 397 w 463"/>
              <a:gd name="T17" fmla="*/ 235 h 444"/>
              <a:gd name="T18" fmla="*/ 379 w 463"/>
              <a:gd name="T19" fmla="*/ 237 h 444"/>
              <a:gd name="T20" fmla="*/ 365 w 463"/>
              <a:gd name="T21" fmla="*/ 237 h 444"/>
              <a:gd name="T22" fmla="*/ 367 w 463"/>
              <a:gd name="T23" fmla="*/ 216 h 444"/>
              <a:gd name="T24" fmla="*/ 311 w 463"/>
              <a:gd name="T25" fmla="*/ 218 h 444"/>
              <a:gd name="T26" fmla="*/ 309 w 463"/>
              <a:gd name="T27" fmla="*/ 239 h 444"/>
              <a:gd name="T28" fmla="*/ 363 w 463"/>
              <a:gd name="T29" fmla="*/ 263 h 444"/>
              <a:gd name="T30" fmla="*/ 365 w 463"/>
              <a:gd name="T31" fmla="*/ 281 h 444"/>
              <a:gd name="T32" fmla="*/ 372 w 463"/>
              <a:gd name="T33" fmla="*/ 305 h 444"/>
              <a:gd name="T34" fmla="*/ 358 w 463"/>
              <a:gd name="T35" fmla="*/ 314 h 444"/>
              <a:gd name="T36" fmla="*/ 346 w 463"/>
              <a:gd name="T37" fmla="*/ 328 h 444"/>
              <a:gd name="T38" fmla="*/ 360 w 463"/>
              <a:gd name="T39" fmla="*/ 339 h 444"/>
              <a:gd name="T40" fmla="*/ 356 w 463"/>
              <a:gd name="T41" fmla="*/ 360 h 444"/>
              <a:gd name="T42" fmla="*/ 346 w 463"/>
              <a:gd name="T43" fmla="*/ 377 h 444"/>
              <a:gd name="T44" fmla="*/ 309 w 463"/>
              <a:gd name="T45" fmla="*/ 391 h 444"/>
              <a:gd name="T46" fmla="*/ 263 w 463"/>
              <a:gd name="T47" fmla="*/ 381 h 444"/>
              <a:gd name="T48" fmla="*/ 223 w 463"/>
              <a:gd name="T49" fmla="*/ 393 h 444"/>
              <a:gd name="T50" fmla="*/ 190 w 463"/>
              <a:gd name="T51" fmla="*/ 393 h 444"/>
              <a:gd name="T52" fmla="*/ 160 w 463"/>
              <a:gd name="T53" fmla="*/ 416 h 444"/>
              <a:gd name="T54" fmla="*/ 144 w 463"/>
              <a:gd name="T55" fmla="*/ 428 h 444"/>
              <a:gd name="T56" fmla="*/ 132 w 463"/>
              <a:gd name="T57" fmla="*/ 444 h 444"/>
              <a:gd name="T58" fmla="*/ 111 w 463"/>
              <a:gd name="T59" fmla="*/ 430 h 444"/>
              <a:gd name="T60" fmla="*/ 76 w 463"/>
              <a:gd name="T61" fmla="*/ 412 h 444"/>
              <a:gd name="T62" fmla="*/ 48 w 463"/>
              <a:gd name="T63" fmla="*/ 398 h 444"/>
              <a:gd name="T64" fmla="*/ 25 w 463"/>
              <a:gd name="T65" fmla="*/ 372 h 444"/>
              <a:gd name="T66" fmla="*/ 9 w 463"/>
              <a:gd name="T67" fmla="*/ 346 h 444"/>
              <a:gd name="T68" fmla="*/ 2 w 463"/>
              <a:gd name="T69" fmla="*/ 312 h 444"/>
              <a:gd name="T70" fmla="*/ 11 w 463"/>
              <a:gd name="T71" fmla="*/ 286 h 444"/>
              <a:gd name="T72" fmla="*/ 27 w 463"/>
              <a:gd name="T73" fmla="*/ 267 h 444"/>
              <a:gd name="T74" fmla="*/ 41 w 463"/>
              <a:gd name="T75" fmla="*/ 246 h 444"/>
              <a:gd name="T76" fmla="*/ 46 w 463"/>
              <a:gd name="T77" fmla="*/ 230 h 444"/>
              <a:gd name="T78" fmla="*/ 69 w 463"/>
              <a:gd name="T79" fmla="*/ 214 h 444"/>
              <a:gd name="T80" fmla="*/ 95 w 463"/>
              <a:gd name="T81" fmla="*/ 197 h 444"/>
              <a:gd name="T82" fmla="*/ 104 w 463"/>
              <a:gd name="T83" fmla="*/ 174 h 444"/>
              <a:gd name="T84" fmla="*/ 123 w 463"/>
              <a:gd name="T85" fmla="*/ 160 h 444"/>
              <a:gd name="T86" fmla="*/ 139 w 463"/>
              <a:gd name="T87" fmla="*/ 153 h 444"/>
              <a:gd name="T88" fmla="*/ 148 w 463"/>
              <a:gd name="T89" fmla="*/ 130 h 444"/>
              <a:gd name="T90" fmla="*/ 158 w 463"/>
              <a:gd name="T91" fmla="*/ 104 h 444"/>
              <a:gd name="T92" fmla="*/ 160 w 463"/>
              <a:gd name="T93" fmla="*/ 83 h 444"/>
              <a:gd name="T94" fmla="*/ 172 w 463"/>
              <a:gd name="T95" fmla="*/ 65 h 444"/>
              <a:gd name="T96" fmla="*/ 179 w 463"/>
              <a:gd name="T97" fmla="*/ 41 h 444"/>
              <a:gd name="T98" fmla="*/ 188 w 463"/>
              <a:gd name="T99" fmla="*/ 23 h 444"/>
              <a:gd name="T100" fmla="*/ 197 w 463"/>
              <a:gd name="T101" fmla="*/ 7 h 444"/>
              <a:gd name="T102" fmla="*/ 204 w 463"/>
              <a:gd name="T103" fmla="*/ 11 h 444"/>
              <a:gd name="T104" fmla="*/ 218 w 463"/>
              <a:gd name="T105" fmla="*/ 41 h 444"/>
              <a:gd name="T106" fmla="*/ 260 w 463"/>
              <a:gd name="T107" fmla="*/ 41 h 444"/>
              <a:gd name="T108" fmla="*/ 290 w 463"/>
              <a:gd name="T109" fmla="*/ 37 h 444"/>
              <a:gd name="T110" fmla="*/ 293 w 463"/>
              <a:gd name="T111" fmla="*/ 69 h 444"/>
              <a:gd name="T112" fmla="*/ 314 w 463"/>
              <a:gd name="T113" fmla="*/ 58 h 444"/>
              <a:gd name="T114" fmla="*/ 337 w 463"/>
              <a:gd name="T115" fmla="*/ 62 h 444"/>
              <a:gd name="T116" fmla="*/ 358 w 463"/>
              <a:gd name="T117" fmla="*/ 58 h 444"/>
              <a:gd name="T118" fmla="*/ 370 w 463"/>
              <a:gd name="T119" fmla="*/ 67 h 444"/>
              <a:gd name="T120" fmla="*/ 411 w 463"/>
              <a:gd name="T121" fmla="*/ 60 h 444"/>
              <a:gd name="T122" fmla="*/ 444 w 463"/>
              <a:gd name="T123" fmla="*/ 48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63" h="444">
                <a:moveTo>
                  <a:pt x="453" y="46"/>
                </a:moveTo>
                <a:lnTo>
                  <a:pt x="453" y="48"/>
                </a:lnTo>
                <a:lnTo>
                  <a:pt x="460" y="53"/>
                </a:lnTo>
                <a:lnTo>
                  <a:pt x="463" y="55"/>
                </a:lnTo>
                <a:lnTo>
                  <a:pt x="463" y="58"/>
                </a:lnTo>
                <a:lnTo>
                  <a:pt x="460" y="58"/>
                </a:lnTo>
                <a:lnTo>
                  <a:pt x="456" y="60"/>
                </a:lnTo>
                <a:lnTo>
                  <a:pt x="456" y="62"/>
                </a:lnTo>
                <a:lnTo>
                  <a:pt x="453" y="69"/>
                </a:lnTo>
                <a:lnTo>
                  <a:pt x="453" y="72"/>
                </a:lnTo>
                <a:lnTo>
                  <a:pt x="456" y="74"/>
                </a:lnTo>
                <a:lnTo>
                  <a:pt x="458" y="76"/>
                </a:lnTo>
                <a:lnTo>
                  <a:pt x="460" y="76"/>
                </a:lnTo>
                <a:lnTo>
                  <a:pt x="460" y="79"/>
                </a:lnTo>
                <a:lnTo>
                  <a:pt x="458" y="79"/>
                </a:lnTo>
                <a:lnTo>
                  <a:pt x="458" y="81"/>
                </a:lnTo>
                <a:lnTo>
                  <a:pt x="456" y="83"/>
                </a:lnTo>
                <a:lnTo>
                  <a:pt x="453" y="83"/>
                </a:lnTo>
                <a:lnTo>
                  <a:pt x="451" y="83"/>
                </a:lnTo>
                <a:lnTo>
                  <a:pt x="451" y="86"/>
                </a:lnTo>
                <a:lnTo>
                  <a:pt x="449" y="88"/>
                </a:lnTo>
                <a:lnTo>
                  <a:pt x="449" y="93"/>
                </a:lnTo>
                <a:lnTo>
                  <a:pt x="446" y="95"/>
                </a:lnTo>
                <a:lnTo>
                  <a:pt x="446" y="100"/>
                </a:lnTo>
                <a:lnTo>
                  <a:pt x="444" y="100"/>
                </a:lnTo>
                <a:lnTo>
                  <a:pt x="444" y="107"/>
                </a:lnTo>
                <a:lnTo>
                  <a:pt x="444" y="114"/>
                </a:lnTo>
                <a:lnTo>
                  <a:pt x="446" y="121"/>
                </a:lnTo>
                <a:lnTo>
                  <a:pt x="449" y="125"/>
                </a:lnTo>
                <a:lnTo>
                  <a:pt x="449" y="128"/>
                </a:lnTo>
                <a:lnTo>
                  <a:pt x="451" y="135"/>
                </a:lnTo>
                <a:lnTo>
                  <a:pt x="453" y="137"/>
                </a:lnTo>
                <a:lnTo>
                  <a:pt x="456" y="139"/>
                </a:lnTo>
                <a:lnTo>
                  <a:pt x="458" y="142"/>
                </a:lnTo>
                <a:lnTo>
                  <a:pt x="460" y="144"/>
                </a:lnTo>
                <a:lnTo>
                  <a:pt x="463" y="146"/>
                </a:lnTo>
                <a:lnTo>
                  <a:pt x="460" y="151"/>
                </a:lnTo>
                <a:lnTo>
                  <a:pt x="458" y="153"/>
                </a:lnTo>
                <a:lnTo>
                  <a:pt x="458" y="156"/>
                </a:lnTo>
                <a:lnTo>
                  <a:pt x="458" y="158"/>
                </a:lnTo>
                <a:lnTo>
                  <a:pt x="458" y="160"/>
                </a:lnTo>
                <a:lnTo>
                  <a:pt x="460" y="163"/>
                </a:lnTo>
                <a:lnTo>
                  <a:pt x="460" y="165"/>
                </a:lnTo>
                <a:lnTo>
                  <a:pt x="460" y="167"/>
                </a:lnTo>
                <a:lnTo>
                  <a:pt x="460" y="170"/>
                </a:lnTo>
                <a:lnTo>
                  <a:pt x="458" y="172"/>
                </a:lnTo>
                <a:lnTo>
                  <a:pt x="456" y="174"/>
                </a:lnTo>
                <a:lnTo>
                  <a:pt x="453" y="179"/>
                </a:lnTo>
                <a:lnTo>
                  <a:pt x="451" y="179"/>
                </a:lnTo>
                <a:lnTo>
                  <a:pt x="449" y="181"/>
                </a:lnTo>
                <a:lnTo>
                  <a:pt x="446" y="181"/>
                </a:lnTo>
                <a:lnTo>
                  <a:pt x="444" y="181"/>
                </a:lnTo>
                <a:lnTo>
                  <a:pt x="442" y="181"/>
                </a:lnTo>
                <a:lnTo>
                  <a:pt x="439" y="179"/>
                </a:lnTo>
                <a:lnTo>
                  <a:pt x="437" y="179"/>
                </a:lnTo>
                <a:lnTo>
                  <a:pt x="435" y="179"/>
                </a:lnTo>
                <a:lnTo>
                  <a:pt x="435" y="174"/>
                </a:lnTo>
                <a:lnTo>
                  <a:pt x="432" y="172"/>
                </a:lnTo>
                <a:lnTo>
                  <a:pt x="432" y="170"/>
                </a:lnTo>
                <a:lnTo>
                  <a:pt x="430" y="170"/>
                </a:lnTo>
                <a:lnTo>
                  <a:pt x="425" y="167"/>
                </a:lnTo>
                <a:lnTo>
                  <a:pt x="425" y="165"/>
                </a:lnTo>
                <a:lnTo>
                  <a:pt x="423" y="165"/>
                </a:lnTo>
                <a:lnTo>
                  <a:pt x="418" y="170"/>
                </a:lnTo>
                <a:lnTo>
                  <a:pt x="418" y="172"/>
                </a:lnTo>
                <a:lnTo>
                  <a:pt x="418" y="174"/>
                </a:lnTo>
                <a:lnTo>
                  <a:pt x="421" y="174"/>
                </a:lnTo>
                <a:lnTo>
                  <a:pt x="418" y="174"/>
                </a:lnTo>
                <a:lnTo>
                  <a:pt x="418" y="176"/>
                </a:lnTo>
                <a:lnTo>
                  <a:pt x="418" y="179"/>
                </a:lnTo>
                <a:lnTo>
                  <a:pt x="418" y="181"/>
                </a:lnTo>
                <a:lnTo>
                  <a:pt x="418" y="183"/>
                </a:lnTo>
                <a:lnTo>
                  <a:pt x="418" y="186"/>
                </a:lnTo>
                <a:lnTo>
                  <a:pt x="416" y="188"/>
                </a:lnTo>
                <a:lnTo>
                  <a:pt x="414" y="188"/>
                </a:lnTo>
                <a:lnTo>
                  <a:pt x="407" y="183"/>
                </a:lnTo>
                <a:lnTo>
                  <a:pt x="404" y="183"/>
                </a:lnTo>
                <a:lnTo>
                  <a:pt x="402" y="183"/>
                </a:lnTo>
                <a:lnTo>
                  <a:pt x="400" y="183"/>
                </a:lnTo>
                <a:lnTo>
                  <a:pt x="397" y="183"/>
                </a:lnTo>
                <a:lnTo>
                  <a:pt x="397" y="186"/>
                </a:lnTo>
                <a:lnTo>
                  <a:pt x="395" y="195"/>
                </a:lnTo>
                <a:lnTo>
                  <a:pt x="397" y="195"/>
                </a:lnTo>
                <a:lnTo>
                  <a:pt x="397" y="197"/>
                </a:lnTo>
                <a:lnTo>
                  <a:pt x="397" y="200"/>
                </a:lnTo>
                <a:lnTo>
                  <a:pt x="400" y="200"/>
                </a:lnTo>
                <a:lnTo>
                  <a:pt x="400" y="202"/>
                </a:lnTo>
                <a:lnTo>
                  <a:pt x="397" y="202"/>
                </a:lnTo>
                <a:lnTo>
                  <a:pt x="397" y="204"/>
                </a:lnTo>
                <a:lnTo>
                  <a:pt x="395" y="204"/>
                </a:lnTo>
                <a:lnTo>
                  <a:pt x="395" y="207"/>
                </a:lnTo>
                <a:lnTo>
                  <a:pt x="393" y="207"/>
                </a:lnTo>
                <a:lnTo>
                  <a:pt x="393" y="209"/>
                </a:lnTo>
                <a:lnTo>
                  <a:pt x="393" y="216"/>
                </a:lnTo>
                <a:lnTo>
                  <a:pt x="395" y="218"/>
                </a:lnTo>
                <a:lnTo>
                  <a:pt x="397" y="228"/>
                </a:lnTo>
                <a:lnTo>
                  <a:pt x="397" y="230"/>
                </a:lnTo>
                <a:lnTo>
                  <a:pt x="397" y="232"/>
                </a:lnTo>
                <a:lnTo>
                  <a:pt x="397" y="235"/>
                </a:lnTo>
                <a:lnTo>
                  <a:pt x="397" y="237"/>
                </a:lnTo>
                <a:lnTo>
                  <a:pt x="395" y="237"/>
                </a:lnTo>
                <a:lnTo>
                  <a:pt x="393" y="237"/>
                </a:lnTo>
                <a:lnTo>
                  <a:pt x="391" y="237"/>
                </a:lnTo>
                <a:lnTo>
                  <a:pt x="388" y="239"/>
                </a:lnTo>
                <a:lnTo>
                  <a:pt x="386" y="237"/>
                </a:lnTo>
                <a:lnTo>
                  <a:pt x="384" y="237"/>
                </a:lnTo>
                <a:lnTo>
                  <a:pt x="384" y="239"/>
                </a:lnTo>
                <a:lnTo>
                  <a:pt x="381" y="239"/>
                </a:lnTo>
                <a:lnTo>
                  <a:pt x="379" y="239"/>
                </a:lnTo>
                <a:lnTo>
                  <a:pt x="379" y="237"/>
                </a:lnTo>
                <a:lnTo>
                  <a:pt x="379" y="239"/>
                </a:lnTo>
                <a:lnTo>
                  <a:pt x="377" y="239"/>
                </a:lnTo>
                <a:lnTo>
                  <a:pt x="377" y="242"/>
                </a:lnTo>
                <a:lnTo>
                  <a:pt x="374" y="242"/>
                </a:lnTo>
                <a:lnTo>
                  <a:pt x="374" y="244"/>
                </a:lnTo>
                <a:lnTo>
                  <a:pt x="372" y="244"/>
                </a:lnTo>
                <a:lnTo>
                  <a:pt x="370" y="244"/>
                </a:lnTo>
                <a:lnTo>
                  <a:pt x="367" y="244"/>
                </a:lnTo>
                <a:lnTo>
                  <a:pt x="365" y="242"/>
                </a:lnTo>
                <a:lnTo>
                  <a:pt x="365" y="239"/>
                </a:lnTo>
                <a:lnTo>
                  <a:pt x="365" y="237"/>
                </a:lnTo>
                <a:lnTo>
                  <a:pt x="365" y="235"/>
                </a:lnTo>
                <a:lnTo>
                  <a:pt x="365" y="232"/>
                </a:lnTo>
                <a:lnTo>
                  <a:pt x="365" y="230"/>
                </a:lnTo>
                <a:lnTo>
                  <a:pt x="367" y="230"/>
                </a:lnTo>
                <a:lnTo>
                  <a:pt x="367" y="228"/>
                </a:lnTo>
                <a:lnTo>
                  <a:pt x="370" y="223"/>
                </a:lnTo>
                <a:lnTo>
                  <a:pt x="367" y="223"/>
                </a:lnTo>
                <a:lnTo>
                  <a:pt x="367" y="221"/>
                </a:lnTo>
                <a:lnTo>
                  <a:pt x="370" y="218"/>
                </a:lnTo>
                <a:lnTo>
                  <a:pt x="370" y="216"/>
                </a:lnTo>
                <a:lnTo>
                  <a:pt x="367" y="216"/>
                </a:lnTo>
                <a:lnTo>
                  <a:pt x="367" y="214"/>
                </a:lnTo>
                <a:lnTo>
                  <a:pt x="365" y="214"/>
                </a:lnTo>
                <a:lnTo>
                  <a:pt x="363" y="211"/>
                </a:lnTo>
                <a:lnTo>
                  <a:pt x="363" y="209"/>
                </a:lnTo>
                <a:lnTo>
                  <a:pt x="342" y="207"/>
                </a:lnTo>
                <a:lnTo>
                  <a:pt x="325" y="207"/>
                </a:lnTo>
                <a:lnTo>
                  <a:pt x="316" y="204"/>
                </a:lnTo>
                <a:lnTo>
                  <a:pt x="316" y="207"/>
                </a:lnTo>
                <a:lnTo>
                  <a:pt x="314" y="214"/>
                </a:lnTo>
                <a:lnTo>
                  <a:pt x="311" y="216"/>
                </a:lnTo>
                <a:lnTo>
                  <a:pt x="311" y="218"/>
                </a:lnTo>
                <a:lnTo>
                  <a:pt x="314" y="221"/>
                </a:lnTo>
                <a:lnTo>
                  <a:pt x="314" y="223"/>
                </a:lnTo>
                <a:lnTo>
                  <a:pt x="311" y="223"/>
                </a:lnTo>
                <a:lnTo>
                  <a:pt x="311" y="225"/>
                </a:lnTo>
                <a:lnTo>
                  <a:pt x="309" y="225"/>
                </a:lnTo>
                <a:lnTo>
                  <a:pt x="309" y="228"/>
                </a:lnTo>
                <a:lnTo>
                  <a:pt x="309" y="230"/>
                </a:lnTo>
                <a:lnTo>
                  <a:pt x="309" y="232"/>
                </a:lnTo>
                <a:lnTo>
                  <a:pt x="311" y="235"/>
                </a:lnTo>
                <a:lnTo>
                  <a:pt x="309" y="237"/>
                </a:lnTo>
                <a:lnTo>
                  <a:pt x="309" y="239"/>
                </a:lnTo>
                <a:lnTo>
                  <a:pt x="314" y="239"/>
                </a:lnTo>
                <a:lnTo>
                  <a:pt x="332" y="242"/>
                </a:lnTo>
                <a:lnTo>
                  <a:pt x="349" y="244"/>
                </a:lnTo>
                <a:lnTo>
                  <a:pt x="367" y="244"/>
                </a:lnTo>
                <a:lnTo>
                  <a:pt x="367" y="246"/>
                </a:lnTo>
                <a:lnTo>
                  <a:pt x="365" y="249"/>
                </a:lnTo>
                <a:lnTo>
                  <a:pt x="365" y="251"/>
                </a:lnTo>
                <a:lnTo>
                  <a:pt x="365" y="256"/>
                </a:lnTo>
                <a:lnTo>
                  <a:pt x="365" y="258"/>
                </a:lnTo>
                <a:lnTo>
                  <a:pt x="363" y="260"/>
                </a:lnTo>
                <a:lnTo>
                  <a:pt x="363" y="263"/>
                </a:lnTo>
                <a:lnTo>
                  <a:pt x="360" y="263"/>
                </a:lnTo>
                <a:lnTo>
                  <a:pt x="360" y="265"/>
                </a:lnTo>
                <a:lnTo>
                  <a:pt x="358" y="267"/>
                </a:lnTo>
                <a:lnTo>
                  <a:pt x="356" y="272"/>
                </a:lnTo>
                <a:lnTo>
                  <a:pt x="356" y="274"/>
                </a:lnTo>
                <a:lnTo>
                  <a:pt x="358" y="277"/>
                </a:lnTo>
                <a:lnTo>
                  <a:pt x="358" y="279"/>
                </a:lnTo>
                <a:lnTo>
                  <a:pt x="360" y="279"/>
                </a:lnTo>
                <a:lnTo>
                  <a:pt x="363" y="279"/>
                </a:lnTo>
                <a:lnTo>
                  <a:pt x="363" y="281"/>
                </a:lnTo>
                <a:lnTo>
                  <a:pt x="365" y="281"/>
                </a:lnTo>
                <a:lnTo>
                  <a:pt x="365" y="284"/>
                </a:lnTo>
                <a:lnTo>
                  <a:pt x="367" y="286"/>
                </a:lnTo>
                <a:lnTo>
                  <a:pt x="367" y="288"/>
                </a:lnTo>
                <a:lnTo>
                  <a:pt x="367" y="293"/>
                </a:lnTo>
                <a:lnTo>
                  <a:pt x="370" y="293"/>
                </a:lnTo>
                <a:lnTo>
                  <a:pt x="370" y="295"/>
                </a:lnTo>
                <a:lnTo>
                  <a:pt x="370" y="298"/>
                </a:lnTo>
                <a:lnTo>
                  <a:pt x="370" y="300"/>
                </a:lnTo>
                <a:lnTo>
                  <a:pt x="372" y="300"/>
                </a:lnTo>
                <a:lnTo>
                  <a:pt x="372" y="302"/>
                </a:lnTo>
                <a:lnTo>
                  <a:pt x="372" y="305"/>
                </a:lnTo>
                <a:lnTo>
                  <a:pt x="370" y="305"/>
                </a:lnTo>
                <a:lnTo>
                  <a:pt x="367" y="305"/>
                </a:lnTo>
                <a:lnTo>
                  <a:pt x="367" y="307"/>
                </a:lnTo>
                <a:lnTo>
                  <a:pt x="365" y="307"/>
                </a:lnTo>
                <a:lnTo>
                  <a:pt x="365" y="309"/>
                </a:lnTo>
                <a:lnTo>
                  <a:pt x="367" y="309"/>
                </a:lnTo>
                <a:lnTo>
                  <a:pt x="365" y="312"/>
                </a:lnTo>
                <a:lnTo>
                  <a:pt x="363" y="312"/>
                </a:lnTo>
                <a:lnTo>
                  <a:pt x="363" y="314"/>
                </a:lnTo>
                <a:lnTo>
                  <a:pt x="360" y="314"/>
                </a:lnTo>
                <a:lnTo>
                  <a:pt x="358" y="314"/>
                </a:lnTo>
                <a:lnTo>
                  <a:pt x="358" y="316"/>
                </a:lnTo>
                <a:lnTo>
                  <a:pt x="358" y="318"/>
                </a:lnTo>
                <a:lnTo>
                  <a:pt x="356" y="318"/>
                </a:lnTo>
                <a:lnTo>
                  <a:pt x="356" y="321"/>
                </a:lnTo>
                <a:lnTo>
                  <a:pt x="356" y="318"/>
                </a:lnTo>
                <a:lnTo>
                  <a:pt x="353" y="321"/>
                </a:lnTo>
                <a:lnTo>
                  <a:pt x="353" y="323"/>
                </a:lnTo>
                <a:lnTo>
                  <a:pt x="351" y="325"/>
                </a:lnTo>
                <a:lnTo>
                  <a:pt x="349" y="325"/>
                </a:lnTo>
                <a:lnTo>
                  <a:pt x="346" y="325"/>
                </a:lnTo>
                <a:lnTo>
                  <a:pt x="346" y="328"/>
                </a:lnTo>
                <a:lnTo>
                  <a:pt x="346" y="330"/>
                </a:lnTo>
                <a:lnTo>
                  <a:pt x="346" y="332"/>
                </a:lnTo>
                <a:lnTo>
                  <a:pt x="346" y="335"/>
                </a:lnTo>
                <a:lnTo>
                  <a:pt x="349" y="337"/>
                </a:lnTo>
                <a:lnTo>
                  <a:pt x="351" y="337"/>
                </a:lnTo>
                <a:lnTo>
                  <a:pt x="351" y="335"/>
                </a:lnTo>
                <a:lnTo>
                  <a:pt x="353" y="335"/>
                </a:lnTo>
                <a:lnTo>
                  <a:pt x="353" y="337"/>
                </a:lnTo>
                <a:lnTo>
                  <a:pt x="356" y="337"/>
                </a:lnTo>
                <a:lnTo>
                  <a:pt x="358" y="339"/>
                </a:lnTo>
                <a:lnTo>
                  <a:pt x="360" y="339"/>
                </a:lnTo>
                <a:lnTo>
                  <a:pt x="360" y="342"/>
                </a:lnTo>
                <a:lnTo>
                  <a:pt x="360" y="344"/>
                </a:lnTo>
                <a:lnTo>
                  <a:pt x="360" y="346"/>
                </a:lnTo>
                <a:lnTo>
                  <a:pt x="358" y="349"/>
                </a:lnTo>
                <a:lnTo>
                  <a:pt x="356" y="351"/>
                </a:lnTo>
                <a:lnTo>
                  <a:pt x="356" y="353"/>
                </a:lnTo>
                <a:lnTo>
                  <a:pt x="356" y="356"/>
                </a:lnTo>
                <a:lnTo>
                  <a:pt x="353" y="356"/>
                </a:lnTo>
                <a:lnTo>
                  <a:pt x="353" y="358"/>
                </a:lnTo>
                <a:lnTo>
                  <a:pt x="353" y="360"/>
                </a:lnTo>
                <a:lnTo>
                  <a:pt x="356" y="360"/>
                </a:lnTo>
                <a:lnTo>
                  <a:pt x="356" y="363"/>
                </a:lnTo>
                <a:lnTo>
                  <a:pt x="356" y="365"/>
                </a:lnTo>
                <a:lnTo>
                  <a:pt x="356" y="367"/>
                </a:lnTo>
                <a:lnTo>
                  <a:pt x="358" y="372"/>
                </a:lnTo>
                <a:lnTo>
                  <a:pt x="356" y="372"/>
                </a:lnTo>
                <a:lnTo>
                  <a:pt x="353" y="372"/>
                </a:lnTo>
                <a:lnTo>
                  <a:pt x="353" y="374"/>
                </a:lnTo>
                <a:lnTo>
                  <a:pt x="351" y="374"/>
                </a:lnTo>
                <a:lnTo>
                  <a:pt x="351" y="377"/>
                </a:lnTo>
                <a:lnTo>
                  <a:pt x="349" y="377"/>
                </a:lnTo>
                <a:lnTo>
                  <a:pt x="346" y="377"/>
                </a:lnTo>
                <a:lnTo>
                  <a:pt x="339" y="379"/>
                </a:lnTo>
                <a:lnTo>
                  <a:pt x="339" y="381"/>
                </a:lnTo>
                <a:lnTo>
                  <a:pt x="337" y="381"/>
                </a:lnTo>
                <a:lnTo>
                  <a:pt x="335" y="384"/>
                </a:lnTo>
                <a:lnTo>
                  <a:pt x="335" y="386"/>
                </a:lnTo>
                <a:lnTo>
                  <a:pt x="332" y="386"/>
                </a:lnTo>
                <a:lnTo>
                  <a:pt x="318" y="393"/>
                </a:lnTo>
                <a:lnTo>
                  <a:pt x="316" y="393"/>
                </a:lnTo>
                <a:lnTo>
                  <a:pt x="314" y="393"/>
                </a:lnTo>
                <a:lnTo>
                  <a:pt x="311" y="391"/>
                </a:lnTo>
                <a:lnTo>
                  <a:pt x="309" y="391"/>
                </a:lnTo>
                <a:lnTo>
                  <a:pt x="309" y="388"/>
                </a:lnTo>
                <a:lnTo>
                  <a:pt x="307" y="391"/>
                </a:lnTo>
                <a:lnTo>
                  <a:pt x="304" y="391"/>
                </a:lnTo>
                <a:lnTo>
                  <a:pt x="304" y="388"/>
                </a:lnTo>
                <a:lnTo>
                  <a:pt x="302" y="388"/>
                </a:lnTo>
                <a:lnTo>
                  <a:pt x="300" y="386"/>
                </a:lnTo>
                <a:lnTo>
                  <a:pt x="297" y="386"/>
                </a:lnTo>
                <a:lnTo>
                  <a:pt x="295" y="384"/>
                </a:lnTo>
                <a:lnTo>
                  <a:pt x="290" y="384"/>
                </a:lnTo>
                <a:lnTo>
                  <a:pt x="276" y="384"/>
                </a:lnTo>
                <a:lnTo>
                  <a:pt x="263" y="381"/>
                </a:lnTo>
                <a:lnTo>
                  <a:pt x="260" y="381"/>
                </a:lnTo>
                <a:lnTo>
                  <a:pt x="258" y="381"/>
                </a:lnTo>
                <a:lnTo>
                  <a:pt x="256" y="379"/>
                </a:lnTo>
                <a:lnTo>
                  <a:pt x="251" y="381"/>
                </a:lnTo>
                <a:lnTo>
                  <a:pt x="244" y="384"/>
                </a:lnTo>
                <a:lnTo>
                  <a:pt x="242" y="386"/>
                </a:lnTo>
                <a:lnTo>
                  <a:pt x="239" y="388"/>
                </a:lnTo>
                <a:lnTo>
                  <a:pt x="230" y="398"/>
                </a:lnTo>
                <a:lnTo>
                  <a:pt x="228" y="398"/>
                </a:lnTo>
                <a:lnTo>
                  <a:pt x="225" y="395"/>
                </a:lnTo>
                <a:lnTo>
                  <a:pt x="223" y="393"/>
                </a:lnTo>
                <a:lnTo>
                  <a:pt x="223" y="391"/>
                </a:lnTo>
                <a:lnTo>
                  <a:pt x="223" y="388"/>
                </a:lnTo>
                <a:lnTo>
                  <a:pt x="221" y="388"/>
                </a:lnTo>
                <a:lnTo>
                  <a:pt x="218" y="388"/>
                </a:lnTo>
                <a:lnTo>
                  <a:pt x="218" y="391"/>
                </a:lnTo>
                <a:lnTo>
                  <a:pt x="216" y="391"/>
                </a:lnTo>
                <a:lnTo>
                  <a:pt x="202" y="395"/>
                </a:lnTo>
                <a:lnTo>
                  <a:pt x="200" y="395"/>
                </a:lnTo>
                <a:lnTo>
                  <a:pt x="197" y="395"/>
                </a:lnTo>
                <a:lnTo>
                  <a:pt x="193" y="393"/>
                </a:lnTo>
                <a:lnTo>
                  <a:pt x="190" y="393"/>
                </a:lnTo>
                <a:lnTo>
                  <a:pt x="188" y="393"/>
                </a:lnTo>
                <a:lnTo>
                  <a:pt x="188" y="395"/>
                </a:lnTo>
                <a:lnTo>
                  <a:pt x="186" y="395"/>
                </a:lnTo>
                <a:lnTo>
                  <a:pt x="183" y="395"/>
                </a:lnTo>
                <a:lnTo>
                  <a:pt x="174" y="398"/>
                </a:lnTo>
                <a:lnTo>
                  <a:pt x="172" y="398"/>
                </a:lnTo>
                <a:lnTo>
                  <a:pt x="162" y="409"/>
                </a:lnTo>
                <a:lnTo>
                  <a:pt x="160" y="409"/>
                </a:lnTo>
                <a:lnTo>
                  <a:pt x="160" y="412"/>
                </a:lnTo>
                <a:lnTo>
                  <a:pt x="160" y="414"/>
                </a:lnTo>
                <a:lnTo>
                  <a:pt x="160" y="416"/>
                </a:lnTo>
                <a:lnTo>
                  <a:pt x="160" y="419"/>
                </a:lnTo>
                <a:lnTo>
                  <a:pt x="158" y="419"/>
                </a:lnTo>
                <a:lnTo>
                  <a:pt x="158" y="421"/>
                </a:lnTo>
                <a:lnTo>
                  <a:pt x="155" y="423"/>
                </a:lnTo>
                <a:lnTo>
                  <a:pt x="153" y="423"/>
                </a:lnTo>
                <a:lnTo>
                  <a:pt x="151" y="421"/>
                </a:lnTo>
                <a:lnTo>
                  <a:pt x="148" y="423"/>
                </a:lnTo>
                <a:lnTo>
                  <a:pt x="146" y="423"/>
                </a:lnTo>
                <a:lnTo>
                  <a:pt x="146" y="426"/>
                </a:lnTo>
                <a:lnTo>
                  <a:pt x="144" y="426"/>
                </a:lnTo>
                <a:lnTo>
                  <a:pt x="144" y="428"/>
                </a:lnTo>
                <a:lnTo>
                  <a:pt x="141" y="430"/>
                </a:lnTo>
                <a:lnTo>
                  <a:pt x="139" y="430"/>
                </a:lnTo>
                <a:lnTo>
                  <a:pt x="139" y="433"/>
                </a:lnTo>
                <a:lnTo>
                  <a:pt x="137" y="433"/>
                </a:lnTo>
                <a:lnTo>
                  <a:pt x="137" y="435"/>
                </a:lnTo>
                <a:lnTo>
                  <a:pt x="137" y="437"/>
                </a:lnTo>
                <a:lnTo>
                  <a:pt x="135" y="440"/>
                </a:lnTo>
                <a:lnTo>
                  <a:pt x="137" y="442"/>
                </a:lnTo>
                <a:lnTo>
                  <a:pt x="137" y="444"/>
                </a:lnTo>
                <a:lnTo>
                  <a:pt x="135" y="444"/>
                </a:lnTo>
                <a:lnTo>
                  <a:pt x="132" y="444"/>
                </a:lnTo>
                <a:lnTo>
                  <a:pt x="132" y="442"/>
                </a:lnTo>
                <a:lnTo>
                  <a:pt x="130" y="442"/>
                </a:lnTo>
                <a:lnTo>
                  <a:pt x="130" y="444"/>
                </a:lnTo>
                <a:lnTo>
                  <a:pt x="125" y="437"/>
                </a:lnTo>
                <a:lnTo>
                  <a:pt x="123" y="433"/>
                </a:lnTo>
                <a:lnTo>
                  <a:pt x="121" y="433"/>
                </a:lnTo>
                <a:lnTo>
                  <a:pt x="121" y="430"/>
                </a:lnTo>
                <a:lnTo>
                  <a:pt x="118" y="430"/>
                </a:lnTo>
                <a:lnTo>
                  <a:pt x="116" y="430"/>
                </a:lnTo>
                <a:lnTo>
                  <a:pt x="114" y="430"/>
                </a:lnTo>
                <a:lnTo>
                  <a:pt x="111" y="430"/>
                </a:lnTo>
                <a:lnTo>
                  <a:pt x="111" y="428"/>
                </a:lnTo>
                <a:lnTo>
                  <a:pt x="109" y="428"/>
                </a:lnTo>
                <a:lnTo>
                  <a:pt x="109" y="426"/>
                </a:lnTo>
                <a:lnTo>
                  <a:pt x="104" y="423"/>
                </a:lnTo>
                <a:lnTo>
                  <a:pt x="104" y="421"/>
                </a:lnTo>
                <a:lnTo>
                  <a:pt x="102" y="421"/>
                </a:lnTo>
                <a:lnTo>
                  <a:pt x="97" y="421"/>
                </a:lnTo>
                <a:lnTo>
                  <a:pt x="95" y="421"/>
                </a:lnTo>
                <a:lnTo>
                  <a:pt x="90" y="419"/>
                </a:lnTo>
                <a:lnTo>
                  <a:pt x="79" y="414"/>
                </a:lnTo>
                <a:lnTo>
                  <a:pt x="76" y="412"/>
                </a:lnTo>
                <a:lnTo>
                  <a:pt x="74" y="409"/>
                </a:lnTo>
                <a:lnTo>
                  <a:pt x="72" y="409"/>
                </a:lnTo>
                <a:lnTo>
                  <a:pt x="69" y="407"/>
                </a:lnTo>
                <a:lnTo>
                  <a:pt x="67" y="407"/>
                </a:lnTo>
                <a:lnTo>
                  <a:pt x="65" y="405"/>
                </a:lnTo>
                <a:lnTo>
                  <a:pt x="65" y="402"/>
                </a:lnTo>
                <a:lnTo>
                  <a:pt x="60" y="400"/>
                </a:lnTo>
                <a:lnTo>
                  <a:pt x="58" y="398"/>
                </a:lnTo>
                <a:lnTo>
                  <a:pt x="55" y="398"/>
                </a:lnTo>
                <a:lnTo>
                  <a:pt x="51" y="398"/>
                </a:lnTo>
                <a:lnTo>
                  <a:pt x="48" y="398"/>
                </a:lnTo>
                <a:lnTo>
                  <a:pt x="44" y="391"/>
                </a:lnTo>
                <a:lnTo>
                  <a:pt x="41" y="391"/>
                </a:lnTo>
                <a:lnTo>
                  <a:pt x="34" y="391"/>
                </a:lnTo>
                <a:lnTo>
                  <a:pt x="32" y="391"/>
                </a:lnTo>
                <a:lnTo>
                  <a:pt x="30" y="391"/>
                </a:lnTo>
                <a:lnTo>
                  <a:pt x="25" y="388"/>
                </a:lnTo>
                <a:lnTo>
                  <a:pt x="18" y="386"/>
                </a:lnTo>
                <a:lnTo>
                  <a:pt x="18" y="384"/>
                </a:lnTo>
                <a:lnTo>
                  <a:pt x="20" y="379"/>
                </a:lnTo>
                <a:lnTo>
                  <a:pt x="25" y="374"/>
                </a:lnTo>
                <a:lnTo>
                  <a:pt x="25" y="372"/>
                </a:lnTo>
                <a:lnTo>
                  <a:pt x="25" y="370"/>
                </a:lnTo>
                <a:lnTo>
                  <a:pt x="20" y="367"/>
                </a:lnTo>
                <a:lnTo>
                  <a:pt x="18" y="365"/>
                </a:lnTo>
                <a:lnTo>
                  <a:pt x="16" y="367"/>
                </a:lnTo>
                <a:lnTo>
                  <a:pt x="13" y="367"/>
                </a:lnTo>
                <a:lnTo>
                  <a:pt x="11" y="367"/>
                </a:lnTo>
                <a:lnTo>
                  <a:pt x="9" y="367"/>
                </a:lnTo>
                <a:lnTo>
                  <a:pt x="9" y="365"/>
                </a:lnTo>
                <a:lnTo>
                  <a:pt x="9" y="363"/>
                </a:lnTo>
                <a:lnTo>
                  <a:pt x="11" y="349"/>
                </a:lnTo>
                <a:lnTo>
                  <a:pt x="9" y="346"/>
                </a:lnTo>
                <a:lnTo>
                  <a:pt x="9" y="344"/>
                </a:lnTo>
                <a:lnTo>
                  <a:pt x="9" y="342"/>
                </a:lnTo>
                <a:lnTo>
                  <a:pt x="7" y="337"/>
                </a:lnTo>
                <a:lnTo>
                  <a:pt x="7" y="332"/>
                </a:lnTo>
                <a:lnTo>
                  <a:pt x="4" y="330"/>
                </a:lnTo>
                <a:lnTo>
                  <a:pt x="4" y="328"/>
                </a:lnTo>
                <a:lnTo>
                  <a:pt x="0" y="321"/>
                </a:lnTo>
                <a:lnTo>
                  <a:pt x="0" y="318"/>
                </a:lnTo>
                <a:lnTo>
                  <a:pt x="0" y="316"/>
                </a:lnTo>
                <a:lnTo>
                  <a:pt x="0" y="312"/>
                </a:lnTo>
                <a:lnTo>
                  <a:pt x="2" y="312"/>
                </a:lnTo>
                <a:lnTo>
                  <a:pt x="2" y="309"/>
                </a:lnTo>
                <a:lnTo>
                  <a:pt x="2" y="307"/>
                </a:lnTo>
                <a:lnTo>
                  <a:pt x="2" y="305"/>
                </a:lnTo>
                <a:lnTo>
                  <a:pt x="4" y="305"/>
                </a:lnTo>
                <a:lnTo>
                  <a:pt x="4" y="302"/>
                </a:lnTo>
                <a:lnTo>
                  <a:pt x="4" y="298"/>
                </a:lnTo>
                <a:lnTo>
                  <a:pt x="7" y="295"/>
                </a:lnTo>
                <a:lnTo>
                  <a:pt x="7" y="293"/>
                </a:lnTo>
                <a:lnTo>
                  <a:pt x="7" y="291"/>
                </a:lnTo>
                <a:lnTo>
                  <a:pt x="9" y="291"/>
                </a:lnTo>
                <a:lnTo>
                  <a:pt x="11" y="286"/>
                </a:lnTo>
                <a:lnTo>
                  <a:pt x="13" y="286"/>
                </a:lnTo>
                <a:lnTo>
                  <a:pt x="13" y="284"/>
                </a:lnTo>
                <a:lnTo>
                  <a:pt x="13" y="281"/>
                </a:lnTo>
                <a:lnTo>
                  <a:pt x="13" y="279"/>
                </a:lnTo>
                <a:lnTo>
                  <a:pt x="16" y="277"/>
                </a:lnTo>
                <a:lnTo>
                  <a:pt x="16" y="274"/>
                </a:lnTo>
                <a:lnTo>
                  <a:pt x="16" y="272"/>
                </a:lnTo>
                <a:lnTo>
                  <a:pt x="18" y="270"/>
                </a:lnTo>
                <a:lnTo>
                  <a:pt x="23" y="267"/>
                </a:lnTo>
                <a:lnTo>
                  <a:pt x="25" y="267"/>
                </a:lnTo>
                <a:lnTo>
                  <a:pt x="27" y="267"/>
                </a:lnTo>
                <a:lnTo>
                  <a:pt x="27" y="265"/>
                </a:lnTo>
                <a:lnTo>
                  <a:pt x="30" y="265"/>
                </a:lnTo>
                <a:lnTo>
                  <a:pt x="32" y="263"/>
                </a:lnTo>
                <a:lnTo>
                  <a:pt x="34" y="260"/>
                </a:lnTo>
                <a:lnTo>
                  <a:pt x="34" y="258"/>
                </a:lnTo>
                <a:lnTo>
                  <a:pt x="37" y="256"/>
                </a:lnTo>
                <a:lnTo>
                  <a:pt x="37" y="253"/>
                </a:lnTo>
                <a:lnTo>
                  <a:pt x="39" y="253"/>
                </a:lnTo>
                <a:lnTo>
                  <a:pt x="41" y="251"/>
                </a:lnTo>
                <a:lnTo>
                  <a:pt x="41" y="249"/>
                </a:lnTo>
                <a:lnTo>
                  <a:pt x="41" y="246"/>
                </a:lnTo>
                <a:lnTo>
                  <a:pt x="41" y="244"/>
                </a:lnTo>
                <a:lnTo>
                  <a:pt x="39" y="244"/>
                </a:lnTo>
                <a:lnTo>
                  <a:pt x="37" y="244"/>
                </a:lnTo>
                <a:lnTo>
                  <a:pt x="37" y="242"/>
                </a:lnTo>
                <a:lnTo>
                  <a:pt x="37" y="239"/>
                </a:lnTo>
                <a:lnTo>
                  <a:pt x="39" y="239"/>
                </a:lnTo>
                <a:lnTo>
                  <a:pt x="39" y="237"/>
                </a:lnTo>
                <a:lnTo>
                  <a:pt x="41" y="235"/>
                </a:lnTo>
                <a:lnTo>
                  <a:pt x="46" y="235"/>
                </a:lnTo>
                <a:lnTo>
                  <a:pt x="46" y="232"/>
                </a:lnTo>
                <a:lnTo>
                  <a:pt x="46" y="230"/>
                </a:lnTo>
                <a:lnTo>
                  <a:pt x="48" y="228"/>
                </a:lnTo>
                <a:lnTo>
                  <a:pt x="51" y="228"/>
                </a:lnTo>
                <a:lnTo>
                  <a:pt x="53" y="225"/>
                </a:lnTo>
                <a:lnTo>
                  <a:pt x="55" y="223"/>
                </a:lnTo>
                <a:lnTo>
                  <a:pt x="58" y="223"/>
                </a:lnTo>
                <a:lnTo>
                  <a:pt x="60" y="223"/>
                </a:lnTo>
                <a:lnTo>
                  <a:pt x="62" y="218"/>
                </a:lnTo>
                <a:lnTo>
                  <a:pt x="65" y="216"/>
                </a:lnTo>
                <a:lnTo>
                  <a:pt x="65" y="214"/>
                </a:lnTo>
                <a:lnTo>
                  <a:pt x="67" y="214"/>
                </a:lnTo>
                <a:lnTo>
                  <a:pt x="69" y="214"/>
                </a:lnTo>
                <a:lnTo>
                  <a:pt x="72" y="214"/>
                </a:lnTo>
                <a:lnTo>
                  <a:pt x="79" y="214"/>
                </a:lnTo>
                <a:lnTo>
                  <a:pt x="79" y="211"/>
                </a:lnTo>
                <a:lnTo>
                  <a:pt x="81" y="211"/>
                </a:lnTo>
                <a:lnTo>
                  <a:pt x="83" y="209"/>
                </a:lnTo>
                <a:lnTo>
                  <a:pt x="86" y="209"/>
                </a:lnTo>
                <a:lnTo>
                  <a:pt x="88" y="209"/>
                </a:lnTo>
                <a:lnTo>
                  <a:pt x="90" y="207"/>
                </a:lnTo>
                <a:lnTo>
                  <a:pt x="93" y="204"/>
                </a:lnTo>
                <a:lnTo>
                  <a:pt x="95" y="200"/>
                </a:lnTo>
                <a:lnTo>
                  <a:pt x="95" y="197"/>
                </a:lnTo>
                <a:lnTo>
                  <a:pt x="95" y="195"/>
                </a:lnTo>
                <a:lnTo>
                  <a:pt x="95" y="193"/>
                </a:lnTo>
                <a:lnTo>
                  <a:pt x="97" y="193"/>
                </a:lnTo>
                <a:lnTo>
                  <a:pt x="100" y="190"/>
                </a:lnTo>
                <a:lnTo>
                  <a:pt x="100" y="188"/>
                </a:lnTo>
                <a:lnTo>
                  <a:pt x="102" y="183"/>
                </a:lnTo>
                <a:lnTo>
                  <a:pt x="102" y="181"/>
                </a:lnTo>
                <a:lnTo>
                  <a:pt x="102" y="179"/>
                </a:lnTo>
                <a:lnTo>
                  <a:pt x="102" y="176"/>
                </a:lnTo>
                <a:lnTo>
                  <a:pt x="104" y="176"/>
                </a:lnTo>
                <a:lnTo>
                  <a:pt x="104" y="174"/>
                </a:lnTo>
                <a:lnTo>
                  <a:pt x="104" y="172"/>
                </a:lnTo>
                <a:lnTo>
                  <a:pt x="107" y="170"/>
                </a:lnTo>
                <a:lnTo>
                  <a:pt x="109" y="170"/>
                </a:lnTo>
                <a:lnTo>
                  <a:pt x="109" y="167"/>
                </a:lnTo>
                <a:lnTo>
                  <a:pt x="114" y="165"/>
                </a:lnTo>
                <a:lnTo>
                  <a:pt x="114" y="163"/>
                </a:lnTo>
                <a:lnTo>
                  <a:pt x="116" y="163"/>
                </a:lnTo>
                <a:lnTo>
                  <a:pt x="118" y="163"/>
                </a:lnTo>
                <a:lnTo>
                  <a:pt x="118" y="160"/>
                </a:lnTo>
                <a:lnTo>
                  <a:pt x="121" y="160"/>
                </a:lnTo>
                <a:lnTo>
                  <a:pt x="123" y="160"/>
                </a:lnTo>
                <a:lnTo>
                  <a:pt x="125" y="158"/>
                </a:lnTo>
                <a:lnTo>
                  <a:pt x="128" y="158"/>
                </a:lnTo>
                <a:lnTo>
                  <a:pt x="128" y="160"/>
                </a:lnTo>
                <a:lnTo>
                  <a:pt x="128" y="163"/>
                </a:lnTo>
                <a:lnTo>
                  <a:pt x="130" y="160"/>
                </a:lnTo>
                <a:lnTo>
                  <a:pt x="132" y="160"/>
                </a:lnTo>
                <a:lnTo>
                  <a:pt x="135" y="160"/>
                </a:lnTo>
                <a:lnTo>
                  <a:pt x="137" y="158"/>
                </a:lnTo>
                <a:lnTo>
                  <a:pt x="137" y="156"/>
                </a:lnTo>
                <a:lnTo>
                  <a:pt x="139" y="156"/>
                </a:lnTo>
                <a:lnTo>
                  <a:pt x="139" y="153"/>
                </a:lnTo>
                <a:lnTo>
                  <a:pt x="141" y="151"/>
                </a:lnTo>
                <a:lnTo>
                  <a:pt x="141" y="149"/>
                </a:lnTo>
                <a:lnTo>
                  <a:pt x="141" y="144"/>
                </a:lnTo>
                <a:lnTo>
                  <a:pt x="144" y="144"/>
                </a:lnTo>
                <a:lnTo>
                  <a:pt x="144" y="142"/>
                </a:lnTo>
                <a:lnTo>
                  <a:pt x="144" y="139"/>
                </a:lnTo>
                <a:lnTo>
                  <a:pt x="146" y="139"/>
                </a:lnTo>
                <a:lnTo>
                  <a:pt x="146" y="137"/>
                </a:lnTo>
                <a:lnTo>
                  <a:pt x="148" y="135"/>
                </a:lnTo>
                <a:lnTo>
                  <a:pt x="148" y="132"/>
                </a:lnTo>
                <a:lnTo>
                  <a:pt x="148" y="130"/>
                </a:lnTo>
                <a:lnTo>
                  <a:pt x="148" y="128"/>
                </a:lnTo>
                <a:lnTo>
                  <a:pt x="148" y="125"/>
                </a:lnTo>
                <a:lnTo>
                  <a:pt x="148" y="123"/>
                </a:lnTo>
                <a:lnTo>
                  <a:pt x="148" y="121"/>
                </a:lnTo>
                <a:lnTo>
                  <a:pt x="151" y="118"/>
                </a:lnTo>
                <a:lnTo>
                  <a:pt x="151" y="116"/>
                </a:lnTo>
                <a:lnTo>
                  <a:pt x="151" y="114"/>
                </a:lnTo>
                <a:lnTo>
                  <a:pt x="153" y="109"/>
                </a:lnTo>
                <a:lnTo>
                  <a:pt x="153" y="107"/>
                </a:lnTo>
                <a:lnTo>
                  <a:pt x="155" y="107"/>
                </a:lnTo>
                <a:lnTo>
                  <a:pt x="158" y="104"/>
                </a:lnTo>
                <a:lnTo>
                  <a:pt x="160" y="104"/>
                </a:lnTo>
                <a:lnTo>
                  <a:pt x="160" y="102"/>
                </a:lnTo>
                <a:lnTo>
                  <a:pt x="158" y="102"/>
                </a:lnTo>
                <a:lnTo>
                  <a:pt x="158" y="100"/>
                </a:lnTo>
                <a:lnTo>
                  <a:pt x="158" y="97"/>
                </a:lnTo>
                <a:lnTo>
                  <a:pt x="158" y="95"/>
                </a:lnTo>
                <a:lnTo>
                  <a:pt x="160" y="93"/>
                </a:lnTo>
                <a:lnTo>
                  <a:pt x="160" y="90"/>
                </a:lnTo>
                <a:lnTo>
                  <a:pt x="160" y="88"/>
                </a:lnTo>
                <a:lnTo>
                  <a:pt x="160" y="86"/>
                </a:lnTo>
                <a:lnTo>
                  <a:pt x="160" y="83"/>
                </a:lnTo>
                <a:lnTo>
                  <a:pt x="160" y="81"/>
                </a:lnTo>
                <a:lnTo>
                  <a:pt x="160" y="79"/>
                </a:lnTo>
                <a:lnTo>
                  <a:pt x="162" y="79"/>
                </a:lnTo>
                <a:lnTo>
                  <a:pt x="165" y="79"/>
                </a:lnTo>
                <a:lnTo>
                  <a:pt x="165" y="76"/>
                </a:lnTo>
                <a:lnTo>
                  <a:pt x="165" y="74"/>
                </a:lnTo>
                <a:lnTo>
                  <a:pt x="167" y="69"/>
                </a:lnTo>
                <a:lnTo>
                  <a:pt x="167" y="67"/>
                </a:lnTo>
                <a:lnTo>
                  <a:pt x="169" y="67"/>
                </a:lnTo>
                <a:lnTo>
                  <a:pt x="169" y="65"/>
                </a:lnTo>
                <a:lnTo>
                  <a:pt x="172" y="65"/>
                </a:lnTo>
                <a:lnTo>
                  <a:pt x="172" y="62"/>
                </a:lnTo>
                <a:lnTo>
                  <a:pt x="174" y="62"/>
                </a:lnTo>
                <a:lnTo>
                  <a:pt x="174" y="60"/>
                </a:lnTo>
                <a:lnTo>
                  <a:pt x="174" y="58"/>
                </a:lnTo>
                <a:lnTo>
                  <a:pt x="176" y="58"/>
                </a:lnTo>
                <a:lnTo>
                  <a:pt x="176" y="55"/>
                </a:lnTo>
                <a:lnTo>
                  <a:pt x="179" y="51"/>
                </a:lnTo>
                <a:lnTo>
                  <a:pt x="179" y="48"/>
                </a:lnTo>
                <a:lnTo>
                  <a:pt x="179" y="46"/>
                </a:lnTo>
                <a:lnTo>
                  <a:pt x="179" y="44"/>
                </a:lnTo>
                <a:lnTo>
                  <a:pt x="179" y="41"/>
                </a:lnTo>
                <a:lnTo>
                  <a:pt x="179" y="39"/>
                </a:lnTo>
                <a:lnTo>
                  <a:pt x="181" y="39"/>
                </a:lnTo>
                <a:lnTo>
                  <a:pt x="181" y="37"/>
                </a:lnTo>
                <a:lnTo>
                  <a:pt x="183" y="34"/>
                </a:lnTo>
                <a:lnTo>
                  <a:pt x="186" y="34"/>
                </a:lnTo>
                <a:lnTo>
                  <a:pt x="186" y="32"/>
                </a:lnTo>
                <a:lnTo>
                  <a:pt x="188" y="30"/>
                </a:lnTo>
                <a:lnTo>
                  <a:pt x="188" y="27"/>
                </a:lnTo>
                <a:lnTo>
                  <a:pt x="186" y="27"/>
                </a:lnTo>
                <a:lnTo>
                  <a:pt x="188" y="25"/>
                </a:lnTo>
                <a:lnTo>
                  <a:pt x="188" y="23"/>
                </a:lnTo>
                <a:lnTo>
                  <a:pt x="188" y="21"/>
                </a:lnTo>
                <a:lnTo>
                  <a:pt x="188" y="18"/>
                </a:lnTo>
                <a:lnTo>
                  <a:pt x="190" y="18"/>
                </a:lnTo>
                <a:lnTo>
                  <a:pt x="190" y="16"/>
                </a:lnTo>
                <a:lnTo>
                  <a:pt x="193" y="16"/>
                </a:lnTo>
                <a:lnTo>
                  <a:pt x="193" y="14"/>
                </a:lnTo>
                <a:lnTo>
                  <a:pt x="193" y="11"/>
                </a:lnTo>
                <a:lnTo>
                  <a:pt x="195" y="11"/>
                </a:lnTo>
                <a:lnTo>
                  <a:pt x="195" y="9"/>
                </a:lnTo>
                <a:lnTo>
                  <a:pt x="197" y="9"/>
                </a:lnTo>
                <a:lnTo>
                  <a:pt x="197" y="7"/>
                </a:lnTo>
                <a:lnTo>
                  <a:pt x="200" y="7"/>
                </a:lnTo>
                <a:lnTo>
                  <a:pt x="200" y="4"/>
                </a:lnTo>
                <a:lnTo>
                  <a:pt x="202" y="4"/>
                </a:lnTo>
                <a:lnTo>
                  <a:pt x="204" y="2"/>
                </a:lnTo>
                <a:lnTo>
                  <a:pt x="209" y="0"/>
                </a:lnTo>
                <a:lnTo>
                  <a:pt x="211" y="0"/>
                </a:lnTo>
                <a:lnTo>
                  <a:pt x="211" y="2"/>
                </a:lnTo>
                <a:lnTo>
                  <a:pt x="211" y="4"/>
                </a:lnTo>
                <a:lnTo>
                  <a:pt x="209" y="4"/>
                </a:lnTo>
                <a:lnTo>
                  <a:pt x="207" y="9"/>
                </a:lnTo>
                <a:lnTo>
                  <a:pt x="204" y="11"/>
                </a:lnTo>
                <a:lnTo>
                  <a:pt x="207" y="14"/>
                </a:lnTo>
                <a:lnTo>
                  <a:pt x="204" y="16"/>
                </a:lnTo>
                <a:lnTo>
                  <a:pt x="202" y="21"/>
                </a:lnTo>
                <a:lnTo>
                  <a:pt x="200" y="23"/>
                </a:lnTo>
                <a:lnTo>
                  <a:pt x="200" y="30"/>
                </a:lnTo>
                <a:lnTo>
                  <a:pt x="200" y="32"/>
                </a:lnTo>
                <a:lnTo>
                  <a:pt x="202" y="32"/>
                </a:lnTo>
                <a:lnTo>
                  <a:pt x="214" y="39"/>
                </a:lnTo>
                <a:lnTo>
                  <a:pt x="216" y="39"/>
                </a:lnTo>
                <a:lnTo>
                  <a:pt x="218" y="39"/>
                </a:lnTo>
                <a:lnTo>
                  <a:pt x="218" y="41"/>
                </a:lnTo>
                <a:lnTo>
                  <a:pt x="221" y="44"/>
                </a:lnTo>
                <a:lnTo>
                  <a:pt x="235" y="51"/>
                </a:lnTo>
                <a:lnTo>
                  <a:pt x="242" y="53"/>
                </a:lnTo>
                <a:lnTo>
                  <a:pt x="246" y="53"/>
                </a:lnTo>
                <a:lnTo>
                  <a:pt x="251" y="58"/>
                </a:lnTo>
                <a:lnTo>
                  <a:pt x="253" y="58"/>
                </a:lnTo>
                <a:lnTo>
                  <a:pt x="253" y="55"/>
                </a:lnTo>
                <a:lnTo>
                  <a:pt x="256" y="55"/>
                </a:lnTo>
                <a:lnTo>
                  <a:pt x="256" y="53"/>
                </a:lnTo>
                <a:lnTo>
                  <a:pt x="256" y="51"/>
                </a:lnTo>
                <a:lnTo>
                  <a:pt x="260" y="41"/>
                </a:lnTo>
                <a:lnTo>
                  <a:pt x="272" y="25"/>
                </a:lnTo>
                <a:lnTo>
                  <a:pt x="276" y="23"/>
                </a:lnTo>
                <a:lnTo>
                  <a:pt x="279" y="21"/>
                </a:lnTo>
                <a:lnTo>
                  <a:pt x="281" y="21"/>
                </a:lnTo>
                <a:lnTo>
                  <a:pt x="279" y="25"/>
                </a:lnTo>
                <a:lnTo>
                  <a:pt x="279" y="27"/>
                </a:lnTo>
                <a:lnTo>
                  <a:pt x="281" y="27"/>
                </a:lnTo>
                <a:lnTo>
                  <a:pt x="283" y="30"/>
                </a:lnTo>
                <a:lnTo>
                  <a:pt x="288" y="32"/>
                </a:lnTo>
                <a:lnTo>
                  <a:pt x="290" y="34"/>
                </a:lnTo>
                <a:lnTo>
                  <a:pt x="290" y="37"/>
                </a:lnTo>
                <a:lnTo>
                  <a:pt x="293" y="39"/>
                </a:lnTo>
                <a:lnTo>
                  <a:pt x="293" y="41"/>
                </a:lnTo>
                <a:lnTo>
                  <a:pt x="290" y="44"/>
                </a:lnTo>
                <a:lnTo>
                  <a:pt x="290" y="46"/>
                </a:lnTo>
                <a:lnTo>
                  <a:pt x="293" y="48"/>
                </a:lnTo>
                <a:lnTo>
                  <a:pt x="293" y="51"/>
                </a:lnTo>
                <a:lnTo>
                  <a:pt x="293" y="58"/>
                </a:lnTo>
                <a:lnTo>
                  <a:pt x="290" y="62"/>
                </a:lnTo>
                <a:lnTo>
                  <a:pt x="290" y="65"/>
                </a:lnTo>
                <a:lnTo>
                  <a:pt x="290" y="67"/>
                </a:lnTo>
                <a:lnTo>
                  <a:pt x="293" y="69"/>
                </a:lnTo>
                <a:lnTo>
                  <a:pt x="295" y="67"/>
                </a:lnTo>
                <a:lnTo>
                  <a:pt x="297" y="67"/>
                </a:lnTo>
                <a:lnTo>
                  <a:pt x="297" y="65"/>
                </a:lnTo>
                <a:lnTo>
                  <a:pt x="297" y="62"/>
                </a:lnTo>
                <a:lnTo>
                  <a:pt x="297" y="58"/>
                </a:lnTo>
                <a:lnTo>
                  <a:pt x="300" y="58"/>
                </a:lnTo>
                <a:lnTo>
                  <a:pt x="300" y="55"/>
                </a:lnTo>
                <a:lnTo>
                  <a:pt x="302" y="55"/>
                </a:lnTo>
                <a:lnTo>
                  <a:pt x="304" y="55"/>
                </a:lnTo>
                <a:lnTo>
                  <a:pt x="309" y="58"/>
                </a:lnTo>
                <a:lnTo>
                  <a:pt x="314" y="58"/>
                </a:lnTo>
                <a:lnTo>
                  <a:pt x="316" y="58"/>
                </a:lnTo>
                <a:lnTo>
                  <a:pt x="318" y="58"/>
                </a:lnTo>
                <a:lnTo>
                  <a:pt x="321" y="58"/>
                </a:lnTo>
                <a:lnTo>
                  <a:pt x="328" y="53"/>
                </a:lnTo>
                <a:lnTo>
                  <a:pt x="330" y="51"/>
                </a:lnTo>
                <a:lnTo>
                  <a:pt x="332" y="51"/>
                </a:lnTo>
                <a:lnTo>
                  <a:pt x="332" y="53"/>
                </a:lnTo>
                <a:lnTo>
                  <a:pt x="330" y="58"/>
                </a:lnTo>
                <a:lnTo>
                  <a:pt x="332" y="60"/>
                </a:lnTo>
                <a:lnTo>
                  <a:pt x="335" y="60"/>
                </a:lnTo>
                <a:lnTo>
                  <a:pt x="337" y="62"/>
                </a:lnTo>
                <a:lnTo>
                  <a:pt x="339" y="65"/>
                </a:lnTo>
                <a:lnTo>
                  <a:pt x="342" y="65"/>
                </a:lnTo>
                <a:lnTo>
                  <a:pt x="344" y="65"/>
                </a:lnTo>
                <a:lnTo>
                  <a:pt x="346" y="67"/>
                </a:lnTo>
                <a:lnTo>
                  <a:pt x="349" y="67"/>
                </a:lnTo>
                <a:lnTo>
                  <a:pt x="358" y="72"/>
                </a:lnTo>
                <a:lnTo>
                  <a:pt x="360" y="72"/>
                </a:lnTo>
                <a:lnTo>
                  <a:pt x="360" y="69"/>
                </a:lnTo>
                <a:lnTo>
                  <a:pt x="358" y="62"/>
                </a:lnTo>
                <a:lnTo>
                  <a:pt x="358" y="60"/>
                </a:lnTo>
                <a:lnTo>
                  <a:pt x="358" y="58"/>
                </a:lnTo>
                <a:lnTo>
                  <a:pt x="360" y="58"/>
                </a:lnTo>
                <a:lnTo>
                  <a:pt x="363" y="58"/>
                </a:lnTo>
                <a:lnTo>
                  <a:pt x="363" y="55"/>
                </a:lnTo>
                <a:lnTo>
                  <a:pt x="363" y="58"/>
                </a:lnTo>
                <a:lnTo>
                  <a:pt x="363" y="60"/>
                </a:lnTo>
                <a:lnTo>
                  <a:pt x="365" y="62"/>
                </a:lnTo>
                <a:lnTo>
                  <a:pt x="365" y="65"/>
                </a:lnTo>
                <a:lnTo>
                  <a:pt x="367" y="67"/>
                </a:lnTo>
                <a:lnTo>
                  <a:pt x="367" y="69"/>
                </a:lnTo>
                <a:lnTo>
                  <a:pt x="370" y="69"/>
                </a:lnTo>
                <a:lnTo>
                  <a:pt x="370" y="67"/>
                </a:lnTo>
                <a:lnTo>
                  <a:pt x="374" y="67"/>
                </a:lnTo>
                <a:lnTo>
                  <a:pt x="377" y="67"/>
                </a:lnTo>
                <a:lnTo>
                  <a:pt x="381" y="65"/>
                </a:lnTo>
                <a:lnTo>
                  <a:pt x="384" y="65"/>
                </a:lnTo>
                <a:lnTo>
                  <a:pt x="386" y="65"/>
                </a:lnTo>
                <a:lnTo>
                  <a:pt x="397" y="60"/>
                </a:lnTo>
                <a:lnTo>
                  <a:pt x="400" y="58"/>
                </a:lnTo>
                <a:lnTo>
                  <a:pt x="404" y="58"/>
                </a:lnTo>
                <a:lnTo>
                  <a:pt x="407" y="58"/>
                </a:lnTo>
                <a:lnTo>
                  <a:pt x="407" y="60"/>
                </a:lnTo>
                <a:lnTo>
                  <a:pt x="411" y="60"/>
                </a:lnTo>
                <a:lnTo>
                  <a:pt x="414" y="60"/>
                </a:lnTo>
                <a:lnTo>
                  <a:pt x="416" y="60"/>
                </a:lnTo>
                <a:lnTo>
                  <a:pt x="416" y="58"/>
                </a:lnTo>
                <a:lnTo>
                  <a:pt x="418" y="58"/>
                </a:lnTo>
                <a:lnTo>
                  <a:pt x="425" y="51"/>
                </a:lnTo>
                <a:lnTo>
                  <a:pt x="428" y="51"/>
                </a:lnTo>
                <a:lnTo>
                  <a:pt x="430" y="48"/>
                </a:lnTo>
                <a:lnTo>
                  <a:pt x="435" y="48"/>
                </a:lnTo>
                <a:lnTo>
                  <a:pt x="437" y="48"/>
                </a:lnTo>
                <a:lnTo>
                  <a:pt x="439" y="48"/>
                </a:lnTo>
                <a:lnTo>
                  <a:pt x="444" y="48"/>
                </a:lnTo>
                <a:lnTo>
                  <a:pt x="449" y="48"/>
                </a:lnTo>
                <a:lnTo>
                  <a:pt x="453" y="46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23" name="Freeform 6">
            <a:extLst>
              <a:ext uri="{FF2B5EF4-FFF2-40B4-BE49-F238E27FC236}">
                <a16:creationId xmlns:a16="http://schemas.microsoft.com/office/drawing/2014/main" id="{8B4C8EBA-24E1-B038-41C5-7873C4A14403}"/>
              </a:ext>
            </a:extLst>
          </p:cNvPr>
          <p:cNvSpPr>
            <a:spLocks noEditPoints="1"/>
          </p:cNvSpPr>
          <p:nvPr/>
        </p:nvSpPr>
        <p:spPr bwMode="auto">
          <a:xfrm>
            <a:off x="3053036" y="4549807"/>
            <a:ext cx="617403" cy="400382"/>
          </a:xfrm>
          <a:custGeom>
            <a:avLst/>
            <a:gdLst>
              <a:gd name="T0" fmla="*/ 298 w 524"/>
              <a:gd name="T1" fmla="*/ 333 h 356"/>
              <a:gd name="T2" fmla="*/ 389 w 524"/>
              <a:gd name="T3" fmla="*/ 282 h 356"/>
              <a:gd name="T4" fmla="*/ 451 w 524"/>
              <a:gd name="T5" fmla="*/ 286 h 356"/>
              <a:gd name="T6" fmla="*/ 454 w 524"/>
              <a:gd name="T7" fmla="*/ 277 h 356"/>
              <a:gd name="T8" fmla="*/ 237 w 524"/>
              <a:gd name="T9" fmla="*/ 23 h 356"/>
              <a:gd name="T10" fmla="*/ 256 w 524"/>
              <a:gd name="T11" fmla="*/ 33 h 356"/>
              <a:gd name="T12" fmla="*/ 263 w 524"/>
              <a:gd name="T13" fmla="*/ 35 h 356"/>
              <a:gd name="T14" fmla="*/ 298 w 524"/>
              <a:gd name="T15" fmla="*/ 30 h 356"/>
              <a:gd name="T16" fmla="*/ 316 w 524"/>
              <a:gd name="T17" fmla="*/ 30 h 356"/>
              <a:gd name="T18" fmla="*/ 335 w 524"/>
              <a:gd name="T19" fmla="*/ 26 h 356"/>
              <a:gd name="T20" fmla="*/ 356 w 524"/>
              <a:gd name="T21" fmla="*/ 35 h 356"/>
              <a:gd name="T22" fmla="*/ 363 w 524"/>
              <a:gd name="T23" fmla="*/ 63 h 356"/>
              <a:gd name="T24" fmla="*/ 361 w 524"/>
              <a:gd name="T25" fmla="*/ 91 h 356"/>
              <a:gd name="T26" fmla="*/ 372 w 524"/>
              <a:gd name="T27" fmla="*/ 119 h 356"/>
              <a:gd name="T28" fmla="*/ 393 w 524"/>
              <a:gd name="T29" fmla="*/ 121 h 356"/>
              <a:gd name="T30" fmla="*/ 386 w 524"/>
              <a:gd name="T31" fmla="*/ 144 h 356"/>
              <a:gd name="T32" fmla="*/ 386 w 524"/>
              <a:gd name="T33" fmla="*/ 165 h 356"/>
              <a:gd name="T34" fmla="*/ 391 w 524"/>
              <a:gd name="T35" fmla="*/ 191 h 356"/>
              <a:gd name="T36" fmla="*/ 393 w 524"/>
              <a:gd name="T37" fmla="*/ 203 h 356"/>
              <a:gd name="T38" fmla="*/ 409 w 524"/>
              <a:gd name="T39" fmla="*/ 217 h 356"/>
              <a:gd name="T40" fmla="*/ 430 w 524"/>
              <a:gd name="T41" fmla="*/ 212 h 356"/>
              <a:gd name="T42" fmla="*/ 437 w 524"/>
              <a:gd name="T43" fmla="*/ 198 h 356"/>
              <a:gd name="T44" fmla="*/ 454 w 524"/>
              <a:gd name="T45" fmla="*/ 205 h 356"/>
              <a:gd name="T46" fmla="*/ 486 w 524"/>
              <a:gd name="T47" fmla="*/ 193 h 356"/>
              <a:gd name="T48" fmla="*/ 507 w 524"/>
              <a:gd name="T49" fmla="*/ 210 h 356"/>
              <a:gd name="T50" fmla="*/ 519 w 524"/>
              <a:gd name="T51" fmla="*/ 219 h 356"/>
              <a:gd name="T52" fmla="*/ 496 w 524"/>
              <a:gd name="T53" fmla="*/ 224 h 356"/>
              <a:gd name="T54" fmla="*/ 479 w 524"/>
              <a:gd name="T55" fmla="*/ 242 h 356"/>
              <a:gd name="T56" fmla="*/ 472 w 524"/>
              <a:gd name="T57" fmla="*/ 252 h 356"/>
              <a:gd name="T58" fmla="*/ 461 w 524"/>
              <a:gd name="T59" fmla="*/ 259 h 356"/>
              <a:gd name="T60" fmla="*/ 444 w 524"/>
              <a:gd name="T61" fmla="*/ 270 h 356"/>
              <a:gd name="T62" fmla="*/ 430 w 524"/>
              <a:gd name="T63" fmla="*/ 275 h 356"/>
              <a:gd name="T64" fmla="*/ 396 w 524"/>
              <a:gd name="T65" fmla="*/ 280 h 356"/>
              <a:gd name="T66" fmla="*/ 393 w 524"/>
              <a:gd name="T67" fmla="*/ 280 h 356"/>
              <a:gd name="T68" fmla="*/ 382 w 524"/>
              <a:gd name="T69" fmla="*/ 286 h 356"/>
              <a:gd name="T70" fmla="*/ 342 w 524"/>
              <a:gd name="T71" fmla="*/ 310 h 356"/>
              <a:gd name="T72" fmla="*/ 293 w 524"/>
              <a:gd name="T73" fmla="*/ 340 h 356"/>
              <a:gd name="T74" fmla="*/ 293 w 524"/>
              <a:gd name="T75" fmla="*/ 347 h 356"/>
              <a:gd name="T76" fmla="*/ 279 w 524"/>
              <a:gd name="T77" fmla="*/ 349 h 356"/>
              <a:gd name="T78" fmla="*/ 261 w 524"/>
              <a:gd name="T79" fmla="*/ 338 h 356"/>
              <a:gd name="T80" fmla="*/ 258 w 524"/>
              <a:gd name="T81" fmla="*/ 314 h 356"/>
              <a:gd name="T82" fmla="*/ 233 w 524"/>
              <a:gd name="T83" fmla="*/ 310 h 356"/>
              <a:gd name="T84" fmla="*/ 219 w 524"/>
              <a:gd name="T85" fmla="*/ 300 h 356"/>
              <a:gd name="T86" fmla="*/ 216 w 524"/>
              <a:gd name="T87" fmla="*/ 280 h 356"/>
              <a:gd name="T88" fmla="*/ 205 w 524"/>
              <a:gd name="T89" fmla="*/ 261 h 356"/>
              <a:gd name="T90" fmla="*/ 202 w 524"/>
              <a:gd name="T91" fmla="*/ 235 h 356"/>
              <a:gd name="T92" fmla="*/ 188 w 524"/>
              <a:gd name="T93" fmla="*/ 205 h 356"/>
              <a:gd name="T94" fmla="*/ 165 w 524"/>
              <a:gd name="T95" fmla="*/ 200 h 356"/>
              <a:gd name="T96" fmla="*/ 142 w 524"/>
              <a:gd name="T97" fmla="*/ 198 h 356"/>
              <a:gd name="T98" fmla="*/ 107 w 524"/>
              <a:gd name="T99" fmla="*/ 177 h 356"/>
              <a:gd name="T100" fmla="*/ 84 w 524"/>
              <a:gd name="T101" fmla="*/ 172 h 356"/>
              <a:gd name="T102" fmla="*/ 53 w 524"/>
              <a:gd name="T103" fmla="*/ 170 h 356"/>
              <a:gd name="T104" fmla="*/ 21 w 524"/>
              <a:gd name="T105" fmla="*/ 168 h 356"/>
              <a:gd name="T106" fmla="*/ 7 w 524"/>
              <a:gd name="T107" fmla="*/ 165 h 356"/>
              <a:gd name="T108" fmla="*/ 37 w 524"/>
              <a:gd name="T109" fmla="*/ 147 h 356"/>
              <a:gd name="T110" fmla="*/ 58 w 524"/>
              <a:gd name="T111" fmla="*/ 124 h 356"/>
              <a:gd name="T112" fmla="*/ 67 w 524"/>
              <a:gd name="T113" fmla="*/ 100 h 356"/>
              <a:gd name="T114" fmla="*/ 88 w 524"/>
              <a:gd name="T115" fmla="*/ 75 h 356"/>
              <a:gd name="T116" fmla="*/ 109 w 524"/>
              <a:gd name="T117" fmla="*/ 40 h 356"/>
              <a:gd name="T118" fmla="*/ 158 w 524"/>
              <a:gd name="T119" fmla="*/ 7 h 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24" h="356">
                <a:moveTo>
                  <a:pt x="321" y="321"/>
                </a:moveTo>
                <a:lnTo>
                  <a:pt x="319" y="324"/>
                </a:lnTo>
                <a:lnTo>
                  <a:pt x="316" y="324"/>
                </a:lnTo>
                <a:lnTo>
                  <a:pt x="302" y="333"/>
                </a:lnTo>
                <a:lnTo>
                  <a:pt x="300" y="335"/>
                </a:lnTo>
                <a:lnTo>
                  <a:pt x="298" y="335"/>
                </a:lnTo>
                <a:lnTo>
                  <a:pt x="298" y="338"/>
                </a:lnTo>
                <a:lnTo>
                  <a:pt x="295" y="340"/>
                </a:lnTo>
                <a:lnTo>
                  <a:pt x="293" y="340"/>
                </a:lnTo>
                <a:lnTo>
                  <a:pt x="295" y="340"/>
                </a:lnTo>
                <a:lnTo>
                  <a:pt x="295" y="338"/>
                </a:lnTo>
                <a:lnTo>
                  <a:pt x="295" y="335"/>
                </a:lnTo>
                <a:lnTo>
                  <a:pt x="298" y="333"/>
                </a:lnTo>
                <a:lnTo>
                  <a:pt x="305" y="328"/>
                </a:lnTo>
                <a:lnTo>
                  <a:pt x="309" y="328"/>
                </a:lnTo>
                <a:lnTo>
                  <a:pt x="312" y="324"/>
                </a:lnTo>
                <a:lnTo>
                  <a:pt x="314" y="324"/>
                </a:lnTo>
                <a:lnTo>
                  <a:pt x="316" y="321"/>
                </a:lnTo>
                <a:lnTo>
                  <a:pt x="319" y="321"/>
                </a:lnTo>
                <a:lnTo>
                  <a:pt x="321" y="321"/>
                </a:lnTo>
                <a:close/>
                <a:moveTo>
                  <a:pt x="389" y="280"/>
                </a:moveTo>
                <a:lnTo>
                  <a:pt x="391" y="280"/>
                </a:lnTo>
                <a:lnTo>
                  <a:pt x="391" y="282"/>
                </a:lnTo>
                <a:lnTo>
                  <a:pt x="393" y="282"/>
                </a:lnTo>
                <a:lnTo>
                  <a:pt x="393" y="284"/>
                </a:lnTo>
                <a:lnTo>
                  <a:pt x="389" y="282"/>
                </a:lnTo>
                <a:lnTo>
                  <a:pt x="386" y="282"/>
                </a:lnTo>
                <a:lnTo>
                  <a:pt x="386" y="280"/>
                </a:lnTo>
                <a:lnTo>
                  <a:pt x="389" y="280"/>
                </a:lnTo>
                <a:close/>
                <a:moveTo>
                  <a:pt x="454" y="277"/>
                </a:moveTo>
                <a:lnTo>
                  <a:pt x="454" y="280"/>
                </a:lnTo>
                <a:lnTo>
                  <a:pt x="451" y="280"/>
                </a:lnTo>
                <a:lnTo>
                  <a:pt x="451" y="282"/>
                </a:lnTo>
                <a:lnTo>
                  <a:pt x="451" y="284"/>
                </a:lnTo>
                <a:lnTo>
                  <a:pt x="454" y="284"/>
                </a:lnTo>
                <a:lnTo>
                  <a:pt x="454" y="286"/>
                </a:lnTo>
                <a:lnTo>
                  <a:pt x="454" y="289"/>
                </a:lnTo>
                <a:lnTo>
                  <a:pt x="451" y="289"/>
                </a:lnTo>
                <a:lnTo>
                  <a:pt x="451" y="286"/>
                </a:lnTo>
                <a:lnTo>
                  <a:pt x="451" y="284"/>
                </a:lnTo>
                <a:lnTo>
                  <a:pt x="449" y="284"/>
                </a:lnTo>
                <a:lnTo>
                  <a:pt x="447" y="284"/>
                </a:lnTo>
                <a:lnTo>
                  <a:pt x="444" y="286"/>
                </a:lnTo>
                <a:lnTo>
                  <a:pt x="442" y="284"/>
                </a:lnTo>
                <a:lnTo>
                  <a:pt x="442" y="282"/>
                </a:lnTo>
                <a:lnTo>
                  <a:pt x="442" y="280"/>
                </a:lnTo>
                <a:lnTo>
                  <a:pt x="447" y="277"/>
                </a:lnTo>
                <a:lnTo>
                  <a:pt x="449" y="275"/>
                </a:lnTo>
                <a:lnTo>
                  <a:pt x="449" y="273"/>
                </a:lnTo>
                <a:lnTo>
                  <a:pt x="451" y="273"/>
                </a:lnTo>
                <a:lnTo>
                  <a:pt x="454" y="275"/>
                </a:lnTo>
                <a:lnTo>
                  <a:pt x="454" y="277"/>
                </a:lnTo>
                <a:close/>
                <a:moveTo>
                  <a:pt x="195" y="9"/>
                </a:moveTo>
                <a:lnTo>
                  <a:pt x="205" y="12"/>
                </a:lnTo>
                <a:lnTo>
                  <a:pt x="223" y="14"/>
                </a:lnTo>
                <a:lnTo>
                  <a:pt x="228" y="14"/>
                </a:lnTo>
                <a:lnTo>
                  <a:pt x="233" y="16"/>
                </a:lnTo>
                <a:lnTo>
                  <a:pt x="237" y="16"/>
                </a:lnTo>
                <a:lnTo>
                  <a:pt x="240" y="16"/>
                </a:lnTo>
                <a:lnTo>
                  <a:pt x="242" y="16"/>
                </a:lnTo>
                <a:lnTo>
                  <a:pt x="242" y="19"/>
                </a:lnTo>
                <a:lnTo>
                  <a:pt x="240" y="19"/>
                </a:lnTo>
                <a:lnTo>
                  <a:pt x="240" y="21"/>
                </a:lnTo>
                <a:lnTo>
                  <a:pt x="237" y="21"/>
                </a:lnTo>
                <a:lnTo>
                  <a:pt x="237" y="23"/>
                </a:lnTo>
                <a:lnTo>
                  <a:pt x="237" y="26"/>
                </a:lnTo>
                <a:lnTo>
                  <a:pt x="237" y="28"/>
                </a:lnTo>
                <a:lnTo>
                  <a:pt x="240" y="33"/>
                </a:lnTo>
                <a:lnTo>
                  <a:pt x="240" y="35"/>
                </a:lnTo>
                <a:lnTo>
                  <a:pt x="242" y="37"/>
                </a:lnTo>
                <a:lnTo>
                  <a:pt x="244" y="37"/>
                </a:lnTo>
                <a:lnTo>
                  <a:pt x="247" y="37"/>
                </a:lnTo>
                <a:lnTo>
                  <a:pt x="247" y="35"/>
                </a:lnTo>
                <a:lnTo>
                  <a:pt x="249" y="35"/>
                </a:lnTo>
                <a:lnTo>
                  <a:pt x="251" y="30"/>
                </a:lnTo>
                <a:lnTo>
                  <a:pt x="254" y="28"/>
                </a:lnTo>
                <a:lnTo>
                  <a:pt x="256" y="30"/>
                </a:lnTo>
                <a:lnTo>
                  <a:pt x="256" y="33"/>
                </a:lnTo>
                <a:lnTo>
                  <a:pt x="256" y="35"/>
                </a:lnTo>
                <a:lnTo>
                  <a:pt x="256" y="40"/>
                </a:lnTo>
                <a:lnTo>
                  <a:pt x="256" y="44"/>
                </a:lnTo>
                <a:lnTo>
                  <a:pt x="256" y="47"/>
                </a:lnTo>
                <a:lnTo>
                  <a:pt x="258" y="47"/>
                </a:lnTo>
                <a:lnTo>
                  <a:pt x="261" y="47"/>
                </a:lnTo>
                <a:lnTo>
                  <a:pt x="263" y="47"/>
                </a:lnTo>
                <a:lnTo>
                  <a:pt x="263" y="44"/>
                </a:lnTo>
                <a:lnTo>
                  <a:pt x="261" y="44"/>
                </a:lnTo>
                <a:lnTo>
                  <a:pt x="261" y="42"/>
                </a:lnTo>
                <a:lnTo>
                  <a:pt x="263" y="40"/>
                </a:lnTo>
                <a:lnTo>
                  <a:pt x="261" y="37"/>
                </a:lnTo>
                <a:lnTo>
                  <a:pt x="263" y="35"/>
                </a:lnTo>
                <a:lnTo>
                  <a:pt x="263" y="33"/>
                </a:lnTo>
                <a:lnTo>
                  <a:pt x="265" y="30"/>
                </a:lnTo>
                <a:lnTo>
                  <a:pt x="270" y="30"/>
                </a:lnTo>
                <a:lnTo>
                  <a:pt x="272" y="30"/>
                </a:lnTo>
                <a:lnTo>
                  <a:pt x="275" y="30"/>
                </a:lnTo>
                <a:lnTo>
                  <a:pt x="277" y="30"/>
                </a:lnTo>
                <a:lnTo>
                  <a:pt x="279" y="30"/>
                </a:lnTo>
                <a:lnTo>
                  <a:pt x="281" y="30"/>
                </a:lnTo>
                <a:lnTo>
                  <a:pt x="286" y="30"/>
                </a:lnTo>
                <a:lnTo>
                  <a:pt x="288" y="30"/>
                </a:lnTo>
                <a:lnTo>
                  <a:pt x="291" y="30"/>
                </a:lnTo>
                <a:lnTo>
                  <a:pt x="295" y="30"/>
                </a:lnTo>
                <a:lnTo>
                  <a:pt x="298" y="30"/>
                </a:lnTo>
                <a:lnTo>
                  <a:pt x="300" y="33"/>
                </a:lnTo>
                <a:lnTo>
                  <a:pt x="302" y="30"/>
                </a:lnTo>
                <a:lnTo>
                  <a:pt x="300" y="26"/>
                </a:lnTo>
                <a:lnTo>
                  <a:pt x="302" y="23"/>
                </a:lnTo>
                <a:lnTo>
                  <a:pt x="302" y="26"/>
                </a:lnTo>
                <a:lnTo>
                  <a:pt x="305" y="28"/>
                </a:lnTo>
                <a:lnTo>
                  <a:pt x="305" y="30"/>
                </a:lnTo>
                <a:lnTo>
                  <a:pt x="307" y="33"/>
                </a:lnTo>
                <a:lnTo>
                  <a:pt x="309" y="33"/>
                </a:lnTo>
                <a:lnTo>
                  <a:pt x="312" y="33"/>
                </a:lnTo>
                <a:lnTo>
                  <a:pt x="314" y="33"/>
                </a:lnTo>
                <a:lnTo>
                  <a:pt x="314" y="30"/>
                </a:lnTo>
                <a:lnTo>
                  <a:pt x="316" y="30"/>
                </a:lnTo>
                <a:lnTo>
                  <a:pt x="316" y="26"/>
                </a:lnTo>
                <a:lnTo>
                  <a:pt x="316" y="28"/>
                </a:lnTo>
                <a:lnTo>
                  <a:pt x="319" y="28"/>
                </a:lnTo>
                <a:lnTo>
                  <a:pt x="319" y="30"/>
                </a:lnTo>
                <a:lnTo>
                  <a:pt x="319" y="33"/>
                </a:lnTo>
                <a:lnTo>
                  <a:pt x="321" y="33"/>
                </a:lnTo>
                <a:lnTo>
                  <a:pt x="323" y="30"/>
                </a:lnTo>
                <a:lnTo>
                  <a:pt x="323" y="28"/>
                </a:lnTo>
                <a:lnTo>
                  <a:pt x="323" y="26"/>
                </a:lnTo>
                <a:lnTo>
                  <a:pt x="323" y="23"/>
                </a:lnTo>
                <a:lnTo>
                  <a:pt x="326" y="23"/>
                </a:lnTo>
                <a:lnTo>
                  <a:pt x="333" y="26"/>
                </a:lnTo>
                <a:lnTo>
                  <a:pt x="335" y="26"/>
                </a:lnTo>
                <a:lnTo>
                  <a:pt x="335" y="28"/>
                </a:lnTo>
                <a:lnTo>
                  <a:pt x="337" y="28"/>
                </a:lnTo>
                <a:lnTo>
                  <a:pt x="340" y="28"/>
                </a:lnTo>
                <a:lnTo>
                  <a:pt x="340" y="26"/>
                </a:lnTo>
                <a:lnTo>
                  <a:pt x="342" y="26"/>
                </a:lnTo>
                <a:lnTo>
                  <a:pt x="344" y="26"/>
                </a:lnTo>
                <a:lnTo>
                  <a:pt x="347" y="26"/>
                </a:lnTo>
                <a:lnTo>
                  <a:pt x="349" y="26"/>
                </a:lnTo>
                <a:lnTo>
                  <a:pt x="349" y="28"/>
                </a:lnTo>
                <a:lnTo>
                  <a:pt x="349" y="30"/>
                </a:lnTo>
                <a:lnTo>
                  <a:pt x="349" y="33"/>
                </a:lnTo>
                <a:lnTo>
                  <a:pt x="351" y="33"/>
                </a:lnTo>
                <a:lnTo>
                  <a:pt x="356" y="35"/>
                </a:lnTo>
                <a:lnTo>
                  <a:pt x="356" y="37"/>
                </a:lnTo>
                <a:lnTo>
                  <a:pt x="358" y="40"/>
                </a:lnTo>
                <a:lnTo>
                  <a:pt x="361" y="42"/>
                </a:lnTo>
                <a:lnTo>
                  <a:pt x="358" y="42"/>
                </a:lnTo>
                <a:lnTo>
                  <a:pt x="358" y="44"/>
                </a:lnTo>
                <a:lnTo>
                  <a:pt x="358" y="47"/>
                </a:lnTo>
                <a:lnTo>
                  <a:pt x="356" y="47"/>
                </a:lnTo>
                <a:lnTo>
                  <a:pt x="356" y="49"/>
                </a:lnTo>
                <a:lnTo>
                  <a:pt x="356" y="51"/>
                </a:lnTo>
                <a:lnTo>
                  <a:pt x="356" y="54"/>
                </a:lnTo>
                <a:lnTo>
                  <a:pt x="356" y="56"/>
                </a:lnTo>
                <a:lnTo>
                  <a:pt x="356" y="58"/>
                </a:lnTo>
                <a:lnTo>
                  <a:pt x="363" y="63"/>
                </a:lnTo>
                <a:lnTo>
                  <a:pt x="365" y="70"/>
                </a:lnTo>
                <a:lnTo>
                  <a:pt x="363" y="72"/>
                </a:lnTo>
                <a:lnTo>
                  <a:pt x="361" y="72"/>
                </a:lnTo>
                <a:lnTo>
                  <a:pt x="361" y="75"/>
                </a:lnTo>
                <a:lnTo>
                  <a:pt x="361" y="77"/>
                </a:lnTo>
                <a:lnTo>
                  <a:pt x="358" y="77"/>
                </a:lnTo>
                <a:lnTo>
                  <a:pt x="358" y="79"/>
                </a:lnTo>
                <a:lnTo>
                  <a:pt x="356" y="84"/>
                </a:lnTo>
                <a:lnTo>
                  <a:pt x="356" y="86"/>
                </a:lnTo>
                <a:lnTo>
                  <a:pt x="358" y="86"/>
                </a:lnTo>
                <a:lnTo>
                  <a:pt x="358" y="89"/>
                </a:lnTo>
                <a:lnTo>
                  <a:pt x="361" y="89"/>
                </a:lnTo>
                <a:lnTo>
                  <a:pt x="361" y="91"/>
                </a:lnTo>
                <a:lnTo>
                  <a:pt x="361" y="93"/>
                </a:lnTo>
                <a:lnTo>
                  <a:pt x="361" y="98"/>
                </a:lnTo>
                <a:lnTo>
                  <a:pt x="361" y="100"/>
                </a:lnTo>
                <a:lnTo>
                  <a:pt x="363" y="103"/>
                </a:lnTo>
                <a:lnTo>
                  <a:pt x="363" y="105"/>
                </a:lnTo>
                <a:lnTo>
                  <a:pt x="365" y="105"/>
                </a:lnTo>
                <a:lnTo>
                  <a:pt x="365" y="107"/>
                </a:lnTo>
                <a:lnTo>
                  <a:pt x="365" y="110"/>
                </a:lnTo>
                <a:lnTo>
                  <a:pt x="365" y="112"/>
                </a:lnTo>
                <a:lnTo>
                  <a:pt x="368" y="114"/>
                </a:lnTo>
                <a:lnTo>
                  <a:pt x="368" y="117"/>
                </a:lnTo>
                <a:lnTo>
                  <a:pt x="368" y="119"/>
                </a:lnTo>
                <a:lnTo>
                  <a:pt x="372" y="119"/>
                </a:lnTo>
                <a:lnTo>
                  <a:pt x="375" y="119"/>
                </a:lnTo>
                <a:lnTo>
                  <a:pt x="375" y="117"/>
                </a:lnTo>
                <a:lnTo>
                  <a:pt x="375" y="119"/>
                </a:lnTo>
                <a:lnTo>
                  <a:pt x="377" y="117"/>
                </a:lnTo>
                <a:lnTo>
                  <a:pt x="379" y="117"/>
                </a:lnTo>
                <a:lnTo>
                  <a:pt x="382" y="117"/>
                </a:lnTo>
                <a:lnTo>
                  <a:pt x="384" y="119"/>
                </a:lnTo>
                <a:lnTo>
                  <a:pt x="386" y="119"/>
                </a:lnTo>
                <a:lnTo>
                  <a:pt x="386" y="117"/>
                </a:lnTo>
                <a:lnTo>
                  <a:pt x="389" y="119"/>
                </a:lnTo>
                <a:lnTo>
                  <a:pt x="389" y="121"/>
                </a:lnTo>
                <a:lnTo>
                  <a:pt x="391" y="121"/>
                </a:lnTo>
                <a:lnTo>
                  <a:pt x="393" y="121"/>
                </a:lnTo>
                <a:lnTo>
                  <a:pt x="393" y="124"/>
                </a:lnTo>
                <a:lnTo>
                  <a:pt x="396" y="124"/>
                </a:lnTo>
                <a:lnTo>
                  <a:pt x="396" y="126"/>
                </a:lnTo>
                <a:lnTo>
                  <a:pt x="396" y="128"/>
                </a:lnTo>
                <a:lnTo>
                  <a:pt x="393" y="128"/>
                </a:lnTo>
                <a:lnTo>
                  <a:pt x="393" y="131"/>
                </a:lnTo>
                <a:lnTo>
                  <a:pt x="393" y="133"/>
                </a:lnTo>
                <a:lnTo>
                  <a:pt x="393" y="135"/>
                </a:lnTo>
                <a:lnTo>
                  <a:pt x="391" y="135"/>
                </a:lnTo>
                <a:lnTo>
                  <a:pt x="391" y="137"/>
                </a:lnTo>
                <a:lnTo>
                  <a:pt x="389" y="137"/>
                </a:lnTo>
                <a:lnTo>
                  <a:pt x="386" y="142"/>
                </a:lnTo>
                <a:lnTo>
                  <a:pt x="386" y="144"/>
                </a:lnTo>
                <a:lnTo>
                  <a:pt x="384" y="144"/>
                </a:lnTo>
                <a:lnTo>
                  <a:pt x="384" y="147"/>
                </a:lnTo>
                <a:lnTo>
                  <a:pt x="384" y="149"/>
                </a:lnTo>
                <a:lnTo>
                  <a:pt x="384" y="151"/>
                </a:lnTo>
                <a:lnTo>
                  <a:pt x="384" y="154"/>
                </a:lnTo>
                <a:lnTo>
                  <a:pt x="386" y="156"/>
                </a:lnTo>
                <a:lnTo>
                  <a:pt x="384" y="158"/>
                </a:lnTo>
                <a:lnTo>
                  <a:pt x="382" y="158"/>
                </a:lnTo>
                <a:lnTo>
                  <a:pt x="382" y="161"/>
                </a:lnTo>
                <a:lnTo>
                  <a:pt x="379" y="161"/>
                </a:lnTo>
                <a:lnTo>
                  <a:pt x="382" y="163"/>
                </a:lnTo>
                <a:lnTo>
                  <a:pt x="384" y="163"/>
                </a:lnTo>
                <a:lnTo>
                  <a:pt x="386" y="165"/>
                </a:lnTo>
                <a:lnTo>
                  <a:pt x="384" y="168"/>
                </a:lnTo>
                <a:lnTo>
                  <a:pt x="382" y="168"/>
                </a:lnTo>
                <a:lnTo>
                  <a:pt x="382" y="170"/>
                </a:lnTo>
                <a:lnTo>
                  <a:pt x="379" y="175"/>
                </a:lnTo>
                <a:lnTo>
                  <a:pt x="379" y="177"/>
                </a:lnTo>
                <a:lnTo>
                  <a:pt x="382" y="179"/>
                </a:lnTo>
                <a:lnTo>
                  <a:pt x="382" y="182"/>
                </a:lnTo>
                <a:lnTo>
                  <a:pt x="384" y="184"/>
                </a:lnTo>
                <a:lnTo>
                  <a:pt x="386" y="184"/>
                </a:lnTo>
                <a:lnTo>
                  <a:pt x="386" y="186"/>
                </a:lnTo>
                <a:lnTo>
                  <a:pt x="386" y="189"/>
                </a:lnTo>
                <a:lnTo>
                  <a:pt x="389" y="189"/>
                </a:lnTo>
                <a:lnTo>
                  <a:pt x="391" y="191"/>
                </a:lnTo>
                <a:lnTo>
                  <a:pt x="393" y="191"/>
                </a:lnTo>
                <a:lnTo>
                  <a:pt x="396" y="191"/>
                </a:lnTo>
                <a:lnTo>
                  <a:pt x="396" y="193"/>
                </a:lnTo>
                <a:lnTo>
                  <a:pt x="393" y="193"/>
                </a:lnTo>
                <a:lnTo>
                  <a:pt x="393" y="196"/>
                </a:lnTo>
                <a:lnTo>
                  <a:pt x="396" y="198"/>
                </a:lnTo>
                <a:lnTo>
                  <a:pt x="393" y="198"/>
                </a:lnTo>
                <a:lnTo>
                  <a:pt x="391" y="198"/>
                </a:lnTo>
                <a:lnTo>
                  <a:pt x="391" y="200"/>
                </a:lnTo>
                <a:lnTo>
                  <a:pt x="389" y="200"/>
                </a:lnTo>
                <a:lnTo>
                  <a:pt x="391" y="200"/>
                </a:lnTo>
                <a:lnTo>
                  <a:pt x="391" y="203"/>
                </a:lnTo>
                <a:lnTo>
                  <a:pt x="393" y="203"/>
                </a:lnTo>
                <a:lnTo>
                  <a:pt x="396" y="205"/>
                </a:lnTo>
                <a:lnTo>
                  <a:pt x="396" y="207"/>
                </a:lnTo>
                <a:lnTo>
                  <a:pt x="396" y="210"/>
                </a:lnTo>
                <a:lnTo>
                  <a:pt x="396" y="212"/>
                </a:lnTo>
                <a:lnTo>
                  <a:pt x="398" y="214"/>
                </a:lnTo>
                <a:lnTo>
                  <a:pt x="400" y="214"/>
                </a:lnTo>
                <a:lnTo>
                  <a:pt x="403" y="214"/>
                </a:lnTo>
                <a:lnTo>
                  <a:pt x="405" y="214"/>
                </a:lnTo>
                <a:lnTo>
                  <a:pt x="405" y="212"/>
                </a:lnTo>
                <a:lnTo>
                  <a:pt x="407" y="212"/>
                </a:lnTo>
                <a:lnTo>
                  <a:pt x="407" y="214"/>
                </a:lnTo>
                <a:lnTo>
                  <a:pt x="407" y="217"/>
                </a:lnTo>
                <a:lnTo>
                  <a:pt x="409" y="217"/>
                </a:lnTo>
                <a:lnTo>
                  <a:pt x="414" y="214"/>
                </a:lnTo>
                <a:lnTo>
                  <a:pt x="416" y="214"/>
                </a:lnTo>
                <a:lnTo>
                  <a:pt x="419" y="214"/>
                </a:lnTo>
                <a:lnTo>
                  <a:pt x="419" y="212"/>
                </a:lnTo>
                <a:lnTo>
                  <a:pt x="419" y="214"/>
                </a:lnTo>
                <a:lnTo>
                  <a:pt x="421" y="214"/>
                </a:lnTo>
                <a:lnTo>
                  <a:pt x="421" y="212"/>
                </a:lnTo>
                <a:lnTo>
                  <a:pt x="421" y="214"/>
                </a:lnTo>
                <a:lnTo>
                  <a:pt x="423" y="214"/>
                </a:lnTo>
                <a:lnTo>
                  <a:pt x="426" y="214"/>
                </a:lnTo>
                <a:lnTo>
                  <a:pt x="428" y="214"/>
                </a:lnTo>
                <a:lnTo>
                  <a:pt x="430" y="214"/>
                </a:lnTo>
                <a:lnTo>
                  <a:pt x="430" y="212"/>
                </a:lnTo>
                <a:lnTo>
                  <a:pt x="433" y="212"/>
                </a:lnTo>
                <a:lnTo>
                  <a:pt x="433" y="210"/>
                </a:lnTo>
                <a:lnTo>
                  <a:pt x="433" y="207"/>
                </a:lnTo>
                <a:lnTo>
                  <a:pt x="430" y="207"/>
                </a:lnTo>
                <a:lnTo>
                  <a:pt x="428" y="207"/>
                </a:lnTo>
                <a:lnTo>
                  <a:pt x="428" y="205"/>
                </a:lnTo>
                <a:lnTo>
                  <a:pt x="433" y="203"/>
                </a:lnTo>
                <a:lnTo>
                  <a:pt x="435" y="203"/>
                </a:lnTo>
                <a:lnTo>
                  <a:pt x="435" y="200"/>
                </a:lnTo>
                <a:lnTo>
                  <a:pt x="433" y="200"/>
                </a:lnTo>
                <a:lnTo>
                  <a:pt x="433" y="198"/>
                </a:lnTo>
                <a:lnTo>
                  <a:pt x="435" y="198"/>
                </a:lnTo>
                <a:lnTo>
                  <a:pt x="437" y="198"/>
                </a:lnTo>
                <a:lnTo>
                  <a:pt x="437" y="200"/>
                </a:lnTo>
                <a:lnTo>
                  <a:pt x="435" y="203"/>
                </a:lnTo>
                <a:lnTo>
                  <a:pt x="437" y="203"/>
                </a:lnTo>
                <a:lnTo>
                  <a:pt x="440" y="203"/>
                </a:lnTo>
                <a:lnTo>
                  <a:pt x="442" y="203"/>
                </a:lnTo>
                <a:lnTo>
                  <a:pt x="444" y="205"/>
                </a:lnTo>
                <a:lnTo>
                  <a:pt x="447" y="205"/>
                </a:lnTo>
                <a:lnTo>
                  <a:pt x="447" y="203"/>
                </a:lnTo>
                <a:lnTo>
                  <a:pt x="449" y="203"/>
                </a:lnTo>
                <a:lnTo>
                  <a:pt x="449" y="200"/>
                </a:lnTo>
                <a:lnTo>
                  <a:pt x="451" y="203"/>
                </a:lnTo>
                <a:lnTo>
                  <a:pt x="451" y="205"/>
                </a:lnTo>
                <a:lnTo>
                  <a:pt x="454" y="205"/>
                </a:lnTo>
                <a:lnTo>
                  <a:pt x="456" y="203"/>
                </a:lnTo>
                <a:lnTo>
                  <a:pt x="461" y="203"/>
                </a:lnTo>
                <a:lnTo>
                  <a:pt x="461" y="200"/>
                </a:lnTo>
                <a:lnTo>
                  <a:pt x="463" y="200"/>
                </a:lnTo>
                <a:lnTo>
                  <a:pt x="465" y="198"/>
                </a:lnTo>
                <a:lnTo>
                  <a:pt x="470" y="198"/>
                </a:lnTo>
                <a:lnTo>
                  <a:pt x="470" y="196"/>
                </a:lnTo>
                <a:lnTo>
                  <a:pt x="472" y="196"/>
                </a:lnTo>
                <a:lnTo>
                  <a:pt x="475" y="196"/>
                </a:lnTo>
                <a:lnTo>
                  <a:pt x="477" y="196"/>
                </a:lnTo>
                <a:lnTo>
                  <a:pt x="479" y="196"/>
                </a:lnTo>
                <a:lnTo>
                  <a:pt x="482" y="196"/>
                </a:lnTo>
                <a:lnTo>
                  <a:pt x="486" y="193"/>
                </a:lnTo>
                <a:lnTo>
                  <a:pt x="489" y="193"/>
                </a:lnTo>
                <a:lnTo>
                  <a:pt x="491" y="196"/>
                </a:lnTo>
                <a:lnTo>
                  <a:pt x="493" y="200"/>
                </a:lnTo>
                <a:lnTo>
                  <a:pt x="496" y="203"/>
                </a:lnTo>
                <a:lnTo>
                  <a:pt x="496" y="205"/>
                </a:lnTo>
                <a:lnTo>
                  <a:pt x="496" y="207"/>
                </a:lnTo>
                <a:lnTo>
                  <a:pt x="498" y="207"/>
                </a:lnTo>
                <a:lnTo>
                  <a:pt x="500" y="207"/>
                </a:lnTo>
                <a:lnTo>
                  <a:pt x="503" y="207"/>
                </a:lnTo>
                <a:lnTo>
                  <a:pt x="503" y="210"/>
                </a:lnTo>
                <a:lnTo>
                  <a:pt x="505" y="210"/>
                </a:lnTo>
                <a:lnTo>
                  <a:pt x="505" y="207"/>
                </a:lnTo>
                <a:lnTo>
                  <a:pt x="507" y="210"/>
                </a:lnTo>
                <a:lnTo>
                  <a:pt x="507" y="207"/>
                </a:lnTo>
                <a:lnTo>
                  <a:pt x="510" y="207"/>
                </a:lnTo>
                <a:lnTo>
                  <a:pt x="512" y="207"/>
                </a:lnTo>
                <a:lnTo>
                  <a:pt x="514" y="207"/>
                </a:lnTo>
                <a:lnTo>
                  <a:pt x="517" y="207"/>
                </a:lnTo>
                <a:lnTo>
                  <a:pt x="519" y="210"/>
                </a:lnTo>
                <a:lnTo>
                  <a:pt x="521" y="210"/>
                </a:lnTo>
                <a:lnTo>
                  <a:pt x="524" y="212"/>
                </a:lnTo>
                <a:lnTo>
                  <a:pt x="524" y="214"/>
                </a:lnTo>
                <a:lnTo>
                  <a:pt x="524" y="217"/>
                </a:lnTo>
                <a:lnTo>
                  <a:pt x="521" y="217"/>
                </a:lnTo>
                <a:lnTo>
                  <a:pt x="519" y="217"/>
                </a:lnTo>
                <a:lnTo>
                  <a:pt x="519" y="219"/>
                </a:lnTo>
                <a:lnTo>
                  <a:pt x="519" y="221"/>
                </a:lnTo>
                <a:lnTo>
                  <a:pt x="517" y="221"/>
                </a:lnTo>
                <a:lnTo>
                  <a:pt x="517" y="224"/>
                </a:lnTo>
                <a:lnTo>
                  <a:pt x="514" y="224"/>
                </a:lnTo>
                <a:lnTo>
                  <a:pt x="512" y="224"/>
                </a:lnTo>
                <a:lnTo>
                  <a:pt x="510" y="224"/>
                </a:lnTo>
                <a:lnTo>
                  <a:pt x="507" y="224"/>
                </a:lnTo>
                <a:lnTo>
                  <a:pt x="505" y="224"/>
                </a:lnTo>
                <a:lnTo>
                  <a:pt x="500" y="224"/>
                </a:lnTo>
                <a:lnTo>
                  <a:pt x="500" y="226"/>
                </a:lnTo>
                <a:lnTo>
                  <a:pt x="500" y="224"/>
                </a:lnTo>
                <a:lnTo>
                  <a:pt x="498" y="224"/>
                </a:lnTo>
                <a:lnTo>
                  <a:pt x="496" y="224"/>
                </a:lnTo>
                <a:lnTo>
                  <a:pt x="493" y="226"/>
                </a:lnTo>
                <a:lnTo>
                  <a:pt x="491" y="226"/>
                </a:lnTo>
                <a:lnTo>
                  <a:pt x="489" y="226"/>
                </a:lnTo>
                <a:lnTo>
                  <a:pt x="489" y="228"/>
                </a:lnTo>
                <a:lnTo>
                  <a:pt x="486" y="228"/>
                </a:lnTo>
                <a:lnTo>
                  <a:pt x="484" y="231"/>
                </a:lnTo>
                <a:lnTo>
                  <a:pt x="484" y="233"/>
                </a:lnTo>
                <a:lnTo>
                  <a:pt x="484" y="235"/>
                </a:lnTo>
                <a:lnTo>
                  <a:pt x="484" y="238"/>
                </a:lnTo>
                <a:lnTo>
                  <a:pt x="484" y="240"/>
                </a:lnTo>
                <a:lnTo>
                  <a:pt x="482" y="240"/>
                </a:lnTo>
                <a:lnTo>
                  <a:pt x="482" y="242"/>
                </a:lnTo>
                <a:lnTo>
                  <a:pt x="479" y="242"/>
                </a:lnTo>
                <a:lnTo>
                  <a:pt x="479" y="245"/>
                </a:lnTo>
                <a:lnTo>
                  <a:pt x="482" y="247"/>
                </a:lnTo>
                <a:lnTo>
                  <a:pt x="482" y="249"/>
                </a:lnTo>
                <a:lnTo>
                  <a:pt x="484" y="249"/>
                </a:lnTo>
                <a:lnTo>
                  <a:pt x="484" y="252"/>
                </a:lnTo>
                <a:lnTo>
                  <a:pt x="486" y="254"/>
                </a:lnTo>
                <a:lnTo>
                  <a:pt x="484" y="254"/>
                </a:lnTo>
                <a:lnTo>
                  <a:pt x="482" y="254"/>
                </a:lnTo>
                <a:lnTo>
                  <a:pt x="479" y="254"/>
                </a:lnTo>
                <a:lnTo>
                  <a:pt x="479" y="252"/>
                </a:lnTo>
                <a:lnTo>
                  <a:pt x="477" y="252"/>
                </a:lnTo>
                <a:lnTo>
                  <a:pt x="475" y="252"/>
                </a:lnTo>
                <a:lnTo>
                  <a:pt x="472" y="252"/>
                </a:lnTo>
                <a:lnTo>
                  <a:pt x="472" y="254"/>
                </a:lnTo>
                <a:lnTo>
                  <a:pt x="470" y="254"/>
                </a:lnTo>
                <a:lnTo>
                  <a:pt x="468" y="254"/>
                </a:lnTo>
                <a:lnTo>
                  <a:pt x="468" y="256"/>
                </a:lnTo>
                <a:lnTo>
                  <a:pt x="470" y="259"/>
                </a:lnTo>
                <a:lnTo>
                  <a:pt x="468" y="259"/>
                </a:lnTo>
                <a:lnTo>
                  <a:pt x="465" y="261"/>
                </a:lnTo>
                <a:lnTo>
                  <a:pt x="465" y="259"/>
                </a:lnTo>
                <a:lnTo>
                  <a:pt x="463" y="261"/>
                </a:lnTo>
                <a:lnTo>
                  <a:pt x="465" y="261"/>
                </a:lnTo>
                <a:lnTo>
                  <a:pt x="463" y="261"/>
                </a:lnTo>
                <a:lnTo>
                  <a:pt x="463" y="259"/>
                </a:lnTo>
                <a:lnTo>
                  <a:pt x="461" y="259"/>
                </a:lnTo>
                <a:lnTo>
                  <a:pt x="461" y="261"/>
                </a:lnTo>
                <a:lnTo>
                  <a:pt x="458" y="261"/>
                </a:lnTo>
                <a:lnTo>
                  <a:pt x="456" y="261"/>
                </a:lnTo>
                <a:lnTo>
                  <a:pt x="458" y="263"/>
                </a:lnTo>
                <a:lnTo>
                  <a:pt x="456" y="263"/>
                </a:lnTo>
                <a:lnTo>
                  <a:pt x="454" y="266"/>
                </a:lnTo>
                <a:lnTo>
                  <a:pt x="454" y="263"/>
                </a:lnTo>
                <a:lnTo>
                  <a:pt x="451" y="263"/>
                </a:lnTo>
                <a:lnTo>
                  <a:pt x="449" y="266"/>
                </a:lnTo>
                <a:lnTo>
                  <a:pt x="447" y="266"/>
                </a:lnTo>
                <a:lnTo>
                  <a:pt x="444" y="266"/>
                </a:lnTo>
                <a:lnTo>
                  <a:pt x="444" y="268"/>
                </a:lnTo>
                <a:lnTo>
                  <a:pt x="444" y="270"/>
                </a:lnTo>
                <a:lnTo>
                  <a:pt x="444" y="273"/>
                </a:lnTo>
                <a:lnTo>
                  <a:pt x="444" y="275"/>
                </a:lnTo>
                <a:lnTo>
                  <a:pt x="444" y="277"/>
                </a:lnTo>
                <a:lnTo>
                  <a:pt x="442" y="280"/>
                </a:lnTo>
                <a:lnTo>
                  <a:pt x="442" y="277"/>
                </a:lnTo>
                <a:lnTo>
                  <a:pt x="440" y="277"/>
                </a:lnTo>
                <a:lnTo>
                  <a:pt x="440" y="280"/>
                </a:lnTo>
                <a:lnTo>
                  <a:pt x="437" y="280"/>
                </a:lnTo>
                <a:lnTo>
                  <a:pt x="437" y="277"/>
                </a:lnTo>
                <a:lnTo>
                  <a:pt x="435" y="277"/>
                </a:lnTo>
                <a:lnTo>
                  <a:pt x="435" y="275"/>
                </a:lnTo>
                <a:lnTo>
                  <a:pt x="433" y="275"/>
                </a:lnTo>
                <a:lnTo>
                  <a:pt x="430" y="275"/>
                </a:lnTo>
                <a:lnTo>
                  <a:pt x="426" y="273"/>
                </a:lnTo>
                <a:lnTo>
                  <a:pt x="423" y="273"/>
                </a:lnTo>
                <a:lnTo>
                  <a:pt x="421" y="273"/>
                </a:lnTo>
                <a:lnTo>
                  <a:pt x="419" y="270"/>
                </a:lnTo>
                <a:lnTo>
                  <a:pt x="412" y="273"/>
                </a:lnTo>
                <a:lnTo>
                  <a:pt x="409" y="273"/>
                </a:lnTo>
                <a:lnTo>
                  <a:pt x="409" y="275"/>
                </a:lnTo>
                <a:lnTo>
                  <a:pt x="407" y="275"/>
                </a:lnTo>
                <a:lnTo>
                  <a:pt x="405" y="275"/>
                </a:lnTo>
                <a:lnTo>
                  <a:pt x="403" y="275"/>
                </a:lnTo>
                <a:lnTo>
                  <a:pt x="400" y="277"/>
                </a:lnTo>
                <a:lnTo>
                  <a:pt x="398" y="280"/>
                </a:lnTo>
                <a:lnTo>
                  <a:pt x="396" y="280"/>
                </a:lnTo>
                <a:lnTo>
                  <a:pt x="398" y="280"/>
                </a:lnTo>
                <a:lnTo>
                  <a:pt x="403" y="277"/>
                </a:lnTo>
                <a:lnTo>
                  <a:pt x="400" y="280"/>
                </a:lnTo>
                <a:lnTo>
                  <a:pt x="400" y="282"/>
                </a:lnTo>
                <a:lnTo>
                  <a:pt x="400" y="284"/>
                </a:lnTo>
                <a:lnTo>
                  <a:pt x="398" y="284"/>
                </a:lnTo>
                <a:lnTo>
                  <a:pt x="396" y="284"/>
                </a:lnTo>
                <a:lnTo>
                  <a:pt x="393" y="284"/>
                </a:lnTo>
                <a:lnTo>
                  <a:pt x="393" y="286"/>
                </a:lnTo>
                <a:lnTo>
                  <a:pt x="391" y="284"/>
                </a:lnTo>
                <a:lnTo>
                  <a:pt x="393" y="284"/>
                </a:lnTo>
                <a:lnTo>
                  <a:pt x="393" y="282"/>
                </a:lnTo>
                <a:lnTo>
                  <a:pt x="393" y="280"/>
                </a:lnTo>
                <a:lnTo>
                  <a:pt x="391" y="280"/>
                </a:lnTo>
                <a:lnTo>
                  <a:pt x="391" y="277"/>
                </a:lnTo>
                <a:lnTo>
                  <a:pt x="389" y="277"/>
                </a:lnTo>
                <a:lnTo>
                  <a:pt x="389" y="275"/>
                </a:lnTo>
                <a:lnTo>
                  <a:pt x="386" y="277"/>
                </a:lnTo>
                <a:lnTo>
                  <a:pt x="386" y="280"/>
                </a:lnTo>
                <a:lnTo>
                  <a:pt x="384" y="280"/>
                </a:lnTo>
                <a:lnTo>
                  <a:pt x="386" y="282"/>
                </a:lnTo>
                <a:lnTo>
                  <a:pt x="389" y="284"/>
                </a:lnTo>
                <a:lnTo>
                  <a:pt x="386" y="284"/>
                </a:lnTo>
                <a:lnTo>
                  <a:pt x="386" y="286"/>
                </a:lnTo>
                <a:lnTo>
                  <a:pt x="386" y="284"/>
                </a:lnTo>
                <a:lnTo>
                  <a:pt x="382" y="286"/>
                </a:lnTo>
                <a:lnTo>
                  <a:pt x="375" y="289"/>
                </a:lnTo>
                <a:lnTo>
                  <a:pt x="365" y="293"/>
                </a:lnTo>
                <a:lnTo>
                  <a:pt x="358" y="296"/>
                </a:lnTo>
                <a:lnTo>
                  <a:pt x="354" y="298"/>
                </a:lnTo>
                <a:lnTo>
                  <a:pt x="351" y="298"/>
                </a:lnTo>
                <a:lnTo>
                  <a:pt x="351" y="300"/>
                </a:lnTo>
                <a:lnTo>
                  <a:pt x="349" y="303"/>
                </a:lnTo>
                <a:lnTo>
                  <a:pt x="349" y="305"/>
                </a:lnTo>
                <a:lnTo>
                  <a:pt x="349" y="307"/>
                </a:lnTo>
                <a:lnTo>
                  <a:pt x="347" y="307"/>
                </a:lnTo>
                <a:lnTo>
                  <a:pt x="347" y="305"/>
                </a:lnTo>
                <a:lnTo>
                  <a:pt x="344" y="307"/>
                </a:lnTo>
                <a:lnTo>
                  <a:pt x="342" y="310"/>
                </a:lnTo>
                <a:lnTo>
                  <a:pt x="337" y="312"/>
                </a:lnTo>
                <a:lnTo>
                  <a:pt x="323" y="321"/>
                </a:lnTo>
                <a:lnTo>
                  <a:pt x="321" y="319"/>
                </a:lnTo>
                <a:lnTo>
                  <a:pt x="321" y="321"/>
                </a:lnTo>
                <a:lnTo>
                  <a:pt x="319" y="321"/>
                </a:lnTo>
                <a:lnTo>
                  <a:pt x="316" y="321"/>
                </a:lnTo>
                <a:lnTo>
                  <a:pt x="314" y="324"/>
                </a:lnTo>
                <a:lnTo>
                  <a:pt x="312" y="324"/>
                </a:lnTo>
                <a:lnTo>
                  <a:pt x="300" y="333"/>
                </a:lnTo>
                <a:lnTo>
                  <a:pt x="298" y="333"/>
                </a:lnTo>
                <a:lnTo>
                  <a:pt x="298" y="335"/>
                </a:lnTo>
                <a:lnTo>
                  <a:pt x="295" y="335"/>
                </a:lnTo>
                <a:lnTo>
                  <a:pt x="293" y="340"/>
                </a:lnTo>
                <a:lnTo>
                  <a:pt x="291" y="340"/>
                </a:lnTo>
                <a:lnTo>
                  <a:pt x="288" y="340"/>
                </a:lnTo>
                <a:lnTo>
                  <a:pt x="291" y="340"/>
                </a:lnTo>
                <a:lnTo>
                  <a:pt x="291" y="338"/>
                </a:lnTo>
                <a:lnTo>
                  <a:pt x="288" y="338"/>
                </a:lnTo>
                <a:lnTo>
                  <a:pt x="286" y="338"/>
                </a:lnTo>
                <a:lnTo>
                  <a:pt x="286" y="340"/>
                </a:lnTo>
                <a:lnTo>
                  <a:pt x="286" y="342"/>
                </a:lnTo>
                <a:lnTo>
                  <a:pt x="288" y="342"/>
                </a:lnTo>
                <a:lnTo>
                  <a:pt x="291" y="342"/>
                </a:lnTo>
                <a:lnTo>
                  <a:pt x="293" y="342"/>
                </a:lnTo>
                <a:lnTo>
                  <a:pt x="295" y="342"/>
                </a:lnTo>
                <a:lnTo>
                  <a:pt x="293" y="347"/>
                </a:lnTo>
                <a:lnTo>
                  <a:pt x="291" y="352"/>
                </a:lnTo>
                <a:lnTo>
                  <a:pt x="288" y="352"/>
                </a:lnTo>
                <a:lnTo>
                  <a:pt x="286" y="352"/>
                </a:lnTo>
                <a:lnTo>
                  <a:pt x="284" y="354"/>
                </a:lnTo>
                <a:lnTo>
                  <a:pt x="284" y="356"/>
                </a:lnTo>
                <a:lnTo>
                  <a:pt x="281" y="356"/>
                </a:lnTo>
                <a:lnTo>
                  <a:pt x="284" y="356"/>
                </a:lnTo>
                <a:lnTo>
                  <a:pt x="284" y="354"/>
                </a:lnTo>
                <a:lnTo>
                  <a:pt x="286" y="352"/>
                </a:lnTo>
                <a:lnTo>
                  <a:pt x="284" y="352"/>
                </a:lnTo>
                <a:lnTo>
                  <a:pt x="281" y="352"/>
                </a:lnTo>
                <a:lnTo>
                  <a:pt x="279" y="352"/>
                </a:lnTo>
                <a:lnTo>
                  <a:pt x="279" y="349"/>
                </a:lnTo>
                <a:lnTo>
                  <a:pt x="277" y="349"/>
                </a:lnTo>
                <a:lnTo>
                  <a:pt x="277" y="347"/>
                </a:lnTo>
                <a:lnTo>
                  <a:pt x="277" y="342"/>
                </a:lnTo>
                <a:lnTo>
                  <a:pt x="277" y="340"/>
                </a:lnTo>
                <a:lnTo>
                  <a:pt x="275" y="338"/>
                </a:lnTo>
                <a:lnTo>
                  <a:pt x="272" y="338"/>
                </a:lnTo>
                <a:lnTo>
                  <a:pt x="270" y="338"/>
                </a:lnTo>
                <a:lnTo>
                  <a:pt x="270" y="335"/>
                </a:lnTo>
                <a:lnTo>
                  <a:pt x="268" y="335"/>
                </a:lnTo>
                <a:lnTo>
                  <a:pt x="265" y="333"/>
                </a:lnTo>
                <a:lnTo>
                  <a:pt x="263" y="335"/>
                </a:lnTo>
                <a:lnTo>
                  <a:pt x="263" y="338"/>
                </a:lnTo>
                <a:lnTo>
                  <a:pt x="261" y="338"/>
                </a:lnTo>
                <a:lnTo>
                  <a:pt x="261" y="340"/>
                </a:lnTo>
                <a:lnTo>
                  <a:pt x="258" y="340"/>
                </a:lnTo>
                <a:lnTo>
                  <a:pt x="256" y="338"/>
                </a:lnTo>
                <a:lnTo>
                  <a:pt x="256" y="335"/>
                </a:lnTo>
                <a:lnTo>
                  <a:pt x="256" y="333"/>
                </a:lnTo>
                <a:lnTo>
                  <a:pt x="258" y="331"/>
                </a:lnTo>
                <a:lnTo>
                  <a:pt x="258" y="328"/>
                </a:lnTo>
                <a:lnTo>
                  <a:pt x="258" y="326"/>
                </a:lnTo>
                <a:lnTo>
                  <a:pt x="258" y="324"/>
                </a:lnTo>
                <a:lnTo>
                  <a:pt x="261" y="321"/>
                </a:lnTo>
                <a:lnTo>
                  <a:pt x="263" y="319"/>
                </a:lnTo>
                <a:lnTo>
                  <a:pt x="258" y="317"/>
                </a:lnTo>
                <a:lnTo>
                  <a:pt x="258" y="314"/>
                </a:lnTo>
                <a:lnTo>
                  <a:pt x="256" y="314"/>
                </a:lnTo>
                <a:lnTo>
                  <a:pt x="254" y="314"/>
                </a:lnTo>
                <a:lnTo>
                  <a:pt x="254" y="317"/>
                </a:lnTo>
                <a:lnTo>
                  <a:pt x="251" y="317"/>
                </a:lnTo>
                <a:lnTo>
                  <a:pt x="251" y="314"/>
                </a:lnTo>
                <a:lnTo>
                  <a:pt x="249" y="314"/>
                </a:lnTo>
                <a:lnTo>
                  <a:pt x="247" y="314"/>
                </a:lnTo>
                <a:lnTo>
                  <a:pt x="244" y="314"/>
                </a:lnTo>
                <a:lnTo>
                  <a:pt x="244" y="312"/>
                </a:lnTo>
                <a:lnTo>
                  <a:pt x="242" y="312"/>
                </a:lnTo>
                <a:lnTo>
                  <a:pt x="240" y="312"/>
                </a:lnTo>
                <a:lnTo>
                  <a:pt x="235" y="312"/>
                </a:lnTo>
                <a:lnTo>
                  <a:pt x="233" y="310"/>
                </a:lnTo>
                <a:lnTo>
                  <a:pt x="233" y="312"/>
                </a:lnTo>
                <a:lnTo>
                  <a:pt x="230" y="312"/>
                </a:lnTo>
                <a:lnTo>
                  <a:pt x="228" y="312"/>
                </a:lnTo>
                <a:lnTo>
                  <a:pt x="226" y="312"/>
                </a:lnTo>
                <a:lnTo>
                  <a:pt x="223" y="312"/>
                </a:lnTo>
                <a:lnTo>
                  <a:pt x="221" y="312"/>
                </a:lnTo>
                <a:lnTo>
                  <a:pt x="216" y="312"/>
                </a:lnTo>
                <a:lnTo>
                  <a:pt x="216" y="310"/>
                </a:lnTo>
                <a:lnTo>
                  <a:pt x="216" y="307"/>
                </a:lnTo>
                <a:lnTo>
                  <a:pt x="216" y="305"/>
                </a:lnTo>
                <a:lnTo>
                  <a:pt x="216" y="303"/>
                </a:lnTo>
                <a:lnTo>
                  <a:pt x="219" y="303"/>
                </a:lnTo>
                <a:lnTo>
                  <a:pt x="219" y="300"/>
                </a:lnTo>
                <a:lnTo>
                  <a:pt x="219" y="298"/>
                </a:lnTo>
                <a:lnTo>
                  <a:pt x="216" y="298"/>
                </a:lnTo>
                <a:lnTo>
                  <a:pt x="219" y="298"/>
                </a:lnTo>
                <a:lnTo>
                  <a:pt x="219" y="296"/>
                </a:lnTo>
                <a:lnTo>
                  <a:pt x="221" y="296"/>
                </a:lnTo>
                <a:lnTo>
                  <a:pt x="221" y="293"/>
                </a:lnTo>
                <a:lnTo>
                  <a:pt x="221" y="291"/>
                </a:lnTo>
                <a:lnTo>
                  <a:pt x="221" y="289"/>
                </a:lnTo>
                <a:lnTo>
                  <a:pt x="219" y="289"/>
                </a:lnTo>
                <a:lnTo>
                  <a:pt x="219" y="284"/>
                </a:lnTo>
                <a:lnTo>
                  <a:pt x="216" y="284"/>
                </a:lnTo>
                <a:lnTo>
                  <a:pt x="216" y="282"/>
                </a:lnTo>
                <a:lnTo>
                  <a:pt x="216" y="280"/>
                </a:lnTo>
                <a:lnTo>
                  <a:pt x="216" y="277"/>
                </a:lnTo>
                <a:lnTo>
                  <a:pt x="216" y="275"/>
                </a:lnTo>
                <a:lnTo>
                  <a:pt x="214" y="275"/>
                </a:lnTo>
                <a:lnTo>
                  <a:pt x="212" y="275"/>
                </a:lnTo>
                <a:lnTo>
                  <a:pt x="212" y="273"/>
                </a:lnTo>
                <a:lnTo>
                  <a:pt x="209" y="273"/>
                </a:lnTo>
                <a:lnTo>
                  <a:pt x="209" y="270"/>
                </a:lnTo>
                <a:lnTo>
                  <a:pt x="209" y="268"/>
                </a:lnTo>
                <a:lnTo>
                  <a:pt x="207" y="268"/>
                </a:lnTo>
                <a:lnTo>
                  <a:pt x="207" y="266"/>
                </a:lnTo>
                <a:lnTo>
                  <a:pt x="207" y="263"/>
                </a:lnTo>
                <a:lnTo>
                  <a:pt x="205" y="263"/>
                </a:lnTo>
                <a:lnTo>
                  <a:pt x="205" y="261"/>
                </a:lnTo>
                <a:lnTo>
                  <a:pt x="202" y="261"/>
                </a:lnTo>
                <a:lnTo>
                  <a:pt x="202" y="259"/>
                </a:lnTo>
                <a:lnTo>
                  <a:pt x="205" y="259"/>
                </a:lnTo>
                <a:lnTo>
                  <a:pt x="205" y="256"/>
                </a:lnTo>
                <a:lnTo>
                  <a:pt x="205" y="254"/>
                </a:lnTo>
                <a:lnTo>
                  <a:pt x="207" y="249"/>
                </a:lnTo>
                <a:lnTo>
                  <a:pt x="205" y="249"/>
                </a:lnTo>
                <a:lnTo>
                  <a:pt x="205" y="247"/>
                </a:lnTo>
                <a:lnTo>
                  <a:pt x="202" y="245"/>
                </a:lnTo>
                <a:lnTo>
                  <a:pt x="202" y="242"/>
                </a:lnTo>
                <a:lnTo>
                  <a:pt x="202" y="240"/>
                </a:lnTo>
                <a:lnTo>
                  <a:pt x="202" y="238"/>
                </a:lnTo>
                <a:lnTo>
                  <a:pt x="202" y="235"/>
                </a:lnTo>
                <a:lnTo>
                  <a:pt x="205" y="231"/>
                </a:lnTo>
                <a:lnTo>
                  <a:pt x="205" y="226"/>
                </a:lnTo>
                <a:lnTo>
                  <a:pt x="202" y="221"/>
                </a:lnTo>
                <a:lnTo>
                  <a:pt x="202" y="217"/>
                </a:lnTo>
                <a:lnTo>
                  <a:pt x="200" y="214"/>
                </a:lnTo>
                <a:lnTo>
                  <a:pt x="200" y="212"/>
                </a:lnTo>
                <a:lnTo>
                  <a:pt x="198" y="212"/>
                </a:lnTo>
                <a:lnTo>
                  <a:pt x="198" y="210"/>
                </a:lnTo>
                <a:lnTo>
                  <a:pt x="195" y="210"/>
                </a:lnTo>
                <a:lnTo>
                  <a:pt x="193" y="207"/>
                </a:lnTo>
                <a:lnTo>
                  <a:pt x="191" y="207"/>
                </a:lnTo>
                <a:lnTo>
                  <a:pt x="188" y="207"/>
                </a:lnTo>
                <a:lnTo>
                  <a:pt x="188" y="205"/>
                </a:lnTo>
                <a:lnTo>
                  <a:pt x="188" y="203"/>
                </a:lnTo>
                <a:lnTo>
                  <a:pt x="186" y="200"/>
                </a:lnTo>
                <a:lnTo>
                  <a:pt x="186" y="198"/>
                </a:lnTo>
                <a:lnTo>
                  <a:pt x="184" y="198"/>
                </a:lnTo>
                <a:lnTo>
                  <a:pt x="181" y="198"/>
                </a:lnTo>
                <a:lnTo>
                  <a:pt x="179" y="198"/>
                </a:lnTo>
                <a:lnTo>
                  <a:pt x="177" y="198"/>
                </a:lnTo>
                <a:lnTo>
                  <a:pt x="177" y="200"/>
                </a:lnTo>
                <a:lnTo>
                  <a:pt x="172" y="200"/>
                </a:lnTo>
                <a:lnTo>
                  <a:pt x="170" y="198"/>
                </a:lnTo>
                <a:lnTo>
                  <a:pt x="167" y="198"/>
                </a:lnTo>
                <a:lnTo>
                  <a:pt x="167" y="200"/>
                </a:lnTo>
                <a:lnTo>
                  <a:pt x="165" y="200"/>
                </a:lnTo>
                <a:lnTo>
                  <a:pt x="165" y="198"/>
                </a:lnTo>
                <a:lnTo>
                  <a:pt x="163" y="198"/>
                </a:lnTo>
                <a:lnTo>
                  <a:pt x="163" y="196"/>
                </a:lnTo>
                <a:lnTo>
                  <a:pt x="160" y="196"/>
                </a:lnTo>
                <a:lnTo>
                  <a:pt x="160" y="198"/>
                </a:lnTo>
                <a:lnTo>
                  <a:pt x="158" y="198"/>
                </a:lnTo>
                <a:lnTo>
                  <a:pt x="156" y="198"/>
                </a:lnTo>
                <a:lnTo>
                  <a:pt x="153" y="198"/>
                </a:lnTo>
                <a:lnTo>
                  <a:pt x="151" y="198"/>
                </a:lnTo>
                <a:lnTo>
                  <a:pt x="147" y="196"/>
                </a:lnTo>
                <a:lnTo>
                  <a:pt x="144" y="196"/>
                </a:lnTo>
                <a:lnTo>
                  <a:pt x="144" y="198"/>
                </a:lnTo>
                <a:lnTo>
                  <a:pt x="142" y="198"/>
                </a:lnTo>
                <a:lnTo>
                  <a:pt x="140" y="198"/>
                </a:lnTo>
                <a:lnTo>
                  <a:pt x="137" y="198"/>
                </a:lnTo>
                <a:lnTo>
                  <a:pt x="137" y="196"/>
                </a:lnTo>
                <a:lnTo>
                  <a:pt x="137" y="193"/>
                </a:lnTo>
                <a:lnTo>
                  <a:pt x="135" y="189"/>
                </a:lnTo>
                <a:lnTo>
                  <a:pt x="133" y="189"/>
                </a:lnTo>
                <a:lnTo>
                  <a:pt x="126" y="186"/>
                </a:lnTo>
                <a:lnTo>
                  <a:pt x="121" y="184"/>
                </a:lnTo>
                <a:lnTo>
                  <a:pt x="116" y="182"/>
                </a:lnTo>
                <a:lnTo>
                  <a:pt x="112" y="179"/>
                </a:lnTo>
                <a:lnTo>
                  <a:pt x="109" y="179"/>
                </a:lnTo>
                <a:lnTo>
                  <a:pt x="109" y="177"/>
                </a:lnTo>
                <a:lnTo>
                  <a:pt x="107" y="177"/>
                </a:lnTo>
                <a:lnTo>
                  <a:pt x="105" y="177"/>
                </a:lnTo>
                <a:lnTo>
                  <a:pt x="102" y="177"/>
                </a:lnTo>
                <a:lnTo>
                  <a:pt x="100" y="177"/>
                </a:lnTo>
                <a:lnTo>
                  <a:pt x="98" y="177"/>
                </a:lnTo>
                <a:lnTo>
                  <a:pt x="95" y="177"/>
                </a:lnTo>
                <a:lnTo>
                  <a:pt x="93" y="177"/>
                </a:lnTo>
                <a:lnTo>
                  <a:pt x="91" y="177"/>
                </a:lnTo>
                <a:lnTo>
                  <a:pt x="91" y="175"/>
                </a:lnTo>
                <a:lnTo>
                  <a:pt x="88" y="175"/>
                </a:lnTo>
                <a:lnTo>
                  <a:pt x="88" y="177"/>
                </a:lnTo>
                <a:lnTo>
                  <a:pt x="86" y="177"/>
                </a:lnTo>
                <a:lnTo>
                  <a:pt x="86" y="175"/>
                </a:lnTo>
                <a:lnTo>
                  <a:pt x="84" y="172"/>
                </a:lnTo>
                <a:lnTo>
                  <a:pt x="81" y="172"/>
                </a:lnTo>
                <a:lnTo>
                  <a:pt x="79" y="172"/>
                </a:lnTo>
                <a:lnTo>
                  <a:pt x="77" y="172"/>
                </a:lnTo>
                <a:lnTo>
                  <a:pt x="70" y="168"/>
                </a:lnTo>
                <a:lnTo>
                  <a:pt x="67" y="168"/>
                </a:lnTo>
                <a:lnTo>
                  <a:pt x="65" y="165"/>
                </a:lnTo>
                <a:lnTo>
                  <a:pt x="63" y="165"/>
                </a:lnTo>
                <a:lnTo>
                  <a:pt x="60" y="168"/>
                </a:lnTo>
                <a:lnTo>
                  <a:pt x="60" y="170"/>
                </a:lnTo>
                <a:lnTo>
                  <a:pt x="58" y="172"/>
                </a:lnTo>
                <a:lnTo>
                  <a:pt x="56" y="172"/>
                </a:lnTo>
                <a:lnTo>
                  <a:pt x="56" y="170"/>
                </a:lnTo>
                <a:lnTo>
                  <a:pt x="53" y="170"/>
                </a:lnTo>
                <a:lnTo>
                  <a:pt x="51" y="170"/>
                </a:lnTo>
                <a:lnTo>
                  <a:pt x="49" y="170"/>
                </a:lnTo>
                <a:lnTo>
                  <a:pt x="46" y="170"/>
                </a:lnTo>
                <a:lnTo>
                  <a:pt x="44" y="170"/>
                </a:lnTo>
                <a:lnTo>
                  <a:pt x="42" y="170"/>
                </a:lnTo>
                <a:lnTo>
                  <a:pt x="39" y="170"/>
                </a:lnTo>
                <a:lnTo>
                  <a:pt x="37" y="170"/>
                </a:lnTo>
                <a:lnTo>
                  <a:pt x="35" y="168"/>
                </a:lnTo>
                <a:lnTo>
                  <a:pt x="32" y="168"/>
                </a:lnTo>
                <a:lnTo>
                  <a:pt x="30" y="168"/>
                </a:lnTo>
                <a:lnTo>
                  <a:pt x="28" y="170"/>
                </a:lnTo>
                <a:lnTo>
                  <a:pt x="23" y="168"/>
                </a:lnTo>
                <a:lnTo>
                  <a:pt x="21" y="168"/>
                </a:lnTo>
                <a:lnTo>
                  <a:pt x="19" y="168"/>
                </a:lnTo>
                <a:lnTo>
                  <a:pt x="19" y="165"/>
                </a:lnTo>
                <a:lnTo>
                  <a:pt x="16" y="165"/>
                </a:lnTo>
                <a:lnTo>
                  <a:pt x="14" y="165"/>
                </a:lnTo>
                <a:lnTo>
                  <a:pt x="12" y="168"/>
                </a:lnTo>
                <a:lnTo>
                  <a:pt x="9" y="168"/>
                </a:lnTo>
                <a:lnTo>
                  <a:pt x="7" y="170"/>
                </a:lnTo>
                <a:lnTo>
                  <a:pt x="5" y="172"/>
                </a:lnTo>
                <a:lnTo>
                  <a:pt x="2" y="175"/>
                </a:lnTo>
                <a:lnTo>
                  <a:pt x="0" y="175"/>
                </a:lnTo>
                <a:lnTo>
                  <a:pt x="2" y="172"/>
                </a:lnTo>
                <a:lnTo>
                  <a:pt x="5" y="170"/>
                </a:lnTo>
                <a:lnTo>
                  <a:pt x="7" y="165"/>
                </a:lnTo>
                <a:lnTo>
                  <a:pt x="9" y="163"/>
                </a:lnTo>
                <a:lnTo>
                  <a:pt x="12" y="163"/>
                </a:lnTo>
                <a:lnTo>
                  <a:pt x="12" y="161"/>
                </a:lnTo>
                <a:lnTo>
                  <a:pt x="14" y="158"/>
                </a:lnTo>
                <a:lnTo>
                  <a:pt x="16" y="158"/>
                </a:lnTo>
                <a:lnTo>
                  <a:pt x="21" y="156"/>
                </a:lnTo>
                <a:lnTo>
                  <a:pt x="21" y="154"/>
                </a:lnTo>
                <a:lnTo>
                  <a:pt x="23" y="154"/>
                </a:lnTo>
                <a:lnTo>
                  <a:pt x="28" y="151"/>
                </a:lnTo>
                <a:lnTo>
                  <a:pt x="30" y="149"/>
                </a:lnTo>
                <a:lnTo>
                  <a:pt x="35" y="149"/>
                </a:lnTo>
                <a:lnTo>
                  <a:pt x="35" y="147"/>
                </a:lnTo>
                <a:lnTo>
                  <a:pt x="37" y="147"/>
                </a:lnTo>
                <a:lnTo>
                  <a:pt x="39" y="147"/>
                </a:lnTo>
                <a:lnTo>
                  <a:pt x="42" y="144"/>
                </a:lnTo>
                <a:lnTo>
                  <a:pt x="44" y="144"/>
                </a:lnTo>
                <a:lnTo>
                  <a:pt x="44" y="142"/>
                </a:lnTo>
                <a:lnTo>
                  <a:pt x="49" y="137"/>
                </a:lnTo>
                <a:lnTo>
                  <a:pt x="49" y="135"/>
                </a:lnTo>
                <a:lnTo>
                  <a:pt x="51" y="135"/>
                </a:lnTo>
                <a:lnTo>
                  <a:pt x="51" y="133"/>
                </a:lnTo>
                <a:lnTo>
                  <a:pt x="53" y="131"/>
                </a:lnTo>
                <a:lnTo>
                  <a:pt x="53" y="128"/>
                </a:lnTo>
                <a:lnTo>
                  <a:pt x="56" y="126"/>
                </a:lnTo>
                <a:lnTo>
                  <a:pt x="58" y="126"/>
                </a:lnTo>
                <a:lnTo>
                  <a:pt x="58" y="124"/>
                </a:lnTo>
                <a:lnTo>
                  <a:pt x="60" y="124"/>
                </a:lnTo>
                <a:lnTo>
                  <a:pt x="60" y="121"/>
                </a:lnTo>
                <a:lnTo>
                  <a:pt x="60" y="119"/>
                </a:lnTo>
                <a:lnTo>
                  <a:pt x="63" y="117"/>
                </a:lnTo>
                <a:lnTo>
                  <a:pt x="65" y="117"/>
                </a:lnTo>
                <a:lnTo>
                  <a:pt x="65" y="114"/>
                </a:lnTo>
                <a:lnTo>
                  <a:pt x="67" y="114"/>
                </a:lnTo>
                <a:lnTo>
                  <a:pt x="70" y="114"/>
                </a:lnTo>
                <a:lnTo>
                  <a:pt x="70" y="112"/>
                </a:lnTo>
                <a:lnTo>
                  <a:pt x="70" y="110"/>
                </a:lnTo>
                <a:lnTo>
                  <a:pt x="67" y="105"/>
                </a:lnTo>
                <a:lnTo>
                  <a:pt x="67" y="103"/>
                </a:lnTo>
                <a:lnTo>
                  <a:pt x="67" y="100"/>
                </a:lnTo>
                <a:lnTo>
                  <a:pt x="70" y="100"/>
                </a:lnTo>
                <a:lnTo>
                  <a:pt x="72" y="100"/>
                </a:lnTo>
                <a:lnTo>
                  <a:pt x="74" y="100"/>
                </a:lnTo>
                <a:lnTo>
                  <a:pt x="77" y="98"/>
                </a:lnTo>
                <a:lnTo>
                  <a:pt x="77" y="96"/>
                </a:lnTo>
                <a:lnTo>
                  <a:pt x="81" y="93"/>
                </a:lnTo>
                <a:lnTo>
                  <a:pt x="81" y="91"/>
                </a:lnTo>
                <a:lnTo>
                  <a:pt x="81" y="86"/>
                </a:lnTo>
                <a:lnTo>
                  <a:pt x="81" y="82"/>
                </a:lnTo>
                <a:lnTo>
                  <a:pt x="81" y="79"/>
                </a:lnTo>
                <a:lnTo>
                  <a:pt x="84" y="79"/>
                </a:lnTo>
                <a:lnTo>
                  <a:pt x="86" y="77"/>
                </a:lnTo>
                <a:lnTo>
                  <a:pt x="88" y="75"/>
                </a:lnTo>
                <a:lnTo>
                  <a:pt x="91" y="72"/>
                </a:lnTo>
                <a:lnTo>
                  <a:pt x="91" y="70"/>
                </a:lnTo>
                <a:lnTo>
                  <a:pt x="95" y="65"/>
                </a:lnTo>
                <a:lnTo>
                  <a:pt x="98" y="65"/>
                </a:lnTo>
                <a:lnTo>
                  <a:pt x="98" y="58"/>
                </a:lnTo>
                <a:lnTo>
                  <a:pt x="98" y="54"/>
                </a:lnTo>
                <a:lnTo>
                  <a:pt x="100" y="51"/>
                </a:lnTo>
                <a:lnTo>
                  <a:pt x="100" y="49"/>
                </a:lnTo>
                <a:lnTo>
                  <a:pt x="100" y="47"/>
                </a:lnTo>
                <a:lnTo>
                  <a:pt x="102" y="47"/>
                </a:lnTo>
                <a:lnTo>
                  <a:pt x="105" y="47"/>
                </a:lnTo>
                <a:lnTo>
                  <a:pt x="109" y="42"/>
                </a:lnTo>
                <a:lnTo>
                  <a:pt x="109" y="40"/>
                </a:lnTo>
                <a:lnTo>
                  <a:pt x="112" y="37"/>
                </a:lnTo>
                <a:lnTo>
                  <a:pt x="114" y="37"/>
                </a:lnTo>
                <a:lnTo>
                  <a:pt x="116" y="33"/>
                </a:lnTo>
                <a:lnTo>
                  <a:pt x="121" y="30"/>
                </a:lnTo>
                <a:lnTo>
                  <a:pt x="128" y="30"/>
                </a:lnTo>
                <a:lnTo>
                  <a:pt x="130" y="28"/>
                </a:lnTo>
                <a:lnTo>
                  <a:pt x="133" y="26"/>
                </a:lnTo>
                <a:lnTo>
                  <a:pt x="135" y="23"/>
                </a:lnTo>
                <a:lnTo>
                  <a:pt x="137" y="19"/>
                </a:lnTo>
                <a:lnTo>
                  <a:pt x="140" y="14"/>
                </a:lnTo>
                <a:lnTo>
                  <a:pt x="144" y="12"/>
                </a:lnTo>
                <a:lnTo>
                  <a:pt x="156" y="9"/>
                </a:lnTo>
                <a:lnTo>
                  <a:pt x="158" y="7"/>
                </a:lnTo>
                <a:lnTo>
                  <a:pt x="163" y="2"/>
                </a:lnTo>
                <a:lnTo>
                  <a:pt x="165" y="0"/>
                </a:lnTo>
                <a:lnTo>
                  <a:pt x="167" y="0"/>
                </a:lnTo>
                <a:lnTo>
                  <a:pt x="170" y="0"/>
                </a:lnTo>
                <a:lnTo>
                  <a:pt x="172" y="0"/>
                </a:lnTo>
                <a:lnTo>
                  <a:pt x="174" y="2"/>
                </a:lnTo>
                <a:lnTo>
                  <a:pt x="177" y="5"/>
                </a:lnTo>
                <a:lnTo>
                  <a:pt x="195" y="9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28" name="Freeform 7">
            <a:extLst>
              <a:ext uri="{FF2B5EF4-FFF2-40B4-BE49-F238E27FC236}">
                <a16:creationId xmlns:a16="http://schemas.microsoft.com/office/drawing/2014/main" id="{9521B6D1-B892-35FE-2AA1-CD981260385C}"/>
              </a:ext>
            </a:extLst>
          </p:cNvPr>
          <p:cNvSpPr>
            <a:spLocks noEditPoints="1"/>
          </p:cNvSpPr>
          <p:nvPr/>
        </p:nvSpPr>
        <p:spPr bwMode="auto">
          <a:xfrm>
            <a:off x="3999171" y="3735548"/>
            <a:ext cx="506648" cy="183321"/>
          </a:xfrm>
          <a:custGeom>
            <a:avLst/>
            <a:gdLst>
              <a:gd name="T0" fmla="*/ 428 w 430"/>
              <a:gd name="T1" fmla="*/ 84 h 163"/>
              <a:gd name="T2" fmla="*/ 291 w 430"/>
              <a:gd name="T3" fmla="*/ 42 h 163"/>
              <a:gd name="T4" fmla="*/ 274 w 430"/>
              <a:gd name="T5" fmla="*/ 51 h 163"/>
              <a:gd name="T6" fmla="*/ 265 w 430"/>
              <a:gd name="T7" fmla="*/ 68 h 163"/>
              <a:gd name="T8" fmla="*/ 277 w 430"/>
              <a:gd name="T9" fmla="*/ 72 h 163"/>
              <a:gd name="T10" fmla="*/ 279 w 430"/>
              <a:gd name="T11" fmla="*/ 89 h 163"/>
              <a:gd name="T12" fmla="*/ 302 w 430"/>
              <a:gd name="T13" fmla="*/ 89 h 163"/>
              <a:gd name="T14" fmla="*/ 309 w 430"/>
              <a:gd name="T15" fmla="*/ 77 h 163"/>
              <a:gd name="T16" fmla="*/ 323 w 430"/>
              <a:gd name="T17" fmla="*/ 75 h 163"/>
              <a:gd name="T18" fmla="*/ 337 w 430"/>
              <a:gd name="T19" fmla="*/ 70 h 163"/>
              <a:gd name="T20" fmla="*/ 354 w 430"/>
              <a:gd name="T21" fmla="*/ 75 h 163"/>
              <a:gd name="T22" fmla="*/ 361 w 430"/>
              <a:gd name="T23" fmla="*/ 70 h 163"/>
              <a:gd name="T24" fmla="*/ 386 w 430"/>
              <a:gd name="T25" fmla="*/ 61 h 163"/>
              <a:gd name="T26" fmla="*/ 400 w 430"/>
              <a:gd name="T27" fmla="*/ 54 h 163"/>
              <a:gd name="T28" fmla="*/ 421 w 430"/>
              <a:gd name="T29" fmla="*/ 65 h 163"/>
              <a:gd name="T30" fmla="*/ 428 w 430"/>
              <a:gd name="T31" fmla="*/ 77 h 163"/>
              <a:gd name="T32" fmla="*/ 423 w 430"/>
              <a:gd name="T33" fmla="*/ 82 h 163"/>
              <a:gd name="T34" fmla="*/ 426 w 430"/>
              <a:gd name="T35" fmla="*/ 89 h 163"/>
              <a:gd name="T36" fmla="*/ 419 w 430"/>
              <a:gd name="T37" fmla="*/ 100 h 163"/>
              <a:gd name="T38" fmla="*/ 414 w 430"/>
              <a:gd name="T39" fmla="*/ 114 h 163"/>
              <a:gd name="T40" fmla="*/ 398 w 430"/>
              <a:gd name="T41" fmla="*/ 144 h 163"/>
              <a:gd name="T42" fmla="*/ 375 w 430"/>
              <a:gd name="T43" fmla="*/ 147 h 163"/>
              <a:gd name="T44" fmla="*/ 354 w 430"/>
              <a:gd name="T45" fmla="*/ 142 h 163"/>
              <a:gd name="T46" fmla="*/ 333 w 430"/>
              <a:gd name="T47" fmla="*/ 147 h 163"/>
              <a:gd name="T48" fmla="*/ 305 w 430"/>
              <a:gd name="T49" fmla="*/ 158 h 163"/>
              <a:gd name="T50" fmla="*/ 279 w 430"/>
              <a:gd name="T51" fmla="*/ 158 h 163"/>
              <a:gd name="T52" fmla="*/ 249 w 430"/>
              <a:gd name="T53" fmla="*/ 138 h 163"/>
              <a:gd name="T54" fmla="*/ 235 w 430"/>
              <a:gd name="T55" fmla="*/ 131 h 163"/>
              <a:gd name="T56" fmla="*/ 223 w 430"/>
              <a:gd name="T57" fmla="*/ 128 h 163"/>
              <a:gd name="T58" fmla="*/ 205 w 430"/>
              <a:gd name="T59" fmla="*/ 140 h 163"/>
              <a:gd name="T60" fmla="*/ 191 w 430"/>
              <a:gd name="T61" fmla="*/ 133 h 163"/>
              <a:gd name="T62" fmla="*/ 186 w 430"/>
              <a:gd name="T63" fmla="*/ 126 h 163"/>
              <a:gd name="T64" fmla="*/ 177 w 430"/>
              <a:gd name="T65" fmla="*/ 112 h 163"/>
              <a:gd name="T66" fmla="*/ 167 w 430"/>
              <a:gd name="T67" fmla="*/ 110 h 163"/>
              <a:gd name="T68" fmla="*/ 151 w 430"/>
              <a:gd name="T69" fmla="*/ 103 h 163"/>
              <a:gd name="T70" fmla="*/ 135 w 430"/>
              <a:gd name="T71" fmla="*/ 93 h 163"/>
              <a:gd name="T72" fmla="*/ 107 w 430"/>
              <a:gd name="T73" fmla="*/ 91 h 163"/>
              <a:gd name="T74" fmla="*/ 91 w 430"/>
              <a:gd name="T75" fmla="*/ 100 h 163"/>
              <a:gd name="T76" fmla="*/ 77 w 430"/>
              <a:gd name="T77" fmla="*/ 114 h 163"/>
              <a:gd name="T78" fmla="*/ 60 w 430"/>
              <a:gd name="T79" fmla="*/ 131 h 163"/>
              <a:gd name="T80" fmla="*/ 39 w 430"/>
              <a:gd name="T81" fmla="*/ 135 h 163"/>
              <a:gd name="T82" fmla="*/ 37 w 430"/>
              <a:gd name="T83" fmla="*/ 124 h 163"/>
              <a:gd name="T84" fmla="*/ 28 w 430"/>
              <a:gd name="T85" fmla="*/ 107 h 163"/>
              <a:gd name="T86" fmla="*/ 23 w 430"/>
              <a:gd name="T87" fmla="*/ 91 h 163"/>
              <a:gd name="T88" fmla="*/ 11 w 430"/>
              <a:gd name="T89" fmla="*/ 79 h 163"/>
              <a:gd name="T90" fmla="*/ 11 w 430"/>
              <a:gd name="T91" fmla="*/ 75 h 163"/>
              <a:gd name="T92" fmla="*/ 23 w 430"/>
              <a:gd name="T93" fmla="*/ 65 h 163"/>
              <a:gd name="T94" fmla="*/ 35 w 430"/>
              <a:gd name="T95" fmla="*/ 61 h 163"/>
              <a:gd name="T96" fmla="*/ 51 w 430"/>
              <a:gd name="T97" fmla="*/ 49 h 163"/>
              <a:gd name="T98" fmla="*/ 58 w 430"/>
              <a:gd name="T99" fmla="*/ 28 h 163"/>
              <a:gd name="T100" fmla="*/ 53 w 430"/>
              <a:gd name="T101" fmla="*/ 5 h 163"/>
              <a:gd name="T102" fmla="*/ 95 w 430"/>
              <a:gd name="T103" fmla="*/ 7 h 163"/>
              <a:gd name="T104" fmla="*/ 128 w 430"/>
              <a:gd name="T105" fmla="*/ 14 h 163"/>
              <a:gd name="T106" fmla="*/ 142 w 430"/>
              <a:gd name="T107" fmla="*/ 26 h 163"/>
              <a:gd name="T108" fmla="*/ 153 w 430"/>
              <a:gd name="T109" fmla="*/ 44 h 163"/>
              <a:gd name="T110" fmla="*/ 167 w 430"/>
              <a:gd name="T111" fmla="*/ 37 h 163"/>
              <a:gd name="T112" fmla="*/ 184 w 430"/>
              <a:gd name="T113" fmla="*/ 35 h 163"/>
              <a:gd name="T114" fmla="*/ 195 w 430"/>
              <a:gd name="T115" fmla="*/ 44 h 163"/>
              <a:gd name="T116" fmla="*/ 205 w 430"/>
              <a:gd name="T117" fmla="*/ 49 h 163"/>
              <a:gd name="T118" fmla="*/ 214 w 430"/>
              <a:gd name="T119" fmla="*/ 47 h 163"/>
              <a:gd name="T120" fmla="*/ 223 w 430"/>
              <a:gd name="T121" fmla="*/ 49 h 163"/>
              <a:gd name="T122" fmla="*/ 251 w 430"/>
              <a:gd name="T123" fmla="*/ 37 h 163"/>
              <a:gd name="T124" fmla="*/ 270 w 430"/>
              <a:gd name="T125" fmla="*/ 28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163">
                <a:moveTo>
                  <a:pt x="426" y="86"/>
                </a:moveTo>
                <a:lnTo>
                  <a:pt x="423" y="86"/>
                </a:lnTo>
                <a:lnTo>
                  <a:pt x="423" y="84"/>
                </a:lnTo>
                <a:lnTo>
                  <a:pt x="423" y="82"/>
                </a:lnTo>
                <a:lnTo>
                  <a:pt x="426" y="82"/>
                </a:lnTo>
                <a:lnTo>
                  <a:pt x="426" y="79"/>
                </a:lnTo>
                <a:lnTo>
                  <a:pt x="428" y="79"/>
                </a:lnTo>
                <a:lnTo>
                  <a:pt x="428" y="82"/>
                </a:lnTo>
                <a:lnTo>
                  <a:pt x="428" y="84"/>
                </a:lnTo>
                <a:lnTo>
                  <a:pt x="426" y="84"/>
                </a:lnTo>
                <a:lnTo>
                  <a:pt x="426" y="86"/>
                </a:lnTo>
                <a:close/>
                <a:moveTo>
                  <a:pt x="286" y="33"/>
                </a:moveTo>
                <a:lnTo>
                  <a:pt x="286" y="35"/>
                </a:lnTo>
                <a:lnTo>
                  <a:pt x="288" y="35"/>
                </a:lnTo>
                <a:lnTo>
                  <a:pt x="291" y="35"/>
                </a:lnTo>
                <a:lnTo>
                  <a:pt x="291" y="37"/>
                </a:lnTo>
                <a:lnTo>
                  <a:pt x="291" y="40"/>
                </a:lnTo>
                <a:lnTo>
                  <a:pt x="291" y="42"/>
                </a:lnTo>
                <a:lnTo>
                  <a:pt x="286" y="44"/>
                </a:lnTo>
                <a:lnTo>
                  <a:pt x="284" y="44"/>
                </a:lnTo>
                <a:lnTo>
                  <a:pt x="281" y="44"/>
                </a:lnTo>
                <a:lnTo>
                  <a:pt x="279" y="44"/>
                </a:lnTo>
                <a:lnTo>
                  <a:pt x="277" y="44"/>
                </a:lnTo>
                <a:lnTo>
                  <a:pt x="277" y="47"/>
                </a:lnTo>
                <a:lnTo>
                  <a:pt x="277" y="49"/>
                </a:lnTo>
                <a:lnTo>
                  <a:pt x="274" y="49"/>
                </a:lnTo>
                <a:lnTo>
                  <a:pt x="274" y="51"/>
                </a:lnTo>
                <a:lnTo>
                  <a:pt x="277" y="54"/>
                </a:lnTo>
                <a:lnTo>
                  <a:pt x="277" y="56"/>
                </a:lnTo>
                <a:lnTo>
                  <a:pt x="277" y="58"/>
                </a:lnTo>
                <a:lnTo>
                  <a:pt x="274" y="61"/>
                </a:lnTo>
                <a:lnTo>
                  <a:pt x="272" y="61"/>
                </a:lnTo>
                <a:lnTo>
                  <a:pt x="272" y="63"/>
                </a:lnTo>
                <a:lnTo>
                  <a:pt x="267" y="65"/>
                </a:lnTo>
                <a:lnTo>
                  <a:pt x="267" y="68"/>
                </a:lnTo>
                <a:lnTo>
                  <a:pt x="265" y="68"/>
                </a:lnTo>
                <a:lnTo>
                  <a:pt x="263" y="70"/>
                </a:lnTo>
                <a:lnTo>
                  <a:pt x="263" y="72"/>
                </a:lnTo>
                <a:lnTo>
                  <a:pt x="265" y="72"/>
                </a:lnTo>
                <a:lnTo>
                  <a:pt x="265" y="70"/>
                </a:lnTo>
                <a:lnTo>
                  <a:pt x="267" y="70"/>
                </a:lnTo>
                <a:lnTo>
                  <a:pt x="270" y="70"/>
                </a:lnTo>
                <a:lnTo>
                  <a:pt x="272" y="70"/>
                </a:lnTo>
                <a:lnTo>
                  <a:pt x="274" y="70"/>
                </a:lnTo>
                <a:lnTo>
                  <a:pt x="277" y="72"/>
                </a:lnTo>
                <a:lnTo>
                  <a:pt x="277" y="75"/>
                </a:lnTo>
                <a:lnTo>
                  <a:pt x="274" y="75"/>
                </a:lnTo>
                <a:lnTo>
                  <a:pt x="274" y="77"/>
                </a:lnTo>
                <a:lnTo>
                  <a:pt x="274" y="79"/>
                </a:lnTo>
                <a:lnTo>
                  <a:pt x="274" y="82"/>
                </a:lnTo>
                <a:lnTo>
                  <a:pt x="274" y="84"/>
                </a:lnTo>
                <a:lnTo>
                  <a:pt x="277" y="84"/>
                </a:lnTo>
                <a:lnTo>
                  <a:pt x="277" y="86"/>
                </a:lnTo>
                <a:lnTo>
                  <a:pt x="279" y="89"/>
                </a:lnTo>
                <a:lnTo>
                  <a:pt x="281" y="89"/>
                </a:lnTo>
                <a:lnTo>
                  <a:pt x="281" y="91"/>
                </a:lnTo>
                <a:lnTo>
                  <a:pt x="284" y="93"/>
                </a:lnTo>
                <a:lnTo>
                  <a:pt x="286" y="93"/>
                </a:lnTo>
                <a:lnTo>
                  <a:pt x="291" y="91"/>
                </a:lnTo>
                <a:lnTo>
                  <a:pt x="293" y="91"/>
                </a:lnTo>
                <a:lnTo>
                  <a:pt x="298" y="91"/>
                </a:lnTo>
                <a:lnTo>
                  <a:pt x="300" y="89"/>
                </a:lnTo>
                <a:lnTo>
                  <a:pt x="302" y="89"/>
                </a:lnTo>
                <a:lnTo>
                  <a:pt x="302" y="86"/>
                </a:lnTo>
                <a:lnTo>
                  <a:pt x="305" y="86"/>
                </a:lnTo>
                <a:lnTo>
                  <a:pt x="307" y="86"/>
                </a:lnTo>
                <a:lnTo>
                  <a:pt x="307" y="84"/>
                </a:lnTo>
                <a:lnTo>
                  <a:pt x="309" y="84"/>
                </a:lnTo>
                <a:lnTo>
                  <a:pt x="309" y="82"/>
                </a:lnTo>
                <a:lnTo>
                  <a:pt x="307" y="82"/>
                </a:lnTo>
                <a:lnTo>
                  <a:pt x="307" y="79"/>
                </a:lnTo>
                <a:lnTo>
                  <a:pt x="309" y="77"/>
                </a:lnTo>
                <a:lnTo>
                  <a:pt x="312" y="77"/>
                </a:lnTo>
                <a:lnTo>
                  <a:pt x="314" y="77"/>
                </a:lnTo>
                <a:lnTo>
                  <a:pt x="314" y="75"/>
                </a:lnTo>
                <a:lnTo>
                  <a:pt x="312" y="75"/>
                </a:lnTo>
                <a:lnTo>
                  <a:pt x="314" y="75"/>
                </a:lnTo>
                <a:lnTo>
                  <a:pt x="316" y="75"/>
                </a:lnTo>
                <a:lnTo>
                  <a:pt x="319" y="75"/>
                </a:lnTo>
                <a:lnTo>
                  <a:pt x="321" y="75"/>
                </a:lnTo>
                <a:lnTo>
                  <a:pt x="323" y="75"/>
                </a:lnTo>
                <a:lnTo>
                  <a:pt x="323" y="72"/>
                </a:lnTo>
                <a:lnTo>
                  <a:pt x="326" y="72"/>
                </a:lnTo>
                <a:lnTo>
                  <a:pt x="323" y="72"/>
                </a:lnTo>
                <a:lnTo>
                  <a:pt x="323" y="70"/>
                </a:lnTo>
                <a:lnTo>
                  <a:pt x="326" y="70"/>
                </a:lnTo>
                <a:lnTo>
                  <a:pt x="330" y="70"/>
                </a:lnTo>
                <a:lnTo>
                  <a:pt x="333" y="70"/>
                </a:lnTo>
                <a:lnTo>
                  <a:pt x="335" y="70"/>
                </a:lnTo>
                <a:lnTo>
                  <a:pt x="337" y="70"/>
                </a:lnTo>
                <a:lnTo>
                  <a:pt x="337" y="72"/>
                </a:lnTo>
                <a:lnTo>
                  <a:pt x="340" y="72"/>
                </a:lnTo>
                <a:lnTo>
                  <a:pt x="342" y="72"/>
                </a:lnTo>
                <a:lnTo>
                  <a:pt x="344" y="70"/>
                </a:lnTo>
                <a:lnTo>
                  <a:pt x="347" y="70"/>
                </a:lnTo>
                <a:lnTo>
                  <a:pt x="347" y="72"/>
                </a:lnTo>
                <a:lnTo>
                  <a:pt x="347" y="75"/>
                </a:lnTo>
                <a:lnTo>
                  <a:pt x="351" y="75"/>
                </a:lnTo>
                <a:lnTo>
                  <a:pt x="354" y="75"/>
                </a:lnTo>
                <a:lnTo>
                  <a:pt x="356" y="75"/>
                </a:lnTo>
                <a:lnTo>
                  <a:pt x="356" y="77"/>
                </a:lnTo>
                <a:lnTo>
                  <a:pt x="356" y="75"/>
                </a:lnTo>
                <a:lnTo>
                  <a:pt x="358" y="75"/>
                </a:lnTo>
                <a:lnTo>
                  <a:pt x="361" y="75"/>
                </a:lnTo>
                <a:lnTo>
                  <a:pt x="361" y="72"/>
                </a:lnTo>
                <a:lnTo>
                  <a:pt x="358" y="72"/>
                </a:lnTo>
                <a:lnTo>
                  <a:pt x="358" y="70"/>
                </a:lnTo>
                <a:lnTo>
                  <a:pt x="361" y="70"/>
                </a:lnTo>
                <a:lnTo>
                  <a:pt x="361" y="72"/>
                </a:lnTo>
                <a:lnTo>
                  <a:pt x="363" y="70"/>
                </a:lnTo>
                <a:lnTo>
                  <a:pt x="365" y="70"/>
                </a:lnTo>
                <a:lnTo>
                  <a:pt x="372" y="70"/>
                </a:lnTo>
                <a:lnTo>
                  <a:pt x="375" y="70"/>
                </a:lnTo>
                <a:lnTo>
                  <a:pt x="377" y="70"/>
                </a:lnTo>
                <a:lnTo>
                  <a:pt x="377" y="68"/>
                </a:lnTo>
                <a:lnTo>
                  <a:pt x="381" y="68"/>
                </a:lnTo>
                <a:lnTo>
                  <a:pt x="386" y="61"/>
                </a:lnTo>
                <a:lnTo>
                  <a:pt x="386" y="58"/>
                </a:lnTo>
                <a:lnTo>
                  <a:pt x="386" y="56"/>
                </a:lnTo>
                <a:lnTo>
                  <a:pt x="388" y="56"/>
                </a:lnTo>
                <a:lnTo>
                  <a:pt x="393" y="56"/>
                </a:lnTo>
                <a:lnTo>
                  <a:pt x="393" y="58"/>
                </a:lnTo>
                <a:lnTo>
                  <a:pt x="395" y="58"/>
                </a:lnTo>
                <a:lnTo>
                  <a:pt x="395" y="56"/>
                </a:lnTo>
                <a:lnTo>
                  <a:pt x="398" y="56"/>
                </a:lnTo>
                <a:lnTo>
                  <a:pt x="400" y="54"/>
                </a:lnTo>
                <a:lnTo>
                  <a:pt x="402" y="54"/>
                </a:lnTo>
                <a:lnTo>
                  <a:pt x="405" y="54"/>
                </a:lnTo>
                <a:lnTo>
                  <a:pt x="409" y="56"/>
                </a:lnTo>
                <a:lnTo>
                  <a:pt x="412" y="56"/>
                </a:lnTo>
                <a:lnTo>
                  <a:pt x="414" y="56"/>
                </a:lnTo>
                <a:lnTo>
                  <a:pt x="416" y="58"/>
                </a:lnTo>
                <a:lnTo>
                  <a:pt x="419" y="63"/>
                </a:lnTo>
                <a:lnTo>
                  <a:pt x="419" y="65"/>
                </a:lnTo>
                <a:lnTo>
                  <a:pt x="421" y="65"/>
                </a:lnTo>
                <a:lnTo>
                  <a:pt x="423" y="68"/>
                </a:lnTo>
                <a:lnTo>
                  <a:pt x="426" y="68"/>
                </a:lnTo>
                <a:lnTo>
                  <a:pt x="423" y="68"/>
                </a:lnTo>
                <a:lnTo>
                  <a:pt x="423" y="70"/>
                </a:lnTo>
                <a:lnTo>
                  <a:pt x="428" y="70"/>
                </a:lnTo>
                <a:lnTo>
                  <a:pt x="428" y="72"/>
                </a:lnTo>
                <a:lnTo>
                  <a:pt x="430" y="72"/>
                </a:lnTo>
                <a:lnTo>
                  <a:pt x="430" y="75"/>
                </a:lnTo>
                <a:lnTo>
                  <a:pt x="428" y="77"/>
                </a:lnTo>
                <a:lnTo>
                  <a:pt x="428" y="75"/>
                </a:lnTo>
                <a:lnTo>
                  <a:pt x="428" y="77"/>
                </a:lnTo>
                <a:lnTo>
                  <a:pt x="426" y="75"/>
                </a:lnTo>
                <a:lnTo>
                  <a:pt x="426" y="72"/>
                </a:lnTo>
                <a:lnTo>
                  <a:pt x="426" y="75"/>
                </a:lnTo>
                <a:lnTo>
                  <a:pt x="426" y="77"/>
                </a:lnTo>
                <a:lnTo>
                  <a:pt x="426" y="79"/>
                </a:lnTo>
                <a:lnTo>
                  <a:pt x="423" y="79"/>
                </a:lnTo>
                <a:lnTo>
                  <a:pt x="423" y="82"/>
                </a:lnTo>
                <a:lnTo>
                  <a:pt x="423" y="79"/>
                </a:lnTo>
                <a:lnTo>
                  <a:pt x="426" y="79"/>
                </a:lnTo>
                <a:lnTo>
                  <a:pt x="426" y="82"/>
                </a:lnTo>
                <a:lnTo>
                  <a:pt x="423" y="82"/>
                </a:lnTo>
                <a:lnTo>
                  <a:pt x="423" y="86"/>
                </a:lnTo>
                <a:lnTo>
                  <a:pt x="426" y="86"/>
                </a:lnTo>
                <a:lnTo>
                  <a:pt x="426" y="89"/>
                </a:lnTo>
                <a:lnTo>
                  <a:pt x="423" y="91"/>
                </a:lnTo>
                <a:lnTo>
                  <a:pt x="426" y="89"/>
                </a:lnTo>
                <a:lnTo>
                  <a:pt x="426" y="91"/>
                </a:lnTo>
                <a:lnTo>
                  <a:pt x="426" y="93"/>
                </a:lnTo>
                <a:lnTo>
                  <a:pt x="426" y="96"/>
                </a:lnTo>
                <a:lnTo>
                  <a:pt x="423" y="100"/>
                </a:lnTo>
                <a:lnTo>
                  <a:pt x="423" y="103"/>
                </a:lnTo>
                <a:lnTo>
                  <a:pt x="421" y="103"/>
                </a:lnTo>
                <a:lnTo>
                  <a:pt x="419" y="100"/>
                </a:lnTo>
                <a:lnTo>
                  <a:pt x="416" y="100"/>
                </a:lnTo>
                <a:lnTo>
                  <a:pt x="419" y="100"/>
                </a:lnTo>
                <a:lnTo>
                  <a:pt x="419" y="103"/>
                </a:lnTo>
                <a:lnTo>
                  <a:pt x="419" y="105"/>
                </a:lnTo>
                <a:lnTo>
                  <a:pt x="419" y="103"/>
                </a:lnTo>
                <a:lnTo>
                  <a:pt x="419" y="105"/>
                </a:lnTo>
                <a:lnTo>
                  <a:pt x="419" y="107"/>
                </a:lnTo>
                <a:lnTo>
                  <a:pt x="416" y="110"/>
                </a:lnTo>
                <a:lnTo>
                  <a:pt x="416" y="112"/>
                </a:lnTo>
                <a:lnTo>
                  <a:pt x="414" y="112"/>
                </a:lnTo>
                <a:lnTo>
                  <a:pt x="414" y="114"/>
                </a:lnTo>
                <a:lnTo>
                  <a:pt x="414" y="117"/>
                </a:lnTo>
                <a:lnTo>
                  <a:pt x="414" y="119"/>
                </a:lnTo>
                <a:lnTo>
                  <a:pt x="412" y="119"/>
                </a:lnTo>
                <a:lnTo>
                  <a:pt x="412" y="121"/>
                </a:lnTo>
                <a:lnTo>
                  <a:pt x="405" y="133"/>
                </a:lnTo>
                <a:lnTo>
                  <a:pt x="400" y="138"/>
                </a:lnTo>
                <a:lnTo>
                  <a:pt x="400" y="140"/>
                </a:lnTo>
                <a:lnTo>
                  <a:pt x="400" y="142"/>
                </a:lnTo>
                <a:lnTo>
                  <a:pt x="398" y="144"/>
                </a:lnTo>
                <a:lnTo>
                  <a:pt x="395" y="147"/>
                </a:lnTo>
                <a:lnTo>
                  <a:pt x="395" y="151"/>
                </a:lnTo>
                <a:lnTo>
                  <a:pt x="393" y="154"/>
                </a:lnTo>
                <a:lnTo>
                  <a:pt x="393" y="151"/>
                </a:lnTo>
                <a:lnTo>
                  <a:pt x="391" y="151"/>
                </a:lnTo>
                <a:lnTo>
                  <a:pt x="384" y="149"/>
                </a:lnTo>
                <a:lnTo>
                  <a:pt x="379" y="149"/>
                </a:lnTo>
                <a:lnTo>
                  <a:pt x="377" y="147"/>
                </a:lnTo>
                <a:lnTo>
                  <a:pt x="375" y="147"/>
                </a:lnTo>
                <a:lnTo>
                  <a:pt x="375" y="144"/>
                </a:lnTo>
                <a:lnTo>
                  <a:pt x="372" y="144"/>
                </a:lnTo>
                <a:lnTo>
                  <a:pt x="365" y="144"/>
                </a:lnTo>
                <a:lnTo>
                  <a:pt x="363" y="144"/>
                </a:lnTo>
                <a:lnTo>
                  <a:pt x="358" y="147"/>
                </a:lnTo>
                <a:lnTo>
                  <a:pt x="356" y="147"/>
                </a:lnTo>
                <a:lnTo>
                  <a:pt x="354" y="147"/>
                </a:lnTo>
                <a:lnTo>
                  <a:pt x="354" y="144"/>
                </a:lnTo>
                <a:lnTo>
                  <a:pt x="354" y="142"/>
                </a:lnTo>
                <a:lnTo>
                  <a:pt x="351" y="142"/>
                </a:lnTo>
                <a:lnTo>
                  <a:pt x="347" y="142"/>
                </a:lnTo>
                <a:lnTo>
                  <a:pt x="344" y="142"/>
                </a:lnTo>
                <a:lnTo>
                  <a:pt x="342" y="144"/>
                </a:lnTo>
                <a:lnTo>
                  <a:pt x="340" y="144"/>
                </a:lnTo>
                <a:lnTo>
                  <a:pt x="340" y="142"/>
                </a:lnTo>
                <a:lnTo>
                  <a:pt x="335" y="144"/>
                </a:lnTo>
                <a:lnTo>
                  <a:pt x="333" y="144"/>
                </a:lnTo>
                <a:lnTo>
                  <a:pt x="333" y="147"/>
                </a:lnTo>
                <a:lnTo>
                  <a:pt x="330" y="147"/>
                </a:lnTo>
                <a:lnTo>
                  <a:pt x="330" y="149"/>
                </a:lnTo>
                <a:lnTo>
                  <a:pt x="323" y="151"/>
                </a:lnTo>
                <a:lnTo>
                  <a:pt x="321" y="154"/>
                </a:lnTo>
                <a:lnTo>
                  <a:pt x="321" y="156"/>
                </a:lnTo>
                <a:lnTo>
                  <a:pt x="314" y="158"/>
                </a:lnTo>
                <a:lnTo>
                  <a:pt x="309" y="158"/>
                </a:lnTo>
                <a:lnTo>
                  <a:pt x="307" y="158"/>
                </a:lnTo>
                <a:lnTo>
                  <a:pt x="305" y="158"/>
                </a:lnTo>
                <a:lnTo>
                  <a:pt x="302" y="161"/>
                </a:lnTo>
                <a:lnTo>
                  <a:pt x="300" y="161"/>
                </a:lnTo>
                <a:lnTo>
                  <a:pt x="298" y="161"/>
                </a:lnTo>
                <a:lnTo>
                  <a:pt x="295" y="161"/>
                </a:lnTo>
                <a:lnTo>
                  <a:pt x="293" y="161"/>
                </a:lnTo>
                <a:lnTo>
                  <a:pt x="284" y="156"/>
                </a:lnTo>
                <a:lnTo>
                  <a:pt x="281" y="156"/>
                </a:lnTo>
                <a:lnTo>
                  <a:pt x="279" y="156"/>
                </a:lnTo>
                <a:lnTo>
                  <a:pt x="279" y="158"/>
                </a:lnTo>
                <a:lnTo>
                  <a:pt x="274" y="163"/>
                </a:lnTo>
                <a:lnTo>
                  <a:pt x="274" y="161"/>
                </a:lnTo>
                <a:lnTo>
                  <a:pt x="272" y="158"/>
                </a:lnTo>
                <a:lnTo>
                  <a:pt x="270" y="156"/>
                </a:lnTo>
                <a:lnTo>
                  <a:pt x="267" y="156"/>
                </a:lnTo>
                <a:lnTo>
                  <a:pt x="265" y="156"/>
                </a:lnTo>
                <a:lnTo>
                  <a:pt x="265" y="154"/>
                </a:lnTo>
                <a:lnTo>
                  <a:pt x="260" y="151"/>
                </a:lnTo>
                <a:lnTo>
                  <a:pt x="249" y="138"/>
                </a:lnTo>
                <a:lnTo>
                  <a:pt x="247" y="135"/>
                </a:lnTo>
                <a:lnTo>
                  <a:pt x="244" y="135"/>
                </a:lnTo>
                <a:lnTo>
                  <a:pt x="244" y="133"/>
                </a:lnTo>
                <a:lnTo>
                  <a:pt x="244" y="131"/>
                </a:lnTo>
                <a:lnTo>
                  <a:pt x="242" y="131"/>
                </a:lnTo>
                <a:lnTo>
                  <a:pt x="242" y="128"/>
                </a:lnTo>
                <a:lnTo>
                  <a:pt x="240" y="128"/>
                </a:lnTo>
                <a:lnTo>
                  <a:pt x="237" y="131"/>
                </a:lnTo>
                <a:lnTo>
                  <a:pt x="235" y="131"/>
                </a:lnTo>
                <a:lnTo>
                  <a:pt x="233" y="131"/>
                </a:lnTo>
                <a:lnTo>
                  <a:pt x="230" y="128"/>
                </a:lnTo>
                <a:lnTo>
                  <a:pt x="230" y="126"/>
                </a:lnTo>
                <a:lnTo>
                  <a:pt x="230" y="124"/>
                </a:lnTo>
                <a:lnTo>
                  <a:pt x="228" y="121"/>
                </a:lnTo>
                <a:lnTo>
                  <a:pt x="226" y="124"/>
                </a:lnTo>
                <a:lnTo>
                  <a:pt x="223" y="124"/>
                </a:lnTo>
                <a:lnTo>
                  <a:pt x="223" y="126"/>
                </a:lnTo>
                <a:lnTo>
                  <a:pt x="223" y="128"/>
                </a:lnTo>
                <a:lnTo>
                  <a:pt x="223" y="131"/>
                </a:lnTo>
                <a:lnTo>
                  <a:pt x="221" y="131"/>
                </a:lnTo>
                <a:lnTo>
                  <a:pt x="221" y="133"/>
                </a:lnTo>
                <a:lnTo>
                  <a:pt x="216" y="133"/>
                </a:lnTo>
                <a:lnTo>
                  <a:pt x="214" y="135"/>
                </a:lnTo>
                <a:lnTo>
                  <a:pt x="212" y="138"/>
                </a:lnTo>
                <a:lnTo>
                  <a:pt x="209" y="138"/>
                </a:lnTo>
                <a:lnTo>
                  <a:pt x="207" y="140"/>
                </a:lnTo>
                <a:lnTo>
                  <a:pt x="205" y="140"/>
                </a:lnTo>
                <a:lnTo>
                  <a:pt x="202" y="140"/>
                </a:lnTo>
                <a:lnTo>
                  <a:pt x="200" y="142"/>
                </a:lnTo>
                <a:lnTo>
                  <a:pt x="200" y="144"/>
                </a:lnTo>
                <a:lnTo>
                  <a:pt x="195" y="147"/>
                </a:lnTo>
                <a:lnTo>
                  <a:pt x="193" y="147"/>
                </a:lnTo>
                <a:lnTo>
                  <a:pt x="193" y="144"/>
                </a:lnTo>
                <a:lnTo>
                  <a:pt x="191" y="138"/>
                </a:lnTo>
                <a:lnTo>
                  <a:pt x="191" y="135"/>
                </a:lnTo>
                <a:lnTo>
                  <a:pt x="191" y="133"/>
                </a:lnTo>
                <a:lnTo>
                  <a:pt x="191" y="131"/>
                </a:lnTo>
                <a:lnTo>
                  <a:pt x="191" y="128"/>
                </a:lnTo>
                <a:lnTo>
                  <a:pt x="193" y="128"/>
                </a:lnTo>
                <a:lnTo>
                  <a:pt x="193" y="126"/>
                </a:lnTo>
                <a:lnTo>
                  <a:pt x="191" y="126"/>
                </a:lnTo>
                <a:lnTo>
                  <a:pt x="191" y="124"/>
                </a:lnTo>
                <a:lnTo>
                  <a:pt x="191" y="126"/>
                </a:lnTo>
                <a:lnTo>
                  <a:pt x="188" y="126"/>
                </a:lnTo>
                <a:lnTo>
                  <a:pt x="186" y="126"/>
                </a:lnTo>
                <a:lnTo>
                  <a:pt x="184" y="126"/>
                </a:lnTo>
                <a:lnTo>
                  <a:pt x="181" y="124"/>
                </a:lnTo>
                <a:lnTo>
                  <a:pt x="179" y="121"/>
                </a:lnTo>
                <a:lnTo>
                  <a:pt x="179" y="119"/>
                </a:lnTo>
                <a:lnTo>
                  <a:pt x="181" y="117"/>
                </a:lnTo>
                <a:lnTo>
                  <a:pt x="184" y="114"/>
                </a:lnTo>
                <a:lnTo>
                  <a:pt x="181" y="114"/>
                </a:lnTo>
                <a:lnTo>
                  <a:pt x="179" y="112"/>
                </a:lnTo>
                <a:lnTo>
                  <a:pt x="177" y="112"/>
                </a:lnTo>
                <a:lnTo>
                  <a:pt x="174" y="114"/>
                </a:lnTo>
                <a:lnTo>
                  <a:pt x="174" y="117"/>
                </a:lnTo>
                <a:lnTo>
                  <a:pt x="174" y="119"/>
                </a:lnTo>
                <a:lnTo>
                  <a:pt x="172" y="121"/>
                </a:lnTo>
                <a:lnTo>
                  <a:pt x="170" y="121"/>
                </a:lnTo>
                <a:lnTo>
                  <a:pt x="170" y="119"/>
                </a:lnTo>
                <a:lnTo>
                  <a:pt x="167" y="114"/>
                </a:lnTo>
                <a:lnTo>
                  <a:pt x="167" y="112"/>
                </a:lnTo>
                <a:lnTo>
                  <a:pt x="167" y="110"/>
                </a:lnTo>
                <a:lnTo>
                  <a:pt x="165" y="110"/>
                </a:lnTo>
                <a:lnTo>
                  <a:pt x="163" y="107"/>
                </a:lnTo>
                <a:lnTo>
                  <a:pt x="160" y="107"/>
                </a:lnTo>
                <a:lnTo>
                  <a:pt x="160" y="105"/>
                </a:lnTo>
                <a:lnTo>
                  <a:pt x="158" y="105"/>
                </a:lnTo>
                <a:lnTo>
                  <a:pt x="156" y="105"/>
                </a:lnTo>
                <a:lnTo>
                  <a:pt x="153" y="105"/>
                </a:lnTo>
                <a:lnTo>
                  <a:pt x="151" y="105"/>
                </a:lnTo>
                <a:lnTo>
                  <a:pt x="151" y="103"/>
                </a:lnTo>
                <a:lnTo>
                  <a:pt x="149" y="103"/>
                </a:lnTo>
                <a:lnTo>
                  <a:pt x="149" y="100"/>
                </a:lnTo>
                <a:lnTo>
                  <a:pt x="144" y="98"/>
                </a:lnTo>
                <a:lnTo>
                  <a:pt x="142" y="98"/>
                </a:lnTo>
                <a:lnTo>
                  <a:pt x="139" y="98"/>
                </a:lnTo>
                <a:lnTo>
                  <a:pt x="139" y="96"/>
                </a:lnTo>
                <a:lnTo>
                  <a:pt x="137" y="96"/>
                </a:lnTo>
                <a:lnTo>
                  <a:pt x="137" y="93"/>
                </a:lnTo>
                <a:lnTo>
                  <a:pt x="135" y="93"/>
                </a:lnTo>
                <a:lnTo>
                  <a:pt x="135" y="89"/>
                </a:lnTo>
                <a:lnTo>
                  <a:pt x="132" y="89"/>
                </a:lnTo>
                <a:lnTo>
                  <a:pt x="130" y="86"/>
                </a:lnTo>
                <a:lnTo>
                  <a:pt x="128" y="84"/>
                </a:lnTo>
                <a:lnTo>
                  <a:pt x="125" y="84"/>
                </a:lnTo>
                <a:lnTo>
                  <a:pt x="112" y="91"/>
                </a:lnTo>
                <a:lnTo>
                  <a:pt x="109" y="89"/>
                </a:lnTo>
                <a:lnTo>
                  <a:pt x="107" y="89"/>
                </a:lnTo>
                <a:lnTo>
                  <a:pt x="107" y="91"/>
                </a:lnTo>
                <a:lnTo>
                  <a:pt x="107" y="96"/>
                </a:lnTo>
                <a:lnTo>
                  <a:pt x="107" y="98"/>
                </a:lnTo>
                <a:lnTo>
                  <a:pt x="105" y="98"/>
                </a:lnTo>
                <a:lnTo>
                  <a:pt x="102" y="98"/>
                </a:lnTo>
                <a:lnTo>
                  <a:pt x="98" y="98"/>
                </a:lnTo>
                <a:lnTo>
                  <a:pt x="95" y="98"/>
                </a:lnTo>
                <a:lnTo>
                  <a:pt x="93" y="98"/>
                </a:lnTo>
                <a:lnTo>
                  <a:pt x="93" y="100"/>
                </a:lnTo>
                <a:lnTo>
                  <a:pt x="91" y="100"/>
                </a:lnTo>
                <a:lnTo>
                  <a:pt x="93" y="103"/>
                </a:lnTo>
                <a:lnTo>
                  <a:pt x="93" y="105"/>
                </a:lnTo>
                <a:lnTo>
                  <a:pt x="93" y="107"/>
                </a:lnTo>
                <a:lnTo>
                  <a:pt x="91" y="107"/>
                </a:lnTo>
                <a:lnTo>
                  <a:pt x="91" y="110"/>
                </a:lnTo>
                <a:lnTo>
                  <a:pt x="86" y="112"/>
                </a:lnTo>
                <a:lnTo>
                  <a:pt x="84" y="112"/>
                </a:lnTo>
                <a:lnTo>
                  <a:pt x="79" y="112"/>
                </a:lnTo>
                <a:lnTo>
                  <a:pt x="77" y="114"/>
                </a:lnTo>
                <a:lnTo>
                  <a:pt x="74" y="114"/>
                </a:lnTo>
                <a:lnTo>
                  <a:pt x="72" y="114"/>
                </a:lnTo>
                <a:lnTo>
                  <a:pt x="72" y="112"/>
                </a:lnTo>
                <a:lnTo>
                  <a:pt x="70" y="112"/>
                </a:lnTo>
                <a:lnTo>
                  <a:pt x="67" y="112"/>
                </a:lnTo>
                <a:lnTo>
                  <a:pt x="65" y="114"/>
                </a:lnTo>
                <a:lnTo>
                  <a:pt x="60" y="126"/>
                </a:lnTo>
                <a:lnTo>
                  <a:pt x="60" y="128"/>
                </a:lnTo>
                <a:lnTo>
                  <a:pt x="60" y="131"/>
                </a:lnTo>
                <a:lnTo>
                  <a:pt x="58" y="131"/>
                </a:lnTo>
                <a:lnTo>
                  <a:pt x="56" y="131"/>
                </a:lnTo>
                <a:lnTo>
                  <a:pt x="56" y="128"/>
                </a:lnTo>
                <a:lnTo>
                  <a:pt x="53" y="128"/>
                </a:lnTo>
                <a:lnTo>
                  <a:pt x="51" y="131"/>
                </a:lnTo>
                <a:lnTo>
                  <a:pt x="46" y="131"/>
                </a:lnTo>
                <a:lnTo>
                  <a:pt x="46" y="133"/>
                </a:lnTo>
                <a:lnTo>
                  <a:pt x="44" y="135"/>
                </a:lnTo>
                <a:lnTo>
                  <a:pt x="39" y="135"/>
                </a:lnTo>
                <a:lnTo>
                  <a:pt x="37" y="133"/>
                </a:lnTo>
                <a:lnTo>
                  <a:pt x="35" y="133"/>
                </a:lnTo>
                <a:lnTo>
                  <a:pt x="35" y="131"/>
                </a:lnTo>
                <a:lnTo>
                  <a:pt x="32" y="131"/>
                </a:lnTo>
                <a:lnTo>
                  <a:pt x="32" y="128"/>
                </a:lnTo>
                <a:lnTo>
                  <a:pt x="35" y="128"/>
                </a:lnTo>
                <a:lnTo>
                  <a:pt x="35" y="126"/>
                </a:lnTo>
                <a:lnTo>
                  <a:pt x="37" y="126"/>
                </a:lnTo>
                <a:lnTo>
                  <a:pt x="37" y="124"/>
                </a:lnTo>
                <a:lnTo>
                  <a:pt x="37" y="121"/>
                </a:lnTo>
                <a:lnTo>
                  <a:pt x="37" y="119"/>
                </a:lnTo>
                <a:lnTo>
                  <a:pt x="37" y="117"/>
                </a:lnTo>
                <a:lnTo>
                  <a:pt x="35" y="117"/>
                </a:lnTo>
                <a:lnTo>
                  <a:pt x="32" y="117"/>
                </a:lnTo>
                <a:lnTo>
                  <a:pt x="30" y="112"/>
                </a:lnTo>
                <a:lnTo>
                  <a:pt x="28" y="112"/>
                </a:lnTo>
                <a:lnTo>
                  <a:pt x="28" y="110"/>
                </a:lnTo>
                <a:lnTo>
                  <a:pt x="28" y="107"/>
                </a:lnTo>
                <a:lnTo>
                  <a:pt x="28" y="105"/>
                </a:lnTo>
                <a:lnTo>
                  <a:pt x="25" y="103"/>
                </a:lnTo>
                <a:lnTo>
                  <a:pt x="28" y="103"/>
                </a:lnTo>
                <a:lnTo>
                  <a:pt x="28" y="100"/>
                </a:lnTo>
                <a:lnTo>
                  <a:pt x="28" y="98"/>
                </a:lnTo>
                <a:lnTo>
                  <a:pt x="28" y="93"/>
                </a:lnTo>
                <a:lnTo>
                  <a:pt x="28" y="91"/>
                </a:lnTo>
                <a:lnTo>
                  <a:pt x="25" y="91"/>
                </a:lnTo>
                <a:lnTo>
                  <a:pt x="23" y="91"/>
                </a:lnTo>
                <a:lnTo>
                  <a:pt x="23" y="89"/>
                </a:lnTo>
                <a:lnTo>
                  <a:pt x="23" y="86"/>
                </a:lnTo>
                <a:lnTo>
                  <a:pt x="21" y="86"/>
                </a:lnTo>
                <a:lnTo>
                  <a:pt x="18" y="86"/>
                </a:lnTo>
                <a:lnTo>
                  <a:pt x="16" y="86"/>
                </a:lnTo>
                <a:lnTo>
                  <a:pt x="16" y="84"/>
                </a:lnTo>
                <a:lnTo>
                  <a:pt x="16" y="82"/>
                </a:lnTo>
                <a:lnTo>
                  <a:pt x="14" y="82"/>
                </a:lnTo>
                <a:lnTo>
                  <a:pt x="11" y="79"/>
                </a:lnTo>
                <a:lnTo>
                  <a:pt x="9" y="79"/>
                </a:lnTo>
                <a:lnTo>
                  <a:pt x="7" y="79"/>
                </a:lnTo>
                <a:lnTo>
                  <a:pt x="7" y="82"/>
                </a:lnTo>
                <a:lnTo>
                  <a:pt x="4" y="82"/>
                </a:lnTo>
                <a:lnTo>
                  <a:pt x="2" y="82"/>
                </a:lnTo>
                <a:lnTo>
                  <a:pt x="0" y="79"/>
                </a:lnTo>
                <a:lnTo>
                  <a:pt x="4" y="77"/>
                </a:lnTo>
                <a:lnTo>
                  <a:pt x="9" y="75"/>
                </a:lnTo>
                <a:lnTo>
                  <a:pt x="11" y="75"/>
                </a:lnTo>
                <a:lnTo>
                  <a:pt x="11" y="72"/>
                </a:lnTo>
                <a:lnTo>
                  <a:pt x="14" y="72"/>
                </a:lnTo>
                <a:lnTo>
                  <a:pt x="14" y="70"/>
                </a:lnTo>
                <a:lnTo>
                  <a:pt x="16" y="70"/>
                </a:lnTo>
                <a:lnTo>
                  <a:pt x="18" y="70"/>
                </a:lnTo>
                <a:lnTo>
                  <a:pt x="18" y="68"/>
                </a:lnTo>
                <a:lnTo>
                  <a:pt x="21" y="68"/>
                </a:lnTo>
                <a:lnTo>
                  <a:pt x="21" y="65"/>
                </a:lnTo>
                <a:lnTo>
                  <a:pt x="23" y="65"/>
                </a:lnTo>
                <a:lnTo>
                  <a:pt x="23" y="63"/>
                </a:lnTo>
                <a:lnTo>
                  <a:pt x="25" y="63"/>
                </a:lnTo>
                <a:lnTo>
                  <a:pt x="28" y="63"/>
                </a:lnTo>
                <a:lnTo>
                  <a:pt x="30" y="65"/>
                </a:lnTo>
                <a:lnTo>
                  <a:pt x="32" y="63"/>
                </a:lnTo>
                <a:lnTo>
                  <a:pt x="32" y="61"/>
                </a:lnTo>
                <a:lnTo>
                  <a:pt x="32" y="58"/>
                </a:lnTo>
                <a:lnTo>
                  <a:pt x="35" y="58"/>
                </a:lnTo>
                <a:lnTo>
                  <a:pt x="35" y="61"/>
                </a:lnTo>
                <a:lnTo>
                  <a:pt x="37" y="61"/>
                </a:lnTo>
                <a:lnTo>
                  <a:pt x="37" y="58"/>
                </a:lnTo>
                <a:lnTo>
                  <a:pt x="39" y="58"/>
                </a:lnTo>
                <a:lnTo>
                  <a:pt x="42" y="58"/>
                </a:lnTo>
                <a:lnTo>
                  <a:pt x="42" y="56"/>
                </a:lnTo>
                <a:lnTo>
                  <a:pt x="42" y="54"/>
                </a:lnTo>
                <a:lnTo>
                  <a:pt x="46" y="51"/>
                </a:lnTo>
                <a:lnTo>
                  <a:pt x="49" y="51"/>
                </a:lnTo>
                <a:lnTo>
                  <a:pt x="51" y="49"/>
                </a:lnTo>
                <a:lnTo>
                  <a:pt x="53" y="49"/>
                </a:lnTo>
                <a:lnTo>
                  <a:pt x="53" y="47"/>
                </a:lnTo>
                <a:lnTo>
                  <a:pt x="56" y="47"/>
                </a:lnTo>
                <a:lnTo>
                  <a:pt x="58" y="42"/>
                </a:lnTo>
                <a:lnTo>
                  <a:pt x="58" y="40"/>
                </a:lnTo>
                <a:lnTo>
                  <a:pt x="60" y="35"/>
                </a:lnTo>
                <a:lnTo>
                  <a:pt x="60" y="30"/>
                </a:lnTo>
                <a:lnTo>
                  <a:pt x="60" y="28"/>
                </a:lnTo>
                <a:lnTo>
                  <a:pt x="58" y="28"/>
                </a:lnTo>
                <a:lnTo>
                  <a:pt x="58" y="26"/>
                </a:lnTo>
                <a:lnTo>
                  <a:pt x="53" y="23"/>
                </a:lnTo>
                <a:lnTo>
                  <a:pt x="53" y="21"/>
                </a:lnTo>
                <a:lnTo>
                  <a:pt x="56" y="19"/>
                </a:lnTo>
                <a:lnTo>
                  <a:pt x="56" y="16"/>
                </a:lnTo>
                <a:lnTo>
                  <a:pt x="56" y="14"/>
                </a:lnTo>
                <a:lnTo>
                  <a:pt x="56" y="12"/>
                </a:lnTo>
                <a:lnTo>
                  <a:pt x="53" y="7"/>
                </a:lnTo>
                <a:lnTo>
                  <a:pt x="53" y="5"/>
                </a:lnTo>
                <a:lnTo>
                  <a:pt x="53" y="2"/>
                </a:lnTo>
                <a:lnTo>
                  <a:pt x="53" y="0"/>
                </a:lnTo>
                <a:lnTo>
                  <a:pt x="56" y="0"/>
                </a:lnTo>
                <a:lnTo>
                  <a:pt x="65" y="0"/>
                </a:lnTo>
                <a:lnTo>
                  <a:pt x="79" y="2"/>
                </a:lnTo>
                <a:lnTo>
                  <a:pt x="81" y="2"/>
                </a:lnTo>
                <a:lnTo>
                  <a:pt x="88" y="5"/>
                </a:lnTo>
                <a:lnTo>
                  <a:pt x="88" y="7"/>
                </a:lnTo>
                <a:lnTo>
                  <a:pt x="95" y="7"/>
                </a:lnTo>
                <a:lnTo>
                  <a:pt x="95" y="5"/>
                </a:lnTo>
                <a:lnTo>
                  <a:pt x="98" y="5"/>
                </a:lnTo>
                <a:lnTo>
                  <a:pt x="102" y="5"/>
                </a:lnTo>
                <a:lnTo>
                  <a:pt x="105" y="5"/>
                </a:lnTo>
                <a:lnTo>
                  <a:pt x="109" y="5"/>
                </a:lnTo>
                <a:lnTo>
                  <a:pt x="121" y="7"/>
                </a:lnTo>
                <a:lnTo>
                  <a:pt x="123" y="9"/>
                </a:lnTo>
                <a:lnTo>
                  <a:pt x="125" y="12"/>
                </a:lnTo>
                <a:lnTo>
                  <a:pt x="128" y="14"/>
                </a:lnTo>
                <a:lnTo>
                  <a:pt x="128" y="16"/>
                </a:lnTo>
                <a:lnTo>
                  <a:pt x="130" y="16"/>
                </a:lnTo>
                <a:lnTo>
                  <a:pt x="132" y="16"/>
                </a:lnTo>
                <a:lnTo>
                  <a:pt x="132" y="19"/>
                </a:lnTo>
                <a:lnTo>
                  <a:pt x="135" y="19"/>
                </a:lnTo>
                <a:lnTo>
                  <a:pt x="137" y="21"/>
                </a:lnTo>
                <a:lnTo>
                  <a:pt x="139" y="21"/>
                </a:lnTo>
                <a:lnTo>
                  <a:pt x="139" y="23"/>
                </a:lnTo>
                <a:lnTo>
                  <a:pt x="142" y="26"/>
                </a:lnTo>
                <a:lnTo>
                  <a:pt x="142" y="28"/>
                </a:lnTo>
                <a:lnTo>
                  <a:pt x="144" y="30"/>
                </a:lnTo>
                <a:lnTo>
                  <a:pt x="149" y="33"/>
                </a:lnTo>
                <a:lnTo>
                  <a:pt x="149" y="35"/>
                </a:lnTo>
                <a:lnTo>
                  <a:pt x="151" y="35"/>
                </a:lnTo>
                <a:lnTo>
                  <a:pt x="151" y="37"/>
                </a:lnTo>
                <a:lnTo>
                  <a:pt x="153" y="37"/>
                </a:lnTo>
                <a:lnTo>
                  <a:pt x="153" y="42"/>
                </a:lnTo>
                <a:lnTo>
                  <a:pt x="153" y="44"/>
                </a:lnTo>
                <a:lnTo>
                  <a:pt x="156" y="44"/>
                </a:lnTo>
                <a:lnTo>
                  <a:pt x="158" y="44"/>
                </a:lnTo>
                <a:lnTo>
                  <a:pt x="158" y="42"/>
                </a:lnTo>
                <a:lnTo>
                  <a:pt x="160" y="42"/>
                </a:lnTo>
                <a:lnTo>
                  <a:pt x="160" y="44"/>
                </a:lnTo>
                <a:lnTo>
                  <a:pt x="163" y="44"/>
                </a:lnTo>
                <a:lnTo>
                  <a:pt x="163" y="42"/>
                </a:lnTo>
                <a:lnTo>
                  <a:pt x="165" y="40"/>
                </a:lnTo>
                <a:lnTo>
                  <a:pt x="167" y="37"/>
                </a:lnTo>
                <a:lnTo>
                  <a:pt x="170" y="37"/>
                </a:lnTo>
                <a:lnTo>
                  <a:pt x="172" y="35"/>
                </a:lnTo>
                <a:lnTo>
                  <a:pt x="174" y="35"/>
                </a:lnTo>
                <a:lnTo>
                  <a:pt x="177" y="35"/>
                </a:lnTo>
                <a:lnTo>
                  <a:pt x="177" y="33"/>
                </a:lnTo>
                <a:lnTo>
                  <a:pt x="179" y="33"/>
                </a:lnTo>
                <a:lnTo>
                  <a:pt x="181" y="33"/>
                </a:lnTo>
                <a:lnTo>
                  <a:pt x="184" y="33"/>
                </a:lnTo>
                <a:lnTo>
                  <a:pt x="184" y="35"/>
                </a:lnTo>
                <a:lnTo>
                  <a:pt x="184" y="37"/>
                </a:lnTo>
                <a:lnTo>
                  <a:pt x="186" y="37"/>
                </a:lnTo>
                <a:lnTo>
                  <a:pt x="186" y="40"/>
                </a:lnTo>
                <a:lnTo>
                  <a:pt x="186" y="42"/>
                </a:lnTo>
                <a:lnTo>
                  <a:pt x="188" y="42"/>
                </a:lnTo>
                <a:lnTo>
                  <a:pt x="188" y="44"/>
                </a:lnTo>
                <a:lnTo>
                  <a:pt x="191" y="44"/>
                </a:lnTo>
                <a:lnTo>
                  <a:pt x="193" y="44"/>
                </a:lnTo>
                <a:lnTo>
                  <a:pt x="195" y="44"/>
                </a:lnTo>
                <a:lnTo>
                  <a:pt x="195" y="42"/>
                </a:lnTo>
                <a:lnTo>
                  <a:pt x="198" y="42"/>
                </a:lnTo>
                <a:lnTo>
                  <a:pt x="198" y="44"/>
                </a:lnTo>
                <a:lnTo>
                  <a:pt x="198" y="42"/>
                </a:lnTo>
                <a:lnTo>
                  <a:pt x="200" y="42"/>
                </a:lnTo>
                <a:lnTo>
                  <a:pt x="202" y="42"/>
                </a:lnTo>
                <a:lnTo>
                  <a:pt x="205" y="44"/>
                </a:lnTo>
                <a:lnTo>
                  <a:pt x="205" y="47"/>
                </a:lnTo>
                <a:lnTo>
                  <a:pt x="205" y="49"/>
                </a:lnTo>
                <a:lnTo>
                  <a:pt x="205" y="51"/>
                </a:lnTo>
                <a:lnTo>
                  <a:pt x="207" y="51"/>
                </a:lnTo>
                <a:lnTo>
                  <a:pt x="209" y="51"/>
                </a:lnTo>
                <a:lnTo>
                  <a:pt x="209" y="49"/>
                </a:lnTo>
                <a:lnTo>
                  <a:pt x="209" y="51"/>
                </a:lnTo>
                <a:lnTo>
                  <a:pt x="212" y="51"/>
                </a:lnTo>
                <a:lnTo>
                  <a:pt x="212" y="49"/>
                </a:lnTo>
                <a:lnTo>
                  <a:pt x="214" y="49"/>
                </a:lnTo>
                <a:lnTo>
                  <a:pt x="214" y="47"/>
                </a:lnTo>
                <a:lnTo>
                  <a:pt x="214" y="49"/>
                </a:lnTo>
                <a:lnTo>
                  <a:pt x="216" y="49"/>
                </a:lnTo>
                <a:lnTo>
                  <a:pt x="216" y="51"/>
                </a:lnTo>
                <a:lnTo>
                  <a:pt x="219" y="51"/>
                </a:lnTo>
                <a:lnTo>
                  <a:pt x="219" y="49"/>
                </a:lnTo>
                <a:lnTo>
                  <a:pt x="221" y="49"/>
                </a:lnTo>
                <a:lnTo>
                  <a:pt x="221" y="47"/>
                </a:lnTo>
                <a:lnTo>
                  <a:pt x="221" y="49"/>
                </a:lnTo>
                <a:lnTo>
                  <a:pt x="223" y="49"/>
                </a:lnTo>
                <a:lnTo>
                  <a:pt x="226" y="49"/>
                </a:lnTo>
                <a:lnTo>
                  <a:pt x="228" y="49"/>
                </a:lnTo>
                <a:lnTo>
                  <a:pt x="230" y="47"/>
                </a:lnTo>
                <a:lnTo>
                  <a:pt x="230" y="44"/>
                </a:lnTo>
                <a:lnTo>
                  <a:pt x="233" y="44"/>
                </a:lnTo>
                <a:lnTo>
                  <a:pt x="240" y="42"/>
                </a:lnTo>
                <a:lnTo>
                  <a:pt x="242" y="40"/>
                </a:lnTo>
                <a:lnTo>
                  <a:pt x="244" y="37"/>
                </a:lnTo>
                <a:lnTo>
                  <a:pt x="251" y="37"/>
                </a:lnTo>
                <a:lnTo>
                  <a:pt x="256" y="35"/>
                </a:lnTo>
                <a:lnTo>
                  <a:pt x="258" y="33"/>
                </a:lnTo>
                <a:lnTo>
                  <a:pt x="260" y="30"/>
                </a:lnTo>
                <a:lnTo>
                  <a:pt x="260" y="28"/>
                </a:lnTo>
                <a:lnTo>
                  <a:pt x="265" y="28"/>
                </a:lnTo>
                <a:lnTo>
                  <a:pt x="265" y="30"/>
                </a:lnTo>
                <a:lnTo>
                  <a:pt x="267" y="30"/>
                </a:lnTo>
                <a:lnTo>
                  <a:pt x="267" y="28"/>
                </a:lnTo>
                <a:lnTo>
                  <a:pt x="270" y="28"/>
                </a:lnTo>
                <a:lnTo>
                  <a:pt x="270" y="26"/>
                </a:lnTo>
                <a:lnTo>
                  <a:pt x="274" y="26"/>
                </a:lnTo>
                <a:lnTo>
                  <a:pt x="277" y="26"/>
                </a:lnTo>
                <a:lnTo>
                  <a:pt x="279" y="26"/>
                </a:lnTo>
                <a:lnTo>
                  <a:pt x="284" y="30"/>
                </a:lnTo>
                <a:lnTo>
                  <a:pt x="286" y="33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29" name="Freeform 8">
            <a:extLst>
              <a:ext uri="{FF2B5EF4-FFF2-40B4-BE49-F238E27FC236}">
                <a16:creationId xmlns:a16="http://schemas.microsoft.com/office/drawing/2014/main" id="{8FC357C4-7580-6971-BBFB-A092B7B7B315}"/>
              </a:ext>
            </a:extLst>
          </p:cNvPr>
          <p:cNvSpPr>
            <a:spLocks/>
          </p:cNvSpPr>
          <p:nvPr/>
        </p:nvSpPr>
        <p:spPr bwMode="auto">
          <a:xfrm>
            <a:off x="1511885" y="3668068"/>
            <a:ext cx="572630" cy="264297"/>
          </a:xfrm>
          <a:custGeom>
            <a:avLst/>
            <a:gdLst>
              <a:gd name="T0" fmla="*/ 484 w 486"/>
              <a:gd name="T1" fmla="*/ 149 h 235"/>
              <a:gd name="T2" fmla="*/ 456 w 486"/>
              <a:gd name="T3" fmla="*/ 172 h 235"/>
              <a:gd name="T4" fmla="*/ 454 w 486"/>
              <a:gd name="T5" fmla="*/ 174 h 235"/>
              <a:gd name="T6" fmla="*/ 444 w 486"/>
              <a:gd name="T7" fmla="*/ 177 h 235"/>
              <a:gd name="T8" fmla="*/ 442 w 486"/>
              <a:gd name="T9" fmla="*/ 179 h 235"/>
              <a:gd name="T10" fmla="*/ 437 w 486"/>
              <a:gd name="T11" fmla="*/ 181 h 235"/>
              <a:gd name="T12" fmla="*/ 428 w 486"/>
              <a:gd name="T13" fmla="*/ 188 h 235"/>
              <a:gd name="T14" fmla="*/ 424 w 486"/>
              <a:gd name="T15" fmla="*/ 195 h 235"/>
              <a:gd name="T16" fmla="*/ 417 w 486"/>
              <a:gd name="T17" fmla="*/ 202 h 235"/>
              <a:gd name="T18" fmla="*/ 400 w 486"/>
              <a:gd name="T19" fmla="*/ 200 h 235"/>
              <a:gd name="T20" fmla="*/ 393 w 486"/>
              <a:gd name="T21" fmla="*/ 207 h 235"/>
              <a:gd name="T22" fmla="*/ 384 w 486"/>
              <a:gd name="T23" fmla="*/ 221 h 235"/>
              <a:gd name="T24" fmla="*/ 375 w 486"/>
              <a:gd name="T25" fmla="*/ 225 h 235"/>
              <a:gd name="T26" fmla="*/ 365 w 486"/>
              <a:gd name="T27" fmla="*/ 230 h 235"/>
              <a:gd name="T28" fmla="*/ 354 w 486"/>
              <a:gd name="T29" fmla="*/ 228 h 235"/>
              <a:gd name="T30" fmla="*/ 349 w 486"/>
              <a:gd name="T31" fmla="*/ 225 h 235"/>
              <a:gd name="T32" fmla="*/ 340 w 486"/>
              <a:gd name="T33" fmla="*/ 225 h 235"/>
              <a:gd name="T34" fmla="*/ 323 w 486"/>
              <a:gd name="T35" fmla="*/ 223 h 235"/>
              <a:gd name="T36" fmla="*/ 307 w 486"/>
              <a:gd name="T37" fmla="*/ 225 h 235"/>
              <a:gd name="T38" fmla="*/ 289 w 486"/>
              <a:gd name="T39" fmla="*/ 223 h 235"/>
              <a:gd name="T40" fmla="*/ 263 w 486"/>
              <a:gd name="T41" fmla="*/ 232 h 235"/>
              <a:gd name="T42" fmla="*/ 247 w 486"/>
              <a:gd name="T43" fmla="*/ 232 h 235"/>
              <a:gd name="T44" fmla="*/ 235 w 486"/>
              <a:gd name="T45" fmla="*/ 221 h 235"/>
              <a:gd name="T46" fmla="*/ 230 w 486"/>
              <a:gd name="T47" fmla="*/ 172 h 235"/>
              <a:gd name="T48" fmla="*/ 233 w 486"/>
              <a:gd name="T49" fmla="*/ 156 h 235"/>
              <a:gd name="T50" fmla="*/ 235 w 486"/>
              <a:gd name="T51" fmla="*/ 153 h 235"/>
              <a:gd name="T52" fmla="*/ 235 w 486"/>
              <a:gd name="T53" fmla="*/ 149 h 235"/>
              <a:gd name="T54" fmla="*/ 230 w 486"/>
              <a:gd name="T55" fmla="*/ 139 h 235"/>
              <a:gd name="T56" fmla="*/ 233 w 486"/>
              <a:gd name="T57" fmla="*/ 139 h 235"/>
              <a:gd name="T58" fmla="*/ 233 w 486"/>
              <a:gd name="T59" fmla="*/ 137 h 235"/>
              <a:gd name="T60" fmla="*/ 235 w 486"/>
              <a:gd name="T61" fmla="*/ 132 h 235"/>
              <a:gd name="T62" fmla="*/ 226 w 486"/>
              <a:gd name="T63" fmla="*/ 139 h 235"/>
              <a:gd name="T64" fmla="*/ 214 w 486"/>
              <a:gd name="T65" fmla="*/ 149 h 235"/>
              <a:gd name="T66" fmla="*/ 207 w 486"/>
              <a:gd name="T67" fmla="*/ 156 h 235"/>
              <a:gd name="T68" fmla="*/ 195 w 486"/>
              <a:gd name="T69" fmla="*/ 165 h 235"/>
              <a:gd name="T70" fmla="*/ 188 w 486"/>
              <a:gd name="T71" fmla="*/ 172 h 235"/>
              <a:gd name="T72" fmla="*/ 184 w 486"/>
              <a:gd name="T73" fmla="*/ 172 h 235"/>
              <a:gd name="T74" fmla="*/ 147 w 486"/>
              <a:gd name="T75" fmla="*/ 177 h 235"/>
              <a:gd name="T76" fmla="*/ 133 w 486"/>
              <a:gd name="T77" fmla="*/ 172 h 235"/>
              <a:gd name="T78" fmla="*/ 133 w 486"/>
              <a:gd name="T79" fmla="*/ 167 h 235"/>
              <a:gd name="T80" fmla="*/ 126 w 486"/>
              <a:gd name="T81" fmla="*/ 153 h 235"/>
              <a:gd name="T82" fmla="*/ 121 w 486"/>
              <a:gd name="T83" fmla="*/ 146 h 235"/>
              <a:gd name="T84" fmla="*/ 116 w 486"/>
              <a:gd name="T85" fmla="*/ 144 h 235"/>
              <a:gd name="T86" fmla="*/ 100 w 486"/>
              <a:gd name="T87" fmla="*/ 144 h 235"/>
              <a:gd name="T88" fmla="*/ 98 w 486"/>
              <a:gd name="T89" fmla="*/ 144 h 235"/>
              <a:gd name="T90" fmla="*/ 70 w 486"/>
              <a:gd name="T91" fmla="*/ 137 h 235"/>
              <a:gd name="T92" fmla="*/ 74 w 486"/>
              <a:gd name="T93" fmla="*/ 132 h 235"/>
              <a:gd name="T94" fmla="*/ 77 w 486"/>
              <a:gd name="T95" fmla="*/ 123 h 235"/>
              <a:gd name="T96" fmla="*/ 70 w 486"/>
              <a:gd name="T97" fmla="*/ 111 h 235"/>
              <a:gd name="T98" fmla="*/ 56 w 486"/>
              <a:gd name="T99" fmla="*/ 97 h 235"/>
              <a:gd name="T100" fmla="*/ 49 w 486"/>
              <a:gd name="T101" fmla="*/ 88 h 235"/>
              <a:gd name="T102" fmla="*/ 44 w 486"/>
              <a:gd name="T103" fmla="*/ 83 h 235"/>
              <a:gd name="T104" fmla="*/ 35 w 486"/>
              <a:gd name="T105" fmla="*/ 76 h 235"/>
              <a:gd name="T106" fmla="*/ 30 w 486"/>
              <a:gd name="T107" fmla="*/ 65 h 235"/>
              <a:gd name="T108" fmla="*/ 23 w 486"/>
              <a:gd name="T109" fmla="*/ 56 h 235"/>
              <a:gd name="T110" fmla="*/ 19 w 486"/>
              <a:gd name="T111" fmla="*/ 49 h 235"/>
              <a:gd name="T112" fmla="*/ 16 w 486"/>
              <a:gd name="T113" fmla="*/ 42 h 235"/>
              <a:gd name="T114" fmla="*/ 2 w 486"/>
              <a:gd name="T115" fmla="*/ 28 h 235"/>
              <a:gd name="T116" fmla="*/ 5 w 486"/>
              <a:gd name="T117" fmla="*/ 21 h 235"/>
              <a:gd name="T118" fmla="*/ 7 w 486"/>
              <a:gd name="T119" fmla="*/ 16 h 235"/>
              <a:gd name="T120" fmla="*/ 19 w 486"/>
              <a:gd name="T121" fmla="*/ 14 h 235"/>
              <a:gd name="T122" fmla="*/ 12 w 486"/>
              <a:gd name="T123" fmla="*/ 0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6" h="235">
                <a:moveTo>
                  <a:pt x="475" y="144"/>
                </a:moveTo>
                <a:lnTo>
                  <a:pt x="486" y="146"/>
                </a:lnTo>
                <a:lnTo>
                  <a:pt x="486" y="146"/>
                </a:lnTo>
                <a:lnTo>
                  <a:pt x="486" y="149"/>
                </a:lnTo>
                <a:lnTo>
                  <a:pt x="486" y="149"/>
                </a:lnTo>
                <a:lnTo>
                  <a:pt x="484" y="149"/>
                </a:lnTo>
                <a:lnTo>
                  <a:pt x="484" y="149"/>
                </a:lnTo>
                <a:lnTo>
                  <a:pt x="479" y="151"/>
                </a:lnTo>
                <a:lnTo>
                  <a:pt x="477" y="153"/>
                </a:lnTo>
                <a:lnTo>
                  <a:pt x="470" y="160"/>
                </a:lnTo>
                <a:lnTo>
                  <a:pt x="461" y="170"/>
                </a:lnTo>
                <a:lnTo>
                  <a:pt x="456" y="172"/>
                </a:lnTo>
                <a:lnTo>
                  <a:pt x="456" y="172"/>
                </a:lnTo>
                <a:lnTo>
                  <a:pt x="456" y="172"/>
                </a:lnTo>
                <a:lnTo>
                  <a:pt x="454" y="172"/>
                </a:lnTo>
                <a:lnTo>
                  <a:pt x="454" y="174"/>
                </a:lnTo>
                <a:lnTo>
                  <a:pt x="454" y="174"/>
                </a:lnTo>
                <a:lnTo>
                  <a:pt x="454" y="174"/>
                </a:lnTo>
                <a:lnTo>
                  <a:pt x="454" y="177"/>
                </a:lnTo>
                <a:lnTo>
                  <a:pt x="451" y="177"/>
                </a:lnTo>
                <a:lnTo>
                  <a:pt x="449" y="174"/>
                </a:lnTo>
                <a:lnTo>
                  <a:pt x="447" y="174"/>
                </a:lnTo>
                <a:lnTo>
                  <a:pt x="444" y="174"/>
                </a:lnTo>
                <a:lnTo>
                  <a:pt x="444" y="177"/>
                </a:lnTo>
                <a:lnTo>
                  <a:pt x="442" y="177"/>
                </a:lnTo>
                <a:lnTo>
                  <a:pt x="442" y="177"/>
                </a:lnTo>
                <a:lnTo>
                  <a:pt x="442" y="179"/>
                </a:lnTo>
                <a:lnTo>
                  <a:pt x="442" y="179"/>
                </a:lnTo>
                <a:lnTo>
                  <a:pt x="442" y="179"/>
                </a:lnTo>
                <a:lnTo>
                  <a:pt x="442" y="179"/>
                </a:lnTo>
                <a:lnTo>
                  <a:pt x="442" y="179"/>
                </a:lnTo>
                <a:lnTo>
                  <a:pt x="437" y="179"/>
                </a:lnTo>
                <a:lnTo>
                  <a:pt x="437" y="179"/>
                </a:lnTo>
                <a:lnTo>
                  <a:pt x="437" y="181"/>
                </a:lnTo>
                <a:lnTo>
                  <a:pt x="437" y="181"/>
                </a:lnTo>
                <a:lnTo>
                  <a:pt x="437" y="181"/>
                </a:lnTo>
                <a:lnTo>
                  <a:pt x="437" y="181"/>
                </a:lnTo>
                <a:lnTo>
                  <a:pt x="435" y="184"/>
                </a:lnTo>
                <a:lnTo>
                  <a:pt x="435" y="184"/>
                </a:lnTo>
                <a:lnTo>
                  <a:pt x="433" y="186"/>
                </a:lnTo>
                <a:lnTo>
                  <a:pt x="430" y="186"/>
                </a:lnTo>
                <a:lnTo>
                  <a:pt x="428" y="188"/>
                </a:lnTo>
                <a:lnTo>
                  <a:pt x="428" y="188"/>
                </a:lnTo>
                <a:lnTo>
                  <a:pt x="426" y="188"/>
                </a:lnTo>
                <a:lnTo>
                  <a:pt x="426" y="191"/>
                </a:lnTo>
                <a:lnTo>
                  <a:pt x="426" y="193"/>
                </a:lnTo>
                <a:lnTo>
                  <a:pt x="424" y="193"/>
                </a:lnTo>
                <a:lnTo>
                  <a:pt x="424" y="195"/>
                </a:lnTo>
                <a:lnTo>
                  <a:pt x="421" y="195"/>
                </a:lnTo>
                <a:lnTo>
                  <a:pt x="421" y="198"/>
                </a:lnTo>
                <a:lnTo>
                  <a:pt x="421" y="200"/>
                </a:lnTo>
                <a:lnTo>
                  <a:pt x="419" y="202"/>
                </a:lnTo>
                <a:lnTo>
                  <a:pt x="417" y="202"/>
                </a:lnTo>
                <a:lnTo>
                  <a:pt x="417" y="202"/>
                </a:lnTo>
                <a:lnTo>
                  <a:pt x="414" y="200"/>
                </a:lnTo>
                <a:lnTo>
                  <a:pt x="412" y="200"/>
                </a:lnTo>
                <a:lnTo>
                  <a:pt x="412" y="200"/>
                </a:lnTo>
                <a:lnTo>
                  <a:pt x="410" y="200"/>
                </a:lnTo>
                <a:lnTo>
                  <a:pt x="403" y="200"/>
                </a:lnTo>
                <a:lnTo>
                  <a:pt x="400" y="200"/>
                </a:lnTo>
                <a:lnTo>
                  <a:pt x="400" y="200"/>
                </a:lnTo>
                <a:lnTo>
                  <a:pt x="400" y="200"/>
                </a:lnTo>
                <a:lnTo>
                  <a:pt x="398" y="202"/>
                </a:lnTo>
                <a:lnTo>
                  <a:pt x="396" y="202"/>
                </a:lnTo>
                <a:lnTo>
                  <a:pt x="396" y="204"/>
                </a:lnTo>
                <a:lnTo>
                  <a:pt x="393" y="207"/>
                </a:lnTo>
                <a:lnTo>
                  <a:pt x="389" y="211"/>
                </a:lnTo>
                <a:lnTo>
                  <a:pt x="389" y="214"/>
                </a:lnTo>
                <a:lnTo>
                  <a:pt x="386" y="216"/>
                </a:lnTo>
                <a:lnTo>
                  <a:pt x="386" y="218"/>
                </a:lnTo>
                <a:lnTo>
                  <a:pt x="386" y="221"/>
                </a:lnTo>
                <a:lnTo>
                  <a:pt x="384" y="221"/>
                </a:lnTo>
                <a:lnTo>
                  <a:pt x="384" y="223"/>
                </a:lnTo>
                <a:lnTo>
                  <a:pt x="382" y="223"/>
                </a:lnTo>
                <a:lnTo>
                  <a:pt x="379" y="223"/>
                </a:lnTo>
                <a:lnTo>
                  <a:pt x="377" y="223"/>
                </a:lnTo>
                <a:lnTo>
                  <a:pt x="377" y="225"/>
                </a:lnTo>
                <a:lnTo>
                  <a:pt x="375" y="225"/>
                </a:lnTo>
                <a:lnTo>
                  <a:pt x="375" y="225"/>
                </a:lnTo>
                <a:lnTo>
                  <a:pt x="372" y="225"/>
                </a:lnTo>
                <a:lnTo>
                  <a:pt x="372" y="225"/>
                </a:lnTo>
                <a:lnTo>
                  <a:pt x="370" y="228"/>
                </a:lnTo>
                <a:lnTo>
                  <a:pt x="365" y="230"/>
                </a:lnTo>
                <a:lnTo>
                  <a:pt x="365" y="230"/>
                </a:lnTo>
                <a:lnTo>
                  <a:pt x="356" y="232"/>
                </a:lnTo>
                <a:lnTo>
                  <a:pt x="354" y="232"/>
                </a:lnTo>
                <a:lnTo>
                  <a:pt x="354" y="232"/>
                </a:lnTo>
                <a:lnTo>
                  <a:pt x="354" y="232"/>
                </a:lnTo>
                <a:lnTo>
                  <a:pt x="354" y="230"/>
                </a:lnTo>
                <a:lnTo>
                  <a:pt x="354" y="228"/>
                </a:lnTo>
                <a:lnTo>
                  <a:pt x="354" y="228"/>
                </a:lnTo>
                <a:lnTo>
                  <a:pt x="356" y="225"/>
                </a:lnTo>
                <a:lnTo>
                  <a:pt x="354" y="225"/>
                </a:lnTo>
                <a:lnTo>
                  <a:pt x="351" y="225"/>
                </a:lnTo>
                <a:lnTo>
                  <a:pt x="351" y="225"/>
                </a:lnTo>
                <a:lnTo>
                  <a:pt x="349" y="225"/>
                </a:lnTo>
                <a:lnTo>
                  <a:pt x="347" y="225"/>
                </a:lnTo>
                <a:lnTo>
                  <a:pt x="347" y="225"/>
                </a:lnTo>
                <a:lnTo>
                  <a:pt x="342" y="225"/>
                </a:lnTo>
                <a:lnTo>
                  <a:pt x="342" y="225"/>
                </a:lnTo>
                <a:lnTo>
                  <a:pt x="340" y="225"/>
                </a:lnTo>
                <a:lnTo>
                  <a:pt x="340" y="225"/>
                </a:lnTo>
                <a:lnTo>
                  <a:pt x="340" y="225"/>
                </a:lnTo>
                <a:lnTo>
                  <a:pt x="335" y="223"/>
                </a:lnTo>
                <a:lnTo>
                  <a:pt x="335" y="223"/>
                </a:lnTo>
                <a:lnTo>
                  <a:pt x="333" y="223"/>
                </a:lnTo>
                <a:lnTo>
                  <a:pt x="330" y="223"/>
                </a:lnTo>
                <a:lnTo>
                  <a:pt x="323" y="223"/>
                </a:lnTo>
                <a:lnTo>
                  <a:pt x="321" y="223"/>
                </a:lnTo>
                <a:lnTo>
                  <a:pt x="319" y="223"/>
                </a:lnTo>
                <a:lnTo>
                  <a:pt x="316" y="223"/>
                </a:lnTo>
                <a:lnTo>
                  <a:pt x="314" y="223"/>
                </a:lnTo>
                <a:lnTo>
                  <a:pt x="309" y="223"/>
                </a:lnTo>
                <a:lnTo>
                  <a:pt x="307" y="225"/>
                </a:lnTo>
                <a:lnTo>
                  <a:pt x="302" y="225"/>
                </a:lnTo>
                <a:lnTo>
                  <a:pt x="302" y="225"/>
                </a:lnTo>
                <a:lnTo>
                  <a:pt x="293" y="225"/>
                </a:lnTo>
                <a:lnTo>
                  <a:pt x="291" y="225"/>
                </a:lnTo>
                <a:lnTo>
                  <a:pt x="289" y="225"/>
                </a:lnTo>
                <a:lnTo>
                  <a:pt x="289" y="223"/>
                </a:lnTo>
                <a:lnTo>
                  <a:pt x="286" y="223"/>
                </a:lnTo>
                <a:lnTo>
                  <a:pt x="284" y="225"/>
                </a:lnTo>
                <a:lnTo>
                  <a:pt x="282" y="225"/>
                </a:lnTo>
                <a:lnTo>
                  <a:pt x="282" y="223"/>
                </a:lnTo>
                <a:lnTo>
                  <a:pt x="279" y="225"/>
                </a:lnTo>
                <a:lnTo>
                  <a:pt x="263" y="232"/>
                </a:lnTo>
                <a:lnTo>
                  <a:pt x="261" y="235"/>
                </a:lnTo>
                <a:lnTo>
                  <a:pt x="258" y="235"/>
                </a:lnTo>
                <a:lnTo>
                  <a:pt x="256" y="235"/>
                </a:lnTo>
                <a:lnTo>
                  <a:pt x="251" y="235"/>
                </a:lnTo>
                <a:lnTo>
                  <a:pt x="249" y="235"/>
                </a:lnTo>
                <a:lnTo>
                  <a:pt x="247" y="232"/>
                </a:lnTo>
                <a:lnTo>
                  <a:pt x="244" y="230"/>
                </a:lnTo>
                <a:lnTo>
                  <a:pt x="242" y="228"/>
                </a:lnTo>
                <a:lnTo>
                  <a:pt x="242" y="228"/>
                </a:lnTo>
                <a:lnTo>
                  <a:pt x="235" y="232"/>
                </a:lnTo>
                <a:lnTo>
                  <a:pt x="235" y="228"/>
                </a:lnTo>
                <a:lnTo>
                  <a:pt x="235" y="221"/>
                </a:lnTo>
                <a:lnTo>
                  <a:pt x="235" y="211"/>
                </a:lnTo>
                <a:lnTo>
                  <a:pt x="233" y="204"/>
                </a:lnTo>
                <a:lnTo>
                  <a:pt x="233" y="195"/>
                </a:lnTo>
                <a:lnTo>
                  <a:pt x="233" y="188"/>
                </a:lnTo>
                <a:lnTo>
                  <a:pt x="233" y="179"/>
                </a:lnTo>
                <a:lnTo>
                  <a:pt x="230" y="172"/>
                </a:lnTo>
                <a:lnTo>
                  <a:pt x="230" y="165"/>
                </a:lnTo>
                <a:lnTo>
                  <a:pt x="230" y="163"/>
                </a:lnTo>
                <a:lnTo>
                  <a:pt x="230" y="158"/>
                </a:lnTo>
                <a:lnTo>
                  <a:pt x="230" y="156"/>
                </a:lnTo>
                <a:lnTo>
                  <a:pt x="230" y="156"/>
                </a:lnTo>
                <a:lnTo>
                  <a:pt x="233" y="156"/>
                </a:lnTo>
                <a:lnTo>
                  <a:pt x="233" y="153"/>
                </a:lnTo>
                <a:lnTo>
                  <a:pt x="233" y="153"/>
                </a:lnTo>
                <a:lnTo>
                  <a:pt x="233" y="153"/>
                </a:lnTo>
                <a:lnTo>
                  <a:pt x="233" y="153"/>
                </a:lnTo>
                <a:lnTo>
                  <a:pt x="235" y="153"/>
                </a:lnTo>
                <a:lnTo>
                  <a:pt x="235" y="153"/>
                </a:lnTo>
                <a:lnTo>
                  <a:pt x="235" y="153"/>
                </a:lnTo>
                <a:lnTo>
                  <a:pt x="235" y="153"/>
                </a:lnTo>
                <a:lnTo>
                  <a:pt x="235" y="151"/>
                </a:lnTo>
                <a:lnTo>
                  <a:pt x="235" y="151"/>
                </a:lnTo>
                <a:lnTo>
                  <a:pt x="235" y="149"/>
                </a:lnTo>
                <a:lnTo>
                  <a:pt x="235" y="149"/>
                </a:lnTo>
                <a:lnTo>
                  <a:pt x="235" y="146"/>
                </a:lnTo>
                <a:lnTo>
                  <a:pt x="233" y="146"/>
                </a:lnTo>
                <a:lnTo>
                  <a:pt x="233" y="144"/>
                </a:lnTo>
                <a:lnTo>
                  <a:pt x="230" y="144"/>
                </a:lnTo>
                <a:lnTo>
                  <a:pt x="230" y="142"/>
                </a:lnTo>
                <a:lnTo>
                  <a:pt x="230" y="139"/>
                </a:lnTo>
                <a:lnTo>
                  <a:pt x="230" y="139"/>
                </a:lnTo>
                <a:lnTo>
                  <a:pt x="233" y="139"/>
                </a:lnTo>
                <a:lnTo>
                  <a:pt x="233" y="139"/>
                </a:lnTo>
                <a:lnTo>
                  <a:pt x="233" y="139"/>
                </a:lnTo>
                <a:lnTo>
                  <a:pt x="233" y="139"/>
                </a:lnTo>
                <a:lnTo>
                  <a:pt x="233" y="139"/>
                </a:lnTo>
                <a:lnTo>
                  <a:pt x="233" y="137"/>
                </a:lnTo>
                <a:lnTo>
                  <a:pt x="233" y="137"/>
                </a:lnTo>
                <a:lnTo>
                  <a:pt x="235" y="137"/>
                </a:lnTo>
                <a:lnTo>
                  <a:pt x="235" y="137"/>
                </a:lnTo>
                <a:lnTo>
                  <a:pt x="233" y="137"/>
                </a:lnTo>
                <a:lnTo>
                  <a:pt x="233" y="137"/>
                </a:lnTo>
                <a:lnTo>
                  <a:pt x="235" y="135"/>
                </a:lnTo>
                <a:lnTo>
                  <a:pt x="235" y="135"/>
                </a:lnTo>
                <a:lnTo>
                  <a:pt x="235" y="132"/>
                </a:lnTo>
                <a:lnTo>
                  <a:pt x="235" y="132"/>
                </a:lnTo>
                <a:lnTo>
                  <a:pt x="235" y="132"/>
                </a:lnTo>
                <a:lnTo>
                  <a:pt x="235" y="132"/>
                </a:lnTo>
                <a:lnTo>
                  <a:pt x="233" y="132"/>
                </a:lnTo>
                <a:lnTo>
                  <a:pt x="233" y="132"/>
                </a:lnTo>
                <a:lnTo>
                  <a:pt x="230" y="132"/>
                </a:lnTo>
                <a:lnTo>
                  <a:pt x="230" y="135"/>
                </a:lnTo>
                <a:lnTo>
                  <a:pt x="228" y="137"/>
                </a:lnTo>
                <a:lnTo>
                  <a:pt x="226" y="139"/>
                </a:lnTo>
                <a:lnTo>
                  <a:pt x="221" y="142"/>
                </a:lnTo>
                <a:lnTo>
                  <a:pt x="221" y="142"/>
                </a:lnTo>
                <a:lnTo>
                  <a:pt x="219" y="144"/>
                </a:lnTo>
                <a:lnTo>
                  <a:pt x="216" y="146"/>
                </a:lnTo>
                <a:lnTo>
                  <a:pt x="214" y="149"/>
                </a:lnTo>
                <a:lnTo>
                  <a:pt x="214" y="149"/>
                </a:lnTo>
                <a:lnTo>
                  <a:pt x="212" y="151"/>
                </a:lnTo>
                <a:lnTo>
                  <a:pt x="212" y="153"/>
                </a:lnTo>
                <a:lnTo>
                  <a:pt x="209" y="153"/>
                </a:lnTo>
                <a:lnTo>
                  <a:pt x="209" y="153"/>
                </a:lnTo>
                <a:lnTo>
                  <a:pt x="209" y="156"/>
                </a:lnTo>
                <a:lnTo>
                  <a:pt x="207" y="156"/>
                </a:lnTo>
                <a:lnTo>
                  <a:pt x="207" y="158"/>
                </a:lnTo>
                <a:lnTo>
                  <a:pt x="207" y="158"/>
                </a:lnTo>
                <a:lnTo>
                  <a:pt x="202" y="160"/>
                </a:lnTo>
                <a:lnTo>
                  <a:pt x="198" y="163"/>
                </a:lnTo>
                <a:lnTo>
                  <a:pt x="198" y="163"/>
                </a:lnTo>
                <a:lnTo>
                  <a:pt x="195" y="165"/>
                </a:lnTo>
                <a:lnTo>
                  <a:pt x="195" y="165"/>
                </a:lnTo>
                <a:lnTo>
                  <a:pt x="195" y="167"/>
                </a:lnTo>
                <a:lnTo>
                  <a:pt x="193" y="170"/>
                </a:lnTo>
                <a:lnTo>
                  <a:pt x="191" y="170"/>
                </a:lnTo>
                <a:lnTo>
                  <a:pt x="188" y="172"/>
                </a:lnTo>
                <a:lnTo>
                  <a:pt x="188" y="172"/>
                </a:lnTo>
                <a:lnTo>
                  <a:pt x="188" y="172"/>
                </a:lnTo>
                <a:lnTo>
                  <a:pt x="186" y="172"/>
                </a:lnTo>
                <a:lnTo>
                  <a:pt x="186" y="170"/>
                </a:lnTo>
                <a:lnTo>
                  <a:pt x="186" y="172"/>
                </a:lnTo>
                <a:lnTo>
                  <a:pt x="186" y="172"/>
                </a:lnTo>
                <a:lnTo>
                  <a:pt x="184" y="172"/>
                </a:lnTo>
                <a:lnTo>
                  <a:pt x="184" y="172"/>
                </a:lnTo>
                <a:lnTo>
                  <a:pt x="184" y="172"/>
                </a:lnTo>
                <a:lnTo>
                  <a:pt x="181" y="172"/>
                </a:lnTo>
                <a:lnTo>
                  <a:pt x="170" y="174"/>
                </a:lnTo>
                <a:lnTo>
                  <a:pt x="158" y="174"/>
                </a:lnTo>
                <a:lnTo>
                  <a:pt x="147" y="177"/>
                </a:lnTo>
                <a:lnTo>
                  <a:pt x="135" y="177"/>
                </a:lnTo>
                <a:lnTo>
                  <a:pt x="133" y="177"/>
                </a:lnTo>
                <a:lnTo>
                  <a:pt x="133" y="177"/>
                </a:lnTo>
                <a:lnTo>
                  <a:pt x="133" y="174"/>
                </a:lnTo>
                <a:lnTo>
                  <a:pt x="133" y="174"/>
                </a:lnTo>
                <a:lnTo>
                  <a:pt x="133" y="172"/>
                </a:lnTo>
                <a:lnTo>
                  <a:pt x="133" y="172"/>
                </a:lnTo>
                <a:lnTo>
                  <a:pt x="133" y="170"/>
                </a:lnTo>
                <a:lnTo>
                  <a:pt x="133" y="170"/>
                </a:lnTo>
                <a:lnTo>
                  <a:pt x="133" y="167"/>
                </a:lnTo>
                <a:lnTo>
                  <a:pt x="133" y="167"/>
                </a:lnTo>
                <a:lnTo>
                  <a:pt x="133" y="167"/>
                </a:lnTo>
                <a:lnTo>
                  <a:pt x="130" y="165"/>
                </a:lnTo>
                <a:lnTo>
                  <a:pt x="126" y="163"/>
                </a:lnTo>
                <a:lnTo>
                  <a:pt x="126" y="160"/>
                </a:lnTo>
                <a:lnTo>
                  <a:pt x="126" y="156"/>
                </a:lnTo>
                <a:lnTo>
                  <a:pt x="126" y="156"/>
                </a:lnTo>
                <a:lnTo>
                  <a:pt x="126" y="153"/>
                </a:lnTo>
                <a:lnTo>
                  <a:pt x="123" y="153"/>
                </a:lnTo>
                <a:lnTo>
                  <a:pt x="123" y="151"/>
                </a:lnTo>
                <a:lnTo>
                  <a:pt x="123" y="151"/>
                </a:lnTo>
                <a:lnTo>
                  <a:pt x="123" y="149"/>
                </a:lnTo>
                <a:lnTo>
                  <a:pt x="123" y="149"/>
                </a:lnTo>
                <a:lnTo>
                  <a:pt x="121" y="146"/>
                </a:lnTo>
                <a:lnTo>
                  <a:pt x="121" y="146"/>
                </a:lnTo>
                <a:lnTo>
                  <a:pt x="121" y="146"/>
                </a:lnTo>
                <a:lnTo>
                  <a:pt x="119" y="146"/>
                </a:lnTo>
                <a:lnTo>
                  <a:pt x="119" y="146"/>
                </a:lnTo>
                <a:lnTo>
                  <a:pt x="116" y="146"/>
                </a:lnTo>
                <a:lnTo>
                  <a:pt x="116" y="144"/>
                </a:lnTo>
                <a:lnTo>
                  <a:pt x="114" y="144"/>
                </a:lnTo>
                <a:lnTo>
                  <a:pt x="109" y="144"/>
                </a:lnTo>
                <a:lnTo>
                  <a:pt x="107" y="144"/>
                </a:lnTo>
                <a:lnTo>
                  <a:pt x="107" y="144"/>
                </a:lnTo>
                <a:lnTo>
                  <a:pt x="102" y="144"/>
                </a:lnTo>
                <a:lnTo>
                  <a:pt x="100" y="144"/>
                </a:lnTo>
                <a:lnTo>
                  <a:pt x="100" y="144"/>
                </a:lnTo>
                <a:lnTo>
                  <a:pt x="100" y="144"/>
                </a:lnTo>
                <a:lnTo>
                  <a:pt x="98" y="144"/>
                </a:lnTo>
                <a:lnTo>
                  <a:pt x="98" y="144"/>
                </a:lnTo>
                <a:lnTo>
                  <a:pt x="98" y="144"/>
                </a:lnTo>
                <a:lnTo>
                  <a:pt x="98" y="144"/>
                </a:lnTo>
                <a:lnTo>
                  <a:pt x="98" y="144"/>
                </a:lnTo>
                <a:lnTo>
                  <a:pt x="88" y="142"/>
                </a:lnTo>
                <a:lnTo>
                  <a:pt x="63" y="144"/>
                </a:lnTo>
                <a:lnTo>
                  <a:pt x="65" y="142"/>
                </a:lnTo>
                <a:lnTo>
                  <a:pt x="67" y="139"/>
                </a:lnTo>
                <a:lnTo>
                  <a:pt x="70" y="137"/>
                </a:lnTo>
                <a:lnTo>
                  <a:pt x="70" y="135"/>
                </a:lnTo>
                <a:lnTo>
                  <a:pt x="70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4" y="132"/>
                </a:lnTo>
                <a:lnTo>
                  <a:pt x="74" y="130"/>
                </a:lnTo>
                <a:lnTo>
                  <a:pt x="74" y="128"/>
                </a:lnTo>
                <a:lnTo>
                  <a:pt x="77" y="125"/>
                </a:lnTo>
                <a:lnTo>
                  <a:pt x="77" y="125"/>
                </a:lnTo>
                <a:lnTo>
                  <a:pt x="77" y="123"/>
                </a:lnTo>
                <a:lnTo>
                  <a:pt x="77" y="123"/>
                </a:lnTo>
                <a:lnTo>
                  <a:pt x="77" y="116"/>
                </a:lnTo>
                <a:lnTo>
                  <a:pt x="77" y="116"/>
                </a:lnTo>
                <a:lnTo>
                  <a:pt x="74" y="114"/>
                </a:lnTo>
                <a:lnTo>
                  <a:pt x="72" y="111"/>
                </a:lnTo>
                <a:lnTo>
                  <a:pt x="70" y="111"/>
                </a:lnTo>
                <a:lnTo>
                  <a:pt x="70" y="111"/>
                </a:lnTo>
                <a:lnTo>
                  <a:pt x="65" y="104"/>
                </a:lnTo>
                <a:lnTo>
                  <a:pt x="63" y="100"/>
                </a:lnTo>
                <a:lnTo>
                  <a:pt x="63" y="100"/>
                </a:lnTo>
                <a:lnTo>
                  <a:pt x="60" y="100"/>
                </a:lnTo>
                <a:lnTo>
                  <a:pt x="58" y="97"/>
                </a:lnTo>
                <a:lnTo>
                  <a:pt x="56" y="97"/>
                </a:lnTo>
                <a:lnTo>
                  <a:pt x="53" y="97"/>
                </a:lnTo>
                <a:lnTo>
                  <a:pt x="53" y="95"/>
                </a:lnTo>
                <a:lnTo>
                  <a:pt x="49" y="93"/>
                </a:lnTo>
                <a:lnTo>
                  <a:pt x="49" y="93"/>
                </a:lnTo>
                <a:lnTo>
                  <a:pt x="49" y="90"/>
                </a:lnTo>
                <a:lnTo>
                  <a:pt x="49" y="88"/>
                </a:lnTo>
                <a:lnTo>
                  <a:pt x="49" y="86"/>
                </a:lnTo>
                <a:lnTo>
                  <a:pt x="49" y="86"/>
                </a:lnTo>
                <a:lnTo>
                  <a:pt x="46" y="83"/>
                </a:lnTo>
                <a:lnTo>
                  <a:pt x="46" y="83"/>
                </a:lnTo>
                <a:lnTo>
                  <a:pt x="46" y="83"/>
                </a:lnTo>
                <a:lnTo>
                  <a:pt x="44" y="83"/>
                </a:lnTo>
                <a:lnTo>
                  <a:pt x="44" y="83"/>
                </a:lnTo>
                <a:lnTo>
                  <a:pt x="44" y="81"/>
                </a:lnTo>
                <a:lnTo>
                  <a:pt x="42" y="81"/>
                </a:lnTo>
                <a:lnTo>
                  <a:pt x="37" y="79"/>
                </a:lnTo>
                <a:lnTo>
                  <a:pt x="35" y="79"/>
                </a:lnTo>
                <a:lnTo>
                  <a:pt x="35" y="76"/>
                </a:lnTo>
                <a:lnTo>
                  <a:pt x="35" y="74"/>
                </a:lnTo>
                <a:lnTo>
                  <a:pt x="35" y="74"/>
                </a:lnTo>
                <a:lnTo>
                  <a:pt x="33" y="72"/>
                </a:lnTo>
                <a:lnTo>
                  <a:pt x="30" y="69"/>
                </a:lnTo>
                <a:lnTo>
                  <a:pt x="30" y="67"/>
                </a:lnTo>
                <a:lnTo>
                  <a:pt x="30" y="65"/>
                </a:lnTo>
                <a:lnTo>
                  <a:pt x="30" y="65"/>
                </a:lnTo>
                <a:lnTo>
                  <a:pt x="30" y="62"/>
                </a:lnTo>
                <a:lnTo>
                  <a:pt x="28" y="60"/>
                </a:lnTo>
                <a:lnTo>
                  <a:pt x="28" y="58"/>
                </a:lnTo>
                <a:lnTo>
                  <a:pt x="26" y="58"/>
                </a:lnTo>
                <a:lnTo>
                  <a:pt x="23" y="56"/>
                </a:lnTo>
                <a:lnTo>
                  <a:pt x="21" y="56"/>
                </a:lnTo>
                <a:lnTo>
                  <a:pt x="19" y="53"/>
                </a:lnTo>
                <a:lnTo>
                  <a:pt x="19" y="53"/>
                </a:lnTo>
                <a:lnTo>
                  <a:pt x="16" y="51"/>
                </a:lnTo>
                <a:lnTo>
                  <a:pt x="16" y="49"/>
                </a:lnTo>
                <a:lnTo>
                  <a:pt x="19" y="49"/>
                </a:lnTo>
                <a:lnTo>
                  <a:pt x="21" y="49"/>
                </a:lnTo>
                <a:lnTo>
                  <a:pt x="21" y="49"/>
                </a:lnTo>
                <a:lnTo>
                  <a:pt x="23" y="46"/>
                </a:lnTo>
                <a:lnTo>
                  <a:pt x="21" y="42"/>
                </a:lnTo>
                <a:lnTo>
                  <a:pt x="19" y="42"/>
                </a:lnTo>
                <a:lnTo>
                  <a:pt x="16" y="42"/>
                </a:lnTo>
                <a:lnTo>
                  <a:pt x="14" y="39"/>
                </a:lnTo>
                <a:lnTo>
                  <a:pt x="12" y="39"/>
                </a:lnTo>
                <a:lnTo>
                  <a:pt x="2" y="32"/>
                </a:lnTo>
                <a:lnTo>
                  <a:pt x="0" y="30"/>
                </a:lnTo>
                <a:lnTo>
                  <a:pt x="0" y="28"/>
                </a:lnTo>
                <a:lnTo>
                  <a:pt x="2" y="28"/>
                </a:lnTo>
                <a:lnTo>
                  <a:pt x="2" y="28"/>
                </a:lnTo>
                <a:lnTo>
                  <a:pt x="5" y="25"/>
                </a:lnTo>
                <a:lnTo>
                  <a:pt x="5" y="25"/>
                </a:lnTo>
                <a:lnTo>
                  <a:pt x="5" y="23"/>
                </a:lnTo>
                <a:lnTo>
                  <a:pt x="5" y="23"/>
                </a:lnTo>
                <a:lnTo>
                  <a:pt x="5" y="21"/>
                </a:lnTo>
                <a:lnTo>
                  <a:pt x="2" y="18"/>
                </a:lnTo>
                <a:lnTo>
                  <a:pt x="0" y="16"/>
                </a:lnTo>
                <a:lnTo>
                  <a:pt x="2" y="16"/>
                </a:lnTo>
                <a:lnTo>
                  <a:pt x="5" y="16"/>
                </a:lnTo>
                <a:lnTo>
                  <a:pt x="7" y="16"/>
                </a:lnTo>
                <a:lnTo>
                  <a:pt x="7" y="16"/>
                </a:lnTo>
                <a:lnTo>
                  <a:pt x="9" y="14"/>
                </a:lnTo>
                <a:lnTo>
                  <a:pt x="12" y="14"/>
                </a:lnTo>
                <a:lnTo>
                  <a:pt x="14" y="14"/>
                </a:lnTo>
                <a:lnTo>
                  <a:pt x="16" y="14"/>
                </a:lnTo>
                <a:lnTo>
                  <a:pt x="16" y="14"/>
                </a:lnTo>
                <a:lnTo>
                  <a:pt x="19" y="14"/>
                </a:lnTo>
                <a:lnTo>
                  <a:pt x="19" y="11"/>
                </a:lnTo>
                <a:lnTo>
                  <a:pt x="19" y="9"/>
                </a:lnTo>
                <a:lnTo>
                  <a:pt x="16" y="9"/>
                </a:lnTo>
                <a:lnTo>
                  <a:pt x="16" y="7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88" y="23"/>
                </a:lnTo>
                <a:lnTo>
                  <a:pt x="240" y="49"/>
                </a:lnTo>
                <a:lnTo>
                  <a:pt x="277" y="65"/>
                </a:lnTo>
                <a:lnTo>
                  <a:pt x="475" y="144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1" name="Freeform 9">
            <a:extLst>
              <a:ext uri="{FF2B5EF4-FFF2-40B4-BE49-F238E27FC236}">
                <a16:creationId xmlns:a16="http://schemas.microsoft.com/office/drawing/2014/main" id="{6FD822C5-54EC-AEEE-C6A5-6E709CA29129}"/>
              </a:ext>
            </a:extLst>
          </p:cNvPr>
          <p:cNvSpPr>
            <a:spLocks/>
          </p:cNvSpPr>
          <p:nvPr/>
        </p:nvSpPr>
        <p:spPr bwMode="auto">
          <a:xfrm>
            <a:off x="1526024" y="2913416"/>
            <a:ext cx="1351453" cy="916604"/>
          </a:xfrm>
          <a:custGeom>
            <a:avLst/>
            <a:gdLst>
              <a:gd name="T0" fmla="*/ 984 w 1147"/>
              <a:gd name="T1" fmla="*/ 196 h 815"/>
              <a:gd name="T2" fmla="*/ 1014 w 1147"/>
              <a:gd name="T3" fmla="*/ 228 h 815"/>
              <a:gd name="T4" fmla="*/ 1052 w 1147"/>
              <a:gd name="T5" fmla="*/ 256 h 815"/>
              <a:gd name="T6" fmla="*/ 1084 w 1147"/>
              <a:gd name="T7" fmla="*/ 273 h 815"/>
              <a:gd name="T8" fmla="*/ 1119 w 1147"/>
              <a:gd name="T9" fmla="*/ 296 h 815"/>
              <a:gd name="T10" fmla="*/ 1140 w 1147"/>
              <a:gd name="T11" fmla="*/ 307 h 815"/>
              <a:gd name="T12" fmla="*/ 998 w 1147"/>
              <a:gd name="T13" fmla="*/ 601 h 815"/>
              <a:gd name="T14" fmla="*/ 1019 w 1147"/>
              <a:gd name="T15" fmla="*/ 640 h 815"/>
              <a:gd name="T16" fmla="*/ 1005 w 1147"/>
              <a:gd name="T17" fmla="*/ 673 h 815"/>
              <a:gd name="T18" fmla="*/ 1000 w 1147"/>
              <a:gd name="T19" fmla="*/ 720 h 815"/>
              <a:gd name="T20" fmla="*/ 782 w 1147"/>
              <a:gd name="T21" fmla="*/ 733 h 815"/>
              <a:gd name="T22" fmla="*/ 758 w 1147"/>
              <a:gd name="T23" fmla="*/ 727 h 815"/>
              <a:gd name="T24" fmla="*/ 735 w 1147"/>
              <a:gd name="T25" fmla="*/ 708 h 815"/>
              <a:gd name="T26" fmla="*/ 668 w 1147"/>
              <a:gd name="T27" fmla="*/ 696 h 815"/>
              <a:gd name="T28" fmla="*/ 640 w 1147"/>
              <a:gd name="T29" fmla="*/ 717 h 815"/>
              <a:gd name="T30" fmla="*/ 633 w 1147"/>
              <a:gd name="T31" fmla="*/ 738 h 815"/>
              <a:gd name="T32" fmla="*/ 607 w 1147"/>
              <a:gd name="T33" fmla="*/ 752 h 815"/>
              <a:gd name="T34" fmla="*/ 581 w 1147"/>
              <a:gd name="T35" fmla="*/ 773 h 815"/>
              <a:gd name="T36" fmla="*/ 563 w 1147"/>
              <a:gd name="T37" fmla="*/ 773 h 815"/>
              <a:gd name="T38" fmla="*/ 535 w 1147"/>
              <a:gd name="T39" fmla="*/ 792 h 815"/>
              <a:gd name="T40" fmla="*/ 495 w 1147"/>
              <a:gd name="T41" fmla="*/ 785 h 815"/>
              <a:gd name="T42" fmla="*/ 463 w 1147"/>
              <a:gd name="T43" fmla="*/ 815 h 815"/>
              <a:gd name="T44" fmla="*/ 21 w 1147"/>
              <a:gd name="T45" fmla="*/ 638 h 815"/>
              <a:gd name="T46" fmla="*/ 30 w 1147"/>
              <a:gd name="T47" fmla="*/ 596 h 815"/>
              <a:gd name="T48" fmla="*/ 46 w 1147"/>
              <a:gd name="T49" fmla="*/ 538 h 815"/>
              <a:gd name="T50" fmla="*/ 72 w 1147"/>
              <a:gd name="T51" fmla="*/ 517 h 815"/>
              <a:gd name="T52" fmla="*/ 107 w 1147"/>
              <a:gd name="T53" fmla="*/ 491 h 815"/>
              <a:gd name="T54" fmla="*/ 142 w 1147"/>
              <a:gd name="T55" fmla="*/ 480 h 815"/>
              <a:gd name="T56" fmla="*/ 172 w 1147"/>
              <a:gd name="T57" fmla="*/ 473 h 815"/>
              <a:gd name="T58" fmla="*/ 197 w 1147"/>
              <a:gd name="T59" fmla="*/ 459 h 815"/>
              <a:gd name="T60" fmla="*/ 223 w 1147"/>
              <a:gd name="T61" fmla="*/ 466 h 815"/>
              <a:gd name="T62" fmla="*/ 242 w 1147"/>
              <a:gd name="T63" fmla="*/ 403 h 815"/>
              <a:gd name="T64" fmla="*/ 258 w 1147"/>
              <a:gd name="T65" fmla="*/ 259 h 815"/>
              <a:gd name="T66" fmla="*/ 242 w 1147"/>
              <a:gd name="T67" fmla="*/ 224 h 815"/>
              <a:gd name="T68" fmla="*/ 218 w 1147"/>
              <a:gd name="T69" fmla="*/ 196 h 815"/>
              <a:gd name="T70" fmla="*/ 211 w 1147"/>
              <a:gd name="T71" fmla="*/ 135 h 815"/>
              <a:gd name="T72" fmla="*/ 253 w 1147"/>
              <a:gd name="T73" fmla="*/ 128 h 815"/>
              <a:gd name="T74" fmla="*/ 265 w 1147"/>
              <a:gd name="T75" fmla="*/ 117 h 815"/>
              <a:gd name="T76" fmla="*/ 228 w 1147"/>
              <a:gd name="T77" fmla="*/ 103 h 815"/>
              <a:gd name="T78" fmla="*/ 223 w 1147"/>
              <a:gd name="T79" fmla="*/ 56 h 815"/>
              <a:gd name="T80" fmla="*/ 330 w 1147"/>
              <a:gd name="T81" fmla="*/ 49 h 815"/>
              <a:gd name="T82" fmla="*/ 346 w 1147"/>
              <a:gd name="T83" fmla="*/ 49 h 815"/>
              <a:gd name="T84" fmla="*/ 388 w 1147"/>
              <a:gd name="T85" fmla="*/ 23 h 815"/>
              <a:gd name="T86" fmla="*/ 444 w 1147"/>
              <a:gd name="T87" fmla="*/ 96 h 815"/>
              <a:gd name="T88" fmla="*/ 488 w 1147"/>
              <a:gd name="T89" fmla="*/ 105 h 815"/>
              <a:gd name="T90" fmla="*/ 514 w 1147"/>
              <a:gd name="T91" fmla="*/ 114 h 815"/>
              <a:gd name="T92" fmla="*/ 542 w 1147"/>
              <a:gd name="T93" fmla="*/ 84 h 815"/>
              <a:gd name="T94" fmla="*/ 581 w 1147"/>
              <a:gd name="T95" fmla="*/ 65 h 815"/>
              <a:gd name="T96" fmla="*/ 612 w 1147"/>
              <a:gd name="T97" fmla="*/ 47 h 815"/>
              <a:gd name="T98" fmla="*/ 658 w 1147"/>
              <a:gd name="T99" fmla="*/ 7 h 815"/>
              <a:gd name="T100" fmla="*/ 686 w 1147"/>
              <a:gd name="T101" fmla="*/ 14 h 815"/>
              <a:gd name="T102" fmla="*/ 709 w 1147"/>
              <a:gd name="T103" fmla="*/ 33 h 815"/>
              <a:gd name="T104" fmla="*/ 721 w 1147"/>
              <a:gd name="T105" fmla="*/ 75 h 815"/>
              <a:gd name="T106" fmla="*/ 723 w 1147"/>
              <a:gd name="T107" fmla="*/ 126 h 815"/>
              <a:gd name="T108" fmla="*/ 728 w 1147"/>
              <a:gd name="T109" fmla="*/ 168 h 815"/>
              <a:gd name="T110" fmla="*/ 730 w 1147"/>
              <a:gd name="T111" fmla="*/ 200 h 815"/>
              <a:gd name="T112" fmla="*/ 763 w 1147"/>
              <a:gd name="T113" fmla="*/ 233 h 815"/>
              <a:gd name="T114" fmla="*/ 791 w 1147"/>
              <a:gd name="T115" fmla="*/ 235 h 815"/>
              <a:gd name="T116" fmla="*/ 805 w 1147"/>
              <a:gd name="T117" fmla="*/ 193 h 815"/>
              <a:gd name="T118" fmla="*/ 840 w 1147"/>
              <a:gd name="T119" fmla="*/ 196 h 815"/>
              <a:gd name="T120" fmla="*/ 868 w 1147"/>
              <a:gd name="T121" fmla="*/ 203 h 815"/>
              <a:gd name="T122" fmla="*/ 877 w 1147"/>
              <a:gd name="T123" fmla="*/ 165 h 815"/>
              <a:gd name="T124" fmla="*/ 977 w 1147"/>
              <a:gd name="T125" fmla="*/ 138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47" h="815">
                <a:moveTo>
                  <a:pt x="977" y="138"/>
                </a:moveTo>
                <a:lnTo>
                  <a:pt x="977" y="158"/>
                </a:lnTo>
                <a:lnTo>
                  <a:pt x="977" y="161"/>
                </a:lnTo>
                <a:lnTo>
                  <a:pt x="977" y="163"/>
                </a:lnTo>
                <a:lnTo>
                  <a:pt x="977" y="172"/>
                </a:lnTo>
                <a:lnTo>
                  <a:pt x="977" y="175"/>
                </a:lnTo>
                <a:lnTo>
                  <a:pt x="977" y="177"/>
                </a:lnTo>
                <a:lnTo>
                  <a:pt x="979" y="177"/>
                </a:lnTo>
                <a:lnTo>
                  <a:pt x="979" y="179"/>
                </a:lnTo>
                <a:lnTo>
                  <a:pt x="984" y="179"/>
                </a:lnTo>
                <a:lnTo>
                  <a:pt x="984" y="182"/>
                </a:lnTo>
                <a:lnTo>
                  <a:pt x="986" y="182"/>
                </a:lnTo>
                <a:lnTo>
                  <a:pt x="986" y="184"/>
                </a:lnTo>
                <a:lnTo>
                  <a:pt x="984" y="186"/>
                </a:lnTo>
                <a:lnTo>
                  <a:pt x="984" y="189"/>
                </a:lnTo>
                <a:lnTo>
                  <a:pt x="984" y="193"/>
                </a:lnTo>
                <a:lnTo>
                  <a:pt x="984" y="196"/>
                </a:lnTo>
                <a:lnTo>
                  <a:pt x="986" y="200"/>
                </a:lnTo>
                <a:lnTo>
                  <a:pt x="993" y="205"/>
                </a:lnTo>
                <a:lnTo>
                  <a:pt x="996" y="205"/>
                </a:lnTo>
                <a:lnTo>
                  <a:pt x="998" y="205"/>
                </a:lnTo>
                <a:lnTo>
                  <a:pt x="1000" y="207"/>
                </a:lnTo>
                <a:lnTo>
                  <a:pt x="1003" y="207"/>
                </a:lnTo>
                <a:lnTo>
                  <a:pt x="1003" y="210"/>
                </a:lnTo>
                <a:lnTo>
                  <a:pt x="1005" y="210"/>
                </a:lnTo>
                <a:lnTo>
                  <a:pt x="1005" y="212"/>
                </a:lnTo>
                <a:lnTo>
                  <a:pt x="1005" y="214"/>
                </a:lnTo>
                <a:lnTo>
                  <a:pt x="1007" y="214"/>
                </a:lnTo>
                <a:lnTo>
                  <a:pt x="1007" y="217"/>
                </a:lnTo>
                <a:lnTo>
                  <a:pt x="1007" y="219"/>
                </a:lnTo>
                <a:lnTo>
                  <a:pt x="1007" y="221"/>
                </a:lnTo>
                <a:lnTo>
                  <a:pt x="1007" y="224"/>
                </a:lnTo>
                <a:lnTo>
                  <a:pt x="1010" y="224"/>
                </a:lnTo>
                <a:lnTo>
                  <a:pt x="1014" y="228"/>
                </a:lnTo>
                <a:lnTo>
                  <a:pt x="1017" y="228"/>
                </a:lnTo>
                <a:lnTo>
                  <a:pt x="1019" y="231"/>
                </a:lnTo>
                <a:lnTo>
                  <a:pt x="1021" y="235"/>
                </a:lnTo>
                <a:lnTo>
                  <a:pt x="1024" y="235"/>
                </a:lnTo>
                <a:lnTo>
                  <a:pt x="1024" y="238"/>
                </a:lnTo>
                <a:lnTo>
                  <a:pt x="1026" y="238"/>
                </a:lnTo>
                <a:lnTo>
                  <a:pt x="1028" y="238"/>
                </a:lnTo>
                <a:lnTo>
                  <a:pt x="1028" y="240"/>
                </a:lnTo>
                <a:lnTo>
                  <a:pt x="1035" y="245"/>
                </a:lnTo>
                <a:lnTo>
                  <a:pt x="1038" y="245"/>
                </a:lnTo>
                <a:lnTo>
                  <a:pt x="1038" y="247"/>
                </a:lnTo>
                <a:lnTo>
                  <a:pt x="1040" y="247"/>
                </a:lnTo>
                <a:lnTo>
                  <a:pt x="1040" y="249"/>
                </a:lnTo>
                <a:lnTo>
                  <a:pt x="1042" y="249"/>
                </a:lnTo>
                <a:lnTo>
                  <a:pt x="1047" y="252"/>
                </a:lnTo>
                <a:lnTo>
                  <a:pt x="1049" y="252"/>
                </a:lnTo>
                <a:lnTo>
                  <a:pt x="1052" y="256"/>
                </a:lnTo>
                <a:lnTo>
                  <a:pt x="1054" y="256"/>
                </a:lnTo>
                <a:lnTo>
                  <a:pt x="1056" y="259"/>
                </a:lnTo>
                <a:lnTo>
                  <a:pt x="1056" y="261"/>
                </a:lnTo>
                <a:lnTo>
                  <a:pt x="1059" y="261"/>
                </a:lnTo>
                <a:lnTo>
                  <a:pt x="1063" y="263"/>
                </a:lnTo>
                <a:lnTo>
                  <a:pt x="1065" y="263"/>
                </a:lnTo>
                <a:lnTo>
                  <a:pt x="1068" y="266"/>
                </a:lnTo>
                <a:lnTo>
                  <a:pt x="1070" y="266"/>
                </a:lnTo>
                <a:lnTo>
                  <a:pt x="1070" y="268"/>
                </a:lnTo>
                <a:lnTo>
                  <a:pt x="1072" y="268"/>
                </a:lnTo>
                <a:lnTo>
                  <a:pt x="1075" y="270"/>
                </a:lnTo>
                <a:lnTo>
                  <a:pt x="1077" y="270"/>
                </a:lnTo>
                <a:lnTo>
                  <a:pt x="1079" y="270"/>
                </a:lnTo>
                <a:lnTo>
                  <a:pt x="1082" y="270"/>
                </a:lnTo>
                <a:lnTo>
                  <a:pt x="1084" y="270"/>
                </a:lnTo>
                <a:lnTo>
                  <a:pt x="1086" y="270"/>
                </a:lnTo>
                <a:lnTo>
                  <a:pt x="1084" y="273"/>
                </a:lnTo>
                <a:lnTo>
                  <a:pt x="1086" y="273"/>
                </a:lnTo>
                <a:lnTo>
                  <a:pt x="1089" y="273"/>
                </a:lnTo>
                <a:lnTo>
                  <a:pt x="1091" y="275"/>
                </a:lnTo>
                <a:lnTo>
                  <a:pt x="1093" y="275"/>
                </a:lnTo>
                <a:lnTo>
                  <a:pt x="1096" y="277"/>
                </a:lnTo>
                <a:lnTo>
                  <a:pt x="1098" y="280"/>
                </a:lnTo>
                <a:lnTo>
                  <a:pt x="1098" y="282"/>
                </a:lnTo>
                <a:lnTo>
                  <a:pt x="1103" y="284"/>
                </a:lnTo>
                <a:lnTo>
                  <a:pt x="1103" y="287"/>
                </a:lnTo>
                <a:lnTo>
                  <a:pt x="1107" y="287"/>
                </a:lnTo>
                <a:lnTo>
                  <a:pt x="1107" y="289"/>
                </a:lnTo>
                <a:lnTo>
                  <a:pt x="1112" y="291"/>
                </a:lnTo>
                <a:lnTo>
                  <a:pt x="1114" y="291"/>
                </a:lnTo>
                <a:lnTo>
                  <a:pt x="1117" y="291"/>
                </a:lnTo>
                <a:lnTo>
                  <a:pt x="1119" y="291"/>
                </a:lnTo>
                <a:lnTo>
                  <a:pt x="1119" y="294"/>
                </a:lnTo>
                <a:lnTo>
                  <a:pt x="1119" y="296"/>
                </a:lnTo>
                <a:lnTo>
                  <a:pt x="1119" y="298"/>
                </a:lnTo>
                <a:lnTo>
                  <a:pt x="1117" y="298"/>
                </a:lnTo>
                <a:lnTo>
                  <a:pt x="1117" y="300"/>
                </a:lnTo>
                <a:lnTo>
                  <a:pt x="1119" y="300"/>
                </a:lnTo>
                <a:lnTo>
                  <a:pt x="1119" y="303"/>
                </a:lnTo>
                <a:lnTo>
                  <a:pt x="1121" y="303"/>
                </a:lnTo>
                <a:lnTo>
                  <a:pt x="1124" y="303"/>
                </a:lnTo>
                <a:lnTo>
                  <a:pt x="1124" y="305"/>
                </a:lnTo>
                <a:lnTo>
                  <a:pt x="1126" y="305"/>
                </a:lnTo>
                <a:lnTo>
                  <a:pt x="1131" y="303"/>
                </a:lnTo>
                <a:lnTo>
                  <a:pt x="1133" y="300"/>
                </a:lnTo>
                <a:lnTo>
                  <a:pt x="1135" y="300"/>
                </a:lnTo>
                <a:lnTo>
                  <a:pt x="1138" y="303"/>
                </a:lnTo>
                <a:lnTo>
                  <a:pt x="1135" y="305"/>
                </a:lnTo>
                <a:lnTo>
                  <a:pt x="1135" y="307"/>
                </a:lnTo>
                <a:lnTo>
                  <a:pt x="1138" y="307"/>
                </a:lnTo>
                <a:lnTo>
                  <a:pt x="1140" y="307"/>
                </a:lnTo>
                <a:lnTo>
                  <a:pt x="1142" y="307"/>
                </a:lnTo>
                <a:lnTo>
                  <a:pt x="1142" y="310"/>
                </a:lnTo>
                <a:lnTo>
                  <a:pt x="1142" y="307"/>
                </a:lnTo>
                <a:lnTo>
                  <a:pt x="1145" y="307"/>
                </a:lnTo>
                <a:lnTo>
                  <a:pt x="1147" y="307"/>
                </a:lnTo>
                <a:lnTo>
                  <a:pt x="1142" y="310"/>
                </a:lnTo>
                <a:lnTo>
                  <a:pt x="1142" y="312"/>
                </a:lnTo>
                <a:lnTo>
                  <a:pt x="1142" y="314"/>
                </a:lnTo>
                <a:lnTo>
                  <a:pt x="1142" y="317"/>
                </a:lnTo>
                <a:lnTo>
                  <a:pt x="1117" y="370"/>
                </a:lnTo>
                <a:lnTo>
                  <a:pt x="1010" y="587"/>
                </a:lnTo>
                <a:lnTo>
                  <a:pt x="1007" y="591"/>
                </a:lnTo>
                <a:lnTo>
                  <a:pt x="1003" y="596"/>
                </a:lnTo>
                <a:lnTo>
                  <a:pt x="1000" y="596"/>
                </a:lnTo>
                <a:lnTo>
                  <a:pt x="1000" y="598"/>
                </a:lnTo>
                <a:lnTo>
                  <a:pt x="1000" y="601"/>
                </a:lnTo>
                <a:lnTo>
                  <a:pt x="998" y="601"/>
                </a:lnTo>
                <a:lnTo>
                  <a:pt x="998" y="603"/>
                </a:lnTo>
                <a:lnTo>
                  <a:pt x="1000" y="605"/>
                </a:lnTo>
                <a:lnTo>
                  <a:pt x="1000" y="612"/>
                </a:lnTo>
                <a:lnTo>
                  <a:pt x="1003" y="615"/>
                </a:lnTo>
                <a:lnTo>
                  <a:pt x="1005" y="617"/>
                </a:lnTo>
                <a:lnTo>
                  <a:pt x="1007" y="619"/>
                </a:lnTo>
                <a:lnTo>
                  <a:pt x="1010" y="619"/>
                </a:lnTo>
                <a:lnTo>
                  <a:pt x="1012" y="624"/>
                </a:lnTo>
                <a:lnTo>
                  <a:pt x="1014" y="626"/>
                </a:lnTo>
                <a:lnTo>
                  <a:pt x="1017" y="629"/>
                </a:lnTo>
                <a:lnTo>
                  <a:pt x="1017" y="631"/>
                </a:lnTo>
                <a:lnTo>
                  <a:pt x="1019" y="633"/>
                </a:lnTo>
                <a:lnTo>
                  <a:pt x="1019" y="636"/>
                </a:lnTo>
                <a:lnTo>
                  <a:pt x="1017" y="636"/>
                </a:lnTo>
                <a:lnTo>
                  <a:pt x="1017" y="638"/>
                </a:lnTo>
                <a:lnTo>
                  <a:pt x="1019" y="638"/>
                </a:lnTo>
                <a:lnTo>
                  <a:pt x="1019" y="640"/>
                </a:lnTo>
                <a:lnTo>
                  <a:pt x="1021" y="643"/>
                </a:lnTo>
                <a:lnTo>
                  <a:pt x="1019" y="643"/>
                </a:lnTo>
                <a:lnTo>
                  <a:pt x="1019" y="645"/>
                </a:lnTo>
                <a:lnTo>
                  <a:pt x="1017" y="645"/>
                </a:lnTo>
                <a:lnTo>
                  <a:pt x="1017" y="647"/>
                </a:lnTo>
                <a:lnTo>
                  <a:pt x="1014" y="647"/>
                </a:lnTo>
                <a:lnTo>
                  <a:pt x="1014" y="650"/>
                </a:lnTo>
                <a:lnTo>
                  <a:pt x="1014" y="652"/>
                </a:lnTo>
                <a:lnTo>
                  <a:pt x="1014" y="654"/>
                </a:lnTo>
                <a:lnTo>
                  <a:pt x="1017" y="657"/>
                </a:lnTo>
                <a:lnTo>
                  <a:pt x="1014" y="659"/>
                </a:lnTo>
                <a:lnTo>
                  <a:pt x="1014" y="661"/>
                </a:lnTo>
                <a:lnTo>
                  <a:pt x="1012" y="664"/>
                </a:lnTo>
                <a:lnTo>
                  <a:pt x="1010" y="668"/>
                </a:lnTo>
                <a:lnTo>
                  <a:pt x="1007" y="668"/>
                </a:lnTo>
                <a:lnTo>
                  <a:pt x="1005" y="671"/>
                </a:lnTo>
                <a:lnTo>
                  <a:pt x="1005" y="673"/>
                </a:lnTo>
                <a:lnTo>
                  <a:pt x="1005" y="675"/>
                </a:lnTo>
                <a:lnTo>
                  <a:pt x="1005" y="678"/>
                </a:lnTo>
                <a:lnTo>
                  <a:pt x="1005" y="680"/>
                </a:lnTo>
                <a:lnTo>
                  <a:pt x="1007" y="682"/>
                </a:lnTo>
                <a:lnTo>
                  <a:pt x="1007" y="685"/>
                </a:lnTo>
                <a:lnTo>
                  <a:pt x="1010" y="689"/>
                </a:lnTo>
                <a:lnTo>
                  <a:pt x="1010" y="692"/>
                </a:lnTo>
                <a:lnTo>
                  <a:pt x="1007" y="699"/>
                </a:lnTo>
                <a:lnTo>
                  <a:pt x="1007" y="701"/>
                </a:lnTo>
                <a:lnTo>
                  <a:pt x="1005" y="703"/>
                </a:lnTo>
                <a:lnTo>
                  <a:pt x="1005" y="706"/>
                </a:lnTo>
                <a:lnTo>
                  <a:pt x="1003" y="708"/>
                </a:lnTo>
                <a:lnTo>
                  <a:pt x="1003" y="710"/>
                </a:lnTo>
                <a:lnTo>
                  <a:pt x="1000" y="710"/>
                </a:lnTo>
                <a:lnTo>
                  <a:pt x="1000" y="713"/>
                </a:lnTo>
                <a:lnTo>
                  <a:pt x="1000" y="717"/>
                </a:lnTo>
                <a:lnTo>
                  <a:pt x="1000" y="720"/>
                </a:lnTo>
                <a:lnTo>
                  <a:pt x="1000" y="722"/>
                </a:lnTo>
                <a:lnTo>
                  <a:pt x="1000" y="724"/>
                </a:lnTo>
                <a:lnTo>
                  <a:pt x="998" y="724"/>
                </a:lnTo>
                <a:lnTo>
                  <a:pt x="998" y="729"/>
                </a:lnTo>
                <a:lnTo>
                  <a:pt x="998" y="731"/>
                </a:lnTo>
                <a:lnTo>
                  <a:pt x="996" y="731"/>
                </a:lnTo>
                <a:lnTo>
                  <a:pt x="993" y="733"/>
                </a:lnTo>
                <a:lnTo>
                  <a:pt x="796" y="736"/>
                </a:lnTo>
                <a:lnTo>
                  <a:pt x="796" y="731"/>
                </a:lnTo>
                <a:lnTo>
                  <a:pt x="793" y="731"/>
                </a:lnTo>
                <a:lnTo>
                  <a:pt x="791" y="731"/>
                </a:lnTo>
                <a:lnTo>
                  <a:pt x="789" y="729"/>
                </a:lnTo>
                <a:lnTo>
                  <a:pt x="786" y="729"/>
                </a:lnTo>
                <a:lnTo>
                  <a:pt x="786" y="731"/>
                </a:lnTo>
                <a:lnTo>
                  <a:pt x="784" y="731"/>
                </a:lnTo>
                <a:lnTo>
                  <a:pt x="784" y="733"/>
                </a:lnTo>
                <a:lnTo>
                  <a:pt x="782" y="733"/>
                </a:lnTo>
                <a:lnTo>
                  <a:pt x="779" y="733"/>
                </a:lnTo>
                <a:lnTo>
                  <a:pt x="779" y="736"/>
                </a:lnTo>
                <a:lnTo>
                  <a:pt x="779" y="738"/>
                </a:lnTo>
                <a:lnTo>
                  <a:pt x="779" y="740"/>
                </a:lnTo>
                <a:lnTo>
                  <a:pt x="777" y="740"/>
                </a:lnTo>
                <a:lnTo>
                  <a:pt x="777" y="743"/>
                </a:lnTo>
                <a:lnTo>
                  <a:pt x="775" y="743"/>
                </a:lnTo>
                <a:lnTo>
                  <a:pt x="775" y="740"/>
                </a:lnTo>
                <a:lnTo>
                  <a:pt x="772" y="740"/>
                </a:lnTo>
                <a:lnTo>
                  <a:pt x="770" y="738"/>
                </a:lnTo>
                <a:lnTo>
                  <a:pt x="765" y="736"/>
                </a:lnTo>
                <a:lnTo>
                  <a:pt x="763" y="736"/>
                </a:lnTo>
                <a:lnTo>
                  <a:pt x="761" y="736"/>
                </a:lnTo>
                <a:lnTo>
                  <a:pt x="761" y="733"/>
                </a:lnTo>
                <a:lnTo>
                  <a:pt x="761" y="731"/>
                </a:lnTo>
                <a:lnTo>
                  <a:pt x="761" y="729"/>
                </a:lnTo>
                <a:lnTo>
                  <a:pt x="758" y="727"/>
                </a:lnTo>
                <a:lnTo>
                  <a:pt x="758" y="724"/>
                </a:lnTo>
                <a:lnTo>
                  <a:pt x="756" y="724"/>
                </a:lnTo>
                <a:lnTo>
                  <a:pt x="754" y="724"/>
                </a:lnTo>
                <a:lnTo>
                  <a:pt x="751" y="724"/>
                </a:lnTo>
                <a:lnTo>
                  <a:pt x="749" y="722"/>
                </a:lnTo>
                <a:lnTo>
                  <a:pt x="749" y="720"/>
                </a:lnTo>
                <a:lnTo>
                  <a:pt x="749" y="717"/>
                </a:lnTo>
                <a:lnTo>
                  <a:pt x="747" y="715"/>
                </a:lnTo>
                <a:lnTo>
                  <a:pt x="747" y="713"/>
                </a:lnTo>
                <a:lnTo>
                  <a:pt x="747" y="710"/>
                </a:lnTo>
                <a:lnTo>
                  <a:pt x="744" y="710"/>
                </a:lnTo>
                <a:lnTo>
                  <a:pt x="742" y="708"/>
                </a:lnTo>
                <a:lnTo>
                  <a:pt x="740" y="708"/>
                </a:lnTo>
                <a:lnTo>
                  <a:pt x="737" y="708"/>
                </a:lnTo>
                <a:lnTo>
                  <a:pt x="737" y="710"/>
                </a:lnTo>
                <a:lnTo>
                  <a:pt x="735" y="710"/>
                </a:lnTo>
                <a:lnTo>
                  <a:pt x="735" y="708"/>
                </a:lnTo>
                <a:lnTo>
                  <a:pt x="735" y="706"/>
                </a:lnTo>
                <a:lnTo>
                  <a:pt x="733" y="706"/>
                </a:lnTo>
                <a:lnTo>
                  <a:pt x="733" y="703"/>
                </a:lnTo>
                <a:lnTo>
                  <a:pt x="730" y="701"/>
                </a:lnTo>
                <a:lnTo>
                  <a:pt x="728" y="701"/>
                </a:lnTo>
                <a:lnTo>
                  <a:pt x="726" y="696"/>
                </a:lnTo>
                <a:lnTo>
                  <a:pt x="726" y="694"/>
                </a:lnTo>
                <a:lnTo>
                  <a:pt x="723" y="689"/>
                </a:lnTo>
                <a:lnTo>
                  <a:pt x="721" y="689"/>
                </a:lnTo>
                <a:lnTo>
                  <a:pt x="716" y="687"/>
                </a:lnTo>
                <a:lnTo>
                  <a:pt x="709" y="687"/>
                </a:lnTo>
                <a:lnTo>
                  <a:pt x="670" y="687"/>
                </a:lnTo>
                <a:lnTo>
                  <a:pt x="668" y="689"/>
                </a:lnTo>
                <a:lnTo>
                  <a:pt x="668" y="692"/>
                </a:lnTo>
                <a:lnTo>
                  <a:pt x="665" y="692"/>
                </a:lnTo>
                <a:lnTo>
                  <a:pt x="665" y="694"/>
                </a:lnTo>
                <a:lnTo>
                  <a:pt x="668" y="696"/>
                </a:lnTo>
                <a:lnTo>
                  <a:pt x="668" y="699"/>
                </a:lnTo>
                <a:lnTo>
                  <a:pt x="665" y="699"/>
                </a:lnTo>
                <a:lnTo>
                  <a:pt x="663" y="699"/>
                </a:lnTo>
                <a:lnTo>
                  <a:pt x="661" y="699"/>
                </a:lnTo>
                <a:lnTo>
                  <a:pt x="658" y="699"/>
                </a:lnTo>
                <a:lnTo>
                  <a:pt x="658" y="701"/>
                </a:lnTo>
                <a:lnTo>
                  <a:pt x="656" y="701"/>
                </a:lnTo>
                <a:lnTo>
                  <a:pt x="656" y="703"/>
                </a:lnTo>
                <a:lnTo>
                  <a:pt x="656" y="706"/>
                </a:lnTo>
                <a:lnTo>
                  <a:pt x="654" y="706"/>
                </a:lnTo>
                <a:lnTo>
                  <a:pt x="651" y="708"/>
                </a:lnTo>
                <a:lnTo>
                  <a:pt x="649" y="708"/>
                </a:lnTo>
                <a:lnTo>
                  <a:pt x="647" y="708"/>
                </a:lnTo>
                <a:lnTo>
                  <a:pt x="644" y="710"/>
                </a:lnTo>
                <a:lnTo>
                  <a:pt x="644" y="713"/>
                </a:lnTo>
                <a:lnTo>
                  <a:pt x="642" y="715"/>
                </a:lnTo>
                <a:lnTo>
                  <a:pt x="640" y="717"/>
                </a:lnTo>
                <a:lnTo>
                  <a:pt x="642" y="717"/>
                </a:lnTo>
                <a:lnTo>
                  <a:pt x="642" y="720"/>
                </a:lnTo>
                <a:lnTo>
                  <a:pt x="644" y="720"/>
                </a:lnTo>
                <a:lnTo>
                  <a:pt x="644" y="722"/>
                </a:lnTo>
                <a:lnTo>
                  <a:pt x="647" y="722"/>
                </a:lnTo>
                <a:lnTo>
                  <a:pt x="647" y="724"/>
                </a:lnTo>
                <a:lnTo>
                  <a:pt x="644" y="724"/>
                </a:lnTo>
                <a:lnTo>
                  <a:pt x="644" y="727"/>
                </a:lnTo>
                <a:lnTo>
                  <a:pt x="642" y="729"/>
                </a:lnTo>
                <a:lnTo>
                  <a:pt x="642" y="731"/>
                </a:lnTo>
                <a:lnTo>
                  <a:pt x="640" y="731"/>
                </a:lnTo>
                <a:lnTo>
                  <a:pt x="640" y="733"/>
                </a:lnTo>
                <a:lnTo>
                  <a:pt x="637" y="733"/>
                </a:lnTo>
                <a:lnTo>
                  <a:pt x="635" y="733"/>
                </a:lnTo>
                <a:lnTo>
                  <a:pt x="633" y="733"/>
                </a:lnTo>
                <a:lnTo>
                  <a:pt x="633" y="736"/>
                </a:lnTo>
                <a:lnTo>
                  <a:pt x="633" y="738"/>
                </a:lnTo>
                <a:lnTo>
                  <a:pt x="633" y="740"/>
                </a:lnTo>
                <a:lnTo>
                  <a:pt x="633" y="743"/>
                </a:lnTo>
                <a:lnTo>
                  <a:pt x="633" y="745"/>
                </a:lnTo>
                <a:lnTo>
                  <a:pt x="633" y="750"/>
                </a:lnTo>
                <a:lnTo>
                  <a:pt x="630" y="750"/>
                </a:lnTo>
                <a:lnTo>
                  <a:pt x="628" y="750"/>
                </a:lnTo>
                <a:lnTo>
                  <a:pt x="626" y="750"/>
                </a:lnTo>
                <a:lnTo>
                  <a:pt x="623" y="750"/>
                </a:lnTo>
                <a:lnTo>
                  <a:pt x="621" y="750"/>
                </a:lnTo>
                <a:lnTo>
                  <a:pt x="619" y="750"/>
                </a:lnTo>
                <a:lnTo>
                  <a:pt x="616" y="750"/>
                </a:lnTo>
                <a:lnTo>
                  <a:pt x="614" y="752"/>
                </a:lnTo>
                <a:lnTo>
                  <a:pt x="612" y="752"/>
                </a:lnTo>
                <a:lnTo>
                  <a:pt x="612" y="750"/>
                </a:lnTo>
                <a:lnTo>
                  <a:pt x="609" y="750"/>
                </a:lnTo>
                <a:lnTo>
                  <a:pt x="609" y="752"/>
                </a:lnTo>
                <a:lnTo>
                  <a:pt x="607" y="752"/>
                </a:lnTo>
                <a:lnTo>
                  <a:pt x="605" y="754"/>
                </a:lnTo>
                <a:lnTo>
                  <a:pt x="602" y="754"/>
                </a:lnTo>
                <a:lnTo>
                  <a:pt x="598" y="754"/>
                </a:lnTo>
                <a:lnTo>
                  <a:pt x="595" y="754"/>
                </a:lnTo>
                <a:lnTo>
                  <a:pt x="593" y="754"/>
                </a:lnTo>
                <a:lnTo>
                  <a:pt x="593" y="752"/>
                </a:lnTo>
                <a:lnTo>
                  <a:pt x="591" y="754"/>
                </a:lnTo>
                <a:lnTo>
                  <a:pt x="586" y="757"/>
                </a:lnTo>
                <a:lnTo>
                  <a:pt x="584" y="759"/>
                </a:lnTo>
                <a:lnTo>
                  <a:pt x="584" y="761"/>
                </a:lnTo>
                <a:lnTo>
                  <a:pt x="581" y="761"/>
                </a:lnTo>
                <a:lnTo>
                  <a:pt x="581" y="764"/>
                </a:lnTo>
                <a:lnTo>
                  <a:pt x="584" y="766"/>
                </a:lnTo>
                <a:lnTo>
                  <a:pt x="584" y="768"/>
                </a:lnTo>
                <a:lnTo>
                  <a:pt x="584" y="771"/>
                </a:lnTo>
                <a:lnTo>
                  <a:pt x="581" y="771"/>
                </a:lnTo>
                <a:lnTo>
                  <a:pt x="581" y="773"/>
                </a:lnTo>
                <a:lnTo>
                  <a:pt x="579" y="773"/>
                </a:lnTo>
                <a:lnTo>
                  <a:pt x="579" y="775"/>
                </a:lnTo>
                <a:lnTo>
                  <a:pt x="577" y="778"/>
                </a:lnTo>
                <a:lnTo>
                  <a:pt x="577" y="780"/>
                </a:lnTo>
                <a:lnTo>
                  <a:pt x="574" y="780"/>
                </a:lnTo>
                <a:lnTo>
                  <a:pt x="574" y="782"/>
                </a:lnTo>
                <a:lnTo>
                  <a:pt x="572" y="782"/>
                </a:lnTo>
                <a:lnTo>
                  <a:pt x="570" y="782"/>
                </a:lnTo>
                <a:lnTo>
                  <a:pt x="567" y="782"/>
                </a:lnTo>
                <a:lnTo>
                  <a:pt x="567" y="780"/>
                </a:lnTo>
                <a:lnTo>
                  <a:pt x="567" y="778"/>
                </a:lnTo>
                <a:lnTo>
                  <a:pt x="567" y="775"/>
                </a:lnTo>
                <a:lnTo>
                  <a:pt x="565" y="775"/>
                </a:lnTo>
                <a:lnTo>
                  <a:pt x="565" y="773"/>
                </a:lnTo>
                <a:lnTo>
                  <a:pt x="565" y="771"/>
                </a:lnTo>
                <a:lnTo>
                  <a:pt x="563" y="771"/>
                </a:lnTo>
                <a:lnTo>
                  <a:pt x="563" y="773"/>
                </a:lnTo>
                <a:lnTo>
                  <a:pt x="560" y="773"/>
                </a:lnTo>
                <a:lnTo>
                  <a:pt x="560" y="775"/>
                </a:lnTo>
                <a:lnTo>
                  <a:pt x="556" y="778"/>
                </a:lnTo>
                <a:lnTo>
                  <a:pt x="553" y="778"/>
                </a:lnTo>
                <a:lnTo>
                  <a:pt x="553" y="780"/>
                </a:lnTo>
                <a:lnTo>
                  <a:pt x="551" y="780"/>
                </a:lnTo>
                <a:lnTo>
                  <a:pt x="551" y="782"/>
                </a:lnTo>
                <a:lnTo>
                  <a:pt x="549" y="782"/>
                </a:lnTo>
                <a:lnTo>
                  <a:pt x="549" y="785"/>
                </a:lnTo>
                <a:lnTo>
                  <a:pt x="546" y="785"/>
                </a:lnTo>
                <a:lnTo>
                  <a:pt x="544" y="782"/>
                </a:lnTo>
                <a:lnTo>
                  <a:pt x="542" y="782"/>
                </a:lnTo>
                <a:lnTo>
                  <a:pt x="537" y="785"/>
                </a:lnTo>
                <a:lnTo>
                  <a:pt x="537" y="787"/>
                </a:lnTo>
                <a:lnTo>
                  <a:pt x="535" y="787"/>
                </a:lnTo>
                <a:lnTo>
                  <a:pt x="535" y="789"/>
                </a:lnTo>
                <a:lnTo>
                  <a:pt x="535" y="792"/>
                </a:lnTo>
                <a:lnTo>
                  <a:pt x="533" y="792"/>
                </a:lnTo>
                <a:lnTo>
                  <a:pt x="533" y="794"/>
                </a:lnTo>
                <a:lnTo>
                  <a:pt x="530" y="794"/>
                </a:lnTo>
                <a:lnTo>
                  <a:pt x="528" y="794"/>
                </a:lnTo>
                <a:lnTo>
                  <a:pt x="528" y="792"/>
                </a:lnTo>
                <a:lnTo>
                  <a:pt x="526" y="789"/>
                </a:lnTo>
                <a:lnTo>
                  <a:pt x="523" y="789"/>
                </a:lnTo>
                <a:lnTo>
                  <a:pt x="521" y="787"/>
                </a:lnTo>
                <a:lnTo>
                  <a:pt x="519" y="785"/>
                </a:lnTo>
                <a:lnTo>
                  <a:pt x="516" y="785"/>
                </a:lnTo>
                <a:lnTo>
                  <a:pt x="516" y="782"/>
                </a:lnTo>
                <a:lnTo>
                  <a:pt x="514" y="782"/>
                </a:lnTo>
                <a:lnTo>
                  <a:pt x="507" y="785"/>
                </a:lnTo>
                <a:lnTo>
                  <a:pt x="505" y="785"/>
                </a:lnTo>
                <a:lnTo>
                  <a:pt x="500" y="785"/>
                </a:lnTo>
                <a:lnTo>
                  <a:pt x="498" y="785"/>
                </a:lnTo>
                <a:lnTo>
                  <a:pt x="495" y="785"/>
                </a:lnTo>
                <a:lnTo>
                  <a:pt x="493" y="785"/>
                </a:lnTo>
                <a:lnTo>
                  <a:pt x="491" y="785"/>
                </a:lnTo>
                <a:lnTo>
                  <a:pt x="488" y="785"/>
                </a:lnTo>
                <a:lnTo>
                  <a:pt x="488" y="787"/>
                </a:lnTo>
                <a:lnTo>
                  <a:pt x="488" y="789"/>
                </a:lnTo>
                <a:lnTo>
                  <a:pt x="488" y="792"/>
                </a:lnTo>
                <a:lnTo>
                  <a:pt x="484" y="796"/>
                </a:lnTo>
                <a:lnTo>
                  <a:pt x="484" y="799"/>
                </a:lnTo>
                <a:lnTo>
                  <a:pt x="481" y="799"/>
                </a:lnTo>
                <a:lnTo>
                  <a:pt x="481" y="801"/>
                </a:lnTo>
                <a:lnTo>
                  <a:pt x="477" y="801"/>
                </a:lnTo>
                <a:lnTo>
                  <a:pt x="474" y="803"/>
                </a:lnTo>
                <a:lnTo>
                  <a:pt x="470" y="808"/>
                </a:lnTo>
                <a:lnTo>
                  <a:pt x="467" y="808"/>
                </a:lnTo>
                <a:lnTo>
                  <a:pt x="467" y="810"/>
                </a:lnTo>
                <a:lnTo>
                  <a:pt x="465" y="810"/>
                </a:lnTo>
                <a:lnTo>
                  <a:pt x="463" y="815"/>
                </a:lnTo>
                <a:lnTo>
                  <a:pt x="265" y="736"/>
                </a:lnTo>
                <a:lnTo>
                  <a:pt x="228" y="720"/>
                </a:lnTo>
                <a:lnTo>
                  <a:pt x="76" y="694"/>
                </a:lnTo>
                <a:lnTo>
                  <a:pt x="0" y="671"/>
                </a:lnTo>
                <a:lnTo>
                  <a:pt x="0" y="668"/>
                </a:lnTo>
                <a:lnTo>
                  <a:pt x="0" y="666"/>
                </a:lnTo>
                <a:lnTo>
                  <a:pt x="0" y="659"/>
                </a:lnTo>
                <a:lnTo>
                  <a:pt x="0" y="657"/>
                </a:lnTo>
                <a:lnTo>
                  <a:pt x="0" y="654"/>
                </a:lnTo>
                <a:lnTo>
                  <a:pt x="2" y="654"/>
                </a:lnTo>
                <a:lnTo>
                  <a:pt x="4" y="652"/>
                </a:lnTo>
                <a:lnTo>
                  <a:pt x="4" y="650"/>
                </a:lnTo>
                <a:lnTo>
                  <a:pt x="7" y="650"/>
                </a:lnTo>
                <a:lnTo>
                  <a:pt x="7" y="647"/>
                </a:lnTo>
                <a:lnTo>
                  <a:pt x="11" y="645"/>
                </a:lnTo>
                <a:lnTo>
                  <a:pt x="16" y="640"/>
                </a:lnTo>
                <a:lnTo>
                  <a:pt x="21" y="638"/>
                </a:lnTo>
                <a:lnTo>
                  <a:pt x="23" y="636"/>
                </a:lnTo>
                <a:lnTo>
                  <a:pt x="23" y="633"/>
                </a:lnTo>
                <a:lnTo>
                  <a:pt x="25" y="633"/>
                </a:lnTo>
                <a:lnTo>
                  <a:pt x="30" y="631"/>
                </a:lnTo>
                <a:lnTo>
                  <a:pt x="32" y="631"/>
                </a:lnTo>
                <a:lnTo>
                  <a:pt x="34" y="629"/>
                </a:lnTo>
                <a:lnTo>
                  <a:pt x="37" y="629"/>
                </a:lnTo>
                <a:lnTo>
                  <a:pt x="37" y="624"/>
                </a:lnTo>
                <a:lnTo>
                  <a:pt x="39" y="622"/>
                </a:lnTo>
                <a:lnTo>
                  <a:pt x="39" y="619"/>
                </a:lnTo>
                <a:lnTo>
                  <a:pt x="39" y="617"/>
                </a:lnTo>
                <a:lnTo>
                  <a:pt x="37" y="615"/>
                </a:lnTo>
                <a:lnTo>
                  <a:pt x="37" y="612"/>
                </a:lnTo>
                <a:lnTo>
                  <a:pt x="34" y="608"/>
                </a:lnTo>
                <a:lnTo>
                  <a:pt x="30" y="603"/>
                </a:lnTo>
                <a:lnTo>
                  <a:pt x="30" y="598"/>
                </a:lnTo>
                <a:lnTo>
                  <a:pt x="30" y="596"/>
                </a:lnTo>
                <a:lnTo>
                  <a:pt x="32" y="594"/>
                </a:lnTo>
                <a:lnTo>
                  <a:pt x="34" y="585"/>
                </a:lnTo>
                <a:lnTo>
                  <a:pt x="37" y="585"/>
                </a:lnTo>
                <a:lnTo>
                  <a:pt x="44" y="573"/>
                </a:lnTo>
                <a:lnTo>
                  <a:pt x="44" y="571"/>
                </a:lnTo>
                <a:lnTo>
                  <a:pt x="44" y="564"/>
                </a:lnTo>
                <a:lnTo>
                  <a:pt x="44" y="561"/>
                </a:lnTo>
                <a:lnTo>
                  <a:pt x="44" y="559"/>
                </a:lnTo>
                <a:lnTo>
                  <a:pt x="44" y="557"/>
                </a:lnTo>
                <a:lnTo>
                  <a:pt x="44" y="554"/>
                </a:lnTo>
                <a:lnTo>
                  <a:pt x="46" y="552"/>
                </a:lnTo>
                <a:lnTo>
                  <a:pt x="46" y="550"/>
                </a:lnTo>
                <a:lnTo>
                  <a:pt x="46" y="547"/>
                </a:lnTo>
                <a:lnTo>
                  <a:pt x="46" y="545"/>
                </a:lnTo>
                <a:lnTo>
                  <a:pt x="46" y="543"/>
                </a:lnTo>
                <a:lnTo>
                  <a:pt x="46" y="540"/>
                </a:lnTo>
                <a:lnTo>
                  <a:pt x="46" y="538"/>
                </a:lnTo>
                <a:lnTo>
                  <a:pt x="44" y="536"/>
                </a:lnTo>
                <a:lnTo>
                  <a:pt x="46" y="536"/>
                </a:lnTo>
                <a:lnTo>
                  <a:pt x="48" y="533"/>
                </a:lnTo>
                <a:lnTo>
                  <a:pt x="51" y="533"/>
                </a:lnTo>
                <a:lnTo>
                  <a:pt x="53" y="531"/>
                </a:lnTo>
                <a:lnTo>
                  <a:pt x="55" y="531"/>
                </a:lnTo>
                <a:lnTo>
                  <a:pt x="55" y="529"/>
                </a:lnTo>
                <a:lnTo>
                  <a:pt x="58" y="529"/>
                </a:lnTo>
                <a:lnTo>
                  <a:pt x="62" y="529"/>
                </a:lnTo>
                <a:lnTo>
                  <a:pt x="62" y="526"/>
                </a:lnTo>
                <a:lnTo>
                  <a:pt x="65" y="526"/>
                </a:lnTo>
                <a:lnTo>
                  <a:pt x="65" y="524"/>
                </a:lnTo>
                <a:lnTo>
                  <a:pt x="67" y="522"/>
                </a:lnTo>
                <a:lnTo>
                  <a:pt x="69" y="522"/>
                </a:lnTo>
                <a:lnTo>
                  <a:pt x="72" y="522"/>
                </a:lnTo>
                <a:lnTo>
                  <a:pt x="72" y="519"/>
                </a:lnTo>
                <a:lnTo>
                  <a:pt x="72" y="517"/>
                </a:lnTo>
                <a:lnTo>
                  <a:pt x="74" y="517"/>
                </a:lnTo>
                <a:lnTo>
                  <a:pt x="76" y="517"/>
                </a:lnTo>
                <a:lnTo>
                  <a:pt x="76" y="515"/>
                </a:lnTo>
                <a:lnTo>
                  <a:pt x="76" y="510"/>
                </a:lnTo>
                <a:lnTo>
                  <a:pt x="79" y="510"/>
                </a:lnTo>
                <a:lnTo>
                  <a:pt x="81" y="510"/>
                </a:lnTo>
                <a:lnTo>
                  <a:pt x="81" y="508"/>
                </a:lnTo>
                <a:lnTo>
                  <a:pt x="86" y="508"/>
                </a:lnTo>
                <a:lnTo>
                  <a:pt x="88" y="505"/>
                </a:lnTo>
                <a:lnTo>
                  <a:pt x="90" y="503"/>
                </a:lnTo>
                <a:lnTo>
                  <a:pt x="95" y="501"/>
                </a:lnTo>
                <a:lnTo>
                  <a:pt x="97" y="498"/>
                </a:lnTo>
                <a:lnTo>
                  <a:pt x="97" y="496"/>
                </a:lnTo>
                <a:lnTo>
                  <a:pt x="100" y="496"/>
                </a:lnTo>
                <a:lnTo>
                  <a:pt x="102" y="494"/>
                </a:lnTo>
                <a:lnTo>
                  <a:pt x="104" y="494"/>
                </a:lnTo>
                <a:lnTo>
                  <a:pt x="107" y="491"/>
                </a:lnTo>
                <a:lnTo>
                  <a:pt x="109" y="489"/>
                </a:lnTo>
                <a:lnTo>
                  <a:pt x="114" y="487"/>
                </a:lnTo>
                <a:lnTo>
                  <a:pt x="116" y="487"/>
                </a:lnTo>
                <a:lnTo>
                  <a:pt x="118" y="487"/>
                </a:lnTo>
                <a:lnTo>
                  <a:pt x="121" y="487"/>
                </a:lnTo>
                <a:lnTo>
                  <a:pt x="121" y="484"/>
                </a:lnTo>
                <a:lnTo>
                  <a:pt x="123" y="487"/>
                </a:lnTo>
                <a:lnTo>
                  <a:pt x="125" y="487"/>
                </a:lnTo>
                <a:lnTo>
                  <a:pt x="128" y="484"/>
                </a:lnTo>
                <a:lnTo>
                  <a:pt x="128" y="487"/>
                </a:lnTo>
                <a:lnTo>
                  <a:pt x="130" y="484"/>
                </a:lnTo>
                <a:lnTo>
                  <a:pt x="132" y="484"/>
                </a:lnTo>
                <a:lnTo>
                  <a:pt x="135" y="484"/>
                </a:lnTo>
                <a:lnTo>
                  <a:pt x="135" y="482"/>
                </a:lnTo>
                <a:lnTo>
                  <a:pt x="137" y="482"/>
                </a:lnTo>
                <a:lnTo>
                  <a:pt x="139" y="482"/>
                </a:lnTo>
                <a:lnTo>
                  <a:pt x="142" y="480"/>
                </a:lnTo>
                <a:lnTo>
                  <a:pt x="144" y="482"/>
                </a:lnTo>
                <a:lnTo>
                  <a:pt x="146" y="480"/>
                </a:lnTo>
                <a:lnTo>
                  <a:pt x="149" y="480"/>
                </a:lnTo>
                <a:lnTo>
                  <a:pt x="146" y="477"/>
                </a:lnTo>
                <a:lnTo>
                  <a:pt x="149" y="477"/>
                </a:lnTo>
                <a:lnTo>
                  <a:pt x="151" y="475"/>
                </a:lnTo>
                <a:lnTo>
                  <a:pt x="153" y="477"/>
                </a:lnTo>
                <a:lnTo>
                  <a:pt x="156" y="475"/>
                </a:lnTo>
                <a:lnTo>
                  <a:pt x="158" y="477"/>
                </a:lnTo>
                <a:lnTo>
                  <a:pt x="160" y="477"/>
                </a:lnTo>
                <a:lnTo>
                  <a:pt x="160" y="475"/>
                </a:lnTo>
                <a:lnTo>
                  <a:pt x="162" y="475"/>
                </a:lnTo>
                <a:lnTo>
                  <a:pt x="165" y="475"/>
                </a:lnTo>
                <a:lnTo>
                  <a:pt x="167" y="475"/>
                </a:lnTo>
                <a:lnTo>
                  <a:pt x="167" y="473"/>
                </a:lnTo>
                <a:lnTo>
                  <a:pt x="169" y="475"/>
                </a:lnTo>
                <a:lnTo>
                  <a:pt x="172" y="473"/>
                </a:lnTo>
                <a:lnTo>
                  <a:pt x="172" y="470"/>
                </a:lnTo>
                <a:lnTo>
                  <a:pt x="174" y="468"/>
                </a:lnTo>
                <a:lnTo>
                  <a:pt x="174" y="466"/>
                </a:lnTo>
                <a:lnTo>
                  <a:pt x="176" y="466"/>
                </a:lnTo>
                <a:lnTo>
                  <a:pt x="176" y="463"/>
                </a:lnTo>
                <a:lnTo>
                  <a:pt x="176" y="461"/>
                </a:lnTo>
                <a:lnTo>
                  <a:pt x="181" y="459"/>
                </a:lnTo>
                <a:lnTo>
                  <a:pt x="186" y="459"/>
                </a:lnTo>
                <a:lnTo>
                  <a:pt x="188" y="459"/>
                </a:lnTo>
                <a:lnTo>
                  <a:pt x="188" y="456"/>
                </a:lnTo>
                <a:lnTo>
                  <a:pt x="190" y="456"/>
                </a:lnTo>
                <a:lnTo>
                  <a:pt x="190" y="459"/>
                </a:lnTo>
                <a:lnTo>
                  <a:pt x="195" y="461"/>
                </a:lnTo>
                <a:lnTo>
                  <a:pt x="195" y="459"/>
                </a:lnTo>
                <a:lnTo>
                  <a:pt x="195" y="456"/>
                </a:lnTo>
                <a:lnTo>
                  <a:pt x="197" y="456"/>
                </a:lnTo>
                <a:lnTo>
                  <a:pt x="197" y="459"/>
                </a:lnTo>
                <a:lnTo>
                  <a:pt x="200" y="459"/>
                </a:lnTo>
                <a:lnTo>
                  <a:pt x="202" y="456"/>
                </a:lnTo>
                <a:lnTo>
                  <a:pt x="204" y="456"/>
                </a:lnTo>
                <a:lnTo>
                  <a:pt x="207" y="456"/>
                </a:lnTo>
                <a:lnTo>
                  <a:pt x="209" y="456"/>
                </a:lnTo>
                <a:lnTo>
                  <a:pt x="209" y="459"/>
                </a:lnTo>
                <a:lnTo>
                  <a:pt x="209" y="456"/>
                </a:lnTo>
                <a:lnTo>
                  <a:pt x="211" y="456"/>
                </a:lnTo>
                <a:lnTo>
                  <a:pt x="211" y="459"/>
                </a:lnTo>
                <a:lnTo>
                  <a:pt x="211" y="461"/>
                </a:lnTo>
                <a:lnTo>
                  <a:pt x="211" y="463"/>
                </a:lnTo>
                <a:lnTo>
                  <a:pt x="214" y="463"/>
                </a:lnTo>
                <a:lnTo>
                  <a:pt x="216" y="466"/>
                </a:lnTo>
                <a:lnTo>
                  <a:pt x="218" y="466"/>
                </a:lnTo>
                <a:lnTo>
                  <a:pt x="218" y="468"/>
                </a:lnTo>
                <a:lnTo>
                  <a:pt x="221" y="468"/>
                </a:lnTo>
                <a:lnTo>
                  <a:pt x="223" y="466"/>
                </a:lnTo>
                <a:lnTo>
                  <a:pt x="223" y="463"/>
                </a:lnTo>
                <a:lnTo>
                  <a:pt x="225" y="463"/>
                </a:lnTo>
                <a:lnTo>
                  <a:pt x="228" y="463"/>
                </a:lnTo>
                <a:lnTo>
                  <a:pt x="228" y="466"/>
                </a:lnTo>
                <a:lnTo>
                  <a:pt x="230" y="466"/>
                </a:lnTo>
                <a:lnTo>
                  <a:pt x="230" y="468"/>
                </a:lnTo>
                <a:lnTo>
                  <a:pt x="232" y="468"/>
                </a:lnTo>
                <a:lnTo>
                  <a:pt x="235" y="466"/>
                </a:lnTo>
                <a:lnTo>
                  <a:pt x="235" y="463"/>
                </a:lnTo>
                <a:lnTo>
                  <a:pt x="235" y="461"/>
                </a:lnTo>
                <a:lnTo>
                  <a:pt x="235" y="459"/>
                </a:lnTo>
                <a:lnTo>
                  <a:pt x="237" y="459"/>
                </a:lnTo>
                <a:lnTo>
                  <a:pt x="237" y="447"/>
                </a:lnTo>
                <a:lnTo>
                  <a:pt x="239" y="436"/>
                </a:lnTo>
                <a:lnTo>
                  <a:pt x="239" y="426"/>
                </a:lnTo>
                <a:lnTo>
                  <a:pt x="242" y="415"/>
                </a:lnTo>
                <a:lnTo>
                  <a:pt x="242" y="403"/>
                </a:lnTo>
                <a:lnTo>
                  <a:pt x="244" y="394"/>
                </a:lnTo>
                <a:lnTo>
                  <a:pt x="244" y="382"/>
                </a:lnTo>
                <a:lnTo>
                  <a:pt x="246" y="370"/>
                </a:lnTo>
                <a:lnTo>
                  <a:pt x="246" y="361"/>
                </a:lnTo>
                <a:lnTo>
                  <a:pt x="249" y="349"/>
                </a:lnTo>
                <a:lnTo>
                  <a:pt x="251" y="338"/>
                </a:lnTo>
                <a:lnTo>
                  <a:pt x="251" y="328"/>
                </a:lnTo>
                <a:lnTo>
                  <a:pt x="253" y="317"/>
                </a:lnTo>
                <a:lnTo>
                  <a:pt x="253" y="305"/>
                </a:lnTo>
                <a:lnTo>
                  <a:pt x="256" y="294"/>
                </a:lnTo>
                <a:lnTo>
                  <a:pt x="256" y="284"/>
                </a:lnTo>
                <a:lnTo>
                  <a:pt x="256" y="280"/>
                </a:lnTo>
                <a:lnTo>
                  <a:pt x="258" y="275"/>
                </a:lnTo>
                <a:lnTo>
                  <a:pt x="258" y="270"/>
                </a:lnTo>
                <a:lnTo>
                  <a:pt x="258" y="268"/>
                </a:lnTo>
                <a:lnTo>
                  <a:pt x="258" y="261"/>
                </a:lnTo>
                <a:lnTo>
                  <a:pt x="258" y="259"/>
                </a:lnTo>
                <a:lnTo>
                  <a:pt x="258" y="256"/>
                </a:lnTo>
                <a:lnTo>
                  <a:pt x="260" y="254"/>
                </a:lnTo>
                <a:lnTo>
                  <a:pt x="258" y="252"/>
                </a:lnTo>
                <a:lnTo>
                  <a:pt x="256" y="247"/>
                </a:lnTo>
                <a:lnTo>
                  <a:pt x="256" y="245"/>
                </a:lnTo>
                <a:lnTo>
                  <a:pt x="256" y="242"/>
                </a:lnTo>
                <a:lnTo>
                  <a:pt x="256" y="240"/>
                </a:lnTo>
                <a:lnTo>
                  <a:pt x="253" y="240"/>
                </a:lnTo>
                <a:lnTo>
                  <a:pt x="251" y="238"/>
                </a:lnTo>
                <a:lnTo>
                  <a:pt x="249" y="238"/>
                </a:lnTo>
                <a:lnTo>
                  <a:pt x="249" y="235"/>
                </a:lnTo>
                <a:lnTo>
                  <a:pt x="249" y="233"/>
                </a:lnTo>
                <a:lnTo>
                  <a:pt x="246" y="233"/>
                </a:lnTo>
                <a:lnTo>
                  <a:pt x="246" y="231"/>
                </a:lnTo>
                <a:lnTo>
                  <a:pt x="246" y="228"/>
                </a:lnTo>
                <a:lnTo>
                  <a:pt x="242" y="226"/>
                </a:lnTo>
                <a:lnTo>
                  <a:pt x="242" y="224"/>
                </a:lnTo>
                <a:lnTo>
                  <a:pt x="244" y="219"/>
                </a:lnTo>
                <a:lnTo>
                  <a:pt x="244" y="217"/>
                </a:lnTo>
                <a:lnTo>
                  <a:pt x="244" y="214"/>
                </a:lnTo>
                <a:lnTo>
                  <a:pt x="242" y="214"/>
                </a:lnTo>
                <a:lnTo>
                  <a:pt x="242" y="212"/>
                </a:lnTo>
                <a:lnTo>
                  <a:pt x="242" y="210"/>
                </a:lnTo>
                <a:lnTo>
                  <a:pt x="239" y="207"/>
                </a:lnTo>
                <a:lnTo>
                  <a:pt x="237" y="207"/>
                </a:lnTo>
                <a:lnTo>
                  <a:pt x="232" y="205"/>
                </a:lnTo>
                <a:lnTo>
                  <a:pt x="230" y="203"/>
                </a:lnTo>
                <a:lnTo>
                  <a:pt x="228" y="203"/>
                </a:lnTo>
                <a:lnTo>
                  <a:pt x="225" y="200"/>
                </a:lnTo>
                <a:lnTo>
                  <a:pt x="225" y="198"/>
                </a:lnTo>
                <a:lnTo>
                  <a:pt x="223" y="198"/>
                </a:lnTo>
                <a:lnTo>
                  <a:pt x="221" y="198"/>
                </a:lnTo>
                <a:lnTo>
                  <a:pt x="218" y="198"/>
                </a:lnTo>
                <a:lnTo>
                  <a:pt x="218" y="196"/>
                </a:lnTo>
                <a:lnTo>
                  <a:pt x="216" y="193"/>
                </a:lnTo>
                <a:lnTo>
                  <a:pt x="214" y="191"/>
                </a:lnTo>
                <a:lnTo>
                  <a:pt x="209" y="189"/>
                </a:lnTo>
                <a:lnTo>
                  <a:pt x="209" y="186"/>
                </a:lnTo>
                <a:lnTo>
                  <a:pt x="209" y="184"/>
                </a:lnTo>
                <a:lnTo>
                  <a:pt x="209" y="182"/>
                </a:lnTo>
                <a:lnTo>
                  <a:pt x="209" y="179"/>
                </a:lnTo>
                <a:lnTo>
                  <a:pt x="209" y="175"/>
                </a:lnTo>
                <a:lnTo>
                  <a:pt x="207" y="168"/>
                </a:lnTo>
                <a:lnTo>
                  <a:pt x="207" y="161"/>
                </a:lnTo>
                <a:lnTo>
                  <a:pt x="207" y="154"/>
                </a:lnTo>
                <a:lnTo>
                  <a:pt x="207" y="147"/>
                </a:lnTo>
                <a:lnTo>
                  <a:pt x="207" y="142"/>
                </a:lnTo>
                <a:lnTo>
                  <a:pt x="207" y="138"/>
                </a:lnTo>
                <a:lnTo>
                  <a:pt x="209" y="138"/>
                </a:lnTo>
                <a:lnTo>
                  <a:pt x="209" y="135"/>
                </a:lnTo>
                <a:lnTo>
                  <a:pt x="211" y="135"/>
                </a:lnTo>
                <a:lnTo>
                  <a:pt x="214" y="135"/>
                </a:lnTo>
                <a:lnTo>
                  <a:pt x="216" y="135"/>
                </a:lnTo>
                <a:lnTo>
                  <a:pt x="221" y="135"/>
                </a:lnTo>
                <a:lnTo>
                  <a:pt x="223" y="133"/>
                </a:lnTo>
                <a:lnTo>
                  <a:pt x="225" y="133"/>
                </a:lnTo>
                <a:lnTo>
                  <a:pt x="228" y="131"/>
                </a:lnTo>
                <a:lnTo>
                  <a:pt x="230" y="128"/>
                </a:lnTo>
                <a:lnTo>
                  <a:pt x="232" y="128"/>
                </a:lnTo>
                <a:lnTo>
                  <a:pt x="235" y="131"/>
                </a:lnTo>
                <a:lnTo>
                  <a:pt x="237" y="131"/>
                </a:lnTo>
                <a:lnTo>
                  <a:pt x="237" y="128"/>
                </a:lnTo>
                <a:lnTo>
                  <a:pt x="239" y="126"/>
                </a:lnTo>
                <a:lnTo>
                  <a:pt x="242" y="126"/>
                </a:lnTo>
                <a:lnTo>
                  <a:pt x="244" y="124"/>
                </a:lnTo>
                <a:lnTo>
                  <a:pt x="246" y="124"/>
                </a:lnTo>
                <a:lnTo>
                  <a:pt x="249" y="124"/>
                </a:lnTo>
                <a:lnTo>
                  <a:pt x="253" y="128"/>
                </a:lnTo>
                <a:lnTo>
                  <a:pt x="253" y="131"/>
                </a:lnTo>
                <a:lnTo>
                  <a:pt x="256" y="128"/>
                </a:lnTo>
                <a:lnTo>
                  <a:pt x="258" y="128"/>
                </a:lnTo>
                <a:lnTo>
                  <a:pt x="258" y="131"/>
                </a:lnTo>
                <a:lnTo>
                  <a:pt x="260" y="131"/>
                </a:lnTo>
                <a:lnTo>
                  <a:pt x="263" y="131"/>
                </a:lnTo>
                <a:lnTo>
                  <a:pt x="265" y="128"/>
                </a:lnTo>
                <a:lnTo>
                  <a:pt x="267" y="128"/>
                </a:lnTo>
                <a:lnTo>
                  <a:pt x="270" y="128"/>
                </a:lnTo>
                <a:lnTo>
                  <a:pt x="270" y="126"/>
                </a:lnTo>
                <a:lnTo>
                  <a:pt x="267" y="126"/>
                </a:lnTo>
                <a:lnTo>
                  <a:pt x="267" y="124"/>
                </a:lnTo>
                <a:lnTo>
                  <a:pt x="265" y="124"/>
                </a:lnTo>
                <a:lnTo>
                  <a:pt x="265" y="121"/>
                </a:lnTo>
                <a:lnTo>
                  <a:pt x="267" y="121"/>
                </a:lnTo>
                <a:lnTo>
                  <a:pt x="267" y="119"/>
                </a:lnTo>
                <a:lnTo>
                  <a:pt x="265" y="117"/>
                </a:lnTo>
                <a:lnTo>
                  <a:pt x="265" y="114"/>
                </a:lnTo>
                <a:lnTo>
                  <a:pt x="267" y="114"/>
                </a:lnTo>
                <a:lnTo>
                  <a:pt x="267" y="112"/>
                </a:lnTo>
                <a:lnTo>
                  <a:pt x="265" y="112"/>
                </a:lnTo>
                <a:lnTo>
                  <a:pt x="263" y="110"/>
                </a:lnTo>
                <a:lnTo>
                  <a:pt x="263" y="107"/>
                </a:lnTo>
                <a:lnTo>
                  <a:pt x="260" y="105"/>
                </a:lnTo>
                <a:lnTo>
                  <a:pt x="258" y="103"/>
                </a:lnTo>
                <a:lnTo>
                  <a:pt x="253" y="100"/>
                </a:lnTo>
                <a:lnTo>
                  <a:pt x="251" y="100"/>
                </a:lnTo>
                <a:lnTo>
                  <a:pt x="249" y="103"/>
                </a:lnTo>
                <a:lnTo>
                  <a:pt x="246" y="103"/>
                </a:lnTo>
                <a:lnTo>
                  <a:pt x="244" y="100"/>
                </a:lnTo>
                <a:lnTo>
                  <a:pt x="242" y="103"/>
                </a:lnTo>
                <a:lnTo>
                  <a:pt x="239" y="103"/>
                </a:lnTo>
                <a:lnTo>
                  <a:pt x="235" y="100"/>
                </a:lnTo>
                <a:lnTo>
                  <a:pt x="228" y="103"/>
                </a:lnTo>
                <a:lnTo>
                  <a:pt x="225" y="100"/>
                </a:lnTo>
                <a:lnTo>
                  <a:pt x="223" y="100"/>
                </a:lnTo>
                <a:lnTo>
                  <a:pt x="221" y="103"/>
                </a:lnTo>
                <a:lnTo>
                  <a:pt x="218" y="103"/>
                </a:lnTo>
                <a:lnTo>
                  <a:pt x="218" y="98"/>
                </a:lnTo>
                <a:lnTo>
                  <a:pt x="218" y="93"/>
                </a:lnTo>
                <a:lnTo>
                  <a:pt x="216" y="89"/>
                </a:lnTo>
                <a:lnTo>
                  <a:pt x="216" y="84"/>
                </a:lnTo>
                <a:lnTo>
                  <a:pt x="216" y="79"/>
                </a:lnTo>
                <a:lnTo>
                  <a:pt x="216" y="75"/>
                </a:lnTo>
                <a:lnTo>
                  <a:pt x="216" y="70"/>
                </a:lnTo>
                <a:lnTo>
                  <a:pt x="216" y="65"/>
                </a:lnTo>
                <a:lnTo>
                  <a:pt x="216" y="61"/>
                </a:lnTo>
                <a:lnTo>
                  <a:pt x="214" y="58"/>
                </a:lnTo>
                <a:lnTo>
                  <a:pt x="216" y="58"/>
                </a:lnTo>
                <a:lnTo>
                  <a:pt x="218" y="58"/>
                </a:lnTo>
                <a:lnTo>
                  <a:pt x="223" y="56"/>
                </a:lnTo>
                <a:lnTo>
                  <a:pt x="225" y="56"/>
                </a:lnTo>
                <a:lnTo>
                  <a:pt x="230" y="56"/>
                </a:lnTo>
                <a:lnTo>
                  <a:pt x="232" y="54"/>
                </a:lnTo>
                <a:lnTo>
                  <a:pt x="237" y="54"/>
                </a:lnTo>
                <a:lnTo>
                  <a:pt x="242" y="54"/>
                </a:lnTo>
                <a:lnTo>
                  <a:pt x="246" y="56"/>
                </a:lnTo>
                <a:lnTo>
                  <a:pt x="249" y="56"/>
                </a:lnTo>
                <a:lnTo>
                  <a:pt x="253" y="56"/>
                </a:lnTo>
                <a:lnTo>
                  <a:pt x="263" y="54"/>
                </a:lnTo>
                <a:lnTo>
                  <a:pt x="274" y="54"/>
                </a:lnTo>
                <a:lnTo>
                  <a:pt x="288" y="54"/>
                </a:lnTo>
                <a:lnTo>
                  <a:pt x="302" y="51"/>
                </a:lnTo>
                <a:lnTo>
                  <a:pt x="314" y="51"/>
                </a:lnTo>
                <a:lnTo>
                  <a:pt x="323" y="51"/>
                </a:lnTo>
                <a:lnTo>
                  <a:pt x="328" y="51"/>
                </a:lnTo>
                <a:lnTo>
                  <a:pt x="332" y="49"/>
                </a:lnTo>
                <a:lnTo>
                  <a:pt x="330" y="49"/>
                </a:lnTo>
                <a:lnTo>
                  <a:pt x="330" y="47"/>
                </a:lnTo>
                <a:lnTo>
                  <a:pt x="325" y="47"/>
                </a:lnTo>
                <a:lnTo>
                  <a:pt x="325" y="44"/>
                </a:lnTo>
                <a:lnTo>
                  <a:pt x="323" y="44"/>
                </a:lnTo>
                <a:lnTo>
                  <a:pt x="323" y="42"/>
                </a:lnTo>
                <a:lnTo>
                  <a:pt x="325" y="42"/>
                </a:lnTo>
                <a:lnTo>
                  <a:pt x="328" y="30"/>
                </a:lnTo>
                <a:lnTo>
                  <a:pt x="330" y="30"/>
                </a:lnTo>
                <a:lnTo>
                  <a:pt x="330" y="33"/>
                </a:lnTo>
                <a:lnTo>
                  <a:pt x="332" y="33"/>
                </a:lnTo>
                <a:lnTo>
                  <a:pt x="335" y="33"/>
                </a:lnTo>
                <a:lnTo>
                  <a:pt x="335" y="35"/>
                </a:lnTo>
                <a:lnTo>
                  <a:pt x="337" y="40"/>
                </a:lnTo>
                <a:lnTo>
                  <a:pt x="339" y="42"/>
                </a:lnTo>
                <a:lnTo>
                  <a:pt x="342" y="47"/>
                </a:lnTo>
                <a:lnTo>
                  <a:pt x="344" y="47"/>
                </a:lnTo>
                <a:lnTo>
                  <a:pt x="346" y="49"/>
                </a:lnTo>
                <a:lnTo>
                  <a:pt x="349" y="47"/>
                </a:lnTo>
                <a:lnTo>
                  <a:pt x="351" y="47"/>
                </a:lnTo>
                <a:lnTo>
                  <a:pt x="353" y="47"/>
                </a:lnTo>
                <a:lnTo>
                  <a:pt x="356" y="44"/>
                </a:lnTo>
                <a:lnTo>
                  <a:pt x="358" y="42"/>
                </a:lnTo>
                <a:lnTo>
                  <a:pt x="365" y="30"/>
                </a:lnTo>
                <a:lnTo>
                  <a:pt x="370" y="26"/>
                </a:lnTo>
                <a:lnTo>
                  <a:pt x="372" y="23"/>
                </a:lnTo>
                <a:lnTo>
                  <a:pt x="374" y="21"/>
                </a:lnTo>
                <a:lnTo>
                  <a:pt x="377" y="21"/>
                </a:lnTo>
                <a:lnTo>
                  <a:pt x="379" y="21"/>
                </a:lnTo>
                <a:lnTo>
                  <a:pt x="379" y="19"/>
                </a:lnTo>
                <a:lnTo>
                  <a:pt x="381" y="19"/>
                </a:lnTo>
                <a:lnTo>
                  <a:pt x="384" y="19"/>
                </a:lnTo>
                <a:lnTo>
                  <a:pt x="386" y="19"/>
                </a:lnTo>
                <a:lnTo>
                  <a:pt x="388" y="21"/>
                </a:lnTo>
                <a:lnTo>
                  <a:pt x="388" y="23"/>
                </a:lnTo>
                <a:lnTo>
                  <a:pt x="393" y="30"/>
                </a:lnTo>
                <a:lnTo>
                  <a:pt x="393" y="33"/>
                </a:lnTo>
                <a:lnTo>
                  <a:pt x="402" y="42"/>
                </a:lnTo>
                <a:lnTo>
                  <a:pt x="405" y="47"/>
                </a:lnTo>
                <a:lnTo>
                  <a:pt x="407" y="54"/>
                </a:lnTo>
                <a:lnTo>
                  <a:pt x="409" y="58"/>
                </a:lnTo>
                <a:lnTo>
                  <a:pt x="407" y="79"/>
                </a:lnTo>
                <a:lnTo>
                  <a:pt x="407" y="82"/>
                </a:lnTo>
                <a:lnTo>
                  <a:pt x="409" y="84"/>
                </a:lnTo>
                <a:lnTo>
                  <a:pt x="416" y="82"/>
                </a:lnTo>
                <a:lnTo>
                  <a:pt x="421" y="79"/>
                </a:lnTo>
                <a:lnTo>
                  <a:pt x="423" y="79"/>
                </a:lnTo>
                <a:lnTo>
                  <a:pt x="425" y="82"/>
                </a:lnTo>
                <a:lnTo>
                  <a:pt x="428" y="84"/>
                </a:lnTo>
                <a:lnTo>
                  <a:pt x="432" y="89"/>
                </a:lnTo>
                <a:lnTo>
                  <a:pt x="439" y="93"/>
                </a:lnTo>
                <a:lnTo>
                  <a:pt x="444" y="96"/>
                </a:lnTo>
                <a:lnTo>
                  <a:pt x="449" y="100"/>
                </a:lnTo>
                <a:lnTo>
                  <a:pt x="453" y="103"/>
                </a:lnTo>
                <a:lnTo>
                  <a:pt x="453" y="105"/>
                </a:lnTo>
                <a:lnTo>
                  <a:pt x="456" y="107"/>
                </a:lnTo>
                <a:lnTo>
                  <a:pt x="460" y="110"/>
                </a:lnTo>
                <a:lnTo>
                  <a:pt x="465" y="110"/>
                </a:lnTo>
                <a:lnTo>
                  <a:pt x="470" y="110"/>
                </a:lnTo>
                <a:lnTo>
                  <a:pt x="472" y="110"/>
                </a:lnTo>
                <a:lnTo>
                  <a:pt x="474" y="112"/>
                </a:lnTo>
                <a:lnTo>
                  <a:pt x="477" y="112"/>
                </a:lnTo>
                <a:lnTo>
                  <a:pt x="477" y="110"/>
                </a:lnTo>
                <a:lnTo>
                  <a:pt x="479" y="107"/>
                </a:lnTo>
                <a:lnTo>
                  <a:pt x="481" y="107"/>
                </a:lnTo>
                <a:lnTo>
                  <a:pt x="484" y="107"/>
                </a:lnTo>
                <a:lnTo>
                  <a:pt x="486" y="107"/>
                </a:lnTo>
                <a:lnTo>
                  <a:pt x="486" y="105"/>
                </a:lnTo>
                <a:lnTo>
                  <a:pt x="488" y="105"/>
                </a:lnTo>
                <a:lnTo>
                  <a:pt x="491" y="100"/>
                </a:lnTo>
                <a:lnTo>
                  <a:pt x="493" y="98"/>
                </a:lnTo>
                <a:lnTo>
                  <a:pt x="500" y="96"/>
                </a:lnTo>
                <a:lnTo>
                  <a:pt x="502" y="93"/>
                </a:lnTo>
                <a:lnTo>
                  <a:pt x="505" y="93"/>
                </a:lnTo>
                <a:lnTo>
                  <a:pt x="509" y="93"/>
                </a:lnTo>
                <a:lnTo>
                  <a:pt x="512" y="93"/>
                </a:lnTo>
                <a:lnTo>
                  <a:pt x="514" y="93"/>
                </a:lnTo>
                <a:lnTo>
                  <a:pt x="516" y="96"/>
                </a:lnTo>
                <a:lnTo>
                  <a:pt x="516" y="98"/>
                </a:lnTo>
                <a:lnTo>
                  <a:pt x="519" y="98"/>
                </a:lnTo>
                <a:lnTo>
                  <a:pt x="519" y="100"/>
                </a:lnTo>
                <a:lnTo>
                  <a:pt x="516" y="103"/>
                </a:lnTo>
                <a:lnTo>
                  <a:pt x="514" y="107"/>
                </a:lnTo>
                <a:lnTo>
                  <a:pt x="514" y="110"/>
                </a:lnTo>
                <a:lnTo>
                  <a:pt x="514" y="112"/>
                </a:lnTo>
                <a:lnTo>
                  <a:pt x="514" y="114"/>
                </a:lnTo>
                <a:lnTo>
                  <a:pt x="516" y="114"/>
                </a:lnTo>
                <a:lnTo>
                  <a:pt x="519" y="114"/>
                </a:lnTo>
                <a:lnTo>
                  <a:pt x="521" y="114"/>
                </a:lnTo>
                <a:lnTo>
                  <a:pt x="523" y="112"/>
                </a:lnTo>
                <a:lnTo>
                  <a:pt x="523" y="110"/>
                </a:lnTo>
                <a:lnTo>
                  <a:pt x="526" y="107"/>
                </a:lnTo>
                <a:lnTo>
                  <a:pt x="526" y="105"/>
                </a:lnTo>
                <a:lnTo>
                  <a:pt x="526" y="103"/>
                </a:lnTo>
                <a:lnTo>
                  <a:pt x="528" y="103"/>
                </a:lnTo>
                <a:lnTo>
                  <a:pt x="530" y="96"/>
                </a:lnTo>
                <a:lnTo>
                  <a:pt x="533" y="96"/>
                </a:lnTo>
                <a:lnTo>
                  <a:pt x="535" y="96"/>
                </a:lnTo>
                <a:lnTo>
                  <a:pt x="537" y="96"/>
                </a:lnTo>
                <a:lnTo>
                  <a:pt x="540" y="96"/>
                </a:lnTo>
                <a:lnTo>
                  <a:pt x="542" y="93"/>
                </a:lnTo>
                <a:lnTo>
                  <a:pt x="542" y="91"/>
                </a:lnTo>
                <a:lnTo>
                  <a:pt x="542" y="84"/>
                </a:lnTo>
                <a:lnTo>
                  <a:pt x="544" y="82"/>
                </a:lnTo>
                <a:lnTo>
                  <a:pt x="546" y="79"/>
                </a:lnTo>
                <a:lnTo>
                  <a:pt x="549" y="82"/>
                </a:lnTo>
                <a:lnTo>
                  <a:pt x="551" y="79"/>
                </a:lnTo>
                <a:lnTo>
                  <a:pt x="553" y="77"/>
                </a:lnTo>
                <a:lnTo>
                  <a:pt x="556" y="75"/>
                </a:lnTo>
                <a:lnTo>
                  <a:pt x="558" y="75"/>
                </a:lnTo>
                <a:lnTo>
                  <a:pt x="560" y="75"/>
                </a:lnTo>
                <a:lnTo>
                  <a:pt x="560" y="72"/>
                </a:lnTo>
                <a:lnTo>
                  <a:pt x="563" y="72"/>
                </a:lnTo>
                <a:lnTo>
                  <a:pt x="563" y="70"/>
                </a:lnTo>
                <a:lnTo>
                  <a:pt x="565" y="70"/>
                </a:lnTo>
                <a:lnTo>
                  <a:pt x="567" y="72"/>
                </a:lnTo>
                <a:lnTo>
                  <a:pt x="570" y="72"/>
                </a:lnTo>
                <a:lnTo>
                  <a:pt x="572" y="72"/>
                </a:lnTo>
                <a:lnTo>
                  <a:pt x="579" y="65"/>
                </a:lnTo>
                <a:lnTo>
                  <a:pt x="581" y="65"/>
                </a:lnTo>
                <a:lnTo>
                  <a:pt x="581" y="61"/>
                </a:lnTo>
                <a:lnTo>
                  <a:pt x="584" y="61"/>
                </a:lnTo>
                <a:lnTo>
                  <a:pt x="586" y="58"/>
                </a:lnTo>
                <a:lnTo>
                  <a:pt x="588" y="56"/>
                </a:lnTo>
                <a:lnTo>
                  <a:pt x="591" y="54"/>
                </a:lnTo>
                <a:lnTo>
                  <a:pt x="593" y="54"/>
                </a:lnTo>
                <a:lnTo>
                  <a:pt x="595" y="54"/>
                </a:lnTo>
                <a:lnTo>
                  <a:pt x="595" y="56"/>
                </a:lnTo>
                <a:lnTo>
                  <a:pt x="595" y="58"/>
                </a:lnTo>
                <a:lnTo>
                  <a:pt x="595" y="61"/>
                </a:lnTo>
                <a:lnTo>
                  <a:pt x="595" y="63"/>
                </a:lnTo>
                <a:lnTo>
                  <a:pt x="598" y="63"/>
                </a:lnTo>
                <a:lnTo>
                  <a:pt x="598" y="61"/>
                </a:lnTo>
                <a:lnTo>
                  <a:pt x="600" y="58"/>
                </a:lnTo>
                <a:lnTo>
                  <a:pt x="605" y="54"/>
                </a:lnTo>
                <a:lnTo>
                  <a:pt x="609" y="49"/>
                </a:lnTo>
                <a:lnTo>
                  <a:pt x="612" y="47"/>
                </a:lnTo>
                <a:lnTo>
                  <a:pt x="614" y="47"/>
                </a:lnTo>
                <a:lnTo>
                  <a:pt x="614" y="44"/>
                </a:lnTo>
                <a:lnTo>
                  <a:pt x="616" y="42"/>
                </a:lnTo>
                <a:lnTo>
                  <a:pt x="616" y="40"/>
                </a:lnTo>
                <a:lnTo>
                  <a:pt x="616" y="35"/>
                </a:lnTo>
                <a:lnTo>
                  <a:pt x="616" y="33"/>
                </a:lnTo>
                <a:lnTo>
                  <a:pt x="616" y="26"/>
                </a:lnTo>
                <a:lnTo>
                  <a:pt x="619" y="23"/>
                </a:lnTo>
                <a:lnTo>
                  <a:pt x="621" y="21"/>
                </a:lnTo>
                <a:lnTo>
                  <a:pt x="623" y="21"/>
                </a:lnTo>
                <a:lnTo>
                  <a:pt x="626" y="21"/>
                </a:lnTo>
                <a:lnTo>
                  <a:pt x="635" y="19"/>
                </a:lnTo>
                <a:lnTo>
                  <a:pt x="637" y="19"/>
                </a:lnTo>
                <a:lnTo>
                  <a:pt x="647" y="12"/>
                </a:lnTo>
                <a:lnTo>
                  <a:pt x="651" y="10"/>
                </a:lnTo>
                <a:lnTo>
                  <a:pt x="654" y="10"/>
                </a:lnTo>
                <a:lnTo>
                  <a:pt x="658" y="7"/>
                </a:lnTo>
                <a:lnTo>
                  <a:pt x="661" y="7"/>
                </a:lnTo>
                <a:lnTo>
                  <a:pt x="663" y="5"/>
                </a:lnTo>
                <a:lnTo>
                  <a:pt x="661" y="5"/>
                </a:lnTo>
                <a:lnTo>
                  <a:pt x="663" y="3"/>
                </a:lnTo>
                <a:lnTo>
                  <a:pt x="663" y="0"/>
                </a:lnTo>
                <a:lnTo>
                  <a:pt x="663" y="3"/>
                </a:lnTo>
                <a:lnTo>
                  <a:pt x="668" y="5"/>
                </a:lnTo>
                <a:lnTo>
                  <a:pt x="670" y="7"/>
                </a:lnTo>
                <a:lnTo>
                  <a:pt x="672" y="7"/>
                </a:lnTo>
                <a:lnTo>
                  <a:pt x="674" y="5"/>
                </a:lnTo>
                <a:lnTo>
                  <a:pt x="677" y="5"/>
                </a:lnTo>
                <a:lnTo>
                  <a:pt x="679" y="5"/>
                </a:lnTo>
                <a:lnTo>
                  <a:pt x="681" y="5"/>
                </a:lnTo>
                <a:lnTo>
                  <a:pt x="681" y="7"/>
                </a:lnTo>
                <a:lnTo>
                  <a:pt x="681" y="10"/>
                </a:lnTo>
                <a:lnTo>
                  <a:pt x="686" y="12"/>
                </a:lnTo>
                <a:lnTo>
                  <a:pt x="686" y="14"/>
                </a:lnTo>
                <a:lnTo>
                  <a:pt x="688" y="14"/>
                </a:lnTo>
                <a:lnTo>
                  <a:pt x="691" y="14"/>
                </a:lnTo>
                <a:lnTo>
                  <a:pt x="691" y="16"/>
                </a:lnTo>
                <a:lnTo>
                  <a:pt x="691" y="14"/>
                </a:lnTo>
                <a:lnTo>
                  <a:pt x="693" y="14"/>
                </a:lnTo>
                <a:lnTo>
                  <a:pt x="695" y="14"/>
                </a:lnTo>
                <a:lnTo>
                  <a:pt x="698" y="14"/>
                </a:lnTo>
                <a:lnTo>
                  <a:pt x="700" y="14"/>
                </a:lnTo>
                <a:lnTo>
                  <a:pt x="702" y="16"/>
                </a:lnTo>
                <a:lnTo>
                  <a:pt x="707" y="19"/>
                </a:lnTo>
                <a:lnTo>
                  <a:pt x="709" y="19"/>
                </a:lnTo>
                <a:lnTo>
                  <a:pt x="712" y="21"/>
                </a:lnTo>
                <a:lnTo>
                  <a:pt x="712" y="23"/>
                </a:lnTo>
                <a:lnTo>
                  <a:pt x="709" y="26"/>
                </a:lnTo>
                <a:lnTo>
                  <a:pt x="709" y="28"/>
                </a:lnTo>
                <a:lnTo>
                  <a:pt x="709" y="30"/>
                </a:lnTo>
                <a:lnTo>
                  <a:pt x="709" y="33"/>
                </a:lnTo>
                <a:lnTo>
                  <a:pt x="709" y="35"/>
                </a:lnTo>
                <a:lnTo>
                  <a:pt x="707" y="37"/>
                </a:lnTo>
                <a:lnTo>
                  <a:pt x="707" y="40"/>
                </a:lnTo>
                <a:lnTo>
                  <a:pt x="705" y="42"/>
                </a:lnTo>
                <a:lnTo>
                  <a:pt x="705" y="44"/>
                </a:lnTo>
                <a:lnTo>
                  <a:pt x="707" y="47"/>
                </a:lnTo>
                <a:lnTo>
                  <a:pt x="709" y="49"/>
                </a:lnTo>
                <a:lnTo>
                  <a:pt x="709" y="51"/>
                </a:lnTo>
                <a:lnTo>
                  <a:pt x="712" y="51"/>
                </a:lnTo>
                <a:lnTo>
                  <a:pt x="712" y="54"/>
                </a:lnTo>
                <a:lnTo>
                  <a:pt x="714" y="54"/>
                </a:lnTo>
                <a:lnTo>
                  <a:pt x="716" y="54"/>
                </a:lnTo>
                <a:lnTo>
                  <a:pt x="716" y="56"/>
                </a:lnTo>
                <a:lnTo>
                  <a:pt x="719" y="58"/>
                </a:lnTo>
                <a:lnTo>
                  <a:pt x="719" y="61"/>
                </a:lnTo>
                <a:lnTo>
                  <a:pt x="721" y="72"/>
                </a:lnTo>
                <a:lnTo>
                  <a:pt x="721" y="75"/>
                </a:lnTo>
                <a:lnTo>
                  <a:pt x="723" y="77"/>
                </a:lnTo>
                <a:lnTo>
                  <a:pt x="723" y="79"/>
                </a:lnTo>
                <a:lnTo>
                  <a:pt x="726" y="82"/>
                </a:lnTo>
                <a:lnTo>
                  <a:pt x="726" y="89"/>
                </a:lnTo>
                <a:lnTo>
                  <a:pt x="728" y="96"/>
                </a:lnTo>
                <a:lnTo>
                  <a:pt x="730" y="98"/>
                </a:lnTo>
                <a:lnTo>
                  <a:pt x="728" y="100"/>
                </a:lnTo>
                <a:lnTo>
                  <a:pt x="726" y="103"/>
                </a:lnTo>
                <a:lnTo>
                  <a:pt x="723" y="103"/>
                </a:lnTo>
                <a:lnTo>
                  <a:pt x="723" y="105"/>
                </a:lnTo>
                <a:lnTo>
                  <a:pt x="723" y="107"/>
                </a:lnTo>
                <a:lnTo>
                  <a:pt x="728" y="117"/>
                </a:lnTo>
                <a:lnTo>
                  <a:pt x="728" y="119"/>
                </a:lnTo>
                <a:lnTo>
                  <a:pt x="728" y="121"/>
                </a:lnTo>
                <a:lnTo>
                  <a:pt x="726" y="121"/>
                </a:lnTo>
                <a:lnTo>
                  <a:pt x="726" y="124"/>
                </a:lnTo>
                <a:lnTo>
                  <a:pt x="723" y="126"/>
                </a:lnTo>
                <a:lnTo>
                  <a:pt x="726" y="131"/>
                </a:lnTo>
                <a:lnTo>
                  <a:pt x="726" y="133"/>
                </a:lnTo>
                <a:lnTo>
                  <a:pt x="723" y="135"/>
                </a:lnTo>
                <a:lnTo>
                  <a:pt x="723" y="138"/>
                </a:lnTo>
                <a:lnTo>
                  <a:pt x="723" y="142"/>
                </a:lnTo>
                <a:lnTo>
                  <a:pt x="726" y="145"/>
                </a:lnTo>
                <a:lnTo>
                  <a:pt x="726" y="147"/>
                </a:lnTo>
                <a:lnTo>
                  <a:pt x="723" y="152"/>
                </a:lnTo>
                <a:lnTo>
                  <a:pt x="721" y="152"/>
                </a:lnTo>
                <a:lnTo>
                  <a:pt x="721" y="154"/>
                </a:lnTo>
                <a:lnTo>
                  <a:pt x="721" y="156"/>
                </a:lnTo>
                <a:lnTo>
                  <a:pt x="723" y="156"/>
                </a:lnTo>
                <a:lnTo>
                  <a:pt x="723" y="158"/>
                </a:lnTo>
                <a:lnTo>
                  <a:pt x="726" y="158"/>
                </a:lnTo>
                <a:lnTo>
                  <a:pt x="726" y="161"/>
                </a:lnTo>
                <a:lnTo>
                  <a:pt x="728" y="165"/>
                </a:lnTo>
                <a:lnTo>
                  <a:pt x="728" y="168"/>
                </a:lnTo>
                <a:lnTo>
                  <a:pt x="730" y="170"/>
                </a:lnTo>
                <a:lnTo>
                  <a:pt x="733" y="170"/>
                </a:lnTo>
                <a:lnTo>
                  <a:pt x="735" y="172"/>
                </a:lnTo>
                <a:lnTo>
                  <a:pt x="735" y="175"/>
                </a:lnTo>
                <a:lnTo>
                  <a:pt x="737" y="177"/>
                </a:lnTo>
                <a:lnTo>
                  <a:pt x="737" y="179"/>
                </a:lnTo>
                <a:lnTo>
                  <a:pt x="737" y="184"/>
                </a:lnTo>
                <a:lnTo>
                  <a:pt x="737" y="186"/>
                </a:lnTo>
                <a:lnTo>
                  <a:pt x="740" y="186"/>
                </a:lnTo>
                <a:lnTo>
                  <a:pt x="740" y="189"/>
                </a:lnTo>
                <a:lnTo>
                  <a:pt x="742" y="196"/>
                </a:lnTo>
                <a:lnTo>
                  <a:pt x="740" y="198"/>
                </a:lnTo>
                <a:lnTo>
                  <a:pt x="737" y="200"/>
                </a:lnTo>
                <a:lnTo>
                  <a:pt x="737" y="203"/>
                </a:lnTo>
                <a:lnTo>
                  <a:pt x="735" y="203"/>
                </a:lnTo>
                <a:lnTo>
                  <a:pt x="733" y="200"/>
                </a:lnTo>
                <a:lnTo>
                  <a:pt x="730" y="200"/>
                </a:lnTo>
                <a:lnTo>
                  <a:pt x="728" y="200"/>
                </a:lnTo>
                <a:lnTo>
                  <a:pt x="728" y="203"/>
                </a:lnTo>
                <a:lnTo>
                  <a:pt x="728" y="205"/>
                </a:lnTo>
                <a:lnTo>
                  <a:pt x="728" y="207"/>
                </a:lnTo>
                <a:lnTo>
                  <a:pt x="733" y="210"/>
                </a:lnTo>
                <a:lnTo>
                  <a:pt x="735" y="210"/>
                </a:lnTo>
                <a:lnTo>
                  <a:pt x="735" y="212"/>
                </a:lnTo>
                <a:lnTo>
                  <a:pt x="742" y="217"/>
                </a:lnTo>
                <a:lnTo>
                  <a:pt x="742" y="219"/>
                </a:lnTo>
                <a:lnTo>
                  <a:pt x="744" y="219"/>
                </a:lnTo>
                <a:lnTo>
                  <a:pt x="747" y="219"/>
                </a:lnTo>
                <a:lnTo>
                  <a:pt x="749" y="224"/>
                </a:lnTo>
                <a:lnTo>
                  <a:pt x="751" y="226"/>
                </a:lnTo>
                <a:lnTo>
                  <a:pt x="754" y="226"/>
                </a:lnTo>
                <a:lnTo>
                  <a:pt x="758" y="228"/>
                </a:lnTo>
                <a:lnTo>
                  <a:pt x="761" y="231"/>
                </a:lnTo>
                <a:lnTo>
                  <a:pt x="763" y="233"/>
                </a:lnTo>
                <a:lnTo>
                  <a:pt x="763" y="235"/>
                </a:lnTo>
                <a:lnTo>
                  <a:pt x="765" y="235"/>
                </a:lnTo>
                <a:lnTo>
                  <a:pt x="765" y="238"/>
                </a:lnTo>
                <a:lnTo>
                  <a:pt x="768" y="238"/>
                </a:lnTo>
                <a:lnTo>
                  <a:pt x="772" y="245"/>
                </a:lnTo>
                <a:lnTo>
                  <a:pt x="772" y="247"/>
                </a:lnTo>
                <a:lnTo>
                  <a:pt x="775" y="247"/>
                </a:lnTo>
                <a:lnTo>
                  <a:pt x="777" y="245"/>
                </a:lnTo>
                <a:lnTo>
                  <a:pt x="779" y="245"/>
                </a:lnTo>
                <a:lnTo>
                  <a:pt x="782" y="247"/>
                </a:lnTo>
                <a:lnTo>
                  <a:pt x="784" y="247"/>
                </a:lnTo>
                <a:lnTo>
                  <a:pt x="786" y="247"/>
                </a:lnTo>
                <a:lnTo>
                  <a:pt x="789" y="249"/>
                </a:lnTo>
                <a:lnTo>
                  <a:pt x="791" y="249"/>
                </a:lnTo>
                <a:lnTo>
                  <a:pt x="791" y="247"/>
                </a:lnTo>
                <a:lnTo>
                  <a:pt x="789" y="240"/>
                </a:lnTo>
                <a:lnTo>
                  <a:pt x="791" y="235"/>
                </a:lnTo>
                <a:lnTo>
                  <a:pt x="791" y="231"/>
                </a:lnTo>
                <a:lnTo>
                  <a:pt x="791" y="228"/>
                </a:lnTo>
                <a:lnTo>
                  <a:pt x="791" y="226"/>
                </a:lnTo>
                <a:lnTo>
                  <a:pt x="791" y="224"/>
                </a:lnTo>
                <a:lnTo>
                  <a:pt x="793" y="224"/>
                </a:lnTo>
                <a:lnTo>
                  <a:pt x="793" y="221"/>
                </a:lnTo>
                <a:lnTo>
                  <a:pt x="791" y="217"/>
                </a:lnTo>
                <a:lnTo>
                  <a:pt x="791" y="214"/>
                </a:lnTo>
                <a:lnTo>
                  <a:pt x="791" y="212"/>
                </a:lnTo>
                <a:lnTo>
                  <a:pt x="793" y="210"/>
                </a:lnTo>
                <a:lnTo>
                  <a:pt x="793" y="205"/>
                </a:lnTo>
                <a:lnTo>
                  <a:pt x="793" y="203"/>
                </a:lnTo>
                <a:lnTo>
                  <a:pt x="796" y="200"/>
                </a:lnTo>
                <a:lnTo>
                  <a:pt x="798" y="198"/>
                </a:lnTo>
                <a:lnTo>
                  <a:pt x="798" y="196"/>
                </a:lnTo>
                <a:lnTo>
                  <a:pt x="800" y="196"/>
                </a:lnTo>
                <a:lnTo>
                  <a:pt x="805" y="193"/>
                </a:lnTo>
                <a:lnTo>
                  <a:pt x="807" y="193"/>
                </a:lnTo>
                <a:lnTo>
                  <a:pt x="812" y="191"/>
                </a:lnTo>
                <a:lnTo>
                  <a:pt x="814" y="191"/>
                </a:lnTo>
                <a:lnTo>
                  <a:pt x="814" y="189"/>
                </a:lnTo>
                <a:lnTo>
                  <a:pt x="814" y="186"/>
                </a:lnTo>
                <a:lnTo>
                  <a:pt x="816" y="186"/>
                </a:lnTo>
                <a:lnTo>
                  <a:pt x="819" y="186"/>
                </a:lnTo>
                <a:lnTo>
                  <a:pt x="821" y="186"/>
                </a:lnTo>
                <a:lnTo>
                  <a:pt x="823" y="186"/>
                </a:lnTo>
                <a:lnTo>
                  <a:pt x="826" y="186"/>
                </a:lnTo>
                <a:lnTo>
                  <a:pt x="826" y="189"/>
                </a:lnTo>
                <a:lnTo>
                  <a:pt x="830" y="189"/>
                </a:lnTo>
                <a:lnTo>
                  <a:pt x="833" y="189"/>
                </a:lnTo>
                <a:lnTo>
                  <a:pt x="835" y="189"/>
                </a:lnTo>
                <a:lnTo>
                  <a:pt x="835" y="191"/>
                </a:lnTo>
                <a:lnTo>
                  <a:pt x="837" y="193"/>
                </a:lnTo>
                <a:lnTo>
                  <a:pt x="840" y="196"/>
                </a:lnTo>
                <a:lnTo>
                  <a:pt x="842" y="198"/>
                </a:lnTo>
                <a:lnTo>
                  <a:pt x="844" y="200"/>
                </a:lnTo>
                <a:lnTo>
                  <a:pt x="847" y="203"/>
                </a:lnTo>
                <a:lnTo>
                  <a:pt x="847" y="205"/>
                </a:lnTo>
                <a:lnTo>
                  <a:pt x="847" y="207"/>
                </a:lnTo>
                <a:lnTo>
                  <a:pt x="847" y="210"/>
                </a:lnTo>
                <a:lnTo>
                  <a:pt x="849" y="210"/>
                </a:lnTo>
                <a:lnTo>
                  <a:pt x="854" y="210"/>
                </a:lnTo>
                <a:lnTo>
                  <a:pt x="856" y="210"/>
                </a:lnTo>
                <a:lnTo>
                  <a:pt x="858" y="210"/>
                </a:lnTo>
                <a:lnTo>
                  <a:pt x="861" y="207"/>
                </a:lnTo>
                <a:lnTo>
                  <a:pt x="863" y="210"/>
                </a:lnTo>
                <a:lnTo>
                  <a:pt x="863" y="207"/>
                </a:lnTo>
                <a:lnTo>
                  <a:pt x="865" y="207"/>
                </a:lnTo>
                <a:lnTo>
                  <a:pt x="865" y="205"/>
                </a:lnTo>
                <a:lnTo>
                  <a:pt x="865" y="203"/>
                </a:lnTo>
                <a:lnTo>
                  <a:pt x="868" y="203"/>
                </a:lnTo>
                <a:lnTo>
                  <a:pt x="872" y="200"/>
                </a:lnTo>
                <a:lnTo>
                  <a:pt x="875" y="200"/>
                </a:lnTo>
                <a:lnTo>
                  <a:pt x="877" y="200"/>
                </a:lnTo>
                <a:lnTo>
                  <a:pt x="877" y="198"/>
                </a:lnTo>
                <a:lnTo>
                  <a:pt x="877" y="196"/>
                </a:lnTo>
                <a:lnTo>
                  <a:pt x="877" y="193"/>
                </a:lnTo>
                <a:lnTo>
                  <a:pt x="872" y="189"/>
                </a:lnTo>
                <a:lnTo>
                  <a:pt x="872" y="186"/>
                </a:lnTo>
                <a:lnTo>
                  <a:pt x="872" y="184"/>
                </a:lnTo>
                <a:lnTo>
                  <a:pt x="872" y="182"/>
                </a:lnTo>
                <a:lnTo>
                  <a:pt x="875" y="182"/>
                </a:lnTo>
                <a:lnTo>
                  <a:pt x="875" y="179"/>
                </a:lnTo>
                <a:lnTo>
                  <a:pt x="875" y="177"/>
                </a:lnTo>
                <a:lnTo>
                  <a:pt x="877" y="175"/>
                </a:lnTo>
                <a:lnTo>
                  <a:pt x="877" y="172"/>
                </a:lnTo>
                <a:lnTo>
                  <a:pt x="877" y="168"/>
                </a:lnTo>
                <a:lnTo>
                  <a:pt x="877" y="165"/>
                </a:lnTo>
                <a:lnTo>
                  <a:pt x="879" y="165"/>
                </a:lnTo>
                <a:lnTo>
                  <a:pt x="882" y="163"/>
                </a:lnTo>
                <a:lnTo>
                  <a:pt x="882" y="161"/>
                </a:lnTo>
                <a:lnTo>
                  <a:pt x="882" y="158"/>
                </a:lnTo>
                <a:lnTo>
                  <a:pt x="884" y="156"/>
                </a:lnTo>
                <a:lnTo>
                  <a:pt x="884" y="154"/>
                </a:lnTo>
                <a:lnTo>
                  <a:pt x="886" y="152"/>
                </a:lnTo>
                <a:lnTo>
                  <a:pt x="889" y="147"/>
                </a:lnTo>
                <a:lnTo>
                  <a:pt x="889" y="145"/>
                </a:lnTo>
                <a:lnTo>
                  <a:pt x="891" y="142"/>
                </a:lnTo>
                <a:lnTo>
                  <a:pt x="893" y="142"/>
                </a:lnTo>
                <a:lnTo>
                  <a:pt x="893" y="140"/>
                </a:lnTo>
                <a:lnTo>
                  <a:pt x="896" y="140"/>
                </a:lnTo>
                <a:lnTo>
                  <a:pt x="896" y="138"/>
                </a:lnTo>
                <a:lnTo>
                  <a:pt x="898" y="138"/>
                </a:lnTo>
                <a:lnTo>
                  <a:pt x="914" y="135"/>
                </a:lnTo>
                <a:lnTo>
                  <a:pt x="977" y="138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3" name="Freeform 10">
            <a:extLst>
              <a:ext uri="{FF2B5EF4-FFF2-40B4-BE49-F238E27FC236}">
                <a16:creationId xmlns:a16="http://schemas.microsoft.com/office/drawing/2014/main" id="{BD467252-7E03-031D-11F3-316F5FD0C06B}"/>
              </a:ext>
            </a:extLst>
          </p:cNvPr>
          <p:cNvSpPr>
            <a:spLocks noEditPoints="1"/>
          </p:cNvSpPr>
          <p:nvPr/>
        </p:nvSpPr>
        <p:spPr bwMode="auto">
          <a:xfrm>
            <a:off x="3461890" y="3217077"/>
            <a:ext cx="562026" cy="683798"/>
          </a:xfrm>
          <a:custGeom>
            <a:avLst/>
            <a:gdLst>
              <a:gd name="T0" fmla="*/ 298 w 477"/>
              <a:gd name="T1" fmla="*/ 126 h 608"/>
              <a:gd name="T2" fmla="*/ 460 w 477"/>
              <a:gd name="T3" fmla="*/ 142 h 608"/>
              <a:gd name="T4" fmla="*/ 346 w 477"/>
              <a:gd name="T5" fmla="*/ 110 h 608"/>
              <a:gd name="T6" fmla="*/ 360 w 477"/>
              <a:gd name="T7" fmla="*/ 100 h 608"/>
              <a:gd name="T8" fmla="*/ 274 w 477"/>
              <a:gd name="T9" fmla="*/ 28 h 608"/>
              <a:gd name="T10" fmla="*/ 214 w 477"/>
              <a:gd name="T11" fmla="*/ 10 h 608"/>
              <a:gd name="T12" fmla="*/ 218 w 477"/>
              <a:gd name="T13" fmla="*/ 17 h 608"/>
              <a:gd name="T14" fmla="*/ 230 w 477"/>
              <a:gd name="T15" fmla="*/ 17 h 608"/>
              <a:gd name="T16" fmla="*/ 237 w 477"/>
              <a:gd name="T17" fmla="*/ 28 h 608"/>
              <a:gd name="T18" fmla="*/ 242 w 477"/>
              <a:gd name="T19" fmla="*/ 37 h 608"/>
              <a:gd name="T20" fmla="*/ 249 w 477"/>
              <a:gd name="T21" fmla="*/ 33 h 608"/>
              <a:gd name="T22" fmla="*/ 260 w 477"/>
              <a:gd name="T23" fmla="*/ 37 h 608"/>
              <a:gd name="T24" fmla="*/ 274 w 477"/>
              <a:gd name="T25" fmla="*/ 44 h 608"/>
              <a:gd name="T26" fmla="*/ 277 w 477"/>
              <a:gd name="T27" fmla="*/ 49 h 608"/>
              <a:gd name="T28" fmla="*/ 288 w 477"/>
              <a:gd name="T29" fmla="*/ 54 h 608"/>
              <a:gd name="T30" fmla="*/ 300 w 477"/>
              <a:gd name="T31" fmla="*/ 63 h 608"/>
              <a:gd name="T32" fmla="*/ 302 w 477"/>
              <a:gd name="T33" fmla="*/ 77 h 608"/>
              <a:gd name="T34" fmla="*/ 288 w 477"/>
              <a:gd name="T35" fmla="*/ 93 h 608"/>
              <a:gd name="T36" fmla="*/ 295 w 477"/>
              <a:gd name="T37" fmla="*/ 89 h 608"/>
              <a:gd name="T38" fmla="*/ 300 w 477"/>
              <a:gd name="T39" fmla="*/ 103 h 608"/>
              <a:gd name="T40" fmla="*/ 286 w 477"/>
              <a:gd name="T41" fmla="*/ 142 h 608"/>
              <a:gd name="T42" fmla="*/ 288 w 477"/>
              <a:gd name="T43" fmla="*/ 149 h 608"/>
              <a:gd name="T44" fmla="*/ 312 w 477"/>
              <a:gd name="T45" fmla="*/ 110 h 608"/>
              <a:gd name="T46" fmla="*/ 323 w 477"/>
              <a:gd name="T47" fmla="*/ 121 h 608"/>
              <a:gd name="T48" fmla="*/ 316 w 477"/>
              <a:gd name="T49" fmla="*/ 128 h 608"/>
              <a:gd name="T50" fmla="*/ 332 w 477"/>
              <a:gd name="T51" fmla="*/ 119 h 608"/>
              <a:gd name="T52" fmla="*/ 356 w 477"/>
              <a:gd name="T53" fmla="*/ 119 h 608"/>
              <a:gd name="T54" fmla="*/ 370 w 477"/>
              <a:gd name="T55" fmla="*/ 119 h 608"/>
              <a:gd name="T56" fmla="*/ 393 w 477"/>
              <a:gd name="T57" fmla="*/ 114 h 608"/>
              <a:gd name="T58" fmla="*/ 435 w 477"/>
              <a:gd name="T59" fmla="*/ 140 h 608"/>
              <a:gd name="T60" fmla="*/ 465 w 477"/>
              <a:gd name="T61" fmla="*/ 142 h 608"/>
              <a:gd name="T62" fmla="*/ 460 w 477"/>
              <a:gd name="T63" fmla="*/ 177 h 608"/>
              <a:gd name="T64" fmla="*/ 412 w 477"/>
              <a:gd name="T65" fmla="*/ 200 h 608"/>
              <a:gd name="T66" fmla="*/ 386 w 477"/>
              <a:gd name="T67" fmla="*/ 240 h 608"/>
              <a:gd name="T68" fmla="*/ 391 w 477"/>
              <a:gd name="T69" fmla="*/ 282 h 608"/>
              <a:gd name="T70" fmla="*/ 367 w 477"/>
              <a:gd name="T71" fmla="*/ 326 h 608"/>
              <a:gd name="T72" fmla="*/ 374 w 477"/>
              <a:gd name="T73" fmla="*/ 366 h 608"/>
              <a:gd name="T74" fmla="*/ 349 w 477"/>
              <a:gd name="T75" fmla="*/ 401 h 608"/>
              <a:gd name="T76" fmla="*/ 305 w 477"/>
              <a:gd name="T77" fmla="*/ 394 h 608"/>
              <a:gd name="T78" fmla="*/ 274 w 477"/>
              <a:gd name="T79" fmla="*/ 412 h 608"/>
              <a:gd name="T80" fmla="*/ 230 w 477"/>
              <a:gd name="T81" fmla="*/ 433 h 608"/>
              <a:gd name="T82" fmla="*/ 191 w 477"/>
              <a:gd name="T83" fmla="*/ 466 h 608"/>
              <a:gd name="T84" fmla="*/ 160 w 477"/>
              <a:gd name="T85" fmla="*/ 512 h 608"/>
              <a:gd name="T86" fmla="*/ 163 w 477"/>
              <a:gd name="T87" fmla="*/ 561 h 608"/>
              <a:gd name="T88" fmla="*/ 144 w 477"/>
              <a:gd name="T89" fmla="*/ 601 h 608"/>
              <a:gd name="T90" fmla="*/ 109 w 477"/>
              <a:gd name="T91" fmla="*/ 566 h 608"/>
              <a:gd name="T92" fmla="*/ 97 w 477"/>
              <a:gd name="T93" fmla="*/ 524 h 608"/>
              <a:gd name="T94" fmla="*/ 102 w 477"/>
              <a:gd name="T95" fmla="*/ 496 h 608"/>
              <a:gd name="T96" fmla="*/ 130 w 477"/>
              <a:gd name="T97" fmla="*/ 463 h 608"/>
              <a:gd name="T98" fmla="*/ 95 w 477"/>
              <a:gd name="T99" fmla="*/ 454 h 608"/>
              <a:gd name="T100" fmla="*/ 72 w 477"/>
              <a:gd name="T101" fmla="*/ 419 h 608"/>
              <a:gd name="T102" fmla="*/ 56 w 477"/>
              <a:gd name="T103" fmla="*/ 394 h 608"/>
              <a:gd name="T104" fmla="*/ 81 w 477"/>
              <a:gd name="T105" fmla="*/ 345 h 608"/>
              <a:gd name="T106" fmla="*/ 76 w 477"/>
              <a:gd name="T107" fmla="*/ 284 h 608"/>
              <a:gd name="T108" fmla="*/ 21 w 477"/>
              <a:gd name="T109" fmla="*/ 261 h 608"/>
              <a:gd name="T110" fmla="*/ 81 w 477"/>
              <a:gd name="T111" fmla="*/ 221 h 608"/>
              <a:gd name="T112" fmla="*/ 102 w 477"/>
              <a:gd name="T113" fmla="*/ 193 h 608"/>
              <a:gd name="T114" fmla="*/ 128 w 477"/>
              <a:gd name="T115" fmla="*/ 159 h 608"/>
              <a:gd name="T116" fmla="*/ 151 w 477"/>
              <a:gd name="T117" fmla="*/ 133 h 608"/>
              <a:gd name="T118" fmla="*/ 170 w 477"/>
              <a:gd name="T119" fmla="*/ 98 h 608"/>
              <a:gd name="T120" fmla="*/ 188 w 477"/>
              <a:gd name="T121" fmla="*/ 58 h 608"/>
              <a:gd name="T122" fmla="*/ 197 w 477"/>
              <a:gd name="T123" fmla="*/ 19 h 608"/>
              <a:gd name="T124" fmla="*/ 211 w 477"/>
              <a:gd name="T125" fmla="*/ 5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77" h="608">
                <a:moveTo>
                  <a:pt x="295" y="131"/>
                </a:moveTo>
                <a:lnTo>
                  <a:pt x="298" y="128"/>
                </a:lnTo>
                <a:lnTo>
                  <a:pt x="298" y="133"/>
                </a:lnTo>
                <a:lnTo>
                  <a:pt x="298" y="135"/>
                </a:lnTo>
                <a:lnTo>
                  <a:pt x="295" y="135"/>
                </a:lnTo>
                <a:lnTo>
                  <a:pt x="295" y="138"/>
                </a:lnTo>
                <a:lnTo>
                  <a:pt x="295" y="140"/>
                </a:lnTo>
                <a:lnTo>
                  <a:pt x="293" y="140"/>
                </a:lnTo>
                <a:lnTo>
                  <a:pt x="291" y="142"/>
                </a:lnTo>
                <a:lnTo>
                  <a:pt x="291" y="145"/>
                </a:lnTo>
                <a:lnTo>
                  <a:pt x="288" y="145"/>
                </a:lnTo>
                <a:lnTo>
                  <a:pt x="288" y="142"/>
                </a:lnTo>
                <a:lnTo>
                  <a:pt x="291" y="140"/>
                </a:lnTo>
                <a:lnTo>
                  <a:pt x="291" y="138"/>
                </a:lnTo>
                <a:lnTo>
                  <a:pt x="293" y="135"/>
                </a:lnTo>
                <a:lnTo>
                  <a:pt x="291" y="133"/>
                </a:lnTo>
                <a:lnTo>
                  <a:pt x="291" y="131"/>
                </a:lnTo>
                <a:lnTo>
                  <a:pt x="293" y="128"/>
                </a:lnTo>
                <a:lnTo>
                  <a:pt x="295" y="124"/>
                </a:lnTo>
                <a:lnTo>
                  <a:pt x="300" y="121"/>
                </a:lnTo>
                <a:lnTo>
                  <a:pt x="298" y="126"/>
                </a:lnTo>
                <a:lnTo>
                  <a:pt x="298" y="128"/>
                </a:lnTo>
                <a:lnTo>
                  <a:pt x="295" y="128"/>
                </a:lnTo>
                <a:lnTo>
                  <a:pt x="295" y="131"/>
                </a:lnTo>
                <a:close/>
                <a:moveTo>
                  <a:pt x="458" y="145"/>
                </a:moveTo>
                <a:lnTo>
                  <a:pt x="456" y="145"/>
                </a:lnTo>
                <a:lnTo>
                  <a:pt x="453" y="145"/>
                </a:lnTo>
                <a:lnTo>
                  <a:pt x="451" y="145"/>
                </a:lnTo>
                <a:lnTo>
                  <a:pt x="451" y="142"/>
                </a:lnTo>
                <a:lnTo>
                  <a:pt x="449" y="142"/>
                </a:lnTo>
                <a:lnTo>
                  <a:pt x="447" y="140"/>
                </a:lnTo>
                <a:lnTo>
                  <a:pt x="449" y="140"/>
                </a:lnTo>
                <a:lnTo>
                  <a:pt x="449" y="138"/>
                </a:lnTo>
                <a:lnTo>
                  <a:pt x="449" y="140"/>
                </a:lnTo>
                <a:lnTo>
                  <a:pt x="451" y="140"/>
                </a:lnTo>
                <a:lnTo>
                  <a:pt x="451" y="142"/>
                </a:lnTo>
                <a:lnTo>
                  <a:pt x="453" y="142"/>
                </a:lnTo>
                <a:lnTo>
                  <a:pt x="456" y="142"/>
                </a:lnTo>
                <a:lnTo>
                  <a:pt x="456" y="145"/>
                </a:lnTo>
                <a:lnTo>
                  <a:pt x="458" y="145"/>
                </a:lnTo>
                <a:close/>
                <a:moveTo>
                  <a:pt x="460" y="140"/>
                </a:moveTo>
                <a:lnTo>
                  <a:pt x="460" y="142"/>
                </a:lnTo>
                <a:lnTo>
                  <a:pt x="463" y="142"/>
                </a:lnTo>
                <a:lnTo>
                  <a:pt x="463" y="145"/>
                </a:lnTo>
                <a:lnTo>
                  <a:pt x="460" y="145"/>
                </a:lnTo>
                <a:lnTo>
                  <a:pt x="458" y="145"/>
                </a:lnTo>
                <a:lnTo>
                  <a:pt x="458" y="142"/>
                </a:lnTo>
                <a:lnTo>
                  <a:pt x="458" y="140"/>
                </a:lnTo>
                <a:lnTo>
                  <a:pt x="456" y="140"/>
                </a:lnTo>
                <a:lnTo>
                  <a:pt x="453" y="138"/>
                </a:lnTo>
                <a:lnTo>
                  <a:pt x="458" y="140"/>
                </a:lnTo>
                <a:lnTo>
                  <a:pt x="460" y="140"/>
                </a:lnTo>
                <a:close/>
                <a:moveTo>
                  <a:pt x="346" y="110"/>
                </a:moveTo>
                <a:lnTo>
                  <a:pt x="349" y="110"/>
                </a:lnTo>
                <a:lnTo>
                  <a:pt x="349" y="112"/>
                </a:lnTo>
                <a:lnTo>
                  <a:pt x="349" y="114"/>
                </a:lnTo>
                <a:lnTo>
                  <a:pt x="346" y="114"/>
                </a:lnTo>
                <a:lnTo>
                  <a:pt x="344" y="114"/>
                </a:lnTo>
                <a:lnTo>
                  <a:pt x="344" y="112"/>
                </a:lnTo>
                <a:lnTo>
                  <a:pt x="344" y="110"/>
                </a:lnTo>
                <a:lnTo>
                  <a:pt x="344" y="107"/>
                </a:lnTo>
                <a:lnTo>
                  <a:pt x="346" y="107"/>
                </a:lnTo>
                <a:lnTo>
                  <a:pt x="346" y="110"/>
                </a:lnTo>
                <a:close/>
                <a:moveTo>
                  <a:pt x="363" y="110"/>
                </a:moveTo>
                <a:lnTo>
                  <a:pt x="360" y="110"/>
                </a:lnTo>
                <a:lnTo>
                  <a:pt x="360" y="107"/>
                </a:lnTo>
                <a:lnTo>
                  <a:pt x="363" y="107"/>
                </a:lnTo>
                <a:lnTo>
                  <a:pt x="365" y="107"/>
                </a:lnTo>
                <a:lnTo>
                  <a:pt x="363" y="110"/>
                </a:lnTo>
                <a:close/>
                <a:moveTo>
                  <a:pt x="358" y="107"/>
                </a:moveTo>
                <a:lnTo>
                  <a:pt x="358" y="110"/>
                </a:lnTo>
                <a:lnTo>
                  <a:pt x="356" y="107"/>
                </a:lnTo>
                <a:lnTo>
                  <a:pt x="353" y="107"/>
                </a:lnTo>
                <a:lnTo>
                  <a:pt x="353" y="110"/>
                </a:lnTo>
                <a:lnTo>
                  <a:pt x="351" y="110"/>
                </a:lnTo>
                <a:lnTo>
                  <a:pt x="351" y="107"/>
                </a:lnTo>
                <a:lnTo>
                  <a:pt x="351" y="105"/>
                </a:lnTo>
                <a:lnTo>
                  <a:pt x="351" y="103"/>
                </a:lnTo>
                <a:lnTo>
                  <a:pt x="353" y="103"/>
                </a:lnTo>
                <a:lnTo>
                  <a:pt x="353" y="100"/>
                </a:lnTo>
                <a:lnTo>
                  <a:pt x="356" y="98"/>
                </a:lnTo>
                <a:lnTo>
                  <a:pt x="358" y="98"/>
                </a:lnTo>
                <a:lnTo>
                  <a:pt x="360" y="98"/>
                </a:lnTo>
                <a:lnTo>
                  <a:pt x="360" y="100"/>
                </a:lnTo>
                <a:lnTo>
                  <a:pt x="360" y="103"/>
                </a:lnTo>
                <a:lnTo>
                  <a:pt x="358" y="103"/>
                </a:lnTo>
                <a:lnTo>
                  <a:pt x="358" y="105"/>
                </a:lnTo>
                <a:lnTo>
                  <a:pt x="358" y="107"/>
                </a:lnTo>
                <a:close/>
                <a:moveTo>
                  <a:pt x="281" y="24"/>
                </a:moveTo>
                <a:lnTo>
                  <a:pt x="284" y="24"/>
                </a:lnTo>
                <a:lnTo>
                  <a:pt x="284" y="26"/>
                </a:lnTo>
                <a:lnTo>
                  <a:pt x="281" y="26"/>
                </a:lnTo>
                <a:lnTo>
                  <a:pt x="279" y="26"/>
                </a:lnTo>
                <a:lnTo>
                  <a:pt x="281" y="26"/>
                </a:lnTo>
                <a:lnTo>
                  <a:pt x="281" y="28"/>
                </a:lnTo>
                <a:lnTo>
                  <a:pt x="279" y="28"/>
                </a:lnTo>
                <a:lnTo>
                  <a:pt x="277" y="30"/>
                </a:lnTo>
                <a:lnTo>
                  <a:pt x="277" y="28"/>
                </a:lnTo>
                <a:lnTo>
                  <a:pt x="277" y="30"/>
                </a:lnTo>
                <a:lnTo>
                  <a:pt x="274" y="30"/>
                </a:lnTo>
                <a:lnTo>
                  <a:pt x="272" y="30"/>
                </a:lnTo>
                <a:lnTo>
                  <a:pt x="272" y="28"/>
                </a:lnTo>
                <a:lnTo>
                  <a:pt x="272" y="26"/>
                </a:lnTo>
                <a:lnTo>
                  <a:pt x="274" y="26"/>
                </a:lnTo>
                <a:lnTo>
                  <a:pt x="274" y="28"/>
                </a:lnTo>
                <a:lnTo>
                  <a:pt x="274" y="26"/>
                </a:lnTo>
                <a:lnTo>
                  <a:pt x="277" y="24"/>
                </a:lnTo>
                <a:lnTo>
                  <a:pt x="274" y="24"/>
                </a:lnTo>
                <a:lnTo>
                  <a:pt x="277" y="24"/>
                </a:lnTo>
                <a:lnTo>
                  <a:pt x="277" y="21"/>
                </a:lnTo>
                <a:lnTo>
                  <a:pt x="279" y="24"/>
                </a:lnTo>
                <a:lnTo>
                  <a:pt x="279" y="21"/>
                </a:lnTo>
                <a:lnTo>
                  <a:pt x="281" y="21"/>
                </a:lnTo>
                <a:lnTo>
                  <a:pt x="281" y="24"/>
                </a:lnTo>
                <a:close/>
                <a:moveTo>
                  <a:pt x="211" y="5"/>
                </a:moveTo>
                <a:lnTo>
                  <a:pt x="209" y="5"/>
                </a:lnTo>
                <a:lnTo>
                  <a:pt x="209" y="7"/>
                </a:lnTo>
                <a:lnTo>
                  <a:pt x="211" y="7"/>
                </a:lnTo>
                <a:lnTo>
                  <a:pt x="207" y="7"/>
                </a:lnTo>
                <a:lnTo>
                  <a:pt x="207" y="10"/>
                </a:lnTo>
                <a:lnTo>
                  <a:pt x="207" y="12"/>
                </a:lnTo>
                <a:lnTo>
                  <a:pt x="209" y="12"/>
                </a:lnTo>
                <a:lnTo>
                  <a:pt x="209" y="14"/>
                </a:lnTo>
                <a:lnTo>
                  <a:pt x="211" y="14"/>
                </a:lnTo>
                <a:lnTo>
                  <a:pt x="211" y="12"/>
                </a:lnTo>
                <a:lnTo>
                  <a:pt x="214" y="10"/>
                </a:lnTo>
                <a:lnTo>
                  <a:pt x="214" y="7"/>
                </a:lnTo>
                <a:lnTo>
                  <a:pt x="216" y="5"/>
                </a:lnTo>
                <a:lnTo>
                  <a:pt x="216" y="3"/>
                </a:lnTo>
                <a:lnTo>
                  <a:pt x="218" y="3"/>
                </a:lnTo>
                <a:lnTo>
                  <a:pt x="218" y="5"/>
                </a:lnTo>
                <a:lnTo>
                  <a:pt x="216" y="7"/>
                </a:lnTo>
                <a:lnTo>
                  <a:pt x="214" y="10"/>
                </a:lnTo>
                <a:lnTo>
                  <a:pt x="214" y="12"/>
                </a:lnTo>
                <a:lnTo>
                  <a:pt x="214" y="10"/>
                </a:lnTo>
                <a:lnTo>
                  <a:pt x="216" y="10"/>
                </a:lnTo>
                <a:lnTo>
                  <a:pt x="216" y="12"/>
                </a:lnTo>
                <a:lnTo>
                  <a:pt x="214" y="14"/>
                </a:lnTo>
                <a:lnTo>
                  <a:pt x="216" y="14"/>
                </a:lnTo>
                <a:lnTo>
                  <a:pt x="216" y="17"/>
                </a:lnTo>
                <a:lnTo>
                  <a:pt x="214" y="17"/>
                </a:lnTo>
                <a:lnTo>
                  <a:pt x="216" y="17"/>
                </a:lnTo>
                <a:lnTo>
                  <a:pt x="218" y="17"/>
                </a:lnTo>
                <a:lnTo>
                  <a:pt x="218" y="14"/>
                </a:lnTo>
                <a:lnTo>
                  <a:pt x="218" y="12"/>
                </a:lnTo>
                <a:lnTo>
                  <a:pt x="218" y="14"/>
                </a:lnTo>
                <a:lnTo>
                  <a:pt x="218" y="17"/>
                </a:lnTo>
                <a:lnTo>
                  <a:pt x="218" y="19"/>
                </a:lnTo>
                <a:lnTo>
                  <a:pt x="218" y="21"/>
                </a:lnTo>
                <a:lnTo>
                  <a:pt x="218" y="19"/>
                </a:lnTo>
                <a:lnTo>
                  <a:pt x="221" y="17"/>
                </a:lnTo>
                <a:lnTo>
                  <a:pt x="223" y="17"/>
                </a:lnTo>
                <a:lnTo>
                  <a:pt x="223" y="14"/>
                </a:lnTo>
                <a:lnTo>
                  <a:pt x="223" y="12"/>
                </a:lnTo>
                <a:lnTo>
                  <a:pt x="225" y="12"/>
                </a:lnTo>
                <a:lnTo>
                  <a:pt x="225" y="7"/>
                </a:lnTo>
                <a:lnTo>
                  <a:pt x="228" y="7"/>
                </a:lnTo>
                <a:lnTo>
                  <a:pt x="228" y="10"/>
                </a:lnTo>
                <a:lnTo>
                  <a:pt x="225" y="14"/>
                </a:lnTo>
                <a:lnTo>
                  <a:pt x="225" y="17"/>
                </a:lnTo>
                <a:lnTo>
                  <a:pt x="225" y="14"/>
                </a:lnTo>
                <a:lnTo>
                  <a:pt x="228" y="14"/>
                </a:lnTo>
                <a:lnTo>
                  <a:pt x="228" y="12"/>
                </a:lnTo>
                <a:lnTo>
                  <a:pt x="228" y="14"/>
                </a:lnTo>
                <a:lnTo>
                  <a:pt x="230" y="14"/>
                </a:lnTo>
                <a:lnTo>
                  <a:pt x="230" y="17"/>
                </a:lnTo>
                <a:lnTo>
                  <a:pt x="228" y="17"/>
                </a:lnTo>
                <a:lnTo>
                  <a:pt x="230" y="17"/>
                </a:lnTo>
                <a:lnTo>
                  <a:pt x="230" y="19"/>
                </a:lnTo>
                <a:lnTo>
                  <a:pt x="230" y="21"/>
                </a:lnTo>
                <a:lnTo>
                  <a:pt x="230" y="24"/>
                </a:lnTo>
                <a:lnTo>
                  <a:pt x="228" y="24"/>
                </a:lnTo>
                <a:lnTo>
                  <a:pt x="230" y="24"/>
                </a:lnTo>
                <a:lnTo>
                  <a:pt x="232" y="24"/>
                </a:lnTo>
                <a:lnTo>
                  <a:pt x="232" y="21"/>
                </a:lnTo>
                <a:lnTo>
                  <a:pt x="232" y="19"/>
                </a:lnTo>
                <a:lnTo>
                  <a:pt x="235" y="19"/>
                </a:lnTo>
                <a:lnTo>
                  <a:pt x="235" y="21"/>
                </a:lnTo>
                <a:lnTo>
                  <a:pt x="237" y="19"/>
                </a:lnTo>
                <a:lnTo>
                  <a:pt x="239" y="19"/>
                </a:lnTo>
                <a:lnTo>
                  <a:pt x="237" y="19"/>
                </a:lnTo>
                <a:lnTo>
                  <a:pt x="237" y="21"/>
                </a:lnTo>
                <a:lnTo>
                  <a:pt x="239" y="21"/>
                </a:lnTo>
                <a:lnTo>
                  <a:pt x="237" y="21"/>
                </a:lnTo>
                <a:lnTo>
                  <a:pt x="237" y="24"/>
                </a:lnTo>
                <a:lnTo>
                  <a:pt x="239" y="21"/>
                </a:lnTo>
                <a:lnTo>
                  <a:pt x="239" y="24"/>
                </a:lnTo>
                <a:lnTo>
                  <a:pt x="239" y="26"/>
                </a:lnTo>
                <a:lnTo>
                  <a:pt x="237" y="28"/>
                </a:lnTo>
                <a:lnTo>
                  <a:pt x="239" y="28"/>
                </a:lnTo>
                <a:lnTo>
                  <a:pt x="242" y="24"/>
                </a:lnTo>
                <a:lnTo>
                  <a:pt x="244" y="21"/>
                </a:lnTo>
                <a:lnTo>
                  <a:pt x="246" y="21"/>
                </a:lnTo>
                <a:lnTo>
                  <a:pt x="244" y="21"/>
                </a:lnTo>
                <a:lnTo>
                  <a:pt x="246" y="21"/>
                </a:lnTo>
                <a:lnTo>
                  <a:pt x="246" y="24"/>
                </a:lnTo>
                <a:lnTo>
                  <a:pt x="246" y="26"/>
                </a:lnTo>
                <a:lnTo>
                  <a:pt x="244" y="26"/>
                </a:lnTo>
                <a:lnTo>
                  <a:pt x="242" y="26"/>
                </a:lnTo>
                <a:lnTo>
                  <a:pt x="242" y="28"/>
                </a:lnTo>
                <a:lnTo>
                  <a:pt x="242" y="30"/>
                </a:lnTo>
                <a:lnTo>
                  <a:pt x="239" y="30"/>
                </a:lnTo>
                <a:lnTo>
                  <a:pt x="242" y="33"/>
                </a:lnTo>
                <a:lnTo>
                  <a:pt x="239" y="30"/>
                </a:lnTo>
                <a:lnTo>
                  <a:pt x="237" y="33"/>
                </a:lnTo>
                <a:lnTo>
                  <a:pt x="239" y="33"/>
                </a:lnTo>
                <a:lnTo>
                  <a:pt x="239" y="35"/>
                </a:lnTo>
                <a:lnTo>
                  <a:pt x="239" y="33"/>
                </a:lnTo>
                <a:lnTo>
                  <a:pt x="242" y="35"/>
                </a:lnTo>
                <a:lnTo>
                  <a:pt x="242" y="37"/>
                </a:lnTo>
                <a:lnTo>
                  <a:pt x="242" y="35"/>
                </a:lnTo>
                <a:lnTo>
                  <a:pt x="242" y="33"/>
                </a:lnTo>
                <a:lnTo>
                  <a:pt x="242" y="30"/>
                </a:lnTo>
                <a:lnTo>
                  <a:pt x="244" y="30"/>
                </a:lnTo>
                <a:lnTo>
                  <a:pt x="244" y="33"/>
                </a:lnTo>
                <a:lnTo>
                  <a:pt x="246" y="30"/>
                </a:lnTo>
                <a:lnTo>
                  <a:pt x="246" y="28"/>
                </a:lnTo>
                <a:lnTo>
                  <a:pt x="249" y="28"/>
                </a:lnTo>
                <a:lnTo>
                  <a:pt x="251" y="26"/>
                </a:lnTo>
                <a:lnTo>
                  <a:pt x="251" y="24"/>
                </a:lnTo>
                <a:lnTo>
                  <a:pt x="249" y="24"/>
                </a:lnTo>
                <a:lnTo>
                  <a:pt x="251" y="24"/>
                </a:lnTo>
                <a:lnTo>
                  <a:pt x="253" y="24"/>
                </a:lnTo>
                <a:lnTo>
                  <a:pt x="253" y="30"/>
                </a:lnTo>
                <a:lnTo>
                  <a:pt x="251" y="30"/>
                </a:lnTo>
                <a:lnTo>
                  <a:pt x="251" y="33"/>
                </a:lnTo>
                <a:lnTo>
                  <a:pt x="249" y="33"/>
                </a:lnTo>
                <a:lnTo>
                  <a:pt x="246" y="33"/>
                </a:lnTo>
                <a:lnTo>
                  <a:pt x="246" y="35"/>
                </a:lnTo>
                <a:lnTo>
                  <a:pt x="246" y="33"/>
                </a:lnTo>
                <a:lnTo>
                  <a:pt x="249" y="33"/>
                </a:lnTo>
                <a:lnTo>
                  <a:pt x="249" y="35"/>
                </a:lnTo>
                <a:lnTo>
                  <a:pt x="249" y="37"/>
                </a:lnTo>
                <a:lnTo>
                  <a:pt x="246" y="37"/>
                </a:lnTo>
                <a:lnTo>
                  <a:pt x="246" y="40"/>
                </a:lnTo>
                <a:lnTo>
                  <a:pt x="246" y="37"/>
                </a:lnTo>
                <a:lnTo>
                  <a:pt x="249" y="40"/>
                </a:lnTo>
                <a:lnTo>
                  <a:pt x="249" y="42"/>
                </a:lnTo>
                <a:lnTo>
                  <a:pt x="249" y="44"/>
                </a:lnTo>
                <a:lnTo>
                  <a:pt x="246" y="47"/>
                </a:lnTo>
                <a:lnTo>
                  <a:pt x="246" y="49"/>
                </a:lnTo>
                <a:lnTo>
                  <a:pt x="249" y="51"/>
                </a:lnTo>
                <a:lnTo>
                  <a:pt x="251" y="51"/>
                </a:lnTo>
                <a:lnTo>
                  <a:pt x="253" y="51"/>
                </a:lnTo>
                <a:lnTo>
                  <a:pt x="253" y="49"/>
                </a:lnTo>
                <a:lnTo>
                  <a:pt x="256" y="49"/>
                </a:lnTo>
                <a:lnTo>
                  <a:pt x="256" y="47"/>
                </a:lnTo>
                <a:lnTo>
                  <a:pt x="256" y="44"/>
                </a:lnTo>
                <a:lnTo>
                  <a:pt x="256" y="42"/>
                </a:lnTo>
                <a:lnTo>
                  <a:pt x="258" y="40"/>
                </a:lnTo>
                <a:lnTo>
                  <a:pt x="258" y="37"/>
                </a:lnTo>
                <a:lnTo>
                  <a:pt x="260" y="37"/>
                </a:lnTo>
                <a:lnTo>
                  <a:pt x="263" y="35"/>
                </a:lnTo>
                <a:lnTo>
                  <a:pt x="263" y="37"/>
                </a:lnTo>
                <a:lnTo>
                  <a:pt x="265" y="37"/>
                </a:lnTo>
                <a:lnTo>
                  <a:pt x="265" y="35"/>
                </a:lnTo>
                <a:lnTo>
                  <a:pt x="267" y="35"/>
                </a:lnTo>
                <a:lnTo>
                  <a:pt x="265" y="35"/>
                </a:lnTo>
                <a:lnTo>
                  <a:pt x="267" y="35"/>
                </a:lnTo>
                <a:lnTo>
                  <a:pt x="267" y="33"/>
                </a:lnTo>
                <a:lnTo>
                  <a:pt x="270" y="33"/>
                </a:lnTo>
                <a:lnTo>
                  <a:pt x="270" y="35"/>
                </a:lnTo>
                <a:lnTo>
                  <a:pt x="270" y="37"/>
                </a:lnTo>
                <a:lnTo>
                  <a:pt x="272" y="37"/>
                </a:lnTo>
                <a:lnTo>
                  <a:pt x="272" y="40"/>
                </a:lnTo>
                <a:lnTo>
                  <a:pt x="274" y="40"/>
                </a:lnTo>
                <a:lnTo>
                  <a:pt x="274" y="42"/>
                </a:lnTo>
                <a:lnTo>
                  <a:pt x="272" y="42"/>
                </a:lnTo>
                <a:lnTo>
                  <a:pt x="270" y="44"/>
                </a:lnTo>
                <a:lnTo>
                  <a:pt x="272" y="44"/>
                </a:lnTo>
                <a:lnTo>
                  <a:pt x="272" y="42"/>
                </a:lnTo>
                <a:lnTo>
                  <a:pt x="272" y="44"/>
                </a:lnTo>
                <a:lnTo>
                  <a:pt x="274" y="44"/>
                </a:lnTo>
                <a:lnTo>
                  <a:pt x="274" y="42"/>
                </a:lnTo>
                <a:lnTo>
                  <a:pt x="277" y="40"/>
                </a:lnTo>
                <a:lnTo>
                  <a:pt x="277" y="37"/>
                </a:lnTo>
                <a:lnTo>
                  <a:pt x="279" y="37"/>
                </a:lnTo>
                <a:lnTo>
                  <a:pt x="277" y="37"/>
                </a:lnTo>
                <a:lnTo>
                  <a:pt x="279" y="35"/>
                </a:lnTo>
                <a:lnTo>
                  <a:pt x="281" y="35"/>
                </a:lnTo>
                <a:lnTo>
                  <a:pt x="281" y="33"/>
                </a:lnTo>
                <a:lnTo>
                  <a:pt x="284" y="33"/>
                </a:lnTo>
                <a:lnTo>
                  <a:pt x="284" y="35"/>
                </a:lnTo>
                <a:lnTo>
                  <a:pt x="284" y="37"/>
                </a:lnTo>
                <a:lnTo>
                  <a:pt x="281" y="37"/>
                </a:lnTo>
                <a:lnTo>
                  <a:pt x="281" y="40"/>
                </a:lnTo>
                <a:lnTo>
                  <a:pt x="279" y="40"/>
                </a:lnTo>
                <a:lnTo>
                  <a:pt x="279" y="42"/>
                </a:lnTo>
                <a:lnTo>
                  <a:pt x="277" y="44"/>
                </a:lnTo>
                <a:lnTo>
                  <a:pt x="279" y="44"/>
                </a:lnTo>
                <a:lnTo>
                  <a:pt x="277" y="44"/>
                </a:lnTo>
                <a:lnTo>
                  <a:pt x="274" y="44"/>
                </a:lnTo>
                <a:lnTo>
                  <a:pt x="277" y="47"/>
                </a:lnTo>
                <a:lnTo>
                  <a:pt x="277" y="49"/>
                </a:lnTo>
                <a:lnTo>
                  <a:pt x="279" y="47"/>
                </a:lnTo>
                <a:lnTo>
                  <a:pt x="279" y="44"/>
                </a:lnTo>
                <a:lnTo>
                  <a:pt x="281" y="47"/>
                </a:lnTo>
                <a:lnTo>
                  <a:pt x="281" y="49"/>
                </a:lnTo>
                <a:lnTo>
                  <a:pt x="284" y="49"/>
                </a:lnTo>
                <a:lnTo>
                  <a:pt x="281" y="47"/>
                </a:lnTo>
                <a:lnTo>
                  <a:pt x="284" y="47"/>
                </a:lnTo>
                <a:lnTo>
                  <a:pt x="284" y="44"/>
                </a:lnTo>
                <a:lnTo>
                  <a:pt x="286" y="47"/>
                </a:lnTo>
                <a:lnTo>
                  <a:pt x="284" y="47"/>
                </a:lnTo>
                <a:lnTo>
                  <a:pt x="286" y="47"/>
                </a:lnTo>
                <a:lnTo>
                  <a:pt x="286" y="49"/>
                </a:lnTo>
                <a:lnTo>
                  <a:pt x="284" y="49"/>
                </a:lnTo>
                <a:lnTo>
                  <a:pt x="286" y="51"/>
                </a:lnTo>
                <a:lnTo>
                  <a:pt x="284" y="54"/>
                </a:lnTo>
                <a:lnTo>
                  <a:pt x="286" y="54"/>
                </a:lnTo>
                <a:lnTo>
                  <a:pt x="286" y="56"/>
                </a:lnTo>
                <a:lnTo>
                  <a:pt x="284" y="56"/>
                </a:lnTo>
                <a:lnTo>
                  <a:pt x="286" y="56"/>
                </a:lnTo>
                <a:lnTo>
                  <a:pt x="286" y="54"/>
                </a:lnTo>
                <a:lnTo>
                  <a:pt x="288" y="54"/>
                </a:lnTo>
                <a:lnTo>
                  <a:pt x="291" y="54"/>
                </a:lnTo>
                <a:lnTo>
                  <a:pt x="291" y="56"/>
                </a:lnTo>
                <a:lnTo>
                  <a:pt x="288" y="58"/>
                </a:lnTo>
                <a:lnTo>
                  <a:pt x="284" y="61"/>
                </a:lnTo>
                <a:lnTo>
                  <a:pt x="286" y="61"/>
                </a:lnTo>
                <a:lnTo>
                  <a:pt x="288" y="58"/>
                </a:lnTo>
                <a:lnTo>
                  <a:pt x="291" y="61"/>
                </a:lnTo>
                <a:lnTo>
                  <a:pt x="293" y="61"/>
                </a:lnTo>
                <a:lnTo>
                  <a:pt x="293" y="58"/>
                </a:lnTo>
                <a:lnTo>
                  <a:pt x="295" y="56"/>
                </a:lnTo>
                <a:lnTo>
                  <a:pt x="295" y="54"/>
                </a:lnTo>
                <a:lnTo>
                  <a:pt x="298" y="56"/>
                </a:lnTo>
                <a:lnTo>
                  <a:pt x="298" y="58"/>
                </a:lnTo>
                <a:lnTo>
                  <a:pt x="295" y="58"/>
                </a:lnTo>
                <a:lnTo>
                  <a:pt x="295" y="61"/>
                </a:lnTo>
                <a:lnTo>
                  <a:pt x="295" y="63"/>
                </a:lnTo>
                <a:lnTo>
                  <a:pt x="293" y="63"/>
                </a:lnTo>
                <a:lnTo>
                  <a:pt x="295" y="63"/>
                </a:lnTo>
                <a:lnTo>
                  <a:pt x="298" y="63"/>
                </a:lnTo>
                <a:lnTo>
                  <a:pt x="300" y="61"/>
                </a:lnTo>
                <a:lnTo>
                  <a:pt x="300" y="63"/>
                </a:lnTo>
                <a:lnTo>
                  <a:pt x="300" y="65"/>
                </a:lnTo>
                <a:lnTo>
                  <a:pt x="300" y="63"/>
                </a:lnTo>
                <a:lnTo>
                  <a:pt x="302" y="63"/>
                </a:lnTo>
                <a:lnTo>
                  <a:pt x="302" y="65"/>
                </a:lnTo>
                <a:lnTo>
                  <a:pt x="298" y="68"/>
                </a:lnTo>
                <a:lnTo>
                  <a:pt x="300" y="68"/>
                </a:lnTo>
                <a:lnTo>
                  <a:pt x="302" y="68"/>
                </a:lnTo>
                <a:lnTo>
                  <a:pt x="302" y="70"/>
                </a:lnTo>
                <a:lnTo>
                  <a:pt x="302" y="72"/>
                </a:lnTo>
                <a:lnTo>
                  <a:pt x="305" y="72"/>
                </a:lnTo>
                <a:lnTo>
                  <a:pt x="305" y="75"/>
                </a:lnTo>
                <a:lnTo>
                  <a:pt x="302" y="75"/>
                </a:lnTo>
                <a:lnTo>
                  <a:pt x="302" y="77"/>
                </a:lnTo>
                <a:lnTo>
                  <a:pt x="300" y="77"/>
                </a:lnTo>
                <a:lnTo>
                  <a:pt x="300" y="75"/>
                </a:lnTo>
                <a:lnTo>
                  <a:pt x="298" y="75"/>
                </a:lnTo>
                <a:lnTo>
                  <a:pt x="298" y="77"/>
                </a:lnTo>
                <a:lnTo>
                  <a:pt x="295" y="77"/>
                </a:lnTo>
                <a:lnTo>
                  <a:pt x="298" y="77"/>
                </a:lnTo>
                <a:lnTo>
                  <a:pt x="300" y="77"/>
                </a:lnTo>
                <a:lnTo>
                  <a:pt x="302" y="77"/>
                </a:lnTo>
                <a:lnTo>
                  <a:pt x="302" y="79"/>
                </a:lnTo>
                <a:lnTo>
                  <a:pt x="300" y="79"/>
                </a:lnTo>
                <a:lnTo>
                  <a:pt x="298" y="79"/>
                </a:lnTo>
                <a:lnTo>
                  <a:pt x="298" y="82"/>
                </a:lnTo>
                <a:lnTo>
                  <a:pt x="295" y="84"/>
                </a:lnTo>
                <a:lnTo>
                  <a:pt x="293" y="84"/>
                </a:lnTo>
                <a:lnTo>
                  <a:pt x="295" y="84"/>
                </a:lnTo>
                <a:lnTo>
                  <a:pt x="295" y="86"/>
                </a:lnTo>
                <a:lnTo>
                  <a:pt x="293" y="86"/>
                </a:lnTo>
                <a:lnTo>
                  <a:pt x="291" y="89"/>
                </a:lnTo>
                <a:lnTo>
                  <a:pt x="288" y="89"/>
                </a:lnTo>
                <a:lnTo>
                  <a:pt x="288" y="91"/>
                </a:lnTo>
                <a:lnTo>
                  <a:pt x="286" y="91"/>
                </a:lnTo>
                <a:lnTo>
                  <a:pt x="284" y="91"/>
                </a:lnTo>
                <a:lnTo>
                  <a:pt x="281" y="91"/>
                </a:lnTo>
                <a:lnTo>
                  <a:pt x="279" y="91"/>
                </a:lnTo>
                <a:lnTo>
                  <a:pt x="281" y="93"/>
                </a:lnTo>
                <a:lnTo>
                  <a:pt x="284" y="91"/>
                </a:lnTo>
                <a:lnTo>
                  <a:pt x="286" y="91"/>
                </a:lnTo>
                <a:lnTo>
                  <a:pt x="286" y="93"/>
                </a:lnTo>
                <a:lnTo>
                  <a:pt x="288" y="93"/>
                </a:lnTo>
                <a:lnTo>
                  <a:pt x="288" y="91"/>
                </a:lnTo>
                <a:lnTo>
                  <a:pt x="291" y="91"/>
                </a:lnTo>
                <a:lnTo>
                  <a:pt x="291" y="93"/>
                </a:lnTo>
                <a:lnTo>
                  <a:pt x="288" y="93"/>
                </a:lnTo>
                <a:lnTo>
                  <a:pt x="288" y="96"/>
                </a:lnTo>
                <a:lnTo>
                  <a:pt x="286" y="98"/>
                </a:lnTo>
                <a:lnTo>
                  <a:pt x="286" y="100"/>
                </a:lnTo>
                <a:lnTo>
                  <a:pt x="286" y="98"/>
                </a:lnTo>
                <a:lnTo>
                  <a:pt x="288" y="98"/>
                </a:lnTo>
                <a:lnTo>
                  <a:pt x="291" y="98"/>
                </a:lnTo>
                <a:lnTo>
                  <a:pt x="288" y="100"/>
                </a:lnTo>
                <a:lnTo>
                  <a:pt x="288" y="103"/>
                </a:lnTo>
                <a:lnTo>
                  <a:pt x="291" y="103"/>
                </a:lnTo>
                <a:lnTo>
                  <a:pt x="288" y="103"/>
                </a:lnTo>
                <a:lnTo>
                  <a:pt x="288" y="100"/>
                </a:lnTo>
                <a:lnTo>
                  <a:pt x="291" y="100"/>
                </a:lnTo>
                <a:lnTo>
                  <a:pt x="291" y="98"/>
                </a:lnTo>
                <a:lnTo>
                  <a:pt x="291" y="96"/>
                </a:lnTo>
                <a:lnTo>
                  <a:pt x="291" y="93"/>
                </a:lnTo>
                <a:lnTo>
                  <a:pt x="293" y="91"/>
                </a:lnTo>
                <a:lnTo>
                  <a:pt x="295" y="89"/>
                </a:lnTo>
                <a:lnTo>
                  <a:pt x="298" y="89"/>
                </a:lnTo>
                <a:lnTo>
                  <a:pt x="298" y="86"/>
                </a:lnTo>
                <a:lnTo>
                  <a:pt x="300" y="86"/>
                </a:lnTo>
                <a:lnTo>
                  <a:pt x="302" y="84"/>
                </a:lnTo>
                <a:lnTo>
                  <a:pt x="305" y="84"/>
                </a:lnTo>
                <a:lnTo>
                  <a:pt x="307" y="86"/>
                </a:lnTo>
                <a:lnTo>
                  <a:pt x="309" y="89"/>
                </a:lnTo>
                <a:lnTo>
                  <a:pt x="309" y="91"/>
                </a:lnTo>
                <a:lnTo>
                  <a:pt x="309" y="93"/>
                </a:lnTo>
                <a:lnTo>
                  <a:pt x="309" y="96"/>
                </a:lnTo>
                <a:lnTo>
                  <a:pt x="309" y="98"/>
                </a:lnTo>
                <a:lnTo>
                  <a:pt x="309" y="100"/>
                </a:lnTo>
                <a:lnTo>
                  <a:pt x="307" y="103"/>
                </a:lnTo>
                <a:lnTo>
                  <a:pt x="305" y="103"/>
                </a:lnTo>
                <a:lnTo>
                  <a:pt x="302" y="103"/>
                </a:lnTo>
                <a:lnTo>
                  <a:pt x="300" y="100"/>
                </a:lnTo>
                <a:lnTo>
                  <a:pt x="298" y="100"/>
                </a:lnTo>
                <a:lnTo>
                  <a:pt x="295" y="103"/>
                </a:lnTo>
                <a:lnTo>
                  <a:pt x="298" y="100"/>
                </a:lnTo>
                <a:lnTo>
                  <a:pt x="300" y="100"/>
                </a:lnTo>
                <a:lnTo>
                  <a:pt x="300" y="103"/>
                </a:lnTo>
                <a:lnTo>
                  <a:pt x="298" y="107"/>
                </a:lnTo>
                <a:lnTo>
                  <a:pt x="298" y="110"/>
                </a:lnTo>
                <a:lnTo>
                  <a:pt x="295" y="110"/>
                </a:lnTo>
                <a:lnTo>
                  <a:pt x="293" y="110"/>
                </a:lnTo>
                <a:lnTo>
                  <a:pt x="293" y="112"/>
                </a:lnTo>
                <a:lnTo>
                  <a:pt x="291" y="112"/>
                </a:lnTo>
                <a:lnTo>
                  <a:pt x="288" y="114"/>
                </a:lnTo>
                <a:lnTo>
                  <a:pt x="293" y="112"/>
                </a:lnTo>
                <a:lnTo>
                  <a:pt x="295" y="110"/>
                </a:lnTo>
                <a:lnTo>
                  <a:pt x="295" y="112"/>
                </a:lnTo>
                <a:lnTo>
                  <a:pt x="291" y="119"/>
                </a:lnTo>
                <a:lnTo>
                  <a:pt x="288" y="121"/>
                </a:lnTo>
                <a:lnTo>
                  <a:pt x="288" y="124"/>
                </a:lnTo>
                <a:lnTo>
                  <a:pt x="288" y="126"/>
                </a:lnTo>
                <a:lnTo>
                  <a:pt x="286" y="128"/>
                </a:lnTo>
                <a:lnTo>
                  <a:pt x="286" y="131"/>
                </a:lnTo>
                <a:lnTo>
                  <a:pt x="284" y="135"/>
                </a:lnTo>
                <a:lnTo>
                  <a:pt x="284" y="138"/>
                </a:lnTo>
                <a:lnTo>
                  <a:pt x="284" y="140"/>
                </a:lnTo>
                <a:lnTo>
                  <a:pt x="284" y="142"/>
                </a:lnTo>
                <a:lnTo>
                  <a:pt x="286" y="142"/>
                </a:lnTo>
                <a:lnTo>
                  <a:pt x="286" y="145"/>
                </a:lnTo>
                <a:lnTo>
                  <a:pt x="284" y="147"/>
                </a:lnTo>
                <a:lnTo>
                  <a:pt x="281" y="149"/>
                </a:lnTo>
                <a:lnTo>
                  <a:pt x="279" y="152"/>
                </a:lnTo>
                <a:lnTo>
                  <a:pt x="277" y="152"/>
                </a:lnTo>
                <a:lnTo>
                  <a:pt x="274" y="152"/>
                </a:lnTo>
                <a:lnTo>
                  <a:pt x="274" y="154"/>
                </a:lnTo>
                <a:lnTo>
                  <a:pt x="274" y="156"/>
                </a:lnTo>
                <a:lnTo>
                  <a:pt x="274" y="159"/>
                </a:lnTo>
                <a:lnTo>
                  <a:pt x="277" y="159"/>
                </a:lnTo>
                <a:lnTo>
                  <a:pt x="274" y="159"/>
                </a:lnTo>
                <a:lnTo>
                  <a:pt x="277" y="161"/>
                </a:lnTo>
                <a:lnTo>
                  <a:pt x="277" y="159"/>
                </a:lnTo>
                <a:lnTo>
                  <a:pt x="277" y="156"/>
                </a:lnTo>
                <a:lnTo>
                  <a:pt x="277" y="154"/>
                </a:lnTo>
                <a:lnTo>
                  <a:pt x="279" y="154"/>
                </a:lnTo>
                <a:lnTo>
                  <a:pt x="281" y="154"/>
                </a:lnTo>
                <a:lnTo>
                  <a:pt x="284" y="154"/>
                </a:lnTo>
                <a:lnTo>
                  <a:pt x="284" y="152"/>
                </a:lnTo>
                <a:lnTo>
                  <a:pt x="286" y="152"/>
                </a:lnTo>
                <a:lnTo>
                  <a:pt x="288" y="149"/>
                </a:lnTo>
                <a:lnTo>
                  <a:pt x="288" y="147"/>
                </a:lnTo>
                <a:lnTo>
                  <a:pt x="291" y="147"/>
                </a:lnTo>
                <a:lnTo>
                  <a:pt x="293" y="145"/>
                </a:lnTo>
                <a:lnTo>
                  <a:pt x="298" y="142"/>
                </a:lnTo>
                <a:lnTo>
                  <a:pt x="298" y="140"/>
                </a:lnTo>
                <a:lnTo>
                  <a:pt x="300" y="140"/>
                </a:lnTo>
                <a:lnTo>
                  <a:pt x="302" y="138"/>
                </a:lnTo>
                <a:lnTo>
                  <a:pt x="302" y="135"/>
                </a:lnTo>
                <a:lnTo>
                  <a:pt x="302" y="133"/>
                </a:lnTo>
                <a:lnTo>
                  <a:pt x="302" y="131"/>
                </a:lnTo>
                <a:lnTo>
                  <a:pt x="305" y="128"/>
                </a:lnTo>
                <a:lnTo>
                  <a:pt x="307" y="121"/>
                </a:lnTo>
                <a:lnTo>
                  <a:pt x="307" y="119"/>
                </a:lnTo>
                <a:lnTo>
                  <a:pt x="307" y="121"/>
                </a:lnTo>
                <a:lnTo>
                  <a:pt x="307" y="112"/>
                </a:lnTo>
                <a:lnTo>
                  <a:pt x="309" y="112"/>
                </a:lnTo>
                <a:lnTo>
                  <a:pt x="312" y="112"/>
                </a:lnTo>
                <a:lnTo>
                  <a:pt x="314" y="114"/>
                </a:lnTo>
                <a:lnTo>
                  <a:pt x="314" y="112"/>
                </a:lnTo>
                <a:lnTo>
                  <a:pt x="312" y="112"/>
                </a:lnTo>
                <a:lnTo>
                  <a:pt x="312" y="110"/>
                </a:lnTo>
                <a:lnTo>
                  <a:pt x="314" y="110"/>
                </a:lnTo>
                <a:lnTo>
                  <a:pt x="314" y="107"/>
                </a:lnTo>
                <a:lnTo>
                  <a:pt x="319" y="107"/>
                </a:lnTo>
                <a:lnTo>
                  <a:pt x="325" y="105"/>
                </a:lnTo>
                <a:lnTo>
                  <a:pt x="328" y="105"/>
                </a:lnTo>
                <a:lnTo>
                  <a:pt x="330" y="105"/>
                </a:lnTo>
                <a:lnTo>
                  <a:pt x="330" y="107"/>
                </a:lnTo>
                <a:lnTo>
                  <a:pt x="328" y="107"/>
                </a:lnTo>
                <a:lnTo>
                  <a:pt x="325" y="110"/>
                </a:lnTo>
                <a:lnTo>
                  <a:pt x="328" y="110"/>
                </a:lnTo>
                <a:lnTo>
                  <a:pt x="328" y="112"/>
                </a:lnTo>
                <a:lnTo>
                  <a:pt x="330" y="112"/>
                </a:lnTo>
                <a:lnTo>
                  <a:pt x="330" y="110"/>
                </a:lnTo>
                <a:lnTo>
                  <a:pt x="330" y="112"/>
                </a:lnTo>
                <a:lnTo>
                  <a:pt x="330" y="114"/>
                </a:lnTo>
                <a:lnTo>
                  <a:pt x="328" y="114"/>
                </a:lnTo>
                <a:lnTo>
                  <a:pt x="328" y="117"/>
                </a:lnTo>
                <a:lnTo>
                  <a:pt x="325" y="117"/>
                </a:lnTo>
                <a:lnTo>
                  <a:pt x="323" y="117"/>
                </a:lnTo>
                <a:lnTo>
                  <a:pt x="325" y="119"/>
                </a:lnTo>
                <a:lnTo>
                  <a:pt x="323" y="121"/>
                </a:lnTo>
                <a:lnTo>
                  <a:pt x="321" y="124"/>
                </a:lnTo>
                <a:lnTo>
                  <a:pt x="319" y="124"/>
                </a:lnTo>
                <a:lnTo>
                  <a:pt x="316" y="121"/>
                </a:lnTo>
                <a:lnTo>
                  <a:pt x="316" y="124"/>
                </a:lnTo>
                <a:lnTo>
                  <a:pt x="319" y="124"/>
                </a:lnTo>
                <a:lnTo>
                  <a:pt x="316" y="124"/>
                </a:lnTo>
                <a:lnTo>
                  <a:pt x="314" y="126"/>
                </a:lnTo>
                <a:lnTo>
                  <a:pt x="312" y="126"/>
                </a:lnTo>
                <a:lnTo>
                  <a:pt x="309" y="128"/>
                </a:lnTo>
                <a:lnTo>
                  <a:pt x="307" y="128"/>
                </a:lnTo>
                <a:lnTo>
                  <a:pt x="307" y="131"/>
                </a:lnTo>
                <a:lnTo>
                  <a:pt x="309" y="131"/>
                </a:lnTo>
                <a:lnTo>
                  <a:pt x="309" y="128"/>
                </a:lnTo>
                <a:lnTo>
                  <a:pt x="312" y="128"/>
                </a:lnTo>
                <a:lnTo>
                  <a:pt x="309" y="131"/>
                </a:lnTo>
                <a:lnTo>
                  <a:pt x="312" y="133"/>
                </a:lnTo>
                <a:lnTo>
                  <a:pt x="312" y="131"/>
                </a:lnTo>
                <a:lnTo>
                  <a:pt x="312" y="128"/>
                </a:lnTo>
                <a:lnTo>
                  <a:pt x="314" y="128"/>
                </a:lnTo>
                <a:lnTo>
                  <a:pt x="316" y="131"/>
                </a:lnTo>
                <a:lnTo>
                  <a:pt x="316" y="128"/>
                </a:lnTo>
                <a:lnTo>
                  <a:pt x="319" y="128"/>
                </a:lnTo>
                <a:lnTo>
                  <a:pt x="319" y="131"/>
                </a:lnTo>
                <a:lnTo>
                  <a:pt x="319" y="133"/>
                </a:lnTo>
                <a:lnTo>
                  <a:pt x="316" y="133"/>
                </a:lnTo>
                <a:lnTo>
                  <a:pt x="316" y="135"/>
                </a:lnTo>
                <a:lnTo>
                  <a:pt x="319" y="133"/>
                </a:lnTo>
                <a:lnTo>
                  <a:pt x="321" y="133"/>
                </a:lnTo>
                <a:lnTo>
                  <a:pt x="321" y="131"/>
                </a:lnTo>
                <a:lnTo>
                  <a:pt x="323" y="131"/>
                </a:lnTo>
                <a:lnTo>
                  <a:pt x="323" y="128"/>
                </a:lnTo>
                <a:lnTo>
                  <a:pt x="325" y="128"/>
                </a:lnTo>
                <a:lnTo>
                  <a:pt x="325" y="131"/>
                </a:lnTo>
                <a:lnTo>
                  <a:pt x="325" y="128"/>
                </a:lnTo>
                <a:lnTo>
                  <a:pt x="325" y="131"/>
                </a:lnTo>
                <a:lnTo>
                  <a:pt x="325" y="133"/>
                </a:lnTo>
                <a:lnTo>
                  <a:pt x="325" y="131"/>
                </a:lnTo>
                <a:lnTo>
                  <a:pt x="328" y="128"/>
                </a:lnTo>
                <a:lnTo>
                  <a:pt x="328" y="126"/>
                </a:lnTo>
                <a:lnTo>
                  <a:pt x="330" y="124"/>
                </a:lnTo>
                <a:lnTo>
                  <a:pt x="330" y="121"/>
                </a:lnTo>
                <a:lnTo>
                  <a:pt x="332" y="119"/>
                </a:lnTo>
                <a:lnTo>
                  <a:pt x="335" y="121"/>
                </a:lnTo>
                <a:lnTo>
                  <a:pt x="335" y="119"/>
                </a:lnTo>
                <a:lnTo>
                  <a:pt x="335" y="117"/>
                </a:lnTo>
                <a:lnTo>
                  <a:pt x="337" y="117"/>
                </a:lnTo>
                <a:lnTo>
                  <a:pt x="339" y="119"/>
                </a:lnTo>
                <a:lnTo>
                  <a:pt x="339" y="121"/>
                </a:lnTo>
                <a:lnTo>
                  <a:pt x="339" y="119"/>
                </a:lnTo>
                <a:lnTo>
                  <a:pt x="339" y="117"/>
                </a:lnTo>
                <a:lnTo>
                  <a:pt x="342" y="117"/>
                </a:lnTo>
                <a:lnTo>
                  <a:pt x="344" y="117"/>
                </a:lnTo>
                <a:lnTo>
                  <a:pt x="346" y="117"/>
                </a:lnTo>
                <a:lnTo>
                  <a:pt x="349" y="117"/>
                </a:lnTo>
                <a:lnTo>
                  <a:pt x="351" y="114"/>
                </a:lnTo>
                <a:lnTo>
                  <a:pt x="351" y="112"/>
                </a:lnTo>
                <a:lnTo>
                  <a:pt x="351" y="114"/>
                </a:lnTo>
                <a:lnTo>
                  <a:pt x="353" y="114"/>
                </a:lnTo>
                <a:lnTo>
                  <a:pt x="351" y="117"/>
                </a:lnTo>
                <a:lnTo>
                  <a:pt x="351" y="119"/>
                </a:lnTo>
                <a:lnTo>
                  <a:pt x="353" y="119"/>
                </a:lnTo>
                <a:lnTo>
                  <a:pt x="353" y="117"/>
                </a:lnTo>
                <a:lnTo>
                  <a:pt x="356" y="119"/>
                </a:lnTo>
                <a:lnTo>
                  <a:pt x="353" y="117"/>
                </a:lnTo>
                <a:lnTo>
                  <a:pt x="353" y="114"/>
                </a:lnTo>
                <a:lnTo>
                  <a:pt x="356" y="114"/>
                </a:lnTo>
                <a:lnTo>
                  <a:pt x="356" y="117"/>
                </a:lnTo>
                <a:lnTo>
                  <a:pt x="356" y="114"/>
                </a:lnTo>
                <a:lnTo>
                  <a:pt x="358" y="114"/>
                </a:lnTo>
                <a:lnTo>
                  <a:pt x="358" y="117"/>
                </a:lnTo>
                <a:lnTo>
                  <a:pt x="360" y="117"/>
                </a:lnTo>
                <a:lnTo>
                  <a:pt x="363" y="117"/>
                </a:lnTo>
                <a:lnTo>
                  <a:pt x="363" y="114"/>
                </a:lnTo>
                <a:lnTo>
                  <a:pt x="363" y="117"/>
                </a:lnTo>
                <a:lnTo>
                  <a:pt x="363" y="114"/>
                </a:lnTo>
                <a:lnTo>
                  <a:pt x="365" y="114"/>
                </a:lnTo>
                <a:lnTo>
                  <a:pt x="363" y="114"/>
                </a:lnTo>
                <a:lnTo>
                  <a:pt x="363" y="112"/>
                </a:lnTo>
                <a:lnTo>
                  <a:pt x="365" y="112"/>
                </a:lnTo>
                <a:lnTo>
                  <a:pt x="365" y="114"/>
                </a:lnTo>
                <a:lnTo>
                  <a:pt x="365" y="117"/>
                </a:lnTo>
                <a:lnTo>
                  <a:pt x="367" y="119"/>
                </a:lnTo>
                <a:lnTo>
                  <a:pt x="367" y="117"/>
                </a:lnTo>
                <a:lnTo>
                  <a:pt x="370" y="119"/>
                </a:lnTo>
                <a:lnTo>
                  <a:pt x="370" y="117"/>
                </a:lnTo>
                <a:lnTo>
                  <a:pt x="370" y="114"/>
                </a:lnTo>
                <a:lnTo>
                  <a:pt x="372" y="117"/>
                </a:lnTo>
                <a:lnTo>
                  <a:pt x="370" y="114"/>
                </a:lnTo>
                <a:lnTo>
                  <a:pt x="370" y="112"/>
                </a:lnTo>
                <a:lnTo>
                  <a:pt x="370" y="114"/>
                </a:lnTo>
                <a:lnTo>
                  <a:pt x="372" y="114"/>
                </a:lnTo>
                <a:lnTo>
                  <a:pt x="372" y="112"/>
                </a:lnTo>
                <a:lnTo>
                  <a:pt x="370" y="110"/>
                </a:lnTo>
                <a:lnTo>
                  <a:pt x="367" y="110"/>
                </a:lnTo>
                <a:lnTo>
                  <a:pt x="367" y="107"/>
                </a:lnTo>
                <a:lnTo>
                  <a:pt x="370" y="107"/>
                </a:lnTo>
                <a:lnTo>
                  <a:pt x="370" y="105"/>
                </a:lnTo>
                <a:lnTo>
                  <a:pt x="372" y="105"/>
                </a:lnTo>
                <a:lnTo>
                  <a:pt x="374" y="105"/>
                </a:lnTo>
                <a:lnTo>
                  <a:pt x="374" y="107"/>
                </a:lnTo>
                <a:lnTo>
                  <a:pt x="377" y="107"/>
                </a:lnTo>
                <a:lnTo>
                  <a:pt x="379" y="107"/>
                </a:lnTo>
                <a:lnTo>
                  <a:pt x="384" y="110"/>
                </a:lnTo>
                <a:lnTo>
                  <a:pt x="388" y="110"/>
                </a:lnTo>
                <a:lnTo>
                  <a:pt x="393" y="114"/>
                </a:lnTo>
                <a:lnTo>
                  <a:pt x="400" y="117"/>
                </a:lnTo>
                <a:lnTo>
                  <a:pt x="405" y="119"/>
                </a:lnTo>
                <a:lnTo>
                  <a:pt x="405" y="121"/>
                </a:lnTo>
                <a:lnTo>
                  <a:pt x="407" y="121"/>
                </a:lnTo>
                <a:lnTo>
                  <a:pt x="409" y="124"/>
                </a:lnTo>
                <a:lnTo>
                  <a:pt x="412" y="124"/>
                </a:lnTo>
                <a:lnTo>
                  <a:pt x="414" y="126"/>
                </a:lnTo>
                <a:lnTo>
                  <a:pt x="419" y="126"/>
                </a:lnTo>
                <a:lnTo>
                  <a:pt x="419" y="128"/>
                </a:lnTo>
                <a:lnTo>
                  <a:pt x="421" y="128"/>
                </a:lnTo>
                <a:lnTo>
                  <a:pt x="423" y="133"/>
                </a:lnTo>
                <a:lnTo>
                  <a:pt x="426" y="135"/>
                </a:lnTo>
                <a:lnTo>
                  <a:pt x="428" y="135"/>
                </a:lnTo>
                <a:lnTo>
                  <a:pt x="430" y="135"/>
                </a:lnTo>
                <a:lnTo>
                  <a:pt x="433" y="135"/>
                </a:lnTo>
                <a:lnTo>
                  <a:pt x="433" y="138"/>
                </a:lnTo>
                <a:lnTo>
                  <a:pt x="430" y="138"/>
                </a:lnTo>
                <a:lnTo>
                  <a:pt x="430" y="140"/>
                </a:lnTo>
                <a:lnTo>
                  <a:pt x="433" y="140"/>
                </a:lnTo>
                <a:lnTo>
                  <a:pt x="435" y="142"/>
                </a:lnTo>
                <a:lnTo>
                  <a:pt x="435" y="140"/>
                </a:lnTo>
                <a:lnTo>
                  <a:pt x="437" y="140"/>
                </a:lnTo>
                <a:lnTo>
                  <a:pt x="437" y="142"/>
                </a:lnTo>
                <a:lnTo>
                  <a:pt x="440" y="142"/>
                </a:lnTo>
                <a:lnTo>
                  <a:pt x="447" y="142"/>
                </a:lnTo>
                <a:lnTo>
                  <a:pt x="447" y="145"/>
                </a:lnTo>
                <a:lnTo>
                  <a:pt x="447" y="147"/>
                </a:lnTo>
                <a:lnTo>
                  <a:pt x="449" y="147"/>
                </a:lnTo>
                <a:lnTo>
                  <a:pt x="449" y="149"/>
                </a:lnTo>
                <a:lnTo>
                  <a:pt x="449" y="147"/>
                </a:lnTo>
                <a:lnTo>
                  <a:pt x="451" y="147"/>
                </a:lnTo>
                <a:lnTo>
                  <a:pt x="453" y="147"/>
                </a:lnTo>
                <a:lnTo>
                  <a:pt x="458" y="147"/>
                </a:lnTo>
                <a:lnTo>
                  <a:pt x="458" y="149"/>
                </a:lnTo>
                <a:lnTo>
                  <a:pt x="460" y="149"/>
                </a:lnTo>
                <a:lnTo>
                  <a:pt x="463" y="149"/>
                </a:lnTo>
                <a:lnTo>
                  <a:pt x="465" y="152"/>
                </a:lnTo>
                <a:lnTo>
                  <a:pt x="467" y="152"/>
                </a:lnTo>
                <a:lnTo>
                  <a:pt x="467" y="147"/>
                </a:lnTo>
                <a:lnTo>
                  <a:pt x="465" y="145"/>
                </a:lnTo>
                <a:lnTo>
                  <a:pt x="463" y="145"/>
                </a:lnTo>
                <a:lnTo>
                  <a:pt x="465" y="142"/>
                </a:lnTo>
                <a:lnTo>
                  <a:pt x="472" y="145"/>
                </a:lnTo>
                <a:lnTo>
                  <a:pt x="474" y="145"/>
                </a:lnTo>
                <a:lnTo>
                  <a:pt x="477" y="145"/>
                </a:lnTo>
                <a:lnTo>
                  <a:pt x="474" y="147"/>
                </a:lnTo>
                <a:lnTo>
                  <a:pt x="474" y="149"/>
                </a:lnTo>
                <a:lnTo>
                  <a:pt x="474" y="152"/>
                </a:lnTo>
                <a:lnTo>
                  <a:pt x="472" y="152"/>
                </a:lnTo>
                <a:lnTo>
                  <a:pt x="472" y="154"/>
                </a:lnTo>
                <a:lnTo>
                  <a:pt x="472" y="156"/>
                </a:lnTo>
                <a:lnTo>
                  <a:pt x="474" y="159"/>
                </a:lnTo>
                <a:lnTo>
                  <a:pt x="474" y="161"/>
                </a:lnTo>
                <a:lnTo>
                  <a:pt x="474" y="163"/>
                </a:lnTo>
                <a:lnTo>
                  <a:pt x="472" y="166"/>
                </a:lnTo>
                <a:lnTo>
                  <a:pt x="470" y="168"/>
                </a:lnTo>
                <a:lnTo>
                  <a:pt x="467" y="170"/>
                </a:lnTo>
                <a:lnTo>
                  <a:pt x="465" y="170"/>
                </a:lnTo>
                <a:lnTo>
                  <a:pt x="465" y="172"/>
                </a:lnTo>
                <a:lnTo>
                  <a:pt x="465" y="175"/>
                </a:lnTo>
                <a:lnTo>
                  <a:pt x="463" y="175"/>
                </a:lnTo>
                <a:lnTo>
                  <a:pt x="460" y="175"/>
                </a:lnTo>
                <a:lnTo>
                  <a:pt x="460" y="177"/>
                </a:lnTo>
                <a:lnTo>
                  <a:pt x="453" y="177"/>
                </a:lnTo>
                <a:lnTo>
                  <a:pt x="451" y="179"/>
                </a:lnTo>
                <a:lnTo>
                  <a:pt x="453" y="179"/>
                </a:lnTo>
                <a:lnTo>
                  <a:pt x="453" y="182"/>
                </a:lnTo>
                <a:lnTo>
                  <a:pt x="447" y="186"/>
                </a:lnTo>
                <a:lnTo>
                  <a:pt x="444" y="189"/>
                </a:lnTo>
                <a:lnTo>
                  <a:pt x="442" y="189"/>
                </a:lnTo>
                <a:lnTo>
                  <a:pt x="440" y="189"/>
                </a:lnTo>
                <a:lnTo>
                  <a:pt x="437" y="189"/>
                </a:lnTo>
                <a:lnTo>
                  <a:pt x="435" y="189"/>
                </a:lnTo>
                <a:lnTo>
                  <a:pt x="433" y="189"/>
                </a:lnTo>
                <a:lnTo>
                  <a:pt x="430" y="189"/>
                </a:lnTo>
                <a:lnTo>
                  <a:pt x="428" y="189"/>
                </a:lnTo>
                <a:lnTo>
                  <a:pt x="426" y="189"/>
                </a:lnTo>
                <a:lnTo>
                  <a:pt x="426" y="186"/>
                </a:lnTo>
                <a:lnTo>
                  <a:pt x="423" y="189"/>
                </a:lnTo>
                <a:lnTo>
                  <a:pt x="423" y="191"/>
                </a:lnTo>
                <a:lnTo>
                  <a:pt x="421" y="193"/>
                </a:lnTo>
                <a:lnTo>
                  <a:pt x="419" y="193"/>
                </a:lnTo>
                <a:lnTo>
                  <a:pt x="416" y="198"/>
                </a:lnTo>
                <a:lnTo>
                  <a:pt x="412" y="200"/>
                </a:lnTo>
                <a:lnTo>
                  <a:pt x="412" y="203"/>
                </a:lnTo>
                <a:lnTo>
                  <a:pt x="412" y="207"/>
                </a:lnTo>
                <a:lnTo>
                  <a:pt x="412" y="210"/>
                </a:lnTo>
                <a:lnTo>
                  <a:pt x="409" y="210"/>
                </a:lnTo>
                <a:lnTo>
                  <a:pt x="409" y="212"/>
                </a:lnTo>
                <a:lnTo>
                  <a:pt x="407" y="214"/>
                </a:lnTo>
                <a:lnTo>
                  <a:pt x="407" y="217"/>
                </a:lnTo>
                <a:lnTo>
                  <a:pt x="405" y="217"/>
                </a:lnTo>
                <a:lnTo>
                  <a:pt x="402" y="217"/>
                </a:lnTo>
                <a:lnTo>
                  <a:pt x="402" y="219"/>
                </a:lnTo>
                <a:lnTo>
                  <a:pt x="398" y="221"/>
                </a:lnTo>
                <a:lnTo>
                  <a:pt x="398" y="224"/>
                </a:lnTo>
                <a:lnTo>
                  <a:pt x="398" y="226"/>
                </a:lnTo>
                <a:lnTo>
                  <a:pt x="395" y="226"/>
                </a:lnTo>
                <a:lnTo>
                  <a:pt x="395" y="228"/>
                </a:lnTo>
                <a:lnTo>
                  <a:pt x="393" y="231"/>
                </a:lnTo>
                <a:lnTo>
                  <a:pt x="391" y="231"/>
                </a:lnTo>
                <a:lnTo>
                  <a:pt x="386" y="233"/>
                </a:lnTo>
                <a:lnTo>
                  <a:pt x="386" y="235"/>
                </a:lnTo>
                <a:lnTo>
                  <a:pt x="386" y="238"/>
                </a:lnTo>
                <a:lnTo>
                  <a:pt x="386" y="240"/>
                </a:lnTo>
                <a:lnTo>
                  <a:pt x="386" y="245"/>
                </a:lnTo>
                <a:lnTo>
                  <a:pt x="388" y="245"/>
                </a:lnTo>
                <a:lnTo>
                  <a:pt x="391" y="245"/>
                </a:lnTo>
                <a:lnTo>
                  <a:pt x="391" y="247"/>
                </a:lnTo>
                <a:lnTo>
                  <a:pt x="393" y="252"/>
                </a:lnTo>
                <a:lnTo>
                  <a:pt x="393" y="254"/>
                </a:lnTo>
                <a:lnTo>
                  <a:pt x="391" y="259"/>
                </a:lnTo>
                <a:lnTo>
                  <a:pt x="391" y="261"/>
                </a:lnTo>
                <a:lnTo>
                  <a:pt x="388" y="261"/>
                </a:lnTo>
                <a:lnTo>
                  <a:pt x="388" y="263"/>
                </a:lnTo>
                <a:lnTo>
                  <a:pt x="386" y="263"/>
                </a:lnTo>
                <a:lnTo>
                  <a:pt x="386" y="266"/>
                </a:lnTo>
                <a:lnTo>
                  <a:pt x="386" y="268"/>
                </a:lnTo>
                <a:lnTo>
                  <a:pt x="386" y="270"/>
                </a:lnTo>
                <a:lnTo>
                  <a:pt x="384" y="270"/>
                </a:lnTo>
                <a:lnTo>
                  <a:pt x="386" y="273"/>
                </a:lnTo>
                <a:lnTo>
                  <a:pt x="388" y="275"/>
                </a:lnTo>
                <a:lnTo>
                  <a:pt x="388" y="277"/>
                </a:lnTo>
                <a:lnTo>
                  <a:pt x="388" y="280"/>
                </a:lnTo>
                <a:lnTo>
                  <a:pt x="388" y="282"/>
                </a:lnTo>
                <a:lnTo>
                  <a:pt x="391" y="282"/>
                </a:lnTo>
                <a:lnTo>
                  <a:pt x="391" y="284"/>
                </a:lnTo>
                <a:lnTo>
                  <a:pt x="388" y="284"/>
                </a:lnTo>
                <a:lnTo>
                  <a:pt x="391" y="284"/>
                </a:lnTo>
                <a:lnTo>
                  <a:pt x="391" y="287"/>
                </a:lnTo>
                <a:lnTo>
                  <a:pt x="391" y="289"/>
                </a:lnTo>
                <a:lnTo>
                  <a:pt x="391" y="294"/>
                </a:lnTo>
                <a:lnTo>
                  <a:pt x="391" y="298"/>
                </a:lnTo>
                <a:lnTo>
                  <a:pt x="391" y="301"/>
                </a:lnTo>
                <a:lnTo>
                  <a:pt x="388" y="301"/>
                </a:lnTo>
                <a:lnTo>
                  <a:pt x="388" y="303"/>
                </a:lnTo>
                <a:lnTo>
                  <a:pt x="388" y="305"/>
                </a:lnTo>
                <a:lnTo>
                  <a:pt x="388" y="308"/>
                </a:lnTo>
                <a:lnTo>
                  <a:pt x="386" y="310"/>
                </a:lnTo>
                <a:lnTo>
                  <a:pt x="381" y="312"/>
                </a:lnTo>
                <a:lnTo>
                  <a:pt x="379" y="315"/>
                </a:lnTo>
                <a:lnTo>
                  <a:pt x="377" y="317"/>
                </a:lnTo>
                <a:lnTo>
                  <a:pt x="374" y="321"/>
                </a:lnTo>
                <a:lnTo>
                  <a:pt x="372" y="321"/>
                </a:lnTo>
                <a:lnTo>
                  <a:pt x="372" y="324"/>
                </a:lnTo>
                <a:lnTo>
                  <a:pt x="370" y="324"/>
                </a:lnTo>
                <a:lnTo>
                  <a:pt x="367" y="326"/>
                </a:lnTo>
                <a:lnTo>
                  <a:pt x="370" y="328"/>
                </a:lnTo>
                <a:lnTo>
                  <a:pt x="367" y="328"/>
                </a:lnTo>
                <a:lnTo>
                  <a:pt x="367" y="331"/>
                </a:lnTo>
                <a:lnTo>
                  <a:pt x="370" y="331"/>
                </a:lnTo>
                <a:lnTo>
                  <a:pt x="367" y="333"/>
                </a:lnTo>
                <a:lnTo>
                  <a:pt x="367" y="335"/>
                </a:lnTo>
                <a:lnTo>
                  <a:pt x="367" y="340"/>
                </a:lnTo>
                <a:lnTo>
                  <a:pt x="367" y="342"/>
                </a:lnTo>
                <a:lnTo>
                  <a:pt x="365" y="342"/>
                </a:lnTo>
                <a:lnTo>
                  <a:pt x="365" y="345"/>
                </a:lnTo>
                <a:lnTo>
                  <a:pt x="365" y="347"/>
                </a:lnTo>
                <a:lnTo>
                  <a:pt x="367" y="349"/>
                </a:lnTo>
                <a:lnTo>
                  <a:pt x="367" y="352"/>
                </a:lnTo>
                <a:lnTo>
                  <a:pt x="367" y="354"/>
                </a:lnTo>
                <a:lnTo>
                  <a:pt x="367" y="356"/>
                </a:lnTo>
                <a:lnTo>
                  <a:pt x="370" y="359"/>
                </a:lnTo>
                <a:lnTo>
                  <a:pt x="372" y="359"/>
                </a:lnTo>
                <a:lnTo>
                  <a:pt x="372" y="361"/>
                </a:lnTo>
                <a:lnTo>
                  <a:pt x="372" y="363"/>
                </a:lnTo>
                <a:lnTo>
                  <a:pt x="374" y="363"/>
                </a:lnTo>
                <a:lnTo>
                  <a:pt x="374" y="366"/>
                </a:lnTo>
                <a:lnTo>
                  <a:pt x="377" y="366"/>
                </a:lnTo>
                <a:lnTo>
                  <a:pt x="379" y="368"/>
                </a:lnTo>
                <a:lnTo>
                  <a:pt x="379" y="373"/>
                </a:lnTo>
                <a:lnTo>
                  <a:pt x="379" y="375"/>
                </a:lnTo>
                <a:lnTo>
                  <a:pt x="379" y="377"/>
                </a:lnTo>
                <a:lnTo>
                  <a:pt x="377" y="380"/>
                </a:lnTo>
                <a:lnTo>
                  <a:pt x="377" y="382"/>
                </a:lnTo>
                <a:lnTo>
                  <a:pt x="377" y="384"/>
                </a:lnTo>
                <a:lnTo>
                  <a:pt x="374" y="389"/>
                </a:lnTo>
                <a:lnTo>
                  <a:pt x="372" y="391"/>
                </a:lnTo>
                <a:lnTo>
                  <a:pt x="372" y="394"/>
                </a:lnTo>
                <a:lnTo>
                  <a:pt x="372" y="396"/>
                </a:lnTo>
                <a:lnTo>
                  <a:pt x="367" y="398"/>
                </a:lnTo>
                <a:lnTo>
                  <a:pt x="365" y="401"/>
                </a:lnTo>
                <a:lnTo>
                  <a:pt x="363" y="401"/>
                </a:lnTo>
                <a:lnTo>
                  <a:pt x="360" y="401"/>
                </a:lnTo>
                <a:lnTo>
                  <a:pt x="358" y="401"/>
                </a:lnTo>
                <a:lnTo>
                  <a:pt x="356" y="401"/>
                </a:lnTo>
                <a:lnTo>
                  <a:pt x="353" y="398"/>
                </a:lnTo>
                <a:lnTo>
                  <a:pt x="351" y="398"/>
                </a:lnTo>
                <a:lnTo>
                  <a:pt x="349" y="401"/>
                </a:lnTo>
                <a:lnTo>
                  <a:pt x="346" y="401"/>
                </a:lnTo>
                <a:lnTo>
                  <a:pt x="344" y="401"/>
                </a:lnTo>
                <a:lnTo>
                  <a:pt x="342" y="401"/>
                </a:lnTo>
                <a:lnTo>
                  <a:pt x="339" y="401"/>
                </a:lnTo>
                <a:lnTo>
                  <a:pt x="339" y="403"/>
                </a:lnTo>
                <a:lnTo>
                  <a:pt x="337" y="403"/>
                </a:lnTo>
                <a:lnTo>
                  <a:pt x="335" y="403"/>
                </a:lnTo>
                <a:lnTo>
                  <a:pt x="335" y="401"/>
                </a:lnTo>
                <a:lnTo>
                  <a:pt x="332" y="401"/>
                </a:lnTo>
                <a:lnTo>
                  <a:pt x="332" y="398"/>
                </a:lnTo>
                <a:lnTo>
                  <a:pt x="330" y="398"/>
                </a:lnTo>
                <a:lnTo>
                  <a:pt x="330" y="396"/>
                </a:lnTo>
                <a:lnTo>
                  <a:pt x="328" y="396"/>
                </a:lnTo>
                <a:lnTo>
                  <a:pt x="328" y="394"/>
                </a:lnTo>
                <a:lnTo>
                  <a:pt x="323" y="391"/>
                </a:lnTo>
                <a:lnTo>
                  <a:pt x="321" y="391"/>
                </a:lnTo>
                <a:lnTo>
                  <a:pt x="314" y="391"/>
                </a:lnTo>
                <a:lnTo>
                  <a:pt x="312" y="391"/>
                </a:lnTo>
                <a:lnTo>
                  <a:pt x="309" y="391"/>
                </a:lnTo>
                <a:lnTo>
                  <a:pt x="307" y="394"/>
                </a:lnTo>
                <a:lnTo>
                  <a:pt x="305" y="394"/>
                </a:lnTo>
                <a:lnTo>
                  <a:pt x="305" y="391"/>
                </a:lnTo>
                <a:lnTo>
                  <a:pt x="302" y="391"/>
                </a:lnTo>
                <a:lnTo>
                  <a:pt x="302" y="394"/>
                </a:lnTo>
                <a:lnTo>
                  <a:pt x="300" y="394"/>
                </a:lnTo>
                <a:lnTo>
                  <a:pt x="298" y="394"/>
                </a:lnTo>
                <a:lnTo>
                  <a:pt x="298" y="396"/>
                </a:lnTo>
                <a:lnTo>
                  <a:pt x="295" y="396"/>
                </a:lnTo>
                <a:lnTo>
                  <a:pt x="293" y="396"/>
                </a:lnTo>
                <a:lnTo>
                  <a:pt x="293" y="398"/>
                </a:lnTo>
                <a:lnTo>
                  <a:pt x="295" y="398"/>
                </a:lnTo>
                <a:lnTo>
                  <a:pt x="293" y="398"/>
                </a:lnTo>
                <a:lnTo>
                  <a:pt x="291" y="398"/>
                </a:lnTo>
                <a:lnTo>
                  <a:pt x="288" y="401"/>
                </a:lnTo>
                <a:lnTo>
                  <a:pt x="288" y="403"/>
                </a:lnTo>
                <a:lnTo>
                  <a:pt x="286" y="405"/>
                </a:lnTo>
                <a:lnTo>
                  <a:pt x="284" y="405"/>
                </a:lnTo>
                <a:lnTo>
                  <a:pt x="284" y="408"/>
                </a:lnTo>
                <a:lnTo>
                  <a:pt x="281" y="408"/>
                </a:lnTo>
                <a:lnTo>
                  <a:pt x="279" y="412"/>
                </a:lnTo>
                <a:lnTo>
                  <a:pt x="277" y="412"/>
                </a:lnTo>
                <a:lnTo>
                  <a:pt x="274" y="412"/>
                </a:lnTo>
                <a:lnTo>
                  <a:pt x="274" y="415"/>
                </a:lnTo>
                <a:lnTo>
                  <a:pt x="272" y="412"/>
                </a:lnTo>
                <a:lnTo>
                  <a:pt x="270" y="415"/>
                </a:lnTo>
                <a:lnTo>
                  <a:pt x="265" y="417"/>
                </a:lnTo>
                <a:lnTo>
                  <a:pt x="263" y="417"/>
                </a:lnTo>
                <a:lnTo>
                  <a:pt x="263" y="419"/>
                </a:lnTo>
                <a:lnTo>
                  <a:pt x="260" y="419"/>
                </a:lnTo>
                <a:lnTo>
                  <a:pt x="258" y="424"/>
                </a:lnTo>
                <a:lnTo>
                  <a:pt x="256" y="424"/>
                </a:lnTo>
                <a:lnTo>
                  <a:pt x="253" y="424"/>
                </a:lnTo>
                <a:lnTo>
                  <a:pt x="253" y="426"/>
                </a:lnTo>
                <a:lnTo>
                  <a:pt x="251" y="429"/>
                </a:lnTo>
                <a:lnTo>
                  <a:pt x="249" y="429"/>
                </a:lnTo>
                <a:lnTo>
                  <a:pt x="249" y="426"/>
                </a:lnTo>
                <a:lnTo>
                  <a:pt x="246" y="426"/>
                </a:lnTo>
                <a:lnTo>
                  <a:pt x="244" y="426"/>
                </a:lnTo>
                <a:lnTo>
                  <a:pt x="239" y="429"/>
                </a:lnTo>
                <a:lnTo>
                  <a:pt x="237" y="429"/>
                </a:lnTo>
                <a:lnTo>
                  <a:pt x="237" y="431"/>
                </a:lnTo>
                <a:lnTo>
                  <a:pt x="235" y="431"/>
                </a:lnTo>
                <a:lnTo>
                  <a:pt x="230" y="433"/>
                </a:lnTo>
                <a:lnTo>
                  <a:pt x="223" y="433"/>
                </a:lnTo>
                <a:lnTo>
                  <a:pt x="218" y="436"/>
                </a:lnTo>
                <a:lnTo>
                  <a:pt x="216" y="436"/>
                </a:lnTo>
                <a:lnTo>
                  <a:pt x="211" y="436"/>
                </a:lnTo>
                <a:lnTo>
                  <a:pt x="207" y="438"/>
                </a:lnTo>
                <a:lnTo>
                  <a:pt x="202" y="440"/>
                </a:lnTo>
                <a:lnTo>
                  <a:pt x="200" y="443"/>
                </a:lnTo>
                <a:lnTo>
                  <a:pt x="197" y="445"/>
                </a:lnTo>
                <a:lnTo>
                  <a:pt x="195" y="450"/>
                </a:lnTo>
                <a:lnTo>
                  <a:pt x="195" y="452"/>
                </a:lnTo>
                <a:lnTo>
                  <a:pt x="193" y="452"/>
                </a:lnTo>
                <a:lnTo>
                  <a:pt x="193" y="454"/>
                </a:lnTo>
                <a:lnTo>
                  <a:pt x="193" y="457"/>
                </a:lnTo>
                <a:lnTo>
                  <a:pt x="193" y="459"/>
                </a:lnTo>
                <a:lnTo>
                  <a:pt x="191" y="459"/>
                </a:lnTo>
                <a:lnTo>
                  <a:pt x="193" y="461"/>
                </a:lnTo>
                <a:lnTo>
                  <a:pt x="191" y="461"/>
                </a:lnTo>
                <a:lnTo>
                  <a:pt x="193" y="461"/>
                </a:lnTo>
                <a:lnTo>
                  <a:pt x="193" y="463"/>
                </a:lnTo>
                <a:lnTo>
                  <a:pt x="191" y="463"/>
                </a:lnTo>
                <a:lnTo>
                  <a:pt x="191" y="466"/>
                </a:lnTo>
                <a:lnTo>
                  <a:pt x="188" y="473"/>
                </a:lnTo>
                <a:lnTo>
                  <a:pt x="186" y="475"/>
                </a:lnTo>
                <a:lnTo>
                  <a:pt x="186" y="477"/>
                </a:lnTo>
                <a:lnTo>
                  <a:pt x="184" y="477"/>
                </a:lnTo>
                <a:lnTo>
                  <a:pt x="184" y="480"/>
                </a:lnTo>
                <a:lnTo>
                  <a:pt x="184" y="482"/>
                </a:lnTo>
                <a:lnTo>
                  <a:pt x="181" y="484"/>
                </a:lnTo>
                <a:lnTo>
                  <a:pt x="179" y="487"/>
                </a:lnTo>
                <a:lnTo>
                  <a:pt x="177" y="489"/>
                </a:lnTo>
                <a:lnTo>
                  <a:pt x="177" y="494"/>
                </a:lnTo>
                <a:lnTo>
                  <a:pt x="174" y="496"/>
                </a:lnTo>
                <a:lnTo>
                  <a:pt x="172" y="498"/>
                </a:lnTo>
                <a:lnTo>
                  <a:pt x="174" y="498"/>
                </a:lnTo>
                <a:lnTo>
                  <a:pt x="174" y="501"/>
                </a:lnTo>
                <a:lnTo>
                  <a:pt x="172" y="501"/>
                </a:lnTo>
                <a:lnTo>
                  <a:pt x="170" y="505"/>
                </a:lnTo>
                <a:lnTo>
                  <a:pt x="167" y="508"/>
                </a:lnTo>
                <a:lnTo>
                  <a:pt x="165" y="508"/>
                </a:lnTo>
                <a:lnTo>
                  <a:pt x="165" y="510"/>
                </a:lnTo>
                <a:lnTo>
                  <a:pt x="163" y="510"/>
                </a:lnTo>
                <a:lnTo>
                  <a:pt x="160" y="512"/>
                </a:lnTo>
                <a:lnTo>
                  <a:pt x="160" y="515"/>
                </a:lnTo>
                <a:lnTo>
                  <a:pt x="158" y="517"/>
                </a:lnTo>
                <a:lnTo>
                  <a:pt x="158" y="519"/>
                </a:lnTo>
                <a:lnTo>
                  <a:pt x="158" y="522"/>
                </a:lnTo>
                <a:lnTo>
                  <a:pt x="160" y="524"/>
                </a:lnTo>
                <a:lnTo>
                  <a:pt x="160" y="526"/>
                </a:lnTo>
                <a:lnTo>
                  <a:pt x="160" y="531"/>
                </a:lnTo>
                <a:lnTo>
                  <a:pt x="160" y="533"/>
                </a:lnTo>
                <a:lnTo>
                  <a:pt x="160" y="536"/>
                </a:lnTo>
                <a:lnTo>
                  <a:pt x="160" y="538"/>
                </a:lnTo>
                <a:lnTo>
                  <a:pt x="160" y="543"/>
                </a:lnTo>
                <a:lnTo>
                  <a:pt x="160" y="545"/>
                </a:lnTo>
                <a:lnTo>
                  <a:pt x="163" y="547"/>
                </a:lnTo>
                <a:lnTo>
                  <a:pt x="165" y="550"/>
                </a:lnTo>
                <a:lnTo>
                  <a:pt x="165" y="552"/>
                </a:lnTo>
                <a:lnTo>
                  <a:pt x="167" y="552"/>
                </a:lnTo>
                <a:lnTo>
                  <a:pt x="167" y="554"/>
                </a:lnTo>
                <a:lnTo>
                  <a:pt x="165" y="557"/>
                </a:lnTo>
                <a:lnTo>
                  <a:pt x="165" y="559"/>
                </a:lnTo>
                <a:lnTo>
                  <a:pt x="163" y="559"/>
                </a:lnTo>
                <a:lnTo>
                  <a:pt x="163" y="561"/>
                </a:lnTo>
                <a:lnTo>
                  <a:pt x="163" y="564"/>
                </a:lnTo>
                <a:lnTo>
                  <a:pt x="163" y="568"/>
                </a:lnTo>
                <a:lnTo>
                  <a:pt x="160" y="573"/>
                </a:lnTo>
                <a:lnTo>
                  <a:pt x="163" y="575"/>
                </a:lnTo>
                <a:lnTo>
                  <a:pt x="160" y="575"/>
                </a:lnTo>
                <a:lnTo>
                  <a:pt x="160" y="578"/>
                </a:lnTo>
                <a:lnTo>
                  <a:pt x="158" y="582"/>
                </a:lnTo>
                <a:lnTo>
                  <a:pt x="160" y="587"/>
                </a:lnTo>
                <a:lnTo>
                  <a:pt x="158" y="589"/>
                </a:lnTo>
                <a:lnTo>
                  <a:pt x="156" y="589"/>
                </a:lnTo>
                <a:lnTo>
                  <a:pt x="156" y="592"/>
                </a:lnTo>
                <a:lnTo>
                  <a:pt x="156" y="594"/>
                </a:lnTo>
                <a:lnTo>
                  <a:pt x="151" y="599"/>
                </a:lnTo>
                <a:lnTo>
                  <a:pt x="151" y="601"/>
                </a:lnTo>
                <a:lnTo>
                  <a:pt x="153" y="601"/>
                </a:lnTo>
                <a:lnTo>
                  <a:pt x="153" y="603"/>
                </a:lnTo>
                <a:lnTo>
                  <a:pt x="151" y="605"/>
                </a:lnTo>
                <a:lnTo>
                  <a:pt x="151" y="608"/>
                </a:lnTo>
                <a:lnTo>
                  <a:pt x="149" y="608"/>
                </a:lnTo>
                <a:lnTo>
                  <a:pt x="146" y="605"/>
                </a:lnTo>
                <a:lnTo>
                  <a:pt x="144" y="601"/>
                </a:lnTo>
                <a:lnTo>
                  <a:pt x="137" y="599"/>
                </a:lnTo>
                <a:lnTo>
                  <a:pt x="135" y="599"/>
                </a:lnTo>
                <a:lnTo>
                  <a:pt x="130" y="599"/>
                </a:lnTo>
                <a:lnTo>
                  <a:pt x="128" y="599"/>
                </a:lnTo>
                <a:lnTo>
                  <a:pt x="128" y="596"/>
                </a:lnTo>
                <a:lnTo>
                  <a:pt x="125" y="594"/>
                </a:lnTo>
                <a:lnTo>
                  <a:pt x="123" y="592"/>
                </a:lnTo>
                <a:lnTo>
                  <a:pt x="123" y="589"/>
                </a:lnTo>
                <a:lnTo>
                  <a:pt x="121" y="589"/>
                </a:lnTo>
                <a:lnTo>
                  <a:pt x="121" y="587"/>
                </a:lnTo>
                <a:lnTo>
                  <a:pt x="121" y="585"/>
                </a:lnTo>
                <a:lnTo>
                  <a:pt x="121" y="582"/>
                </a:lnTo>
                <a:lnTo>
                  <a:pt x="121" y="580"/>
                </a:lnTo>
                <a:lnTo>
                  <a:pt x="121" y="578"/>
                </a:lnTo>
                <a:lnTo>
                  <a:pt x="118" y="578"/>
                </a:lnTo>
                <a:lnTo>
                  <a:pt x="118" y="575"/>
                </a:lnTo>
                <a:lnTo>
                  <a:pt x="114" y="573"/>
                </a:lnTo>
                <a:lnTo>
                  <a:pt x="111" y="571"/>
                </a:lnTo>
                <a:lnTo>
                  <a:pt x="111" y="568"/>
                </a:lnTo>
                <a:lnTo>
                  <a:pt x="109" y="568"/>
                </a:lnTo>
                <a:lnTo>
                  <a:pt x="109" y="566"/>
                </a:lnTo>
                <a:lnTo>
                  <a:pt x="109" y="564"/>
                </a:lnTo>
                <a:lnTo>
                  <a:pt x="111" y="564"/>
                </a:lnTo>
                <a:lnTo>
                  <a:pt x="114" y="564"/>
                </a:lnTo>
                <a:lnTo>
                  <a:pt x="114" y="561"/>
                </a:lnTo>
                <a:lnTo>
                  <a:pt x="114" y="559"/>
                </a:lnTo>
                <a:lnTo>
                  <a:pt x="116" y="559"/>
                </a:lnTo>
                <a:lnTo>
                  <a:pt x="116" y="557"/>
                </a:lnTo>
                <a:lnTo>
                  <a:pt x="118" y="557"/>
                </a:lnTo>
                <a:lnTo>
                  <a:pt x="118" y="554"/>
                </a:lnTo>
                <a:lnTo>
                  <a:pt x="118" y="552"/>
                </a:lnTo>
                <a:lnTo>
                  <a:pt x="116" y="552"/>
                </a:lnTo>
                <a:lnTo>
                  <a:pt x="111" y="550"/>
                </a:lnTo>
                <a:lnTo>
                  <a:pt x="104" y="545"/>
                </a:lnTo>
                <a:lnTo>
                  <a:pt x="102" y="543"/>
                </a:lnTo>
                <a:lnTo>
                  <a:pt x="102" y="540"/>
                </a:lnTo>
                <a:lnTo>
                  <a:pt x="102" y="538"/>
                </a:lnTo>
                <a:lnTo>
                  <a:pt x="102" y="533"/>
                </a:lnTo>
                <a:lnTo>
                  <a:pt x="102" y="531"/>
                </a:lnTo>
                <a:lnTo>
                  <a:pt x="102" y="529"/>
                </a:lnTo>
                <a:lnTo>
                  <a:pt x="100" y="526"/>
                </a:lnTo>
                <a:lnTo>
                  <a:pt x="97" y="524"/>
                </a:lnTo>
                <a:lnTo>
                  <a:pt x="95" y="522"/>
                </a:lnTo>
                <a:lnTo>
                  <a:pt x="93" y="522"/>
                </a:lnTo>
                <a:lnTo>
                  <a:pt x="90" y="522"/>
                </a:lnTo>
                <a:lnTo>
                  <a:pt x="88" y="522"/>
                </a:lnTo>
                <a:lnTo>
                  <a:pt x="88" y="519"/>
                </a:lnTo>
                <a:lnTo>
                  <a:pt x="86" y="519"/>
                </a:lnTo>
                <a:lnTo>
                  <a:pt x="86" y="517"/>
                </a:lnTo>
                <a:lnTo>
                  <a:pt x="88" y="517"/>
                </a:lnTo>
                <a:lnTo>
                  <a:pt x="88" y="515"/>
                </a:lnTo>
                <a:lnTo>
                  <a:pt x="90" y="515"/>
                </a:lnTo>
                <a:lnTo>
                  <a:pt x="93" y="512"/>
                </a:lnTo>
                <a:lnTo>
                  <a:pt x="93" y="510"/>
                </a:lnTo>
                <a:lnTo>
                  <a:pt x="95" y="510"/>
                </a:lnTo>
                <a:lnTo>
                  <a:pt x="97" y="510"/>
                </a:lnTo>
                <a:lnTo>
                  <a:pt x="97" y="508"/>
                </a:lnTo>
                <a:lnTo>
                  <a:pt x="100" y="508"/>
                </a:lnTo>
                <a:lnTo>
                  <a:pt x="100" y="505"/>
                </a:lnTo>
                <a:lnTo>
                  <a:pt x="100" y="501"/>
                </a:lnTo>
                <a:lnTo>
                  <a:pt x="100" y="498"/>
                </a:lnTo>
                <a:lnTo>
                  <a:pt x="100" y="496"/>
                </a:lnTo>
                <a:lnTo>
                  <a:pt x="102" y="496"/>
                </a:lnTo>
                <a:lnTo>
                  <a:pt x="102" y="494"/>
                </a:lnTo>
                <a:lnTo>
                  <a:pt x="102" y="491"/>
                </a:lnTo>
                <a:lnTo>
                  <a:pt x="104" y="489"/>
                </a:lnTo>
                <a:lnTo>
                  <a:pt x="104" y="487"/>
                </a:lnTo>
                <a:lnTo>
                  <a:pt x="104" y="484"/>
                </a:lnTo>
                <a:lnTo>
                  <a:pt x="107" y="484"/>
                </a:lnTo>
                <a:lnTo>
                  <a:pt x="109" y="482"/>
                </a:lnTo>
                <a:lnTo>
                  <a:pt x="114" y="482"/>
                </a:lnTo>
                <a:lnTo>
                  <a:pt x="118" y="480"/>
                </a:lnTo>
                <a:lnTo>
                  <a:pt x="121" y="482"/>
                </a:lnTo>
                <a:lnTo>
                  <a:pt x="128" y="482"/>
                </a:lnTo>
                <a:lnTo>
                  <a:pt x="128" y="480"/>
                </a:lnTo>
                <a:lnTo>
                  <a:pt x="125" y="477"/>
                </a:lnTo>
                <a:lnTo>
                  <a:pt x="125" y="475"/>
                </a:lnTo>
                <a:lnTo>
                  <a:pt x="128" y="475"/>
                </a:lnTo>
                <a:lnTo>
                  <a:pt x="128" y="473"/>
                </a:lnTo>
                <a:lnTo>
                  <a:pt x="128" y="470"/>
                </a:lnTo>
                <a:lnTo>
                  <a:pt x="130" y="470"/>
                </a:lnTo>
                <a:lnTo>
                  <a:pt x="130" y="468"/>
                </a:lnTo>
                <a:lnTo>
                  <a:pt x="130" y="466"/>
                </a:lnTo>
                <a:lnTo>
                  <a:pt x="130" y="463"/>
                </a:lnTo>
                <a:lnTo>
                  <a:pt x="130" y="461"/>
                </a:lnTo>
                <a:lnTo>
                  <a:pt x="132" y="461"/>
                </a:lnTo>
                <a:lnTo>
                  <a:pt x="132" y="459"/>
                </a:lnTo>
                <a:lnTo>
                  <a:pt x="132" y="454"/>
                </a:lnTo>
                <a:lnTo>
                  <a:pt x="130" y="454"/>
                </a:lnTo>
                <a:lnTo>
                  <a:pt x="128" y="452"/>
                </a:lnTo>
                <a:lnTo>
                  <a:pt x="125" y="450"/>
                </a:lnTo>
                <a:lnTo>
                  <a:pt x="123" y="450"/>
                </a:lnTo>
                <a:lnTo>
                  <a:pt x="121" y="450"/>
                </a:lnTo>
                <a:lnTo>
                  <a:pt x="116" y="450"/>
                </a:lnTo>
                <a:lnTo>
                  <a:pt x="114" y="450"/>
                </a:lnTo>
                <a:lnTo>
                  <a:pt x="114" y="452"/>
                </a:lnTo>
                <a:lnTo>
                  <a:pt x="109" y="452"/>
                </a:lnTo>
                <a:lnTo>
                  <a:pt x="107" y="452"/>
                </a:lnTo>
                <a:lnTo>
                  <a:pt x="104" y="452"/>
                </a:lnTo>
                <a:lnTo>
                  <a:pt x="102" y="452"/>
                </a:lnTo>
                <a:lnTo>
                  <a:pt x="102" y="454"/>
                </a:lnTo>
                <a:lnTo>
                  <a:pt x="100" y="454"/>
                </a:lnTo>
                <a:lnTo>
                  <a:pt x="100" y="457"/>
                </a:lnTo>
                <a:lnTo>
                  <a:pt x="97" y="457"/>
                </a:lnTo>
                <a:lnTo>
                  <a:pt x="95" y="454"/>
                </a:lnTo>
                <a:lnTo>
                  <a:pt x="95" y="452"/>
                </a:lnTo>
                <a:lnTo>
                  <a:pt x="93" y="452"/>
                </a:lnTo>
                <a:lnTo>
                  <a:pt x="93" y="450"/>
                </a:lnTo>
                <a:lnTo>
                  <a:pt x="93" y="447"/>
                </a:lnTo>
                <a:lnTo>
                  <a:pt x="88" y="443"/>
                </a:lnTo>
                <a:lnTo>
                  <a:pt x="86" y="440"/>
                </a:lnTo>
                <a:lnTo>
                  <a:pt x="86" y="438"/>
                </a:lnTo>
                <a:lnTo>
                  <a:pt x="83" y="436"/>
                </a:lnTo>
                <a:lnTo>
                  <a:pt x="81" y="436"/>
                </a:lnTo>
                <a:lnTo>
                  <a:pt x="81" y="433"/>
                </a:lnTo>
                <a:lnTo>
                  <a:pt x="81" y="431"/>
                </a:lnTo>
                <a:lnTo>
                  <a:pt x="81" y="429"/>
                </a:lnTo>
                <a:lnTo>
                  <a:pt x="79" y="429"/>
                </a:lnTo>
                <a:lnTo>
                  <a:pt x="76" y="429"/>
                </a:lnTo>
                <a:lnTo>
                  <a:pt x="79" y="429"/>
                </a:lnTo>
                <a:lnTo>
                  <a:pt x="76" y="426"/>
                </a:lnTo>
                <a:lnTo>
                  <a:pt x="76" y="424"/>
                </a:lnTo>
                <a:lnTo>
                  <a:pt x="74" y="424"/>
                </a:lnTo>
                <a:lnTo>
                  <a:pt x="74" y="422"/>
                </a:lnTo>
                <a:lnTo>
                  <a:pt x="74" y="419"/>
                </a:lnTo>
                <a:lnTo>
                  <a:pt x="72" y="419"/>
                </a:lnTo>
                <a:lnTo>
                  <a:pt x="69" y="419"/>
                </a:lnTo>
                <a:lnTo>
                  <a:pt x="69" y="417"/>
                </a:lnTo>
                <a:lnTo>
                  <a:pt x="69" y="415"/>
                </a:lnTo>
                <a:lnTo>
                  <a:pt x="67" y="415"/>
                </a:lnTo>
                <a:lnTo>
                  <a:pt x="65" y="415"/>
                </a:lnTo>
                <a:lnTo>
                  <a:pt x="62" y="415"/>
                </a:lnTo>
                <a:lnTo>
                  <a:pt x="65" y="412"/>
                </a:lnTo>
                <a:lnTo>
                  <a:pt x="67" y="412"/>
                </a:lnTo>
                <a:lnTo>
                  <a:pt x="69" y="410"/>
                </a:lnTo>
                <a:lnTo>
                  <a:pt x="72" y="408"/>
                </a:lnTo>
                <a:lnTo>
                  <a:pt x="72" y="405"/>
                </a:lnTo>
                <a:lnTo>
                  <a:pt x="69" y="403"/>
                </a:lnTo>
                <a:lnTo>
                  <a:pt x="67" y="403"/>
                </a:lnTo>
                <a:lnTo>
                  <a:pt x="65" y="403"/>
                </a:lnTo>
                <a:lnTo>
                  <a:pt x="62" y="403"/>
                </a:lnTo>
                <a:lnTo>
                  <a:pt x="60" y="405"/>
                </a:lnTo>
                <a:lnTo>
                  <a:pt x="60" y="401"/>
                </a:lnTo>
                <a:lnTo>
                  <a:pt x="58" y="401"/>
                </a:lnTo>
                <a:lnTo>
                  <a:pt x="56" y="398"/>
                </a:lnTo>
                <a:lnTo>
                  <a:pt x="56" y="396"/>
                </a:lnTo>
                <a:lnTo>
                  <a:pt x="56" y="394"/>
                </a:lnTo>
                <a:lnTo>
                  <a:pt x="58" y="394"/>
                </a:lnTo>
                <a:lnTo>
                  <a:pt x="62" y="394"/>
                </a:lnTo>
                <a:lnTo>
                  <a:pt x="65" y="389"/>
                </a:lnTo>
                <a:lnTo>
                  <a:pt x="69" y="387"/>
                </a:lnTo>
                <a:lnTo>
                  <a:pt x="72" y="384"/>
                </a:lnTo>
                <a:lnTo>
                  <a:pt x="72" y="382"/>
                </a:lnTo>
                <a:lnTo>
                  <a:pt x="72" y="380"/>
                </a:lnTo>
                <a:lnTo>
                  <a:pt x="74" y="377"/>
                </a:lnTo>
                <a:lnTo>
                  <a:pt x="72" y="377"/>
                </a:lnTo>
                <a:lnTo>
                  <a:pt x="72" y="375"/>
                </a:lnTo>
                <a:lnTo>
                  <a:pt x="74" y="370"/>
                </a:lnTo>
                <a:lnTo>
                  <a:pt x="74" y="368"/>
                </a:lnTo>
                <a:lnTo>
                  <a:pt x="74" y="366"/>
                </a:lnTo>
                <a:lnTo>
                  <a:pt x="74" y="363"/>
                </a:lnTo>
                <a:lnTo>
                  <a:pt x="76" y="359"/>
                </a:lnTo>
                <a:lnTo>
                  <a:pt x="76" y="356"/>
                </a:lnTo>
                <a:lnTo>
                  <a:pt x="79" y="354"/>
                </a:lnTo>
                <a:lnTo>
                  <a:pt x="81" y="352"/>
                </a:lnTo>
                <a:lnTo>
                  <a:pt x="79" y="349"/>
                </a:lnTo>
                <a:lnTo>
                  <a:pt x="81" y="349"/>
                </a:lnTo>
                <a:lnTo>
                  <a:pt x="81" y="345"/>
                </a:lnTo>
                <a:lnTo>
                  <a:pt x="81" y="342"/>
                </a:lnTo>
                <a:lnTo>
                  <a:pt x="83" y="338"/>
                </a:lnTo>
                <a:lnTo>
                  <a:pt x="83" y="335"/>
                </a:lnTo>
                <a:lnTo>
                  <a:pt x="81" y="333"/>
                </a:lnTo>
                <a:lnTo>
                  <a:pt x="81" y="331"/>
                </a:lnTo>
                <a:lnTo>
                  <a:pt x="81" y="328"/>
                </a:lnTo>
                <a:lnTo>
                  <a:pt x="81" y="326"/>
                </a:lnTo>
                <a:lnTo>
                  <a:pt x="83" y="319"/>
                </a:lnTo>
                <a:lnTo>
                  <a:pt x="83" y="315"/>
                </a:lnTo>
                <a:lnTo>
                  <a:pt x="83" y="312"/>
                </a:lnTo>
                <a:lnTo>
                  <a:pt x="83" y="310"/>
                </a:lnTo>
                <a:lnTo>
                  <a:pt x="83" y="308"/>
                </a:lnTo>
                <a:lnTo>
                  <a:pt x="81" y="308"/>
                </a:lnTo>
                <a:lnTo>
                  <a:pt x="81" y="305"/>
                </a:lnTo>
                <a:lnTo>
                  <a:pt x="81" y="303"/>
                </a:lnTo>
                <a:lnTo>
                  <a:pt x="79" y="303"/>
                </a:lnTo>
                <a:lnTo>
                  <a:pt x="81" y="294"/>
                </a:lnTo>
                <a:lnTo>
                  <a:pt x="81" y="289"/>
                </a:lnTo>
                <a:lnTo>
                  <a:pt x="79" y="287"/>
                </a:lnTo>
                <a:lnTo>
                  <a:pt x="79" y="284"/>
                </a:lnTo>
                <a:lnTo>
                  <a:pt x="76" y="284"/>
                </a:lnTo>
                <a:lnTo>
                  <a:pt x="74" y="284"/>
                </a:lnTo>
                <a:lnTo>
                  <a:pt x="72" y="282"/>
                </a:lnTo>
                <a:lnTo>
                  <a:pt x="67" y="280"/>
                </a:lnTo>
                <a:lnTo>
                  <a:pt x="65" y="277"/>
                </a:lnTo>
                <a:lnTo>
                  <a:pt x="62" y="277"/>
                </a:lnTo>
                <a:lnTo>
                  <a:pt x="60" y="277"/>
                </a:lnTo>
                <a:lnTo>
                  <a:pt x="58" y="277"/>
                </a:lnTo>
                <a:lnTo>
                  <a:pt x="58" y="275"/>
                </a:lnTo>
                <a:lnTo>
                  <a:pt x="58" y="273"/>
                </a:lnTo>
                <a:lnTo>
                  <a:pt x="58" y="270"/>
                </a:lnTo>
                <a:lnTo>
                  <a:pt x="56" y="270"/>
                </a:lnTo>
                <a:lnTo>
                  <a:pt x="56" y="268"/>
                </a:lnTo>
                <a:lnTo>
                  <a:pt x="53" y="268"/>
                </a:lnTo>
                <a:lnTo>
                  <a:pt x="51" y="266"/>
                </a:lnTo>
                <a:lnTo>
                  <a:pt x="49" y="266"/>
                </a:lnTo>
                <a:lnTo>
                  <a:pt x="46" y="268"/>
                </a:lnTo>
                <a:lnTo>
                  <a:pt x="44" y="268"/>
                </a:lnTo>
                <a:lnTo>
                  <a:pt x="42" y="268"/>
                </a:lnTo>
                <a:lnTo>
                  <a:pt x="39" y="268"/>
                </a:lnTo>
                <a:lnTo>
                  <a:pt x="28" y="261"/>
                </a:lnTo>
                <a:lnTo>
                  <a:pt x="21" y="261"/>
                </a:lnTo>
                <a:lnTo>
                  <a:pt x="18" y="261"/>
                </a:lnTo>
                <a:lnTo>
                  <a:pt x="16" y="261"/>
                </a:lnTo>
                <a:lnTo>
                  <a:pt x="14" y="261"/>
                </a:lnTo>
                <a:lnTo>
                  <a:pt x="14" y="263"/>
                </a:lnTo>
                <a:lnTo>
                  <a:pt x="11" y="263"/>
                </a:lnTo>
                <a:lnTo>
                  <a:pt x="9" y="268"/>
                </a:lnTo>
                <a:lnTo>
                  <a:pt x="9" y="270"/>
                </a:lnTo>
                <a:lnTo>
                  <a:pt x="7" y="268"/>
                </a:lnTo>
                <a:lnTo>
                  <a:pt x="4" y="268"/>
                </a:lnTo>
                <a:lnTo>
                  <a:pt x="2" y="268"/>
                </a:lnTo>
                <a:lnTo>
                  <a:pt x="0" y="270"/>
                </a:lnTo>
                <a:lnTo>
                  <a:pt x="35" y="247"/>
                </a:lnTo>
                <a:lnTo>
                  <a:pt x="65" y="226"/>
                </a:lnTo>
                <a:lnTo>
                  <a:pt x="67" y="226"/>
                </a:lnTo>
                <a:lnTo>
                  <a:pt x="69" y="226"/>
                </a:lnTo>
                <a:lnTo>
                  <a:pt x="72" y="226"/>
                </a:lnTo>
                <a:lnTo>
                  <a:pt x="72" y="228"/>
                </a:lnTo>
                <a:lnTo>
                  <a:pt x="74" y="228"/>
                </a:lnTo>
                <a:lnTo>
                  <a:pt x="74" y="226"/>
                </a:lnTo>
                <a:lnTo>
                  <a:pt x="81" y="224"/>
                </a:lnTo>
                <a:lnTo>
                  <a:pt x="81" y="221"/>
                </a:lnTo>
                <a:lnTo>
                  <a:pt x="83" y="221"/>
                </a:lnTo>
                <a:lnTo>
                  <a:pt x="83" y="219"/>
                </a:lnTo>
                <a:lnTo>
                  <a:pt x="86" y="219"/>
                </a:lnTo>
                <a:lnTo>
                  <a:pt x="86" y="217"/>
                </a:lnTo>
                <a:lnTo>
                  <a:pt x="88" y="217"/>
                </a:lnTo>
                <a:lnTo>
                  <a:pt x="88" y="214"/>
                </a:lnTo>
                <a:lnTo>
                  <a:pt x="88" y="212"/>
                </a:lnTo>
                <a:lnTo>
                  <a:pt x="90" y="212"/>
                </a:lnTo>
                <a:lnTo>
                  <a:pt x="90" y="210"/>
                </a:lnTo>
                <a:lnTo>
                  <a:pt x="93" y="210"/>
                </a:lnTo>
                <a:lnTo>
                  <a:pt x="93" y="207"/>
                </a:lnTo>
                <a:lnTo>
                  <a:pt x="95" y="207"/>
                </a:lnTo>
                <a:lnTo>
                  <a:pt x="97" y="205"/>
                </a:lnTo>
                <a:lnTo>
                  <a:pt x="97" y="203"/>
                </a:lnTo>
                <a:lnTo>
                  <a:pt x="97" y="200"/>
                </a:lnTo>
                <a:lnTo>
                  <a:pt x="100" y="200"/>
                </a:lnTo>
                <a:lnTo>
                  <a:pt x="97" y="198"/>
                </a:lnTo>
                <a:lnTo>
                  <a:pt x="100" y="198"/>
                </a:lnTo>
                <a:lnTo>
                  <a:pt x="100" y="196"/>
                </a:lnTo>
                <a:lnTo>
                  <a:pt x="100" y="193"/>
                </a:lnTo>
                <a:lnTo>
                  <a:pt x="102" y="193"/>
                </a:lnTo>
                <a:lnTo>
                  <a:pt x="102" y="196"/>
                </a:lnTo>
                <a:lnTo>
                  <a:pt x="102" y="193"/>
                </a:lnTo>
                <a:lnTo>
                  <a:pt x="104" y="193"/>
                </a:lnTo>
                <a:lnTo>
                  <a:pt x="109" y="189"/>
                </a:lnTo>
                <a:lnTo>
                  <a:pt x="111" y="189"/>
                </a:lnTo>
                <a:lnTo>
                  <a:pt x="111" y="186"/>
                </a:lnTo>
                <a:lnTo>
                  <a:pt x="114" y="186"/>
                </a:lnTo>
                <a:lnTo>
                  <a:pt x="116" y="184"/>
                </a:lnTo>
                <a:lnTo>
                  <a:pt x="118" y="182"/>
                </a:lnTo>
                <a:lnTo>
                  <a:pt x="118" y="179"/>
                </a:lnTo>
                <a:lnTo>
                  <a:pt x="121" y="175"/>
                </a:lnTo>
                <a:lnTo>
                  <a:pt x="121" y="172"/>
                </a:lnTo>
                <a:lnTo>
                  <a:pt x="121" y="170"/>
                </a:lnTo>
                <a:lnTo>
                  <a:pt x="121" y="168"/>
                </a:lnTo>
                <a:lnTo>
                  <a:pt x="123" y="168"/>
                </a:lnTo>
                <a:lnTo>
                  <a:pt x="123" y="166"/>
                </a:lnTo>
                <a:lnTo>
                  <a:pt x="123" y="163"/>
                </a:lnTo>
                <a:lnTo>
                  <a:pt x="123" y="161"/>
                </a:lnTo>
                <a:lnTo>
                  <a:pt x="125" y="161"/>
                </a:lnTo>
                <a:lnTo>
                  <a:pt x="128" y="161"/>
                </a:lnTo>
                <a:lnTo>
                  <a:pt x="128" y="159"/>
                </a:lnTo>
                <a:lnTo>
                  <a:pt x="128" y="156"/>
                </a:lnTo>
                <a:lnTo>
                  <a:pt x="130" y="154"/>
                </a:lnTo>
                <a:lnTo>
                  <a:pt x="130" y="152"/>
                </a:lnTo>
                <a:lnTo>
                  <a:pt x="130" y="149"/>
                </a:lnTo>
                <a:lnTo>
                  <a:pt x="132" y="152"/>
                </a:lnTo>
                <a:lnTo>
                  <a:pt x="132" y="149"/>
                </a:lnTo>
                <a:lnTo>
                  <a:pt x="135" y="147"/>
                </a:lnTo>
                <a:lnTo>
                  <a:pt x="137" y="147"/>
                </a:lnTo>
                <a:lnTo>
                  <a:pt x="139" y="147"/>
                </a:lnTo>
                <a:lnTo>
                  <a:pt x="139" y="145"/>
                </a:lnTo>
                <a:lnTo>
                  <a:pt x="142" y="145"/>
                </a:lnTo>
                <a:lnTo>
                  <a:pt x="142" y="142"/>
                </a:lnTo>
                <a:lnTo>
                  <a:pt x="144" y="142"/>
                </a:lnTo>
                <a:lnTo>
                  <a:pt x="142" y="140"/>
                </a:lnTo>
                <a:lnTo>
                  <a:pt x="144" y="140"/>
                </a:lnTo>
                <a:lnTo>
                  <a:pt x="146" y="138"/>
                </a:lnTo>
                <a:lnTo>
                  <a:pt x="144" y="138"/>
                </a:lnTo>
                <a:lnTo>
                  <a:pt x="146" y="135"/>
                </a:lnTo>
                <a:lnTo>
                  <a:pt x="149" y="138"/>
                </a:lnTo>
                <a:lnTo>
                  <a:pt x="149" y="135"/>
                </a:lnTo>
                <a:lnTo>
                  <a:pt x="151" y="133"/>
                </a:lnTo>
                <a:lnTo>
                  <a:pt x="151" y="128"/>
                </a:lnTo>
                <a:lnTo>
                  <a:pt x="153" y="128"/>
                </a:lnTo>
                <a:lnTo>
                  <a:pt x="153" y="126"/>
                </a:lnTo>
                <a:lnTo>
                  <a:pt x="153" y="121"/>
                </a:lnTo>
                <a:lnTo>
                  <a:pt x="153" y="119"/>
                </a:lnTo>
                <a:lnTo>
                  <a:pt x="156" y="121"/>
                </a:lnTo>
                <a:lnTo>
                  <a:pt x="153" y="119"/>
                </a:lnTo>
                <a:lnTo>
                  <a:pt x="156" y="119"/>
                </a:lnTo>
                <a:lnTo>
                  <a:pt x="158" y="117"/>
                </a:lnTo>
                <a:lnTo>
                  <a:pt x="156" y="117"/>
                </a:lnTo>
                <a:lnTo>
                  <a:pt x="156" y="114"/>
                </a:lnTo>
                <a:lnTo>
                  <a:pt x="153" y="110"/>
                </a:lnTo>
                <a:lnTo>
                  <a:pt x="153" y="107"/>
                </a:lnTo>
                <a:lnTo>
                  <a:pt x="156" y="105"/>
                </a:lnTo>
                <a:lnTo>
                  <a:pt x="158" y="105"/>
                </a:lnTo>
                <a:lnTo>
                  <a:pt x="160" y="103"/>
                </a:lnTo>
                <a:lnTo>
                  <a:pt x="163" y="103"/>
                </a:lnTo>
                <a:lnTo>
                  <a:pt x="165" y="100"/>
                </a:lnTo>
                <a:lnTo>
                  <a:pt x="165" y="98"/>
                </a:lnTo>
                <a:lnTo>
                  <a:pt x="167" y="98"/>
                </a:lnTo>
                <a:lnTo>
                  <a:pt x="170" y="98"/>
                </a:lnTo>
                <a:lnTo>
                  <a:pt x="170" y="96"/>
                </a:lnTo>
                <a:lnTo>
                  <a:pt x="170" y="93"/>
                </a:lnTo>
                <a:lnTo>
                  <a:pt x="170" y="91"/>
                </a:lnTo>
                <a:lnTo>
                  <a:pt x="170" y="89"/>
                </a:lnTo>
                <a:lnTo>
                  <a:pt x="172" y="89"/>
                </a:lnTo>
                <a:lnTo>
                  <a:pt x="172" y="86"/>
                </a:lnTo>
                <a:lnTo>
                  <a:pt x="170" y="86"/>
                </a:lnTo>
                <a:lnTo>
                  <a:pt x="172" y="84"/>
                </a:lnTo>
                <a:lnTo>
                  <a:pt x="172" y="82"/>
                </a:lnTo>
                <a:lnTo>
                  <a:pt x="172" y="79"/>
                </a:lnTo>
                <a:lnTo>
                  <a:pt x="172" y="77"/>
                </a:lnTo>
                <a:lnTo>
                  <a:pt x="174" y="77"/>
                </a:lnTo>
                <a:lnTo>
                  <a:pt x="174" y="79"/>
                </a:lnTo>
                <a:lnTo>
                  <a:pt x="177" y="79"/>
                </a:lnTo>
                <a:lnTo>
                  <a:pt x="177" y="77"/>
                </a:lnTo>
                <a:lnTo>
                  <a:pt x="179" y="77"/>
                </a:lnTo>
                <a:lnTo>
                  <a:pt x="181" y="75"/>
                </a:lnTo>
                <a:lnTo>
                  <a:pt x="181" y="72"/>
                </a:lnTo>
                <a:lnTo>
                  <a:pt x="184" y="65"/>
                </a:lnTo>
                <a:lnTo>
                  <a:pt x="186" y="61"/>
                </a:lnTo>
                <a:lnTo>
                  <a:pt x="188" y="58"/>
                </a:lnTo>
                <a:lnTo>
                  <a:pt x="188" y="56"/>
                </a:lnTo>
                <a:lnTo>
                  <a:pt x="188" y="54"/>
                </a:lnTo>
                <a:lnTo>
                  <a:pt x="188" y="51"/>
                </a:lnTo>
                <a:lnTo>
                  <a:pt x="188" y="49"/>
                </a:lnTo>
                <a:lnTo>
                  <a:pt x="186" y="49"/>
                </a:lnTo>
                <a:lnTo>
                  <a:pt x="184" y="49"/>
                </a:lnTo>
                <a:lnTo>
                  <a:pt x="184" y="47"/>
                </a:lnTo>
                <a:lnTo>
                  <a:pt x="181" y="44"/>
                </a:lnTo>
                <a:lnTo>
                  <a:pt x="184" y="44"/>
                </a:lnTo>
                <a:lnTo>
                  <a:pt x="188" y="44"/>
                </a:lnTo>
                <a:lnTo>
                  <a:pt x="188" y="42"/>
                </a:lnTo>
                <a:lnTo>
                  <a:pt x="191" y="42"/>
                </a:lnTo>
                <a:lnTo>
                  <a:pt x="191" y="37"/>
                </a:lnTo>
                <a:lnTo>
                  <a:pt x="191" y="35"/>
                </a:lnTo>
                <a:lnTo>
                  <a:pt x="193" y="35"/>
                </a:lnTo>
                <a:lnTo>
                  <a:pt x="193" y="33"/>
                </a:lnTo>
                <a:lnTo>
                  <a:pt x="193" y="28"/>
                </a:lnTo>
                <a:lnTo>
                  <a:pt x="195" y="26"/>
                </a:lnTo>
                <a:lnTo>
                  <a:pt x="195" y="24"/>
                </a:lnTo>
                <a:lnTo>
                  <a:pt x="197" y="21"/>
                </a:lnTo>
                <a:lnTo>
                  <a:pt x="197" y="19"/>
                </a:lnTo>
                <a:lnTo>
                  <a:pt x="195" y="17"/>
                </a:lnTo>
                <a:lnTo>
                  <a:pt x="195" y="14"/>
                </a:lnTo>
                <a:lnTo>
                  <a:pt x="197" y="14"/>
                </a:lnTo>
                <a:lnTo>
                  <a:pt x="197" y="12"/>
                </a:lnTo>
                <a:lnTo>
                  <a:pt x="200" y="12"/>
                </a:lnTo>
                <a:lnTo>
                  <a:pt x="202" y="12"/>
                </a:lnTo>
                <a:lnTo>
                  <a:pt x="202" y="10"/>
                </a:lnTo>
                <a:lnTo>
                  <a:pt x="204" y="7"/>
                </a:lnTo>
                <a:lnTo>
                  <a:pt x="204" y="10"/>
                </a:lnTo>
                <a:lnTo>
                  <a:pt x="204" y="12"/>
                </a:lnTo>
                <a:lnTo>
                  <a:pt x="204" y="10"/>
                </a:lnTo>
                <a:lnTo>
                  <a:pt x="204" y="7"/>
                </a:lnTo>
                <a:lnTo>
                  <a:pt x="207" y="5"/>
                </a:lnTo>
                <a:lnTo>
                  <a:pt x="207" y="3"/>
                </a:lnTo>
                <a:lnTo>
                  <a:pt x="207" y="5"/>
                </a:lnTo>
                <a:lnTo>
                  <a:pt x="209" y="5"/>
                </a:lnTo>
                <a:lnTo>
                  <a:pt x="209" y="3"/>
                </a:lnTo>
                <a:lnTo>
                  <a:pt x="209" y="0"/>
                </a:lnTo>
                <a:lnTo>
                  <a:pt x="211" y="3"/>
                </a:lnTo>
                <a:lnTo>
                  <a:pt x="209" y="3"/>
                </a:lnTo>
                <a:lnTo>
                  <a:pt x="211" y="5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4" name="Freeform 11">
            <a:extLst>
              <a:ext uri="{FF2B5EF4-FFF2-40B4-BE49-F238E27FC236}">
                <a16:creationId xmlns:a16="http://schemas.microsoft.com/office/drawing/2014/main" id="{9F8079B2-6E08-87A1-5B22-7F05BCC92C0B}"/>
              </a:ext>
            </a:extLst>
          </p:cNvPr>
          <p:cNvSpPr>
            <a:spLocks noEditPoints="1"/>
          </p:cNvSpPr>
          <p:nvPr/>
        </p:nvSpPr>
        <p:spPr bwMode="auto">
          <a:xfrm>
            <a:off x="2668927" y="2889798"/>
            <a:ext cx="1030969" cy="950344"/>
          </a:xfrm>
          <a:custGeom>
            <a:avLst/>
            <a:gdLst>
              <a:gd name="T0" fmla="*/ 717 w 875"/>
              <a:gd name="T1" fmla="*/ 287 h 845"/>
              <a:gd name="T2" fmla="*/ 754 w 875"/>
              <a:gd name="T3" fmla="*/ 252 h 845"/>
              <a:gd name="T4" fmla="*/ 552 w 875"/>
              <a:gd name="T5" fmla="*/ 233 h 845"/>
              <a:gd name="T6" fmla="*/ 503 w 875"/>
              <a:gd name="T7" fmla="*/ 277 h 845"/>
              <a:gd name="T8" fmla="*/ 512 w 875"/>
              <a:gd name="T9" fmla="*/ 231 h 845"/>
              <a:gd name="T10" fmla="*/ 535 w 875"/>
              <a:gd name="T11" fmla="*/ 210 h 845"/>
              <a:gd name="T12" fmla="*/ 689 w 875"/>
              <a:gd name="T13" fmla="*/ 217 h 845"/>
              <a:gd name="T14" fmla="*/ 710 w 875"/>
              <a:gd name="T15" fmla="*/ 266 h 845"/>
              <a:gd name="T16" fmla="*/ 677 w 875"/>
              <a:gd name="T17" fmla="*/ 289 h 845"/>
              <a:gd name="T18" fmla="*/ 661 w 875"/>
              <a:gd name="T19" fmla="*/ 310 h 845"/>
              <a:gd name="T20" fmla="*/ 626 w 875"/>
              <a:gd name="T21" fmla="*/ 312 h 845"/>
              <a:gd name="T22" fmla="*/ 589 w 875"/>
              <a:gd name="T23" fmla="*/ 298 h 845"/>
              <a:gd name="T24" fmla="*/ 554 w 875"/>
              <a:gd name="T25" fmla="*/ 291 h 845"/>
              <a:gd name="T26" fmla="*/ 556 w 875"/>
              <a:gd name="T27" fmla="*/ 261 h 845"/>
              <a:gd name="T28" fmla="*/ 575 w 875"/>
              <a:gd name="T29" fmla="*/ 207 h 845"/>
              <a:gd name="T30" fmla="*/ 570 w 875"/>
              <a:gd name="T31" fmla="*/ 200 h 845"/>
              <a:gd name="T32" fmla="*/ 649 w 875"/>
              <a:gd name="T33" fmla="*/ 196 h 845"/>
              <a:gd name="T34" fmla="*/ 642 w 875"/>
              <a:gd name="T35" fmla="*/ 182 h 845"/>
              <a:gd name="T36" fmla="*/ 603 w 875"/>
              <a:gd name="T37" fmla="*/ 182 h 845"/>
              <a:gd name="T38" fmla="*/ 589 w 875"/>
              <a:gd name="T39" fmla="*/ 166 h 845"/>
              <a:gd name="T40" fmla="*/ 610 w 875"/>
              <a:gd name="T41" fmla="*/ 154 h 845"/>
              <a:gd name="T42" fmla="*/ 310 w 875"/>
              <a:gd name="T43" fmla="*/ 58 h 845"/>
              <a:gd name="T44" fmla="*/ 356 w 875"/>
              <a:gd name="T45" fmla="*/ 86 h 845"/>
              <a:gd name="T46" fmla="*/ 384 w 875"/>
              <a:gd name="T47" fmla="*/ 114 h 845"/>
              <a:gd name="T48" fmla="*/ 419 w 875"/>
              <a:gd name="T49" fmla="*/ 198 h 845"/>
              <a:gd name="T50" fmla="*/ 454 w 875"/>
              <a:gd name="T51" fmla="*/ 263 h 845"/>
              <a:gd name="T52" fmla="*/ 426 w 875"/>
              <a:gd name="T53" fmla="*/ 291 h 845"/>
              <a:gd name="T54" fmla="*/ 517 w 875"/>
              <a:gd name="T55" fmla="*/ 277 h 845"/>
              <a:gd name="T56" fmla="*/ 552 w 875"/>
              <a:gd name="T57" fmla="*/ 287 h 845"/>
              <a:gd name="T58" fmla="*/ 563 w 875"/>
              <a:gd name="T59" fmla="*/ 317 h 845"/>
              <a:gd name="T60" fmla="*/ 612 w 875"/>
              <a:gd name="T61" fmla="*/ 331 h 845"/>
              <a:gd name="T62" fmla="*/ 633 w 875"/>
              <a:gd name="T63" fmla="*/ 324 h 845"/>
              <a:gd name="T64" fmla="*/ 624 w 875"/>
              <a:gd name="T65" fmla="*/ 380 h 845"/>
              <a:gd name="T66" fmla="*/ 682 w 875"/>
              <a:gd name="T67" fmla="*/ 310 h 845"/>
              <a:gd name="T68" fmla="*/ 708 w 875"/>
              <a:gd name="T69" fmla="*/ 312 h 845"/>
              <a:gd name="T70" fmla="*/ 726 w 875"/>
              <a:gd name="T71" fmla="*/ 284 h 845"/>
              <a:gd name="T72" fmla="*/ 756 w 875"/>
              <a:gd name="T73" fmla="*/ 254 h 845"/>
              <a:gd name="T74" fmla="*/ 787 w 875"/>
              <a:gd name="T75" fmla="*/ 261 h 845"/>
              <a:gd name="T76" fmla="*/ 798 w 875"/>
              <a:gd name="T77" fmla="*/ 261 h 845"/>
              <a:gd name="T78" fmla="*/ 819 w 875"/>
              <a:gd name="T79" fmla="*/ 263 h 845"/>
              <a:gd name="T80" fmla="*/ 831 w 875"/>
              <a:gd name="T81" fmla="*/ 275 h 845"/>
              <a:gd name="T82" fmla="*/ 854 w 875"/>
              <a:gd name="T83" fmla="*/ 277 h 845"/>
              <a:gd name="T84" fmla="*/ 868 w 875"/>
              <a:gd name="T85" fmla="*/ 284 h 845"/>
              <a:gd name="T86" fmla="*/ 866 w 875"/>
              <a:gd name="T87" fmla="*/ 324 h 845"/>
              <a:gd name="T88" fmla="*/ 843 w 875"/>
              <a:gd name="T89" fmla="*/ 382 h 845"/>
              <a:gd name="T90" fmla="*/ 815 w 875"/>
              <a:gd name="T91" fmla="*/ 436 h 845"/>
              <a:gd name="T92" fmla="*/ 773 w 875"/>
              <a:gd name="T93" fmla="*/ 487 h 845"/>
              <a:gd name="T94" fmla="*/ 687 w 875"/>
              <a:gd name="T95" fmla="*/ 566 h 845"/>
              <a:gd name="T96" fmla="*/ 689 w 875"/>
              <a:gd name="T97" fmla="*/ 622 h 845"/>
              <a:gd name="T98" fmla="*/ 624 w 875"/>
              <a:gd name="T99" fmla="*/ 713 h 845"/>
              <a:gd name="T100" fmla="*/ 580 w 875"/>
              <a:gd name="T101" fmla="*/ 799 h 845"/>
              <a:gd name="T102" fmla="*/ 135 w 875"/>
              <a:gd name="T103" fmla="*/ 796 h 845"/>
              <a:gd name="T104" fmla="*/ 82 w 875"/>
              <a:gd name="T105" fmla="*/ 738 h 845"/>
              <a:gd name="T106" fmla="*/ 47 w 875"/>
              <a:gd name="T107" fmla="*/ 652 h 845"/>
              <a:gd name="T108" fmla="*/ 163 w 875"/>
              <a:gd name="T109" fmla="*/ 321 h 845"/>
              <a:gd name="T110" fmla="*/ 105 w 875"/>
              <a:gd name="T111" fmla="*/ 291 h 845"/>
              <a:gd name="T112" fmla="*/ 37 w 875"/>
              <a:gd name="T113" fmla="*/ 235 h 845"/>
              <a:gd name="T114" fmla="*/ 12 w 875"/>
              <a:gd name="T115" fmla="*/ 91 h 845"/>
              <a:gd name="T116" fmla="*/ 61 w 875"/>
              <a:gd name="T117" fmla="*/ 70 h 845"/>
              <a:gd name="T118" fmla="*/ 137 w 875"/>
              <a:gd name="T119" fmla="*/ 44 h 845"/>
              <a:gd name="T120" fmla="*/ 212 w 875"/>
              <a:gd name="T121" fmla="*/ 35 h 845"/>
              <a:gd name="T122" fmla="*/ 251 w 875"/>
              <a:gd name="T123" fmla="*/ 10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75" h="845">
                <a:moveTo>
                  <a:pt x="649" y="328"/>
                </a:moveTo>
                <a:lnTo>
                  <a:pt x="647" y="328"/>
                </a:lnTo>
                <a:lnTo>
                  <a:pt x="645" y="326"/>
                </a:lnTo>
                <a:lnTo>
                  <a:pt x="642" y="326"/>
                </a:lnTo>
                <a:lnTo>
                  <a:pt x="642" y="324"/>
                </a:lnTo>
                <a:lnTo>
                  <a:pt x="645" y="324"/>
                </a:lnTo>
                <a:lnTo>
                  <a:pt x="645" y="321"/>
                </a:lnTo>
                <a:lnTo>
                  <a:pt x="647" y="319"/>
                </a:lnTo>
                <a:lnTo>
                  <a:pt x="649" y="319"/>
                </a:lnTo>
                <a:lnTo>
                  <a:pt x="649" y="317"/>
                </a:lnTo>
                <a:lnTo>
                  <a:pt x="652" y="317"/>
                </a:lnTo>
                <a:lnTo>
                  <a:pt x="654" y="319"/>
                </a:lnTo>
                <a:lnTo>
                  <a:pt x="654" y="321"/>
                </a:lnTo>
                <a:lnTo>
                  <a:pt x="654" y="324"/>
                </a:lnTo>
                <a:lnTo>
                  <a:pt x="652" y="324"/>
                </a:lnTo>
                <a:lnTo>
                  <a:pt x="652" y="326"/>
                </a:lnTo>
                <a:lnTo>
                  <a:pt x="649" y="328"/>
                </a:lnTo>
                <a:close/>
                <a:moveTo>
                  <a:pt x="642" y="312"/>
                </a:moveTo>
                <a:lnTo>
                  <a:pt x="645" y="312"/>
                </a:lnTo>
                <a:lnTo>
                  <a:pt x="645" y="315"/>
                </a:lnTo>
                <a:lnTo>
                  <a:pt x="645" y="317"/>
                </a:lnTo>
                <a:lnTo>
                  <a:pt x="642" y="317"/>
                </a:lnTo>
                <a:lnTo>
                  <a:pt x="640" y="317"/>
                </a:lnTo>
                <a:lnTo>
                  <a:pt x="638" y="317"/>
                </a:lnTo>
                <a:lnTo>
                  <a:pt x="638" y="315"/>
                </a:lnTo>
                <a:lnTo>
                  <a:pt x="638" y="312"/>
                </a:lnTo>
                <a:lnTo>
                  <a:pt x="640" y="312"/>
                </a:lnTo>
                <a:lnTo>
                  <a:pt x="642" y="312"/>
                </a:lnTo>
                <a:close/>
                <a:moveTo>
                  <a:pt x="724" y="287"/>
                </a:moveTo>
                <a:lnTo>
                  <a:pt x="722" y="287"/>
                </a:lnTo>
                <a:lnTo>
                  <a:pt x="719" y="287"/>
                </a:lnTo>
                <a:lnTo>
                  <a:pt x="719" y="289"/>
                </a:lnTo>
                <a:lnTo>
                  <a:pt x="719" y="287"/>
                </a:lnTo>
                <a:lnTo>
                  <a:pt x="717" y="287"/>
                </a:lnTo>
                <a:lnTo>
                  <a:pt x="719" y="287"/>
                </a:lnTo>
                <a:lnTo>
                  <a:pt x="717" y="287"/>
                </a:lnTo>
                <a:lnTo>
                  <a:pt x="715" y="284"/>
                </a:lnTo>
                <a:lnTo>
                  <a:pt x="712" y="284"/>
                </a:lnTo>
                <a:lnTo>
                  <a:pt x="715" y="282"/>
                </a:lnTo>
                <a:lnTo>
                  <a:pt x="717" y="282"/>
                </a:lnTo>
                <a:lnTo>
                  <a:pt x="717" y="280"/>
                </a:lnTo>
                <a:lnTo>
                  <a:pt x="717" y="277"/>
                </a:lnTo>
                <a:lnTo>
                  <a:pt x="719" y="277"/>
                </a:lnTo>
                <a:lnTo>
                  <a:pt x="722" y="277"/>
                </a:lnTo>
                <a:lnTo>
                  <a:pt x="724" y="280"/>
                </a:lnTo>
                <a:lnTo>
                  <a:pt x="724" y="282"/>
                </a:lnTo>
                <a:lnTo>
                  <a:pt x="724" y="284"/>
                </a:lnTo>
                <a:lnTo>
                  <a:pt x="724" y="287"/>
                </a:lnTo>
                <a:close/>
                <a:moveTo>
                  <a:pt x="731" y="275"/>
                </a:moveTo>
                <a:lnTo>
                  <a:pt x="729" y="277"/>
                </a:lnTo>
                <a:lnTo>
                  <a:pt x="726" y="275"/>
                </a:lnTo>
                <a:lnTo>
                  <a:pt x="724" y="275"/>
                </a:lnTo>
                <a:lnTo>
                  <a:pt x="724" y="273"/>
                </a:lnTo>
                <a:lnTo>
                  <a:pt x="724" y="270"/>
                </a:lnTo>
                <a:lnTo>
                  <a:pt x="726" y="268"/>
                </a:lnTo>
                <a:lnTo>
                  <a:pt x="729" y="268"/>
                </a:lnTo>
                <a:lnTo>
                  <a:pt x="729" y="266"/>
                </a:lnTo>
                <a:lnTo>
                  <a:pt x="731" y="263"/>
                </a:lnTo>
                <a:lnTo>
                  <a:pt x="733" y="263"/>
                </a:lnTo>
                <a:lnTo>
                  <a:pt x="735" y="266"/>
                </a:lnTo>
                <a:lnTo>
                  <a:pt x="733" y="266"/>
                </a:lnTo>
                <a:lnTo>
                  <a:pt x="735" y="268"/>
                </a:lnTo>
                <a:lnTo>
                  <a:pt x="735" y="270"/>
                </a:lnTo>
                <a:lnTo>
                  <a:pt x="733" y="273"/>
                </a:lnTo>
                <a:lnTo>
                  <a:pt x="733" y="275"/>
                </a:lnTo>
                <a:lnTo>
                  <a:pt x="731" y="275"/>
                </a:lnTo>
                <a:close/>
                <a:moveTo>
                  <a:pt x="752" y="252"/>
                </a:moveTo>
                <a:lnTo>
                  <a:pt x="754" y="252"/>
                </a:lnTo>
                <a:lnTo>
                  <a:pt x="754" y="254"/>
                </a:lnTo>
                <a:lnTo>
                  <a:pt x="756" y="254"/>
                </a:lnTo>
                <a:lnTo>
                  <a:pt x="754" y="256"/>
                </a:lnTo>
                <a:lnTo>
                  <a:pt x="749" y="259"/>
                </a:lnTo>
                <a:lnTo>
                  <a:pt x="749" y="256"/>
                </a:lnTo>
                <a:lnTo>
                  <a:pt x="749" y="254"/>
                </a:lnTo>
                <a:lnTo>
                  <a:pt x="749" y="252"/>
                </a:lnTo>
                <a:lnTo>
                  <a:pt x="752" y="252"/>
                </a:lnTo>
                <a:close/>
                <a:moveTo>
                  <a:pt x="556" y="233"/>
                </a:moveTo>
                <a:lnTo>
                  <a:pt x="556" y="235"/>
                </a:lnTo>
                <a:lnTo>
                  <a:pt x="556" y="238"/>
                </a:lnTo>
                <a:lnTo>
                  <a:pt x="556" y="240"/>
                </a:lnTo>
                <a:lnTo>
                  <a:pt x="554" y="242"/>
                </a:lnTo>
                <a:lnTo>
                  <a:pt x="552" y="242"/>
                </a:lnTo>
                <a:lnTo>
                  <a:pt x="549" y="242"/>
                </a:lnTo>
                <a:lnTo>
                  <a:pt x="547" y="242"/>
                </a:lnTo>
                <a:lnTo>
                  <a:pt x="545" y="245"/>
                </a:lnTo>
                <a:lnTo>
                  <a:pt x="542" y="245"/>
                </a:lnTo>
                <a:lnTo>
                  <a:pt x="540" y="245"/>
                </a:lnTo>
                <a:lnTo>
                  <a:pt x="540" y="247"/>
                </a:lnTo>
                <a:lnTo>
                  <a:pt x="538" y="247"/>
                </a:lnTo>
                <a:lnTo>
                  <a:pt x="535" y="249"/>
                </a:lnTo>
                <a:lnTo>
                  <a:pt x="535" y="247"/>
                </a:lnTo>
                <a:lnTo>
                  <a:pt x="535" y="245"/>
                </a:lnTo>
                <a:lnTo>
                  <a:pt x="535" y="242"/>
                </a:lnTo>
                <a:lnTo>
                  <a:pt x="538" y="240"/>
                </a:lnTo>
                <a:lnTo>
                  <a:pt x="538" y="238"/>
                </a:lnTo>
                <a:lnTo>
                  <a:pt x="540" y="238"/>
                </a:lnTo>
                <a:lnTo>
                  <a:pt x="542" y="238"/>
                </a:lnTo>
                <a:lnTo>
                  <a:pt x="545" y="235"/>
                </a:lnTo>
                <a:lnTo>
                  <a:pt x="547" y="233"/>
                </a:lnTo>
                <a:lnTo>
                  <a:pt x="549" y="233"/>
                </a:lnTo>
                <a:lnTo>
                  <a:pt x="554" y="231"/>
                </a:lnTo>
                <a:lnTo>
                  <a:pt x="552" y="233"/>
                </a:lnTo>
                <a:lnTo>
                  <a:pt x="552" y="235"/>
                </a:lnTo>
                <a:lnTo>
                  <a:pt x="554" y="231"/>
                </a:lnTo>
                <a:lnTo>
                  <a:pt x="556" y="233"/>
                </a:lnTo>
                <a:close/>
                <a:moveTo>
                  <a:pt x="768" y="249"/>
                </a:moveTo>
                <a:lnTo>
                  <a:pt x="770" y="249"/>
                </a:lnTo>
                <a:lnTo>
                  <a:pt x="773" y="249"/>
                </a:lnTo>
                <a:lnTo>
                  <a:pt x="773" y="252"/>
                </a:lnTo>
                <a:lnTo>
                  <a:pt x="773" y="254"/>
                </a:lnTo>
                <a:lnTo>
                  <a:pt x="773" y="256"/>
                </a:lnTo>
                <a:lnTo>
                  <a:pt x="773" y="259"/>
                </a:lnTo>
                <a:lnTo>
                  <a:pt x="770" y="259"/>
                </a:lnTo>
                <a:lnTo>
                  <a:pt x="768" y="259"/>
                </a:lnTo>
                <a:lnTo>
                  <a:pt x="768" y="256"/>
                </a:lnTo>
                <a:lnTo>
                  <a:pt x="768" y="252"/>
                </a:lnTo>
                <a:lnTo>
                  <a:pt x="766" y="252"/>
                </a:lnTo>
                <a:lnTo>
                  <a:pt x="763" y="249"/>
                </a:lnTo>
                <a:lnTo>
                  <a:pt x="766" y="247"/>
                </a:lnTo>
                <a:lnTo>
                  <a:pt x="768" y="247"/>
                </a:lnTo>
                <a:lnTo>
                  <a:pt x="768" y="249"/>
                </a:lnTo>
                <a:close/>
                <a:moveTo>
                  <a:pt x="528" y="228"/>
                </a:moveTo>
                <a:lnTo>
                  <a:pt x="531" y="233"/>
                </a:lnTo>
                <a:lnTo>
                  <a:pt x="533" y="233"/>
                </a:lnTo>
                <a:lnTo>
                  <a:pt x="533" y="235"/>
                </a:lnTo>
                <a:lnTo>
                  <a:pt x="533" y="238"/>
                </a:lnTo>
                <a:lnTo>
                  <a:pt x="528" y="247"/>
                </a:lnTo>
                <a:lnTo>
                  <a:pt x="526" y="249"/>
                </a:lnTo>
                <a:lnTo>
                  <a:pt x="526" y="256"/>
                </a:lnTo>
                <a:lnTo>
                  <a:pt x="524" y="261"/>
                </a:lnTo>
                <a:lnTo>
                  <a:pt x="521" y="261"/>
                </a:lnTo>
                <a:lnTo>
                  <a:pt x="521" y="259"/>
                </a:lnTo>
                <a:lnTo>
                  <a:pt x="519" y="259"/>
                </a:lnTo>
                <a:lnTo>
                  <a:pt x="514" y="268"/>
                </a:lnTo>
                <a:lnTo>
                  <a:pt x="512" y="270"/>
                </a:lnTo>
                <a:lnTo>
                  <a:pt x="503" y="277"/>
                </a:lnTo>
                <a:lnTo>
                  <a:pt x="500" y="280"/>
                </a:lnTo>
                <a:lnTo>
                  <a:pt x="498" y="280"/>
                </a:lnTo>
                <a:lnTo>
                  <a:pt x="496" y="282"/>
                </a:lnTo>
                <a:lnTo>
                  <a:pt x="493" y="282"/>
                </a:lnTo>
                <a:lnTo>
                  <a:pt x="493" y="284"/>
                </a:lnTo>
                <a:lnTo>
                  <a:pt x="489" y="287"/>
                </a:lnTo>
                <a:lnTo>
                  <a:pt x="486" y="287"/>
                </a:lnTo>
                <a:lnTo>
                  <a:pt x="484" y="289"/>
                </a:lnTo>
                <a:lnTo>
                  <a:pt x="482" y="289"/>
                </a:lnTo>
                <a:lnTo>
                  <a:pt x="479" y="289"/>
                </a:lnTo>
                <a:lnTo>
                  <a:pt x="477" y="289"/>
                </a:lnTo>
                <a:lnTo>
                  <a:pt x="475" y="287"/>
                </a:lnTo>
                <a:lnTo>
                  <a:pt x="475" y="284"/>
                </a:lnTo>
                <a:lnTo>
                  <a:pt x="477" y="282"/>
                </a:lnTo>
                <a:lnTo>
                  <a:pt x="479" y="280"/>
                </a:lnTo>
                <a:lnTo>
                  <a:pt x="479" y="277"/>
                </a:lnTo>
                <a:lnTo>
                  <a:pt x="479" y="275"/>
                </a:lnTo>
                <a:lnTo>
                  <a:pt x="482" y="275"/>
                </a:lnTo>
                <a:lnTo>
                  <a:pt x="482" y="273"/>
                </a:lnTo>
                <a:lnTo>
                  <a:pt x="486" y="270"/>
                </a:lnTo>
                <a:lnTo>
                  <a:pt x="489" y="268"/>
                </a:lnTo>
                <a:lnTo>
                  <a:pt x="491" y="268"/>
                </a:lnTo>
                <a:lnTo>
                  <a:pt x="493" y="266"/>
                </a:lnTo>
                <a:lnTo>
                  <a:pt x="496" y="263"/>
                </a:lnTo>
                <a:lnTo>
                  <a:pt x="496" y="261"/>
                </a:lnTo>
                <a:lnTo>
                  <a:pt x="496" y="259"/>
                </a:lnTo>
                <a:lnTo>
                  <a:pt x="496" y="249"/>
                </a:lnTo>
                <a:lnTo>
                  <a:pt x="496" y="247"/>
                </a:lnTo>
                <a:lnTo>
                  <a:pt x="500" y="245"/>
                </a:lnTo>
                <a:lnTo>
                  <a:pt x="503" y="238"/>
                </a:lnTo>
                <a:lnTo>
                  <a:pt x="505" y="235"/>
                </a:lnTo>
                <a:lnTo>
                  <a:pt x="507" y="233"/>
                </a:lnTo>
                <a:lnTo>
                  <a:pt x="510" y="231"/>
                </a:lnTo>
                <a:lnTo>
                  <a:pt x="512" y="231"/>
                </a:lnTo>
                <a:lnTo>
                  <a:pt x="514" y="228"/>
                </a:lnTo>
                <a:lnTo>
                  <a:pt x="519" y="228"/>
                </a:lnTo>
                <a:lnTo>
                  <a:pt x="521" y="228"/>
                </a:lnTo>
                <a:lnTo>
                  <a:pt x="519" y="228"/>
                </a:lnTo>
                <a:lnTo>
                  <a:pt x="519" y="231"/>
                </a:lnTo>
                <a:lnTo>
                  <a:pt x="519" y="233"/>
                </a:lnTo>
                <a:lnTo>
                  <a:pt x="517" y="235"/>
                </a:lnTo>
                <a:lnTo>
                  <a:pt x="519" y="235"/>
                </a:lnTo>
                <a:lnTo>
                  <a:pt x="519" y="233"/>
                </a:lnTo>
                <a:lnTo>
                  <a:pt x="519" y="231"/>
                </a:lnTo>
                <a:lnTo>
                  <a:pt x="521" y="231"/>
                </a:lnTo>
                <a:lnTo>
                  <a:pt x="524" y="231"/>
                </a:lnTo>
                <a:lnTo>
                  <a:pt x="521" y="228"/>
                </a:lnTo>
                <a:lnTo>
                  <a:pt x="521" y="226"/>
                </a:lnTo>
                <a:lnTo>
                  <a:pt x="524" y="226"/>
                </a:lnTo>
                <a:lnTo>
                  <a:pt x="526" y="228"/>
                </a:lnTo>
                <a:lnTo>
                  <a:pt x="528" y="228"/>
                </a:lnTo>
                <a:close/>
                <a:moveTo>
                  <a:pt x="519" y="221"/>
                </a:moveTo>
                <a:lnTo>
                  <a:pt x="517" y="224"/>
                </a:lnTo>
                <a:lnTo>
                  <a:pt x="517" y="221"/>
                </a:lnTo>
                <a:lnTo>
                  <a:pt x="517" y="219"/>
                </a:lnTo>
                <a:lnTo>
                  <a:pt x="519" y="219"/>
                </a:lnTo>
                <a:lnTo>
                  <a:pt x="521" y="217"/>
                </a:lnTo>
                <a:lnTo>
                  <a:pt x="528" y="207"/>
                </a:lnTo>
                <a:lnTo>
                  <a:pt x="528" y="205"/>
                </a:lnTo>
                <a:lnTo>
                  <a:pt x="531" y="203"/>
                </a:lnTo>
                <a:lnTo>
                  <a:pt x="533" y="203"/>
                </a:lnTo>
                <a:lnTo>
                  <a:pt x="535" y="203"/>
                </a:lnTo>
                <a:lnTo>
                  <a:pt x="535" y="200"/>
                </a:lnTo>
                <a:lnTo>
                  <a:pt x="538" y="203"/>
                </a:lnTo>
                <a:lnTo>
                  <a:pt x="535" y="203"/>
                </a:lnTo>
                <a:lnTo>
                  <a:pt x="535" y="205"/>
                </a:lnTo>
                <a:lnTo>
                  <a:pt x="535" y="207"/>
                </a:lnTo>
                <a:lnTo>
                  <a:pt x="535" y="210"/>
                </a:lnTo>
                <a:lnTo>
                  <a:pt x="533" y="212"/>
                </a:lnTo>
                <a:lnTo>
                  <a:pt x="531" y="214"/>
                </a:lnTo>
                <a:lnTo>
                  <a:pt x="526" y="219"/>
                </a:lnTo>
                <a:lnTo>
                  <a:pt x="521" y="221"/>
                </a:lnTo>
                <a:lnTo>
                  <a:pt x="519" y="221"/>
                </a:lnTo>
                <a:close/>
                <a:moveTo>
                  <a:pt x="607" y="205"/>
                </a:moveTo>
                <a:lnTo>
                  <a:pt x="612" y="207"/>
                </a:lnTo>
                <a:lnTo>
                  <a:pt x="614" y="207"/>
                </a:lnTo>
                <a:lnTo>
                  <a:pt x="628" y="212"/>
                </a:lnTo>
                <a:lnTo>
                  <a:pt x="638" y="214"/>
                </a:lnTo>
                <a:lnTo>
                  <a:pt x="647" y="217"/>
                </a:lnTo>
                <a:lnTo>
                  <a:pt x="649" y="214"/>
                </a:lnTo>
                <a:lnTo>
                  <a:pt x="652" y="214"/>
                </a:lnTo>
                <a:lnTo>
                  <a:pt x="654" y="217"/>
                </a:lnTo>
                <a:lnTo>
                  <a:pt x="656" y="217"/>
                </a:lnTo>
                <a:lnTo>
                  <a:pt x="654" y="217"/>
                </a:lnTo>
                <a:lnTo>
                  <a:pt x="654" y="214"/>
                </a:lnTo>
                <a:lnTo>
                  <a:pt x="656" y="212"/>
                </a:lnTo>
                <a:lnTo>
                  <a:pt x="661" y="212"/>
                </a:lnTo>
                <a:lnTo>
                  <a:pt x="663" y="212"/>
                </a:lnTo>
                <a:lnTo>
                  <a:pt x="666" y="212"/>
                </a:lnTo>
                <a:lnTo>
                  <a:pt x="668" y="210"/>
                </a:lnTo>
                <a:lnTo>
                  <a:pt x="670" y="212"/>
                </a:lnTo>
                <a:lnTo>
                  <a:pt x="673" y="212"/>
                </a:lnTo>
                <a:lnTo>
                  <a:pt x="675" y="212"/>
                </a:lnTo>
                <a:lnTo>
                  <a:pt x="680" y="212"/>
                </a:lnTo>
                <a:lnTo>
                  <a:pt x="682" y="212"/>
                </a:lnTo>
                <a:lnTo>
                  <a:pt x="682" y="214"/>
                </a:lnTo>
                <a:lnTo>
                  <a:pt x="684" y="214"/>
                </a:lnTo>
                <a:lnTo>
                  <a:pt x="687" y="214"/>
                </a:lnTo>
                <a:lnTo>
                  <a:pt x="689" y="214"/>
                </a:lnTo>
                <a:lnTo>
                  <a:pt x="691" y="214"/>
                </a:lnTo>
                <a:lnTo>
                  <a:pt x="691" y="217"/>
                </a:lnTo>
                <a:lnTo>
                  <a:pt x="689" y="217"/>
                </a:lnTo>
                <a:lnTo>
                  <a:pt x="691" y="217"/>
                </a:lnTo>
                <a:lnTo>
                  <a:pt x="694" y="217"/>
                </a:lnTo>
                <a:lnTo>
                  <a:pt x="703" y="219"/>
                </a:lnTo>
                <a:lnTo>
                  <a:pt x="705" y="219"/>
                </a:lnTo>
                <a:lnTo>
                  <a:pt x="708" y="219"/>
                </a:lnTo>
                <a:lnTo>
                  <a:pt x="710" y="219"/>
                </a:lnTo>
                <a:lnTo>
                  <a:pt x="712" y="221"/>
                </a:lnTo>
                <a:lnTo>
                  <a:pt x="722" y="224"/>
                </a:lnTo>
                <a:lnTo>
                  <a:pt x="724" y="224"/>
                </a:lnTo>
                <a:lnTo>
                  <a:pt x="724" y="226"/>
                </a:lnTo>
                <a:lnTo>
                  <a:pt x="724" y="228"/>
                </a:lnTo>
                <a:lnTo>
                  <a:pt x="724" y="231"/>
                </a:lnTo>
                <a:lnTo>
                  <a:pt x="724" y="233"/>
                </a:lnTo>
                <a:lnTo>
                  <a:pt x="722" y="233"/>
                </a:lnTo>
                <a:lnTo>
                  <a:pt x="719" y="235"/>
                </a:lnTo>
                <a:lnTo>
                  <a:pt x="717" y="238"/>
                </a:lnTo>
                <a:lnTo>
                  <a:pt x="717" y="240"/>
                </a:lnTo>
                <a:lnTo>
                  <a:pt x="717" y="245"/>
                </a:lnTo>
                <a:lnTo>
                  <a:pt x="715" y="247"/>
                </a:lnTo>
                <a:lnTo>
                  <a:pt x="715" y="249"/>
                </a:lnTo>
                <a:lnTo>
                  <a:pt x="715" y="252"/>
                </a:lnTo>
                <a:lnTo>
                  <a:pt x="715" y="254"/>
                </a:lnTo>
                <a:lnTo>
                  <a:pt x="715" y="256"/>
                </a:lnTo>
                <a:lnTo>
                  <a:pt x="712" y="254"/>
                </a:lnTo>
                <a:lnTo>
                  <a:pt x="710" y="254"/>
                </a:lnTo>
                <a:lnTo>
                  <a:pt x="708" y="252"/>
                </a:lnTo>
                <a:lnTo>
                  <a:pt x="710" y="254"/>
                </a:lnTo>
                <a:lnTo>
                  <a:pt x="710" y="256"/>
                </a:lnTo>
                <a:lnTo>
                  <a:pt x="712" y="256"/>
                </a:lnTo>
                <a:lnTo>
                  <a:pt x="710" y="259"/>
                </a:lnTo>
                <a:lnTo>
                  <a:pt x="712" y="261"/>
                </a:lnTo>
                <a:lnTo>
                  <a:pt x="712" y="263"/>
                </a:lnTo>
                <a:lnTo>
                  <a:pt x="710" y="263"/>
                </a:lnTo>
                <a:lnTo>
                  <a:pt x="710" y="266"/>
                </a:lnTo>
                <a:lnTo>
                  <a:pt x="708" y="266"/>
                </a:lnTo>
                <a:lnTo>
                  <a:pt x="705" y="268"/>
                </a:lnTo>
                <a:lnTo>
                  <a:pt x="703" y="268"/>
                </a:lnTo>
                <a:lnTo>
                  <a:pt x="703" y="270"/>
                </a:lnTo>
                <a:lnTo>
                  <a:pt x="701" y="273"/>
                </a:lnTo>
                <a:lnTo>
                  <a:pt x="703" y="273"/>
                </a:lnTo>
                <a:lnTo>
                  <a:pt x="703" y="275"/>
                </a:lnTo>
                <a:lnTo>
                  <a:pt x="701" y="275"/>
                </a:lnTo>
                <a:lnTo>
                  <a:pt x="703" y="275"/>
                </a:lnTo>
                <a:lnTo>
                  <a:pt x="703" y="277"/>
                </a:lnTo>
                <a:lnTo>
                  <a:pt x="701" y="277"/>
                </a:lnTo>
                <a:lnTo>
                  <a:pt x="701" y="280"/>
                </a:lnTo>
                <a:lnTo>
                  <a:pt x="696" y="280"/>
                </a:lnTo>
                <a:lnTo>
                  <a:pt x="696" y="282"/>
                </a:lnTo>
                <a:lnTo>
                  <a:pt x="694" y="282"/>
                </a:lnTo>
                <a:lnTo>
                  <a:pt x="691" y="284"/>
                </a:lnTo>
                <a:lnTo>
                  <a:pt x="689" y="284"/>
                </a:lnTo>
                <a:lnTo>
                  <a:pt x="687" y="284"/>
                </a:lnTo>
                <a:lnTo>
                  <a:pt x="684" y="282"/>
                </a:lnTo>
                <a:lnTo>
                  <a:pt x="682" y="280"/>
                </a:lnTo>
                <a:lnTo>
                  <a:pt x="682" y="282"/>
                </a:lnTo>
                <a:lnTo>
                  <a:pt x="684" y="282"/>
                </a:lnTo>
                <a:lnTo>
                  <a:pt x="684" y="284"/>
                </a:lnTo>
                <a:lnTo>
                  <a:pt x="687" y="284"/>
                </a:lnTo>
                <a:lnTo>
                  <a:pt x="687" y="287"/>
                </a:lnTo>
                <a:lnTo>
                  <a:pt x="687" y="289"/>
                </a:lnTo>
                <a:lnTo>
                  <a:pt x="689" y="289"/>
                </a:lnTo>
                <a:lnTo>
                  <a:pt x="691" y="289"/>
                </a:lnTo>
                <a:lnTo>
                  <a:pt x="689" y="294"/>
                </a:lnTo>
                <a:lnTo>
                  <a:pt x="687" y="298"/>
                </a:lnTo>
                <a:lnTo>
                  <a:pt x="684" y="298"/>
                </a:lnTo>
                <a:lnTo>
                  <a:pt x="680" y="291"/>
                </a:lnTo>
                <a:lnTo>
                  <a:pt x="680" y="289"/>
                </a:lnTo>
                <a:lnTo>
                  <a:pt x="677" y="289"/>
                </a:lnTo>
                <a:lnTo>
                  <a:pt x="680" y="291"/>
                </a:lnTo>
                <a:lnTo>
                  <a:pt x="677" y="294"/>
                </a:lnTo>
                <a:lnTo>
                  <a:pt x="677" y="296"/>
                </a:lnTo>
                <a:lnTo>
                  <a:pt x="680" y="294"/>
                </a:lnTo>
                <a:lnTo>
                  <a:pt x="680" y="296"/>
                </a:lnTo>
                <a:lnTo>
                  <a:pt x="682" y="296"/>
                </a:lnTo>
                <a:lnTo>
                  <a:pt x="682" y="298"/>
                </a:lnTo>
                <a:lnTo>
                  <a:pt x="684" y="298"/>
                </a:lnTo>
                <a:lnTo>
                  <a:pt x="687" y="301"/>
                </a:lnTo>
                <a:lnTo>
                  <a:pt x="684" y="301"/>
                </a:lnTo>
                <a:lnTo>
                  <a:pt x="682" y="303"/>
                </a:lnTo>
                <a:lnTo>
                  <a:pt x="682" y="305"/>
                </a:lnTo>
                <a:lnTo>
                  <a:pt x="680" y="303"/>
                </a:lnTo>
                <a:lnTo>
                  <a:pt x="680" y="305"/>
                </a:lnTo>
                <a:lnTo>
                  <a:pt x="677" y="305"/>
                </a:lnTo>
                <a:lnTo>
                  <a:pt x="673" y="305"/>
                </a:lnTo>
                <a:lnTo>
                  <a:pt x="670" y="305"/>
                </a:lnTo>
                <a:lnTo>
                  <a:pt x="668" y="305"/>
                </a:lnTo>
                <a:lnTo>
                  <a:pt x="668" y="303"/>
                </a:lnTo>
                <a:lnTo>
                  <a:pt x="668" y="301"/>
                </a:lnTo>
                <a:lnTo>
                  <a:pt x="666" y="296"/>
                </a:lnTo>
                <a:lnTo>
                  <a:pt x="663" y="296"/>
                </a:lnTo>
                <a:lnTo>
                  <a:pt x="661" y="296"/>
                </a:lnTo>
                <a:lnTo>
                  <a:pt x="663" y="296"/>
                </a:lnTo>
                <a:lnTo>
                  <a:pt x="663" y="298"/>
                </a:lnTo>
                <a:lnTo>
                  <a:pt x="663" y="301"/>
                </a:lnTo>
                <a:lnTo>
                  <a:pt x="661" y="305"/>
                </a:lnTo>
                <a:lnTo>
                  <a:pt x="663" y="308"/>
                </a:lnTo>
                <a:lnTo>
                  <a:pt x="661" y="308"/>
                </a:lnTo>
                <a:lnTo>
                  <a:pt x="659" y="308"/>
                </a:lnTo>
                <a:lnTo>
                  <a:pt x="661" y="308"/>
                </a:lnTo>
                <a:lnTo>
                  <a:pt x="661" y="310"/>
                </a:lnTo>
                <a:lnTo>
                  <a:pt x="663" y="310"/>
                </a:lnTo>
                <a:lnTo>
                  <a:pt x="661" y="310"/>
                </a:lnTo>
                <a:lnTo>
                  <a:pt x="659" y="310"/>
                </a:lnTo>
                <a:lnTo>
                  <a:pt x="656" y="310"/>
                </a:lnTo>
                <a:lnTo>
                  <a:pt x="654" y="310"/>
                </a:lnTo>
                <a:lnTo>
                  <a:pt x="652" y="308"/>
                </a:lnTo>
                <a:lnTo>
                  <a:pt x="649" y="305"/>
                </a:lnTo>
                <a:lnTo>
                  <a:pt x="649" y="303"/>
                </a:lnTo>
                <a:lnTo>
                  <a:pt x="649" y="301"/>
                </a:lnTo>
                <a:lnTo>
                  <a:pt x="647" y="303"/>
                </a:lnTo>
                <a:lnTo>
                  <a:pt x="647" y="305"/>
                </a:lnTo>
                <a:lnTo>
                  <a:pt x="649" y="308"/>
                </a:lnTo>
                <a:lnTo>
                  <a:pt x="652" y="310"/>
                </a:lnTo>
                <a:lnTo>
                  <a:pt x="649" y="312"/>
                </a:lnTo>
                <a:lnTo>
                  <a:pt x="647" y="310"/>
                </a:lnTo>
                <a:lnTo>
                  <a:pt x="645" y="310"/>
                </a:lnTo>
                <a:lnTo>
                  <a:pt x="642" y="310"/>
                </a:lnTo>
                <a:lnTo>
                  <a:pt x="642" y="308"/>
                </a:lnTo>
                <a:lnTo>
                  <a:pt x="642" y="305"/>
                </a:lnTo>
                <a:lnTo>
                  <a:pt x="642" y="301"/>
                </a:lnTo>
                <a:lnTo>
                  <a:pt x="640" y="301"/>
                </a:lnTo>
                <a:lnTo>
                  <a:pt x="640" y="303"/>
                </a:lnTo>
                <a:lnTo>
                  <a:pt x="640" y="308"/>
                </a:lnTo>
                <a:lnTo>
                  <a:pt x="640" y="310"/>
                </a:lnTo>
                <a:lnTo>
                  <a:pt x="638" y="310"/>
                </a:lnTo>
                <a:lnTo>
                  <a:pt x="638" y="312"/>
                </a:lnTo>
                <a:lnTo>
                  <a:pt x="635" y="312"/>
                </a:lnTo>
                <a:lnTo>
                  <a:pt x="638" y="315"/>
                </a:lnTo>
                <a:lnTo>
                  <a:pt x="638" y="317"/>
                </a:lnTo>
                <a:lnTo>
                  <a:pt x="635" y="317"/>
                </a:lnTo>
                <a:lnTo>
                  <a:pt x="633" y="315"/>
                </a:lnTo>
                <a:lnTo>
                  <a:pt x="631" y="317"/>
                </a:lnTo>
                <a:lnTo>
                  <a:pt x="628" y="319"/>
                </a:lnTo>
                <a:lnTo>
                  <a:pt x="626" y="317"/>
                </a:lnTo>
                <a:lnTo>
                  <a:pt x="626" y="315"/>
                </a:lnTo>
                <a:lnTo>
                  <a:pt x="626" y="312"/>
                </a:lnTo>
                <a:lnTo>
                  <a:pt x="624" y="310"/>
                </a:lnTo>
                <a:lnTo>
                  <a:pt x="624" y="308"/>
                </a:lnTo>
                <a:lnTo>
                  <a:pt x="624" y="305"/>
                </a:lnTo>
                <a:lnTo>
                  <a:pt x="624" y="308"/>
                </a:lnTo>
                <a:lnTo>
                  <a:pt x="624" y="310"/>
                </a:lnTo>
                <a:lnTo>
                  <a:pt x="624" y="312"/>
                </a:lnTo>
                <a:lnTo>
                  <a:pt x="624" y="315"/>
                </a:lnTo>
                <a:lnTo>
                  <a:pt x="624" y="317"/>
                </a:lnTo>
                <a:lnTo>
                  <a:pt x="624" y="319"/>
                </a:lnTo>
                <a:lnTo>
                  <a:pt x="621" y="321"/>
                </a:lnTo>
                <a:lnTo>
                  <a:pt x="619" y="321"/>
                </a:lnTo>
                <a:lnTo>
                  <a:pt x="617" y="321"/>
                </a:lnTo>
                <a:lnTo>
                  <a:pt x="617" y="319"/>
                </a:lnTo>
                <a:lnTo>
                  <a:pt x="614" y="319"/>
                </a:lnTo>
                <a:lnTo>
                  <a:pt x="612" y="317"/>
                </a:lnTo>
                <a:lnTo>
                  <a:pt x="610" y="317"/>
                </a:lnTo>
                <a:lnTo>
                  <a:pt x="607" y="315"/>
                </a:lnTo>
                <a:lnTo>
                  <a:pt x="605" y="315"/>
                </a:lnTo>
                <a:lnTo>
                  <a:pt x="605" y="312"/>
                </a:lnTo>
                <a:lnTo>
                  <a:pt x="605" y="310"/>
                </a:lnTo>
                <a:lnTo>
                  <a:pt x="603" y="310"/>
                </a:lnTo>
                <a:lnTo>
                  <a:pt x="603" y="312"/>
                </a:lnTo>
                <a:lnTo>
                  <a:pt x="601" y="315"/>
                </a:lnTo>
                <a:lnTo>
                  <a:pt x="596" y="317"/>
                </a:lnTo>
                <a:lnTo>
                  <a:pt x="594" y="315"/>
                </a:lnTo>
                <a:lnTo>
                  <a:pt x="591" y="315"/>
                </a:lnTo>
                <a:lnTo>
                  <a:pt x="591" y="312"/>
                </a:lnTo>
                <a:lnTo>
                  <a:pt x="591" y="308"/>
                </a:lnTo>
                <a:lnTo>
                  <a:pt x="591" y="305"/>
                </a:lnTo>
                <a:lnTo>
                  <a:pt x="589" y="305"/>
                </a:lnTo>
                <a:lnTo>
                  <a:pt x="589" y="303"/>
                </a:lnTo>
                <a:lnTo>
                  <a:pt x="591" y="303"/>
                </a:lnTo>
                <a:lnTo>
                  <a:pt x="591" y="301"/>
                </a:lnTo>
                <a:lnTo>
                  <a:pt x="589" y="298"/>
                </a:lnTo>
                <a:lnTo>
                  <a:pt x="591" y="296"/>
                </a:lnTo>
                <a:lnTo>
                  <a:pt x="589" y="298"/>
                </a:lnTo>
                <a:lnTo>
                  <a:pt x="589" y="301"/>
                </a:lnTo>
                <a:lnTo>
                  <a:pt x="589" y="303"/>
                </a:lnTo>
                <a:lnTo>
                  <a:pt x="587" y="303"/>
                </a:lnTo>
                <a:lnTo>
                  <a:pt x="589" y="305"/>
                </a:lnTo>
                <a:lnTo>
                  <a:pt x="591" y="308"/>
                </a:lnTo>
                <a:lnTo>
                  <a:pt x="589" y="308"/>
                </a:lnTo>
                <a:lnTo>
                  <a:pt x="589" y="310"/>
                </a:lnTo>
                <a:lnTo>
                  <a:pt x="589" y="312"/>
                </a:lnTo>
                <a:lnTo>
                  <a:pt x="589" y="315"/>
                </a:lnTo>
                <a:lnTo>
                  <a:pt x="589" y="312"/>
                </a:lnTo>
                <a:lnTo>
                  <a:pt x="587" y="308"/>
                </a:lnTo>
                <a:lnTo>
                  <a:pt x="587" y="312"/>
                </a:lnTo>
                <a:lnTo>
                  <a:pt x="587" y="315"/>
                </a:lnTo>
                <a:lnTo>
                  <a:pt x="587" y="317"/>
                </a:lnTo>
                <a:lnTo>
                  <a:pt x="584" y="317"/>
                </a:lnTo>
                <a:lnTo>
                  <a:pt x="582" y="317"/>
                </a:lnTo>
                <a:lnTo>
                  <a:pt x="582" y="315"/>
                </a:lnTo>
                <a:lnTo>
                  <a:pt x="582" y="317"/>
                </a:lnTo>
                <a:lnTo>
                  <a:pt x="584" y="317"/>
                </a:lnTo>
                <a:lnTo>
                  <a:pt x="587" y="317"/>
                </a:lnTo>
                <a:lnTo>
                  <a:pt x="584" y="319"/>
                </a:lnTo>
                <a:lnTo>
                  <a:pt x="582" y="319"/>
                </a:lnTo>
                <a:lnTo>
                  <a:pt x="580" y="319"/>
                </a:lnTo>
                <a:lnTo>
                  <a:pt x="568" y="317"/>
                </a:lnTo>
                <a:lnTo>
                  <a:pt x="566" y="315"/>
                </a:lnTo>
                <a:lnTo>
                  <a:pt x="566" y="312"/>
                </a:lnTo>
                <a:lnTo>
                  <a:pt x="568" y="312"/>
                </a:lnTo>
                <a:lnTo>
                  <a:pt x="568" y="308"/>
                </a:lnTo>
                <a:lnTo>
                  <a:pt x="556" y="298"/>
                </a:lnTo>
                <a:lnTo>
                  <a:pt x="556" y="296"/>
                </a:lnTo>
                <a:lnTo>
                  <a:pt x="556" y="294"/>
                </a:lnTo>
                <a:lnTo>
                  <a:pt x="554" y="291"/>
                </a:lnTo>
                <a:lnTo>
                  <a:pt x="554" y="289"/>
                </a:lnTo>
                <a:lnTo>
                  <a:pt x="554" y="287"/>
                </a:lnTo>
                <a:lnTo>
                  <a:pt x="554" y="284"/>
                </a:lnTo>
                <a:lnTo>
                  <a:pt x="554" y="282"/>
                </a:lnTo>
                <a:lnTo>
                  <a:pt x="556" y="275"/>
                </a:lnTo>
                <a:lnTo>
                  <a:pt x="556" y="273"/>
                </a:lnTo>
                <a:lnTo>
                  <a:pt x="554" y="270"/>
                </a:lnTo>
                <a:lnTo>
                  <a:pt x="554" y="268"/>
                </a:lnTo>
                <a:lnTo>
                  <a:pt x="556" y="268"/>
                </a:lnTo>
                <a:lnTo>
                  <a:pt x="559" y="270"/>
                </a:lnTo>
                <a:lnTo>
                  <a:pt x="563" y="270"/>
                </a:lnTo>
                <a:lnTo>
                  <a:pt x="566" y="273"/>
                </a:lnTo>
                <a:lnTo>
                  <a:pt x="568" y="273"/>
                </a:lnTo>
                <a:lnTo>
                  <a:pt x="570" y="275"/>
                </a:lnTo>
                <a:lnTo>
                  <a:pt x="570" y="273"/>
                </a:lnTo>
                <a:lnTo>
                  <a:pt x="568" y="270"/>
                </a:lnTo>
                <a:lnTo>
                  <a:pt x="570" y="270"/>
                </a:lnTo>
                <a:lnTo>
                  <a:pt x="573" y="270"/>
                </a:lnTo>
                <a:lnTo>
                  <a:pt x="575" y="268"/>
                </a:lnTo>
                <a:lnTo>
                  <a:pt x="573" y="268"/>
                </a:lnTo>
                <a:lnTo>
                  <a:pt x="573" y="266"/>
                </a:lnTo>
                <a:lnTo>
                  <a:pt x="575" y="266"/>
                </a:lnTo>
                <a:lnTo>
                  <a:pt x="577" y="266"/>
                </a:lnTo>
                <a:lnTo>
                  <a:pt x="575" y="263"/>
                </a:lnTo>
                <a:lnTo>
                  <a:pt x="573" y="266"/>
                </a:lnTo>
                <a:lnTo>
                  <a:pt x="570" y="266"/>
                </a:lnTo>
                <a:lnTo>
                  <a:pt x="568" y="268"/>
                </a:lnTo>
                <a:lnTo>
                  <a:pt x="566" y="268"/>
                </a:lnTo>
                <a:lnTo>
                  <a:pt x="563" y="268"/>
                </a:lnTo>
                <a:lnTo>
                  <a:pt x="559" y="268"/>
                </a:lnTo>
                <a:lnTo>
                  <a:pt x="559" y="266"/>
                </a:lnTo>
                <a:lnTo>
                  <a:pt x="556" y="266"/>
                </a:lnTo>
                <a:lnTo>
                  <a:pt x="556" y="263"/>
                </a:lnTo>
                <a:lnTo>
                  <a:pt x="556" y="261"/>
                </a:lnTo>
                <a:lnTo>
                  <a:pt x="556" y="256"/>
                </a:lnTo>
                <a:lnTo>
                  <a:pt x="556" y="254"/>
                </a:lnTo>
                <a:lnTo>
                  <a:pt x="556" y="252"/>
                </a:lnTo>
                <a:lnTo>
                  <a:pt x="559" y="252"/>
                </a:lnTo>
                <a:lnTo>
                  <a:pt x="559" y="249"/>
                </a:lnTo>
                <a:lnTo>
                  <a:pt x="561" y="249"/>
                </a:lnTo>
                <a:lnTo>
                  <a:pt x="559" y="247"/>
                </a:lnTo>
                <a:lnTo>
                  <a:pt x="556" y="245"/>
                </a:lnTo>
                <a:lnTo>
                  <a:pt x="559" y="242"/>
                </a:lnTo>
                <a:lnTo>
                  <a:pt x="559" y="238"/>
                </a:lnTo>
                <a:lnTo>
                  <a:pt x="561" y="231"/>
                </a:lnTo>
                <a:lnTo>
                  <a:pt x="563" y="233"/>
                </a:lnTo>
                <a:lnTo>
                  <a:pt x="563" y="235"/>
                </a:lnTo>
                <a:lnTo>
                  <a:pt x="563" y="238"/>
                </a:lnTo>
                <a:lnTo>
                  <a:pt x="566" y="238"/>
                </a:lnTo>
                <a:lnTo>
                  <a:pt x="570" y="240"/>
                </a:lnTo>
                <a:lnTo>
                  <a:pt x="573" y="240"/>
                </a:lnTo>
                <a:lnTo>
                  <a:pt x="575" y="240"/>
                </a:lnTo>
                <a:lnTo>
                  <a:pt x="573" y="240"/>
                </a:lnTo>
                <a:lnTo>
                  <a:pt x="570" y="238"/>
                </a:lnTo>
                <a:lnTo>
                  <a:pt x="566" y="238"/>
                </a:lnTo>
                <a:lnTo>
                  <a:pt x="566" y="235"/>
                </a:lnTo>
                <a:lnTo>
                  <a:pt x="566" y="233"/>
                </a:lnTo>
                <a:lnTo>
                  <a:pt x="563" y="228"/>
                </a:lnTo>
                <a:lnTo>
                  <a:pt x="563" y="226"/>
                </a:lnTo>
                <a:lnTo>
                  <a:pt x="566" y="221"/>
                </a:lnTo>
                <a:lnTo>
                  <a:pt x="566" y="219"/>
                </a:lnTo>
                <a:lnTo>
                  <a:pt x="566" y="217"/>
                </a:lnTo>
                <a:lnTo>
                  <a:pt x="568" y="217"/>
                </a:lnTo>
                <a:lnTo>
                  <a:pt x="568" y="214"/>
                </a:lnTo>
                <a:lnTo>
                  <a:pt x="568" y="212"/>
                </a:lnTo>
                <a:lnTo>
                  <a:pt x="570" y="212"/>
                </a:lnTo>
                <a:lnTo>
                  <a:pt x="573" y="210"/>
                </a:lnTo>
                <a:lnTo>
                  <a:pt x="575" y="207"/>
                </a:lnTo>
                <a:lnTo>
                  <a:pt x="577" y="207"/>
                </a:lnTo>
                <a:lnTo>
                  <a:pt x="580" y="207"/>
                </a:lnTo>
                <a:lnTo>
                  <a:pt x="580" y="205"/>
                </a:lnTo>
                <a:lnTo>
                  <a:pt x="582" y="205"/>
                </a:lnTo>
                <a:lnTo>
                  <a:pt x="584" y="205"/>
                </a:lnTo>
                <a:lnTo>
                  <a:pt x="584" y="207"/>
                </a:lnTo>
                <a:lnTo>
                  <a:pt x="587" y="207"/>
                </a:lnTo>
                <a:lnTo>
                  <a:pt x="587" y="205"/>
                </a:lnTo>
                <a:lnTo>
                  <a:pt x="589" y="205"/>
                </a:lnTo>
                <a:lnTo>
                  <a:pt x="589" y="203"/>
                </a:lnTo>
                <a:lnTo>
                  <a:pt x="591" y="203"/>
                </a:lnTo>
                <a:lnTo>
                  <a:pt x="596" y="203"/>
                </a:lnTo>
                <a:lnTo>
                  <a:pt x="607" y="205"/>
                </a:lnTo>
                <a:close/>
                <a:moveTo>
                  <a:pt x="552" y="214"/>
                </a:moveTo>
                <a:lnTo>
                  <a:pt x="549" y="214"/>
                </a:lnTo>
                <a:lnTo>
                  <a:pt x="547" y="214"/>
                </a:lnTo>
                <a:lnTo>
                  <a:pt x="547" y="212"/>
                </a:lnTo>
                <a:lnTo>
                  <a:pt x="545" y="212"/>
                </a:lnTo>
                <a:lnTo>
                  <a:pt x="542" y="207"/>
                </a:lnTo>
                <a:lnTo>
                  <a:pt x="542" y="205"/>
                </a:lnTo>
                <a:lnTo>
                  <a:pt x="545" y="205"/>
                </a:lnTo>
                <a:lnTo>
                  <a:pt x="542" y="203"/>
                </a:lnTo>
                <a:lnTo>
                  <a:pt x="547" y="198"/>
                </a:lnTo>
                <a:lnTo>
                  <a:pt x="547" y="196"/>
                </a:lnTo>
                <a:lnTo>
                  <a:pt x="549" y="193"/>
                </a:lnTo>
                <a:lnTo>
                  <a:pt x="552" y="193"/>
                </a:lnTo>
                <a:lnTo>
                  <a:pt x="554" y="193"/>
                </a:lnTo>
                <a:lnTo>
                  <a:pt x="559" y="191"/>
                </a:lnTo>
                <a:lnTo>
                  <a:pt x="563" y="191"/>
                </a:lnTo>
                <a:lnTo>
                  <a:pt x="566" y="193"/>
                </a:lnTo>
                <a:lnTo>
                  <a:pt x="568" y="196"/>
                </a:lnTo>
                <a:lnTo>
                  <a:pt x="570" y="196"/>
                </a:lnTo>
                <a:lnTo>
                  <a:pt x="570" y="198"/>
                </a:lnTo>
                <a:lnTo>
                  <a:pt x="570" y="200"/>
                </a:lnTo>
                <a:lnTo>
                  <a:pt x="570" y="203"/>
                </a:lnTo>
                <a:lnTo>
                  <a:pt x="568" y="205"/>
                </a:lnTo>
                <a:lnTo>
                  <a:pt x="566" y="205"/>
                </a:lnTo>
                <a:lnTo>
                  <a:pt x="561" y="207"/>
                </a:lnTo>
                <a:lnTo>
                  <a:pt x="556" y="212"/>
                </a:lnTo>
                <a:lnTo>
                  <a:pt x="554" y="212"/>
                </a:lnTo>
                <a:lnTo>
                  <a:pt x="552" y="214"/>
                </a:lnTo>
                <a:close/>
                <a:moveTo>
                  <a:pt x="649" y="196"/>
                </a:moveTo>
                <a:lnTo>
                  <a:pt x="652" y="196"/>
                </a:lnTo>
                <a:lnTo>
                  <a:pt x="654" y="196"/>
                </a:lnTo>
                <a:lnTo>
                  <a:pt x="656" y="196"/>
                </a:lnTo>
                <a:lnTo>
                  <a:pt x="656" y="198"/>
                </a:lnTo>
                <a:lnTo>
                  <a:pt x="659" y="198"/>
                </a:lnTo>
                <a:lnTo>
                  <a:pt x="659" y="200"/>
                </a:lnTo>
                <a:lnTo>
                  <a:pt x="659" y="203"/>
                </a:lnTo>
                <a:lnTo>
                  <a:pt x="659" y="205"/>
                </a:lnTo>
                <a:lnTo>
                  <a:pt x="656" y="205"/>
                </a:lnTo>
                <a:lnTo>
                  <a:pt x="656" y="203"/>
                </a:lnTo>
                <a:lnTo>
                  <a:pt x="656" y="205"/>
                </a:lnTo>
                <a:lnTo>
                  <a:pt x="654" y="207"/>
                </a:lnTo>
                <a:lnTo>
                  <a:pt x="652" y="207"/>
                </a:lnTo>
                <a:lnTo>
                  <a:pt x="652" y="210"/>
                </a:lnTo>
                <a:lnTo>
                  <a:pt x="649" y="210"/>
                </a:lnTo>
                <a:lnTo>
                  <a:pt x="635" y="207"/>
                </a:lnTo>
                <a:lnTo>
                  <a:pt x="633" y="210"/>
                </a:lnTo>
                <a:lnTo>
                  <a:pt x="626" y="205"/>
                </a:lnTo>
                <a:lnTo>
                  <a:pt x="626" y="203"/>
                </a:lnTo>
                <a:lnTo>
                  <a:pt x="628" y="200"/>
                </a:lnTo>
                <a:lnTo>
                  <a:pt x="633" y="198"/>
                </a:lnTo>
                <a:lnTo>
                  <a:pt x="638" y="196"/>
                </a:lnTo>
                <a:lnTo>
                  <a:pt x="640" y="196"/>
                </a:lnTo>
                <a:lnTo>
                  <a:pt x="647" y="193"/>
                </a:lnTo>
                <a:lnTo>
                  <a:pt x="649" y="193"/>
                </a:lnTo>
                <a:lnTo>
                  <a:pt x="649" y="196"/>
                </a:lnTo>
                <a:close/>
                <a:moveTo>
                  <a:pt x="584" y="196"/>
                </a:moveTo>
                <a:lnTo>
                  <a:pt x="582" y="196"/>
                </a:lnTo>
                <a:lnTo>
                  <a:pt x="580" y="196"/>
                </a:lnTo>
                <a:lnTo>
                  <a:pt x="577" y="196"/>
                </a:lnTo>
                <a:lnTo>
                  <a:pt x="575" y="193"/>
                </a:lnTo>
                <a:lnTo>
                  <a:pt x="573" y="193"/>
                </a:lnTo>
                <a:lnTo>
                  <a:pt x="573" y="191"/>
                </a:lnTo>
                <a:lnTo>
                  <a:pt x="573" y="189"/>
                </a:lnTo>
                <a:lnTo>
                  <a:pt x="573" y="186"/>
                </a:lnTo>
                <a:lnTo>
                  <a:pt x="570" y="184"/>
                </a:lnTo>
                <a:lnTo>
                  <a:pt x="573" y="182"/>
                </a:lnTo>
                <a:lnTo>
                  <a:pt x="575" y="182"/>
                </a:lnTo>
                <a:lnTo>
                  <a:pt x="577" y="182"/>
                </a:lnTo>
                <a:lnTo>
                  <a:pt x="577" y="184"/>
                </a:lnTo>
                <a:lnTo>
                  <a:pt x="580" y="184"/>
                </a:lnTo>
                <a:lnTo>
                  <a:pt x="582" y="184"/>
                </a:lnTo>
                <a:lnTo>
                  <a:pt x="584" y="184"/>
                </a:lnTo>
                <a:lnTo>
                  <a:pt x="584" y="186"/>
                </a:lnTo>
                <a:lnTo>
                  <a:pt x="584" y="189"/>
                </a:lnTo>
                <a:lnTo>
                  <a:pt x="584" y="191"/>
                </a:lnTo>
                <a:lnTo>
                  <a:pt x="584" y="193"/>
                </a:lnTo>
                <a:lnTo>
                  <a:pt x="584" y="196"/>
                </a:lnTo>
                <a:close/>
                <a:moveTo>
                  <a:pt x="605" y="179"/>
                </a:moveTo>
                <a:lnTo>
                  <a:pt x="601" y="179"/>
                </a:lnTo>
                <a:lnTo>
                  <a:pt x="601" y="177"/>
                </a:lnTo>
                <a:lnTo>
                  <a:pt x="603" y="177"/>
                </a:lnTo>
                <a:lnTo>
                  <a:pt x="607" y="175"/>
                </a:lnTo>
                <a:lnTo>
                  <a:pt x="607" y="173"/>
                </a:lnTo>
                <a:lnTo>
                  <a:pt x="610" y="173"/>
                </a:lnTo>
                <a:lnTo>
                  <a:pt x="610" y="175"/>
                </a:lnTo>
                <a:lnTo>
                  <a:pt x="610" y="177"/>
                </a:lnTo>
                <a:lnTo>
                  <a:pt x="605" y="179"/>
                </a:lnTo>
                <a:close/>
                <a:moveTo>
                  <a:pt x="649" y="179"/>
                </a:moveTo>
                <a:lnTo>
                  <a:pt x="642" y="182"/>
                </a:lnTo>
                <a:lnTo>
                  <a:pt x="640" y="184"/>
                </a:lnTo>
                <a:lnTo>
                  <a:pt x="638" y="184"/>
                </a:lnTo>
                <a:lnTo>
                  <a:pt x="631" y="189"/>
                </a:lnTo>
                <a:lnTo>
                  <a:pt x="631" y="191"/>
                </a:lnTo>
                <a:lnTo>
                  <a:pt x="628" y="196"/>
                </a:lnTo>
                <a:lnTo>
                  <a:pt x="626" y="198"/>
                </a:lnTo>
                <a:lnTo>
                  <a:pt x="624" y="198"/>
                </a:lnTo>
                <a:lnTo>
                  <a:pt x="619" y="200"/>
                </a:lnTo>
                <a:lnTo>
                  <a:pt x="617" y="200"/>
                </a:lnTo>
                <a:lnTo>
                  <a:pt x="614" y="200"/>
                </a:lnTo>
                <a:lnTo>
                  <a:pt x="612" y="198"/>
                </a:lnTo>
                <a:lnTo>
                  <a:pt x="610" y="196"/>
                </a:lnTo>
                <a:lnTo>
                  <a:pt x="607" y="196"/>
                </a:lnTo>
                <a:lnTo>
                  <a:pt x="605" y="193"/>
                </a:lnTo>
                <a:lnTo>
                  <a:pt x="603" y="193"/>
                </a:lnTo>
                <a:lnTo>
                  <a:pt x="601" y="193"/>
                </a:lnTo>
                <a:lnTo>
                  <a:pt x="598" y="193"/>
                </a:lnTo>
                <a:lnTo>
                  <a:pt x="596" y="196"/>
                </a:lnTo>
                <a:lnTo>
                  <a:pt x="594" y="196"/>
                </a:lnTo>
                <a:lnTo>
                  <a:pt x="594" y="193"/>
                </a:lnTo>
                <a:lnTo>
                  <a:pt x="591" y="193"/>
                </a:lnTo>
                <a:lnTo>
                  <a:pt x="591" y="191"/>
                </a:lnTo>
                <a:lnTo>
                  <a:pt x="591" y="189"/>
                </a:lnTo>
                <a:lnTo>
                  <a:pt x="591" y="186"/>
                </a:lnTo>
                <a:lnTo>
                  <a:pt x="591" y="189"/>
                </a:lnTo>
                <a:lnTo>
                  <a:pt x="589" y="189"/>
                </a:lnTo>
                <a:lnTo>
                  <a:pt x="589" y="186"/>
                </a:lnTo>
                <a:lnTo>
                  <a:pt x="589" y="182"/>
                </a:lnTo>
                <a:lnTo>
                  <a:pt x="591" y="182"/>
                </a:lnTo>
                <a:lnTo>
                  <a:pt x="596" y="182"/>
                </a:lnTo>
                <a:lnTo>
                  <a:pt x="596" y="179"/>
                </a:lnTo>
                <a:lnTo>
                  <a:pt x="598" y="179"/>
                </a:lnTo>
                <a:lnTo>
                  <a:pt x="601" y="182"/>
                </a:lnTo>
                <a:lnTo>
                  <a:pt x="603" y="182"/>
                </a:lnTo>
                <a:lnTo>
                  <a:pt x="607" y="182"/>
                </a:lnTo>
                <a:lnTo>
                  <a:pt x="612" y="179"/>
                </a:lnTo>
                <a:lnTo>
                  <a:pt x="614" y="177"/>
                </a:lnTo>
                <a:lnTo>
                  <a:pt x="617" y="177"/>
                </a:lnTo>
                <a:lnTo>
                  <a:pt x="619" y="177"/>
                </a:lnTo>
                <a:lnTo>
                  <a:pt x="621" y="177"/>
                </a:lnTo>
                <a:lnTo>
                  <a:pt x="626" y="177"/>
                </a:lnTo>
                <a:lnTo>
                  <a:pt x="628" y="177"/>
                </a:lnTo>
                <a:lnTo>
                  <a:pt x="633" y="175"/>
                </a:lnTo>
                <a:lnTo>
                  <a:pt x="640" y="173"/>
                </a:lnTo>
                <a:lnTo>
                  <a:pt x="647" y="173"/>
                </a:lnTo>
                <a:lnTo>
                  <a:pt x="649" y="175"/>
                </a:lnTo>
                <a:lnTo>
                  <a:pt x="649" y="179"/>
                </a:lnTo>
                <a:close/>
                <a:moveTo>
                  <a:pt x="594" y="159"/>
                </a:moveTo>
                <a:lnTo>
                  <a:pt x="591" y="168"/>
                </a:lnTo>
                <a:lnTo>
                  <a:pt x="594" y="168"/>
                </a:lnTo>
                <a:lnTo>
                  <a:pt x="594" y="170"/>
                </a:lnTo>
                <a:lnTo>
                  <a:pt x="594" y="173"/>
                </a:lnTo>
                <a:lnTo>
                  <a:pt x="594" y="175"/>
                </a:lnTo>
                <a:lnTo>
                  <a:pt x="594" y="177"/>
                </a:lnTo>
                <a:lnTo>
                  <a:pt x="591" y="177"/>
                </a:lnTo>
                <a:lnTo>
                  <a:pt x="591" y="179"/>
                </a:lnTo>
                <a:lnTo>
                  <a:pt x="589" y="179"/>
                </a:lnTo>
                <a:lnTo>
                  <a:pt x="587" y="179"/>
                </a:lnTo>
                <a:lnTo>
                  <a:pt x="587" y="182"/>
                </a:lnTo>
                <a:lnTo>
                  <a:pt x="587" y="184"/>
                </a:lnTo>
                <a:lnTo>
                  <a:pt x="584" y="182"/>
                </a:lnTo>
                <a:lnTo>
                  <a:pt x="582" y="182"/>
                </a:lnTo>
                <a:lnTo>
                  <a:pt x="580" y="179"/>
                </a:lnTo>
                <a:lnTo>
                  <a:pt x="580" y="177"/>
                </a:lnTo>
                <a:lnTo>
                  <a:pt x="582" y="177"/>
                </a:lnTo>
                <a:lnTo>
                  <a:pt x="584" y="177"/>
                </a:lnTo>
                <a:lnTo>
                  <a:pt x="587" y="168"/>
                </a:lnTo>
                <a:lnTo>
                  <a:pt x="589" y="166"/>
                </a:lnTo>
                <a:lnTo>
                  <a:pt x="587" y="163"/>
                </a:lnTo>
                <a:lnTo>
                  <a:pt x="587" y="161"/>
                </a:lnTo>
                <a:lnTo>
                  <a:pt x="587" y="159"/>
                </a:lnTo>
                <a:lnTo>
                  <a:pt x="589" y="159"/>
                </a:lnTo>
                <a:lnTo>
                  <a:pt x="589" y="156"/>
                </a:lnTo>
                <a:lnTo>
                  <a:pt x="591" y="154"/>
                </a:lnTo>
                <a:lnTo>
                  <a:pt x="594" y="154"/>
                </a:lnTo>
                <a:lnTo>
                  <a:pt x="594" y="156"/>
                </a:lnTo>
                <a:lnTo>
                  <a:pt x="594" y="159"/>
                </a:lnTo>
                <a:close/>
                <a:moveTo>
                  <a:pt x="614" y="156"/>
                </a:moveTo>
                <a:lnTo>
                  <a:pt x="614" y="159"/>
                </a:lnTo>
                <a:lnTo>
                  <a:pt x="614" y="161"/>
                </a:lnTo>
                <a:lnTo>
                  <a:pt x="617" y="161"/>
                </a:lnTo>
                <a:lnTo>
                  <a:pt x="614" y="161"/>
                </a:lnTo>
                <a:lnTo>
                  <a:pt x="614" y="163"/>
                </a:lnTo>
                <a:lnTo>
                  <a:pt x="605" y="168"/>
                </a:lnTo>
                <a:lnTo>
                  <a:pt x="603" y="170"/>
                </a:lnTo>
                <a:lnTo>
                  <a:pt x="601" y="170"/>
                </a:lnTo>
                <a:lnTo>
                  <a:pt x="601" y="173"/>
                </a:lnTo>
                <a:lnTo>
                  <a:pt x="598" y="173"/>
                </a:lnTo>
                <a:lnTo>
                  <a:pt x="596" y="170"/>
                </a:lnTo>
                <a:lnTo>
                  <a:pt x="596" y="168"/>
                </a:lnTo>
                <a:lnTo>
                  <a:pt x="596" y="166"/>
                </a:lnTo>
                <a:lnTo>
                  <a:pt x="596" y="161"/>
                </a:lnTo>
                <a:lnTo>
                  <a:pt x="596" y="159"/>
                </a:lnTo>
                <a:lnTo>
                  <a:pt x="598" y="159"/>
                </a:lnTo>
                <a:lnTo>
                  <a:pt x="601" y="156"/>
                </a:lnTo>
                <a:lnTo>
                  <a:pt x="605" y="156"/>
                </a:lnTo>
                <a:lnTo>
                  <a:pt x="607" y="156"/>
                </a:lnTo>
                <a:lnTo>
                  <a:pt x="610" y="159"/>
                </a:lnTo>
                <a:lnTo>
                  <a:pt x="610" y="156"/>
                </a:lnTo>
                <a:lnTo>
                  <a:pt x="607" y="156"/>
                </a:lnTo>
                <a:lnTo>
                  <a:pt x="607" y="154"/>
                </a:lnTo>
                <a:lnTo>
                  <a:pt x="610" y="154"/>
                </a:lnTo>
                <a:lnTo>
                  <a:pt x="612" y="152"/>
                </a:lnTo>
                <a:lnTo>
                  <a:pt x="614" y="154"/>
                </a:lnTo>
                <a:lnTo>
                  <a:pt x="614" y="156"/>
                </a:lnTo>
                <a:close/>
                <a:moveTo>
                  <a:pt x="279" y="5"/>
                </a:moveTo>
                <a:lnTo>
                  <a:pt x="286" y="12"/>
                </a:lnTo>
                <a:lnTo>
                  <a:pt x="289" y="12"/>
                </a:lnTo>
                <a:lnTo>
                  <a:pt x="293" y="12"/>
                </a:lnTo>
                <a:lnTo>
                  <a:pt x="293" y="10"/>
                </a:lnTo>
                <a:lnTo>
                  <a:pt x="296" y="12"/>
                </a:lnTo>
                <a:lnTo>
                  <a:pt x="296" y="14"/>
                </a:lnTo>
                <a:lnTo>
                  <a:pt x="296" y="17"/>
                </a:lnTo>
                <a:lnTo>
                  <a:pt x="298" y="21"/>
                </a:lnTo>
                <a:lnTo>
                  <a:pt x="298" y="24"/>
                </a:lnTo>
                <a:lnTo>
                  <a:pt x="296" y="26"/>
                </a:lnTo>
                <a:lnTo>
                  <a:pt x="296" y="28"/>
                </a:lnTo>
                <a:lnTo>
                  <a:pt x="293" y="31"/>
                </a:lnTo>
                <a:lnTo>
                  <a:pt x="291" y="33"/>
                </a:lnTo>
                <a:lnTo>
                  <a:pt x="293" y="33"/>
                </a:lnTo>
                <a:lnTo>
                  <a:pt x="293" y="35"/>
                </a:lnTo>
                <a:lnTo>
                  <a:pt x="293" y="37"/>
                </a:lnTo>
                <a:lnTo>
                  <a:pt x="291" y="40"/>
                </a:lnTo>
                <a:lnTo>
                  <a:pt x="291" y="42"/>
                </a:lnTo>
                <a:lnTo>
                  <a:pt x="293" y="42"/>
                </a:lnTo>
                <a:lnTo>
                  <a:pt x="293" y="44"/>
                </a:lnTo>
                <a:lnTo>
                  <a:pt x="293" y="49"/>
                </a:lnTo>
                <a:lnTo>
                  <a:pt x="293" y="51"/>
                </a:lnTo>
                <a:lnTo>
                  <a:pt x="293" y="56"/>
                </a:lnTo>
                <a:lnTo>
                  <a:pt x="296" y="58"/>
                </a:lnTo>
                <a:lnTo>
                  <a:pt x="298" y="58"/>
                </a:lnTo>
                <a:lnTo>
                  <a:pt x="300" y="58"/>
                </a:lnTo>
                <a:lnTo>
                  <a:pt x="303" y="58"/>
                </a:lnTo>
                <a:lnTo>
                  <a:pt x="305" y="58"/>
                </a:lnTo>
                <a:lnTo>
                  <a:pt x="307" y="58"/>
                </a:lnTo>
                <a:lnTo>
                  <a:pt x="310" y="58"/>
                </a:lnTo>
                <a:lnTo>
                  <a:pt x="310" y="61"/>
                </a:lnTo>
                <a:lnTo>
                  <a:pt x="312" y="61"/>
                </a:lnTo>
                <a:lnTo>
                  <a:pt x="314" y="61"/>
                </a:lnTo>
                <a:lnTo>
                  <a:pt x="317" y="61"/>
                </a:lnTo>
                <a:lnTo>
                  <a:pt x="317" y="58"/>
                </a:lnTo>
                <a:lnTo>
                  <a:pt x="319" y="61"/>
                </a:lnTo>
                <a:lnTo>
                  <a:pt x="321" y="61"/>
                </a:lnTo>
                <a:lnTo>
                  <a:pt x="324" y="61"/>
                </a:lnTo>
                <a:lnTo>
                  <a:pt x="324" y="63"/>
                </a:lnTo>
                <a:lnTo>
                  <a:pt x="326" y="63"/>
                </a:lnTo>
                <a:lnTo>
                  <a:pt x="328" y="63"/>
                </a:lnTo>
                <a:lnTo>
                  <a:pt x="328" y="65"/>
                </a:lnTo>
                <a:lnTo>
                  <a:pt x="331" y="65"/>
                </a:lnTo>
                <a:lnTo>
                  <a:pt x="331" y="68"/>
                </a:lnTo>
                <a:lnTo>
                  <a:pt x="333" y="68"/>
                </a:lnTo>
                <a:lnTo>
                  <a:pt x="335" y="68"/>
                </a:lnTo>
                <a:lnTo>
                  <a:pt x="335" y="70"/>
                </a:lnTo>
                <a:lnTo>
                  <a:pt x="338" y="70"/>
                </a:lnTo>
                <a:lnTo>
                  <a:pt x="338" y="72"/>
                </a:lnTo>
                <a:lnTo>
                  <a:pt x="338" y="75"/>
                </a:lnTo>
                <a:lnTo>
                  <a:pt x="340" y="75"/>
                </a:lnTo>
                <a:lnTo>
                  <a:pt x="340" y="77"/>
                </a:lnTo>
                <a:lnTo>
                  <a:pt x="340" y="79"/>
                </a:lnTo>
                <a:lnTo>
                  <a:pt x="342" y="79"/>
                </a:lnTo>
                <a:lnTo>
                  <a:pt x="345" y="77"/>
                </a:lnTo>
                <a:lnTo>
                  <a:pt x="347" y="77"/>
                </a:lnTo>
                <a:lnTo>
                  <a:pt x="347" y="79"/>
                </a:lnTo>
                <a:lnTo>
                  <a:pt x="349" y="79"/>
                </a:lnTo>
                <a:lnTo>
                  <a:pt x="349" y="82"/>
                </a:lnTo>
                <a:lnTo>
                  <a:pt x="349" y="84"/>
                </a:lnTo>
                <a:lnTo>
                  <a:pt x="351" y="84"/>
                </a:lnTo>
                <a:lnTo>
                  <a:pt x="351" y="86"/>
                </a:lnTo>
                <a:lnTo>
                  <a:pt x="354" y="86"/>
                </a:lnTo>
                <a:lnTo>
                  <a:pt x="356" y="86"/>
                </a:lnTo>
                <a:lnTo>
                  <a:pt x="358" y="84"/>
                </a:lnTo>
                <a:lnTo>
                  <a:pt x="358" y="86"/>
                </a:lnTo>
                <a:lnTo>
                  <a:pt x="361" y="86"/>
                </a:lnTo>
                <a:lnTo>
                  <a:pt x="363" y="86"/>
                </a:lnTo>
                <a:lnTo>
                  <a:pt x="363" y="84"/>
                </a:lnTo>
                <a:lnTo>
                  <a:pt x="365" y="84"/>
                </a:lnTo>
                <a:lnTo>
                  <a:pt x="363" y="84"/>
                </a:lnTo>
                <a:lnTo>
                  <a:pt x="363" y="86"/>
                </a:lnTo>
                <a:lnTo>
                  <a:pt x="365" y="86"/>
                </a:lnTo>
                <a:lnTo>
                  <a:pt x="368" y="86"/>
                </a:lnTo>
                <a:lnTo>
                  <a:pt x="368" y="84"/>
                </a:lnTo>
                <a:lnTo>
                  <a:pt x="368" y="86"/>
                </a:lnTo>
                <a:lnTo>
                  <a:pt x="368" y="89"/>
                </a:lnTo>
                <a:lnTo>
                  <a:pt x="370" y="89"/>
                </a:lnTo>
                <a:lnTo>
                  <a:pt x="372" y="89"/>
                </a:lnTo>
                <a:lnTo>
                  <a:pt x="375" y="89"/>
                </a:lnTo>
                <a:lnTo>
                  <a:pt x="375" y="91"/>
                </a:lnTo>
                <a:lnTo>
                  <a:pt x="375" y="93"/>
                </a:lnTo>
                <a:lnTo>
                  <a:pt x="377" y="96"/>
                </a:lnTo>
                <a:lnTo>
                  <a:pt x="375" y="96"/>
                </a:lnTo>
                <a:lnTo>
                  <a:pt x="375" y="98"/>
                </a:lnTo>
                <a:lnTo>
                  <a:pt x="377" y="98"/>
                </a:lnTo>
                <a:lnTo>
                  <a:pt x="379" y="98"/>
                </a:lnTo>
                <a:lnTo>
                  <a:pt x="382" y="96"/>
                </a:lnTo>
                <a:lnTo>
                  <a:pt x="382" y="98"/>
                </a:lnTo>
                <a:lnTo>
                  <a:pt x="384" y="98"/>
                </a:lnTo>
                <a:lnTo>
                  <a:pt x="384" y="100"/>
                </a:lnTo>
                <a:lnTo>
                  <a:pt x="384" y="103"/>
                </a:lnTo>
                <a:lnTo>
                  <a:pt x="382" y="103"/>
                </a:lnTo>
                <a:lnTo>
                  <a:pt x="382" y="105"/>
                </a:lnTo>
                <a:lnTo>
                  <a:pt x="382" y="107"/>
                </a:lnTo>
                <a:lnTo>
                  <a:pt x="382" y="112"/>
                </a:lnTo>
                <a:lnTo>
                  <a:pt x="382" y="114"/>
                </a:lnTo>
                <a:lnTo>
                  <a:pt x="384" y="114"/>
                </a:lnTo>
                <a:lnTo>
                  <a:pt x="384" y="117"/>
                </a:lnTo>
                <a:lnTo>
                  <a:pt x="384" y="119"/>
                </a:lnTo>
                <a:lnTo>
                  <a:pt x="384" y="121"/>
                </a:lnTo>
                <a:lnTo>
                  <a:pt x="389" y="124"/>
                </a:lnTo>
                <a:lnTo>
                  <a:pt x="389" y="126"/>
                </a:lnTo>
                <a:lnTo>
                  <a:pt x="391" y="128"/>
                </a:lnTo>
                <a:lnTo>
                  <a:pt x="393" y="131"/>
                </a:lnTo>
                <a:lnTo>
                  <a:pt x="396" y="131"/>
                </a:lnTo>
                <a:lnTo>
                  <a:pt x="403" y="133"/>
                </a:lnTo>
                <a:lnTo>
                  <a:pt x="403" y="135"/>
                </a:lnTo>
                <a:lnTo>
                  <a:pt x="405" y="135"/>
                </a:lnTo>
                <a:lnTo>
                  <a:pt x="405" y="138"/>
                </a:lnTo>
                <a:lnTo>
                  <a:pt x="403" y="138"/>
                </a:lnTo>
                <a:lnTo>
                  <a:pt x="403" y="142"/>
                </a:lnTo>
                <a:lnTo>
                  <a:pt x="403" y="145"/>
                </a:lnTo>
                <a:lnTo>
                  <a:pt x="400" y="147"/>
                </a:lnTo>
                <a:lnTo>
                  <a:pt x="400" y="149"/>
                </a:lnTo>
                <a:lnTo>
                  <a:pt x="403" y="152"/>
                </a:lnTo>
                <a:lnTo>
                  <a:pt x="403" y="154"/>
                </a:lnTo>
                <a:lnTo>
                  <a:pt x="403" y="156"/>
                </a:lnTo>
                <a:lnTo>
                  <a:pt x="403" y="159"/>
                </a:lnTo>
                <a:lnTo>
                  <a:pt x="405" y="166"/>
                </a:lnTo>
                <a:lnTo>
                  <a:pt x="407" y="168"/>
                </a:lnTo>
                <a:lnTo>
                  <a:pt x="407" y="170"/>
                </a:lnTo>
                <a:lnTo>
                  <a:pt x="410" y="175"/>
                </a:lnTo>
                <a:lnTo>
                  <a:pt x="410" y="177"/>
                </a:lnTo>
                <a:lnTo>
                  <a:pt x="410" y="179"/>
                </a:lnTo>
                <a:lnTo>
                  <a:pt x="407" y="182"/>
                </a:lnTo>
                <a:lnTo>
                  <a:pt x="410" y="182"/>
                </a:lnTo>
                <a:lnTo>
                  <a:pt x="410" y="184"/>
                </a:lnTo>
                <a:lnTo>
                  <a:pt x="412" y="186"/>
                </a:lnTo>
                <a:lnTo>
                  <a:pt x="414" y="198"/>
                </a:lnTo>
                <a:lnTo>
                  <a:pt x="417" y="198"/>
                </a:lnTo>
                <a:lnTo>
                  <a:pt x="419" y="198"/>
                </a:lnTo>
                <a:lnTo>
                  <a:pt x="421" y="198"/>
                </a:lnTo>
                <a:lnTo>
                  <a:pt x="424" y="198"/>
                </a:lnTo>
                <a:lnTo>
                  <a:pt x="424" y="200"/>
                </a:lnTo>
                <a:lnTo>
                  <a:pt x="428" y="207"/>
                </a:lnTo>
                <a:lnTo>
                  <a:pt x="431" y="210"/>
                </a:lnTo>
                <a:lnTo>
                  <a:pt x="433" y="212"/>
                </a:lnTo>
                <a:lnTo>
                  <a:pt x="433" y="219"/>
                </a:lnTo>
                <a:lnTo>
                  <a:pt x="433" y="221"/>
                </a:lnTo>
                <a:lnTo>
                  <a:pt x="433" y="224"/>
                </a:lnTo>
                <a:lnTo>
                  <a:pt x="433" y="226"/>
                </a:lnTo>
                <a:lnTo>
                  <a:pt x="433" y="228"/>
                </a:lnTo>
                <a:lnTo>
                  <a:pt x="435" y="228"/>
                </a:lnTo>
                <a:lnTo>
                  <a:pt x="438" y="228"/>
                </a:lnTo>
                <a:lnTo>
                  <a:pt x="440" y="231"/>
                </a:lnTo>
                <a:lnTo>
                  <a:pt x="440" y="233"/>
                </a:lnTo>
                <a:lnTo>
                  <a:pt x="440" y="235"/>
                </a:lnTo>
                <a:lnTo>
                  <a:pt x="440" y="238"/>
                </a:lnTo>
                <a:lnTo>
                  <a:pt x="440" y="240"/>
                </a:lnTo>
                <a:lnTo>
                  <a:pt x="440" y="242"/>
                </a:lnTo>
                <a:lnTo>
                  <a:pt x="440" y="245"/>
                </a:lnTo>
                <a:lnTo>
                  <a:pt x="440" y="247"/>
                </a:lnTo>
                <a:lnTo>
                  <a:pt x="445" y="245"/>
                </a:lnTo>
                <a:lnTo>
                  <a:pt x="447" y="245"/>
                </a:lnTo>
                <a:lnTo>
                  <a:pt x="447" y="247"/>
                </a:lnTo>
                <a:lnTo>
                  <a:pt x="449" y="247"/>
                </a:lnTo>
                <a:lnTo>
                  <a:pt x="449" y="249"/>
                </a:lnTo>
                <a:lnTo>
                  <a:pt x="447" y="252"/>
                </a:lnTo>
                <a:lnTo>
                  <a:pt x="447" y="254"/>
                </a:lnTo>
                <a:lnTo>
                  <a:pt x="449" y="254"/>
                </a:lnTo>
                <a:lnTo>
                  <a:pt x="449" y="256"/>
                </a:lnTo>
                <a:lnTo>
                  <a:pt x="449" y="259"/>
                </a:lnTo>
                <a:lnTo>
                  <a:pt x="449" y="261"/>
                </a:lnTo>
                <a:lnTo>
                  <a:pt x="452" y="261"/>
                </a:lnTo>
                <a:lnTo>
                  <a:pt x="454" y="263"/>
                </a:lnTo>
                <a:lnTo>
                  <a:pt x="456" y="266"/>
                </a:lnTo>
                <a:lnTo>
                  <a:pt x="466" y="266"/>
                </a:lnTo>
                <a:lnTo>
                  <a:pt x="466" y="268"/>
                </a:lnTo>
                <a:lnTo>
                  <a:pt x="468" y="268"/>
                </a:lnTo>
                <a:lnTo>
                  <a:pt x="468" y="270"/>
                </a:lnTo>
                <a:lnTo>
                  <a:pt x="470" y="270"/>
                </a:lnTo>
                <a:lnTo>
                  <a:pt x="470" y="268"/>
                </a:lnTo>
                <a:lnTo>
                  <a:pt x="473" y="268"/>
                </a:lnTo>
                <a:lnTo>
                  <a:pt x="475" y="268"/>
                </a:lnTo>
                <a:lnTo>
                  <a:pt x="475" y="266"/>
                </a:lnTo>
                <a:lnTo>
                  <a:pt x="477" y="268"/>
                </a:lnTo>
                <a:lnTo>
                  <a:pt x="477" y="266"/>
                </a:lnTo>
                <a:lnTo>
                  <a:pt x="479" y="268"/>
                </a:lnTo>
                <a:lnTo>
                  <a:pt x="477" y="268"/>
                </a:lnTo>
                <a:lnTo>
                  <a:pt x="477" y="273"/>
                </a:lnTo>
                <a:lnTo>
                  <a:pt x="479" y="277"/>
                </a:lnTo>
                <a:lnTo>
                  <a:pt x="477" y="280"/>
                </a:lnTo>
                <a:lnTo>
                  <a:pt x="475" y="282"/>
                </a:lnTo>
                <a:lnTo>
                  <a:pt x="473" y="284"/>
                </a:lnTo>
                <a:lnTo>
                  <a:pt x="468" y="284"/>
                </a:lnTo>
                <a:lnTo>
                  <a:pt x="466" y="284"/>
                </a:lnTo>
                <a:lnTo>
                  <a:pt x="463" y="282"/>
                </a:lnTo>
                <a:lnTo>
                  <a:pt x="461" y="280"/>
                </a:lnTo>
                <a:lnTo>
                  <a:pt x="459" y="280"/>
                </a:lnTo>
                <a:lnTo>
                  <a:pt x="456" y="280"/>
                </a:lnTo>
                <a:lnTo>
                  <a:pt x="454" y="282"/>
                </a:lnTo>
                <a:lnTo>
                  <a:pt x="452" y="282"/>
                </a:lnTo>
                <a:lnTo>
                  <a:pt x="449" y="282"/>
                </a:lnTo>
                <a:lnTo>
                  <a:pt x="445" y="284"/>
                </a:lnTo>
                <a:lnTo>
                  <a:pt x="442" y="284"/>
                </a:lnTo>
                <a:lnTo>
                  <a:pt x="440" y="287"/>
                </a:lnTo>
                <a:lnTo>
                  <a:pt x="433" y="289"/>
                </a:lnTo>
                <a:lnTo>
                  <a:pt x="431" y="289"/>
                </a:lnTo>
                <a:lnTo>
                  <a:pt x="426" y="291"/>
                </a:lnTo>
                <a:lnTo>
                  <a:pt x="424" y="291"/>
                </a:lnTo>
                <a:lnTo>
                  <a:pt x="424" y="294"/>
                </a:lnTo>
                <a:lnTo>
                  <a:pt x="426" y="294"/>
                </a:lnTo>
                <a:lnTo>
                  <a:pt x="431" y="294"/>
                </a:lnTo>
                <a:lnTo>
                  <a:pt x="442" y="294"/>
                </a:lnTo>
                <a:lnTo>
                  <a:pt x="449" y="291"/>
                </a:lnTo>
                <a:lnTo>
                  <a:pt x="452" y="291"/>
                </a:lnTo>
                <a:lnTo>
                  <a:pt x="454" y="291"/>
                </a:lnTo>
                <a:lnTo>
                  <a:pt x="456" y="294"/>
                </a:lnTo>
                <a:lnTo>
                  <a:pt x="456" y="296"/>
                </a:lnTo>
                <a:lnTo>
                  <a:pt x="456" y="298"/>
                </a:lnTo>
                <a:lnTo>
                  <a:pt x="454" y="298"/>
                </a:lnTo>
                <a:lnTo>
                  <a:pt x="454" y="301"/>
                </a:lnTo>
                <a:lnTo>
                  <a:pt x="454" y="303"/>
                </a:lnTo>
                <a:lnTo>
                  <a:pt x="456" y="303"/>
                </a:lnTo>
                <a:lnTo>
                  <a:pt x="459" y="303"/>
                </a:lnTo>
                <a:lnTo>
                  <a:pt x="459" y="301"/>
                </a:lnTo>
                <a:lnTo>
                  <a:pt x="461" y="298"/>
                </a:lnTo>
                <a:lnTo>
                  <a:pt x="463" y="298"/>
                </a:lnTo>
                <a:lnTo>
                  <a:pt x="466" y="298"/>
                </a:lnTo>
                <a:lnTo>
                  <a:pt x="468" y="298"/>
                </a:lnTo>
                <a:lnTo>
                  <a:pt x="470" y="298"/>
                </a:lnTo>
                <a:lnTo>
                  <a:pt x="475" y="296"/>
                </a:lnTo>
                <a:lnTo>
                  <a:pt x="477" y="296"/>
                </a:lnTo>
                <a:lnTo>
                  <a:pt x="496" y="284"/>
                </a:lnTo>
                <a:lnTo>
                  <a:pt x="500" y="284"/>
                </a:lnTo>
                <a:lnTo>
                  <a:pt x="503" y="282"/>
                </a:lnTo>
                <a:lnTo>
                  <a:pt x="507" y="282"/>
                </a:lnTo>
                <a:lnTo>
                  <a:pt x="510" y="280"/>
                </a:lnTo>
                <a:lnTo>
                  <a:pt x="512" y="277"/>
                </a:lnTo>
                <a:lnTo>
                  <a:pt x="514" y="275"/>
                </a:lnTo>
                <a:lnTo>
                  <a:pt x="519" y="275"/>
                </a:lnTo>
                <a:lnTo>
                  <a:pt x="517" y="275"/>
                </a:lnTo>
                <a:lnTo>
                  <a:pt x="517" y="277"/>
                </a:lnTo>
                <a:lnTo>
                  <a:pt x="519" y="277"/>
                </a:lnTo>
                <a:lnTo>
                  <a:pt x="519" y="275"/>
                </a:lnTo>
                <a:lnTo>
                  <a:pt x="521" y="275"/>
                </a:lnTo>
                <a:lnTo>
                  <a:pt x="524" y="275"/>
                </a:lnTo>
                <a:lnTo>
                  <a:pt x="524" y="273"/>
                </a:lnTo>
                <a:lnTo>
                  <a:pt x="526" y="270"/>
                </a:lnTo>
                <a:lnTo>
                  <a:pt x="528" y="268"/>
                </a:lnTo>
                <a:lnTo>
                  <a:pt x="531" y="266"/>
                </a:lnTo>
                <a:lnTo>
                  <a:pt x="540" y="263"/>
                </a:lnTo>
                <a:lnTo>
                  <a:pt x="542" y="261"/>
                </a:lnTo>
                <a:lnTo>
                  <a:pt x="542" y="259"/>
                </a:lnTo>
                <a:lnTo>
                  <a:pt x="542" y="256"/>
                </a:lnTo>
                <a:lnTo>
                  <a:pt x="545" y="254"/>
                </a:lnTo>
                <a:lnTo>
                  <a:pt x="545" y="256"/>
                </a:lnTo>
                <a:lnTo>
                  <a:pt x="547" y="259"/>
                </a:lnTo>
                <a:lnTo>
                  <a:pt x="547" y="256"/>
                </a:lnTo>
                <a:lnTo>
                  <a:pt x="545" y="256"/>
                </a:lnTo>
                <a:lnTo>
                  <a:pt x="547" y="254"/>
                </a:lnTo>
                <a:lnTo>
                  <a:pt x="549" y="256"/>
                </a:lnTo>
                <a:lnTo>
                  <a:pt x="552" y="254"/>
                </a:lnTo>
                <a:lnTo>
                  <a:pt x="554" y="256"/>
                </a:lnTo>
                <a:lnTo>
                  <a:pt x="554" y="259"/>
                </a:lnTo>
                <a:lnTo>
                  <a:pt x="554" y="261"/>
                </a:lnTo>
                <a:lnTo>
                  <a:pt x="554" y="263"/>
                </a:lnTo>
                <a:lnTo>
                  <a:pt x="554" y="266"/>
                </a:lnTo>
                <a:lnTo>
                  <a:pt x="552" y="266"/>
                </a:lnTo>
                <a:lnTo>
                  <a:pt x="549" y="268"/>
                </a:lnTo>
                <a:lnTo>
                  <a:pt x="547" y="268"/>
                </a:lnTo>
                <a:lnTo>
                  <a:pt x="547" y="270"/>
                </a:lnTo>
                <a:lnTo>
                  <a:pt x="545" y="270"/>
                </a:lnTo>
                <a:lnTo>
                  <a:pt x="552" y="275"/>
                </a:lnTo>
                <a:lnTo>
                  <a:pt x="554" y="277"/>
                </a:lnTo>
                <a:lnTo>
                  <a:pt x="552" y="282"/>
                </a:lnTo>
                <a:lnTo>
                  <a:pt x="552" y="287"/>
                </a:lnTo>
                <a:lnTo>
                  <a:pt x="554" y="287"/>
                </a:lnTo>
                <a:lnTo>
                  <a:pt x="554" y="289"/>
                </a:lnTo>
                <a:lnTo>
                  <a:pt x="552" y="289"/>
                </a:lnTo>
                <a:lnTo>
                  <a:pt x="552" y="291"/>
                </a:lnTo>
                <a:lnTo>
                  <a:pt x="554" y="291"/>
                </a:lnTo>
                <a:lnTo>
                  <a:pt x="554" y="296"/>
                </a:lnTo>
                <a:lnTo>
                  <a:pt x="556" y="298"/>
                </a:lnTo>
                <a:lnTo>
                  <a:pt x="561" y="303"/>
                </a:lnTo>
                <a:lnTo>
                  <a:pt x="561" y="305"/>
                </a:lnTo>
                <a:lnTo>
                  <a:pt x="561" y="310"/>
                </a:lnTo>
                <a:lnTo>
                  <a:pt x="563" y="312"/>
                </a:lnTo>
                <a:lnTo>
                  <a:pt x="561" y="315"/>
                </a:lnTo>
                <a:lnTo>
                  <a:pt x="559" y="315"/>
                </a:lnTo>
                <a:lnTo>
                  <a:pt x="556" y="312"/>
                </a:lnTo>
                <a:lnTo>
                  <a:pt x="559" y="315"/>
                </a:lnTo>
                <a:lnTo>
                  <a:pt x="559" y="317"/>
                </a:lnTo>
                <a:lnTo>
                  <a:pt x="556" y="317"/>
                </a:lnTo>
                <a:lnTo>
                  <a:pt x="554" y="319"/>
                </a:lnTo>
                <a:lnTo>
                  <a:pt x="554" y="321"/>
                </a:lnTo>
                <a:lnTo>
                  <a:pt x="552" y="321"/>
                </a:lnTo>
                <a:lnTo>
                  <a:pt x="549" y="321"/>
                </a:lnTo>
                <a:lnTo>
                  <a:pt x="547" y="319"/>
                </a:lnTo>
                <a:lnTo>
                  <a:pt x="545" y="319"/>
                </a:lnTo>
                <a:lnTo>
                  <a:pt x="547" y="321"/>
                </a:lnTo>
                <a:lnTo>
                  <a:pt x="547" y="324"/>
                </a:lnTo>
                <a:lnTo>
                  <a:pt x="549" y="326"/>
                </a:lnTo>
                <a:lnTo>
                  <a:pt x="549" y="324"/>
                </a:lnTo>
                <a:lnTo>
                  <a:pt x="552" y="324"/>
                </a:lnTo>
                <a:lnTo>
                  <a:pt x="556" y="324"/>
                </a:lnTo>
                <a:lnTo>
                  <a:pt x="559" y="324"/>
                </a:lnTo>
                <a:lnTo>
                  <a:pt x="559" y="321"/>
                </a:lnTo>
                <a:lnTo>
                  <a:pt x="559" y="319"/>
                </a:lnTo>
                <a:lnTo>
                  <a:pt x="561" y="317"/>
                </a:lnTo>
                <a:lnTo>
                  <a:pt x="563" y="317"/>
                </a:lnTo>
                <a:lnTo>
                  <a:pt x="566" y="317"/>
                </a:lnTo>
                <a:lnTo>
                  <a:pt x="566" y="319"/>
                </a:lnTo>
                <a:lnTo>
                  <a:pt x="568" y="321"/>
                </a:lnTo>
                <a:lnTo>
                  <a:pt x="568" y="324"/>
                </a:lnTo>
                <a:lnTo>
                  <a:pt x="570" y="324"/>
                </a:lnTo>
                <a:lnTo>
                  <a:pt x="570" y="326"/>
                </a:lnTo>
                <a:lnTo>
                  <a:pt x="573" y="326"/>
                </a:lnTo>
                <a:lnTo>
                  <a:pt x="575" y="326"/>
                </a:lnTo>
                <a:lnTo>
                  <a:pt x="573" y="328"/>
                </a:lnTo>
                <a:lnTo>
                  <a:pt x="575" y="326"/>
                </a:lnTo>
                <a:lnTo>
                  <a:pt x="575" y="328"/>
                </a:lnTo>
                <a:lnTo>
                  <a:pt x="575" y="331"/>
                </a:lnTo>
                <a:lnTo>
                  <a:pt x="575" y="333"/>
                </a:lnTo>
                <a:lnTo>
                  <a:pt x="575" y="335"/>
                </a:lnTo>
                <a:lnTo>
                  <a:pt x="577" y="335"/>
                </a:lnTo>
                <a:lnTo>
                  <a:pt x="577" y="333"/>
                </a:lnTo>
                <a:lnTo>
                  <a:pt x="580" y="331"/>
                </a:lnTo>
                <a:lnTo>
                  <a:pt x="580" y="328"/>
                </a:lnTo>
                <a:lnTo>
                  <a:pt x="582" y="326"/>
                </a:lnTo>
                <a:lnTo>
                  <a:pt x="584" y="324"/>
                </a:lnTo>
                <a:lnTo>
                  <a:pt x="587" y="324"/>
                </a:lnTo>
                <a:lnTo>
                  <a:pt x="589" y="324"/>
                </a:lnTo>
                <a:lnTo>
                  <a:pt x="591" y="324"/>
                </a:lnTo>
                <a:lnTo>
                  <a:pt x="594" y="326"/>
                </a:lnTo>
                <a:lnTo>
                  <a:pt x="596" y="324"/>
                </a:lnTo>
                <a:lnTo>
                  <a:pt x="596" y="321"/>
                </a:lnTo>
                <a:lnTo>
                  <a:pt x="598" y="321"/>
                </a:lnTo>
                <a:lnTo>
                  <a:pt x="605" y="321"/>
                </a:lnTo>
                <a:lnTo>
                  <a:pt x="607" y="321"/>
                </a:lnTo>
                <a:lnTo>
                  <a:pt x="610" y="321"/>
                </a:lnTo>
                <a:lnTo>
                  <a:pt x="614" y="324"/>
                </a:lnTo>
                <a:lnTo>
                  <a:pt x="614" y="326"/>
                </a:lnTo>
                <a:lnTo>
                  <a:pt x="614" y="328"/>
                </a:lnTo>
                <a:lnTo>
                  <a:pt x="612" y="331"/>
                </a:lnTo>
                <a:lnTo>
                  <a:pt x="614" y="328"/>
                </a:lnTo>
                <a:lnTo>
                  <a:pt x="614" y="331"/>
                </a:lnTo>
                <a:lnTo>
                  <a:pt x="614" y="333"/>
                </a:lnTo>
                <a:lnTo>
                  <a:pt x="614" y="335"/>
                </a:lnTo>
                <a:lnTo>
                  <a:pt x="612" y="338"/>
                </a:lnTo>
                <a:lnTo>
                  <a:pt x="614" y="335"/>
                </a:lnTo>
                <a:lnTo>
                  <a:pt x="614" y="338"/>
                </a:lnTo>
                <a:lnTo>
                  <a:pt x="617" y="338"/>
                </a:lnTo>
                <a:lnTo>
                  <a:pt x="617" y="340"/>
                </a:lnTo>
                <a:lnTo>
                  <a:pt x="617" y="338"/>
                </a:lnTo>
                <a:lnTo>
                  <a:pt x="617" y="333"/>
                </a:lnTo>
                <a:lnTo>
                  <a:pt x="617" y="328"/>
                </a:lnTo>
                <a:lnTo>
                  <a:pt x="617" y="326"/>
                </a:lnTo>
                <a:lnTo>
                  <a:pt x="617" y="328"/>
                </a:lnTo>
                <a:lnTo>
                  <a:pt x="617" y="331"/>
                </a:lnTo>
                <a:lnTo>
                  <a:pt x="617" y="328"/>
                </a:lnTo>
                <a:lnTo>
                  <a:pt x="617" y="326"/>
                </a:lnTo>
                <a:lnTo>
                  <a:pt x="619" y="326"/>
                </a:lnTo>
                <a:lnTo>
                  <a:pt x="621" y="326"/>
                </a:lnTo>
                <a:lnTo>
                  <a:pt x="624" y="326"/>
                </a:lnTo>
                <a:lnTo>
                  <a:pt x="624" y="328"/>
                </a:lnTo>
                <a:lnTo>
                  <a:pt x="624" y="326"/>
                </a:lnTo>
                <a:lnTo>
                  <a:pt x="626" y="328"/>
                </a:lnTo>
                <a:lnTo>
                  <a:pt x="628" y="328"/>
                </a:lnTo>
                <a:lnTo>
                  <a:pt x="631" y="331"/>
                </a:lnTo>
                <a:lnTo>
                  <a:pt x="633" y="333"/>
                </a:lnTo>
                <a:lnTo>
                  <a:pt x="633" y="335"/>
                </a:lnTo>
                <a:lnTo>
                  <a:pt x="633" y="333"/>
                </a:lnTo>
                <a:lnTo>
                  <a:pt x="633" y="331"/>
                </a:lnTo>
                <a:lnTo>
                  <a:pt x="631" y="328"/>
                </a:lnTo>
                <a:lnTo>
                  <a:pt x="628" y="328"/>
                </a:lnTo>
                <a:lnTo>
                  <a:pt x="628" y="326"/>
                </a:lnTo>
                <a:lnTo>
                  <a:pt x="631" y="326"/>
                </a:lnTo>
                <a:lnTo>
                  <a:pt x="633" y="324"/>
                </a:lnTo>
                <a:lnTo>
                  <a:pt x="635" y="324"/>
                </a:lnTo>
                <a:lnTo>
                  <a:pt x="638" y="326"/>
                </a:lnTo>
                <a:lnTo>
                  <a:pt x="638" y="321"/>
                </a:lnTo>
                <a:lnTo>
                  <a:pt x="640" y="319"/>
                </a:lnTo>
                <a:lnTo>
                  <a:pt x="642" y="319"/>
                </a:lnTo>
                <a:lnTo>
                  <a:pt x="642" y="321"/>
                </a:lnTo>
                <a:lnTo>
                  <a:pt x="645" y="321"/>
                </a:lnTo>
                <a:lnTo>
                  <a:pt x="642" y="324"/>
                </a:lnTo>
                <a:lnTo>
                  <a:pt x="642" y="326"/>
                </a:lnTo>
                <a:lnTo>
                  <a:pt x="645" y="326"/>
                </a:lnTo>
                <a:lnTo>
                  <a:pt x="645" y="328"/>
                </a:lnTo>
                <a:lnTo>
                  <a:pt x="647" y="328"/>
                </a:lnTo>
                <a:lnTo>
                  <a:pt x="649" y="331"/>
                </a:lnTo>
                <a:lnTo>
                  <a:pt x="647" y="331"/>
                </a:lnTo>
                <a:lnTo>
                  <a:pt x="647" y="333"/>
                </a:lnTo>
                <a:lnTo>
                  <a:pt x="647" y="335"/>
                </a:lnTo>
                <a:lnTo>
                  <a:pt x="645" y="338"/>
                </a:lnTo>
                <a:lnTo>
                  <a:pt x="642" y="345"/>
                </a:lnTo>
                <a:lnTo>
                  <a:pt x="642" y="347"/>
                </a:lnTo>
                <a:lnTo>
                  <a:pt x="640" y="347"/>
                </a:lnTo>
                <a:lnTo>
                  <a:pt x="640" y="349"/>
                </a:lnTo>
                <a:lnTo>
                  <a:pt x="638" y="352"/>
                </a:lnTo>
                <a:lnTo>
                  <a:pt x="638" y="356"/>
                </a:lnTo>
                <a:lnTo>
                  <a:pt x="635" y="356"/>
                </a:lnTo>
                <a:lnTo>
                  <a:pt x="635" y="359"/>
                </a:lnTo>
                <a:lnTo>
                  <a:pt x="635" y="361"/>
                </a:lnTo>
                <a:lnTo>
                  <a:pt x="633" y="361"/>
                </a:lnTo>
                <a:lnTo>
                  <a:pt x="633" y="363"/>
                </a:lnTo>
                <a:lnTo>
                  <a:pt x="633" y="368"/>
                </a:lnTo>
                <a:lnTo>
                  <a:pt x="628" y="375"/>
                </a:lnTo>
                <a:lnTo>
                  <a:pt x="626" y="375"/>
                </a:lnTo>
                <a:lnTo>
                  <a:pt x="626" y="377"/>
                </a:lnTo>
                <a:lnTo>
                  <a:pt x="624" y="377"/>
                </a:lnTo>
                <a:lnTo>
                  <a:pt x="624" y="380"/>
                </a:lnTo>
                <a:lnTo>
                  <a:pt x="628" y="380"/>
                </a:lnTo>
                <a:lnTo>
                  <a:pt x="633" y="377"/>
                </a:lnTo>
                <a:lnTo>
                  <a:pt x="633" y="375"/>
                </a:lnTo>
                <a:lnTo>
                  <a:pt x="635" y="375"/>
                </a:lnTo>
                <a:lnTo>
                  <a:pt x="635" y="373"/>
                </a:lnTo>
                <a:lnTo>
                  <a:pt x="638" y="373"/>
                </a:lnTo>
                <a:lnTo>
                  <a:pt x="638" y="370"/>
                </a:lnTo>
                <a:lnTo>
                  <a:pt x="640" y="368"/>
                </a:lnTo>
                <a:lnTo>
                  <a:pt x="640" y="366"/>
                </a:lnTo>
                <a:lnTo>
                  <a:pt x="640" y="363"/>
                </a:lnTo>
                <a:lnTo>
                  <a:pt x="642" y="361"/>
                </a:lnTo>
                <a:lnTo>
                  <a:pt x="642" y="359"/>
                </a:lnTo>
                <a:lnTo>
                  <a:pt x="649" y="349"/>
                </a:lnTo>
                <a:lnTo>
                  <a:pt x="652" y="347"/>
                </a:lnTo>
                <a:lnTo>
                  <a:pt x="652" y="345"/>
                </a:lnTo>
                <a:lnTo>
                  <a:pt x="652" y="342"/>
                </a:lnTo>
                <a:lnTo>
                  <a:pt x="656" y="333"/>
                </a:lnTo>
                <a:lnTo>
                  <a:pt x="659" y="331"/>
                </a:lnTo>
                <a:lnTo>
                  <a:pt x="661" y="328"/>
                </a:lnTo>
                <a:lnTo>
                  <a:pt x="663" y="328"/>
                </a:lnTo>
                <a:lnTo>
                  <a:pt x="663" y="326"/>
                </a:lnTo>
                <a:lnTo>
                  <a:pt x="666" y="324"/>
                </a:lnTo>
                <a:lnTo>
                  <a:pt x="666" y="321"/>
                </a:lnTo>
                <a:lnTo>
                  <a:pt x="668" y="319"/>
                </a:lnTo>
                <a:lnTo>
                  <a:pt x="670" y="319"/>
                </a:lnTo>
                <a:lnTo>
                  <a:pt x="673" y="317"/>
                </a:lnTo>
                <a:lnTo>
                  <a:pt x="675" y="312"/>
                </a:lnTo>
                <a:lnTo>
                  <a:pt x="677" y="310"/>
                </a:lnTo>
                <a:lnTo>
                  <a:pt x="680" y="310"/>
                </a:lnTo>
                <a:lnTo>
                  <a:pt x="682" y="310"/>
                </a:lnTo>
                <a:lnTo>
                  <a:pt x="684" y="310"/>
                </a:lnTo>
                <a:lnTo>
                  <a:pt x="684" y="308"/>
                </a:lnTo>
                <a:lnTo>
                  <a:pt x="684" y="310"/>
                </a:lnTo>
                <a:lnTo>
                  <a:pt x="682" y="310"/>
                </a:lnTo>
                <a:lnTo>
                  <a:pt x="682" y="312"/>
                </a:lnTo>
                <a:lnTo>
                  <a:pt x="682" y="315"/>
                </a:lnTo>
                <a:lnTo>
                  <a:pt x="680" y="317"/>
                </a:lnTo>
                <a:lnTo>
                  <a:pt x="677" y="317"/>
                </a:lnTo>
                <a:lnTo>
                  <a:pt x="677" y="319"/>
                </a:lnTo>
                <a:lnTo>
                  <a:pt x="677" y="321"/>
                </a:lnTo>
                <a:lnTo>
                  <a:pt x="675" y="324"/>
                </a:lnTo>
                <a:lnTo>
                  <a:pt x="673" y="324"/>
                </a:lnTo>
                <a:lnTo>
                  <a:pt x="673" y="326"/>
                </a:lnTo>
                <a:lnTo>
                  <a:pt x="670" y="326"/>
                </a:lnTo>
                <a:lnTo>
                  <a:pt x="673" y="326"/>
                </a:lnTo>
                <a:lnTo>
                  <a:pt x="675" y="326"/>
                </a:lnTo>
                <a:lnTo>
                  <a:pt x="677" y="324"/>
                </a:lnTo>
                <a:lnTo>
                  <a:pt x="680" y="324"/>
                </a:lnTo>
                <a:lnTo>
                  <a:pt x="680" y="321"/>
                </a:lnTo>
                <a:lnTo>
                  <a:pt x="680" y="319"/>
                </a:lnTo>
                <a:lnTo>
                  <a:pt x="682" y="319"/>
                </a:lnTo>
                <a:lnTo>
                  <a:pt x="682" y="317"/>
                </a:lnTo>
                <a:lnTo>
                  <a:pt x="684" y="317"/>
                </a:lnTo>
                <a:lnTo>
                  <a:pt x="684" y="315"/>
                </a:lnTo>
                <a:lnTo>
                  <a:pt x="687" y="315"/>
                </a:lnTo>
                <a:lnTo>
                  <a:pt x="687" y="312"/>
                </a:lnTo>
                <a:lnTo>
                  <a:pt x="694" y="305"/>
                </a:lnTo>
                <a:lnTo>
                  <a:pt x="696" y="303"/>
                </a:lnTo>
                <a:lnTo>
                  <a:pt x="698" y="301"/>
                </a:lnTo>
                <a:lnTo>
                  <a:pt x="698" y="298"/>
                </a:lnTo>
                <a:lnTo>
                  <a:pt x="701" y="298"/>
                </a:lnTo>
                <a:lnTo>
                  <a:pt x="701" y="301"/>
                </a:lnTo>
                <a:lnTo>
                  <a:pt x="703" y="303"/>
                </a:lnTo>
                <a:lnTo>
                  <a:pt x="703" y="308"/>
                </a:lnTo>
                <a:lnTo>
                  <a:pt x="705" y="308"/>
                </a:lnTo>
                <a:lnTo>
                  <a:pt x="705" y="310"/>
                </a:lnTo>
                <a:lnTo>
                  <a:pt x="705" y="312"/>
                </a:lnTo>
                <a:lnTo>
                  <a:pt x="708" y="312"/>
                </a:lnTo>
                <a:lnTo>
                  <a:pt x="708" y="315"/>
                </a:lnTo>
                <a:lnTo>
                  <a:pt x="710" y="315"/>
                </a:lnTo>
                <a:lnTo>
                  <a:pt x="712" y="315"/>
                </a:lnTo>
                <a:lnTo>
                  <a:pt x="712" y="317"/>
                </a:lnTo>
                <a:lnTo>
                  <a:pt x="715" y="317"/>
                </a:lnTo>
                <a:lnTo>
                  <a:pt x="715" y="315"/>
                </a:lnTo>
                <a:lnTo>
                  <a:pt x="712" y="315"/>
                </a:lnTo>
                <a:lnTo>
                  <a:pt x="712" y="312"/>
                </a:lnTo>
                <a:lnTo>
                  <a:pt x="710" y="310"/>
                </a:lnTo>
                <a:lnTo>
                  <a:pt x="710" y="308"/>
                </a:lnTo>
                <a:lnTo>
                  <a:pt x="712" y="308"/>
                </a:lnTo>
                <a:lnTo>
                  <a:pt x="715" y="308"/>
                </a:lnTo>
                <a:lnTo>
                  <a:pt x="717" y="308"/>
                </a:lnTo>
                <a:lnTo>
                  <a:pt x="719" y="308"/>
                </a:lnTo>
                <a:lnTo>
                  <a:pt x="722" y="305"/>
                </a:lnTo>
                <a:lnTo>
                  <a:pt x="719" y="305"/>
                </a:lnTo>
                <a:lnTo>
                  <a:pt x="717" y="305"/>
                </a:lnTo>
                <a:lnTo>
                  <a:pt x="715" y="305"/>
                </a:lnTo>
                <a:lnTo>
                  <a:pt x="712" y="305"/>
                </a:lnTo>
                <a:lnTo>
                  <a:pt x="710" y="305"/>
                </a:lnTo>
                <a:lnTo>
                  <a:pt x="710" y="303"/>
                </a:lnTo>
                <a:lnTo>
                  <a:pt x="710" y="301"/>
                </a:lnTo>
                <a:lnTo>
                  <a:pt x="710" y="296"/>
                </a:lnTo>
                <a:lnTo>
                  <a:pt x="712" y="291"/>
                </a:lnTo>
                <a:lnTo>
                  <a:pt x="715" y="289"/>
                </a:lnTo>
                <a:lnTo>
                  <a:pt x="717" y="289"/>
                </a:lnTo>
                <a:lnTo>
                  <a:pt x="715" y="291"/>
                </a:lnTo>
                <a:lnTo>
                  <a:pt x="715" y="294"/>
                </a:lnTo>
                <a:lnTo>
                  <a:pt x="717" y="294"/>
                </a:lnTo>
                <a:lnTo>
                  <a:pt x="722" y="296"/>
                </a:lnTo>
                <a:lnTo>
                  <a:pt x="722" y="294"/>
                </a:lnTo>
                <a:lnTo>
                  <a:pt x="724" y="289"/>
                </a:lnTo>
                <a:lnTo>
                  <a:pt x="724" y="287"/>
                </a:lnTo>
                <a:lnTo>
                  <a:pt x="726" y="284"/>
                </a:lnTo>
                <a:lnTo>
                  <a:pt x="729" y="287"/>
                </a:lnTo>
                <a:lnTo>
                  <a:pt x="726" y="284"/>
                </a:lnTo>
                <a:lnTo>
                  <a:pt x="726" y="282"/>
                </a:lnTo>
                <a:lnTo>
                  <a:pt x="729" y="282"/>
                </a:lnTo>
                <a:lnTo>
                  <a:pt x="731" y="282"/>
                </a:lnTo>
                <a:lnTo>
                  <a:pt x="729" y="282"/>
                </a:lnTo>
                <a:lnTo>
                  <a:pt x="726" y="282"/>
                </a:lnTo>
                <a:lnTo>
                  <a:pt x="726" y="280"/>
                </a:lnTo>
                <a:lnTo>
                  <a:pt x="726" y="277"/>
                </a:lnTo>
                <a:lnTo>
                  <a:pt x="731" y="277"/>
                </a:lnTo>
                <a:lnTo>
                  <a:pt x="733" y="277"/>
                </a:lnTo>
                <a:lnTo>
                  <a:pt x="733" y="275"/>
                </a:lnTo>
                <a:lnTo>
                  <a:pt x="733" y="273"/>
                </a:lnTo>
                <a:lnTo>
                  <a:pt x="735" y="273"/>
                </a:lnTo>
                <a:lnTo>
                  <a:pt x="735" y="270"/>
                </a:lnTo>
                <a:lnTo>
                  <a:pt x="735" y="268"/>
                </a:lnTo>
                <a:lnTo>
                  <a:pt x="738" y="268"/>
                </a:lnTo>
                <a:lnTo>
                  <a:pt x="735" y="268"/>
                </a:lnTo>
                <a:lnTo>
                  <a:pt x="735" y="266"/>
                </a:lnTo>
                <a:lnTo>
                  <a:pt x="738" y="266"/>
                </a:lnTo>
                <a:lnTo>
                  <a:pt x="738" y="263"/>
                </a:lnTo>
                <a:lnTo>
                  <a:pt x="735" y="263"/>
                </a:lnTo>
                <a:lnTo>
                  <a:pt x="735" y="261"/>
                </a:lnTo>
                <a:lnTo>
                  <a:pt x="740" y="256"/>
                </a:lnTo>
                <a:lnTo>
                  <a:pt x="745" y="252"/>
                </a:lnTo>
                <a:lnTo>
                  <a:pt x="747" y="254"/>
                </a:lnTo>
                <a:lnTo>
                  <a:pt x="747" y="256"/>
                </a:lnTo>
                <a:lnTo>
                  <a:pt x="745" y="256"/>
                </a:lnTo>
                <a:lnTo>
                  <a:pt x="747" y="256"/>
                </a:lnTo>
                <a:lnTo>
                  <a:pt x="747" y="259"/>
                </a:lnTo>
                <a:lnTo>
                  <a:pt x="749" y="261"/>
                </a:lnTo>
                <a:lnTo>
                  <a:pt x="752" y="259"/>
                </a:lnTo>
                <a:lnTo>
                  <a:pt x="756" y="256"/>
                </a:lnTo>
                <a:lnTo>
                  <a:pt x="756" y="254"/>
                </a:lnTo>
                <a:lnTo>
                  <a:pt x="759" y="254"/>
                </a:lnTo>
                <a:lnTo>
                  <a:pt x="761" y="256"/>
                </a:lnTo>
                <a:lnTo>
                  <a:pt x="761" y="254"/>
                </a:lnTo>
                <a:lnTo>
                  <a:pt x="759" y="254"/>
                </a:lnTo>
                <a:lnTo>
                  <a:pt x="759" y="252"/>
                </a:lnTo>
                <a:lnTo>
                  <a:pt x="761" y="249"/>
                </a:lnTo>
                <a:lnTo>
                  <a:pt x="761" y="247"/>
                </a:lnTo>
                <a:lnTo>
                  <a:pt x="763" y="249"/>
                </a:lnTo>
                <a:lnTo>
                  <a:pt x="763" y="252"/>
                </a:lnTo>
                <a:lnTo>
                  <a:pt x="766" y="252"/>
                </a:lnTo>
                <a:lnTo>
                  <a:pt x="766" y="254"/>
                </a:lnTo>
                <a:lnTo>
                  <a:pt x="768" y="254"/>
                </a:lnTo>
                <a:lnTo>
                  <a:pt x="766" y="259"/>
                </a:lnTo>
                <a:lnTo>
                  <a:pt x="766" y="261"/>
                </a:lnTo>
                <a:lnTo>
                  <a:pt x="770" y="259"/>
                </a:lnTo>
                <a:lnTo>
                  <a:pt x="773" y="259"/>
                </a:lnTo>
                <a:lnTo>
                  <a:pt x="775" y="256"/>
                </a:lnTo>
                <a:lnTo>
                  <a:pt x="775" y="254"/>
                </a:lnTo>
                <a:lnTo>
                  <a:pt x="777" y="254"/>
                </a:lnTo>
                <a:lnTo>
                  <a:pt x="775" y="252"/>
                </a:lnTo>
                <a:lnTo>
                  <a:pt x="777" y="249"/>
                </a:lnTo>
                <a:lnTo>
                  <a:pt x="777" y="252"/>
                </a:lnTo>
                <a:lnTo>
                  <a:pt x="780" y="252"/>
                </a:lnTo>
                <a:lnTo>
                  <a:pt x="780" y="254"/>
                </a:lnTo>
                <a:lnTo>
                  <a:pt x="780" y="256"/>
                </a:lnTo>
                <a:lnTo>
                  <a:pt x="782" y="256"/>
                </a:lnTo>
                <a:lnTo>
                  <a:pt x="782" y="259"/>
                </a:lnTo>
                <a:lnTo>
                  <a:pt x="782" y="261"/>
                </a:lnTo>
                <a:lnTo>
                  <a:pt x="782" y="263"/>
                </a:lnTo>
                <a:lnTo>
                  <a:pt x="787" y="263"/>
                </a:lnTo>
                <a:lnTo>
                  <a:pt x="787" y="266"/>
                </a:lnTo>
                <a:lnTo>
                  <a:pt x="789" y="266"/>
                </a:lnTo>
                <a:lnTo>
                  <a:pt x="789" y="263"/>
                </a:lnTo>
                <a:lnTo>
                  <a:pt x="787" y="261"/>
                </a:lnTo>
                <a:lnTo>
                  <a:pt x="787" y="259"/>
                </a:lnTo>
                <a:lnTo>
                  <a:pt x="784" y="259"/>
                </a:lnTo>
                <a:lnTo>
                  <a:pt x="784" y="261"/>
                </a:lnTo>
                <a:lnTo>
                  <a:pt x="784" y="254"/>
                </a:lnTo>
                <a:lnTo>
                  <a:pt x="784" y="252"/>
                </a:lnTo>
                <a:lnTo>
                  <a:pt x="787" y="252"/>
                </a:lnTo>
                <a:lnTo>
                  <a:pt x="784" y="252"/>
                </a:lnTo>
                <a:lnTo>
                  <a:pt x="787" y="252"/>
                </a:lnTo>
                <a:lnTo>
                  <a:pt x="789" y="252"/>
                </a:lnTo>
                <a:lnTo>
                  <a:pt x="789" y="254"/>
                </a:lnTo>
                <a:lnTo>
                  <a:pt x="787" y="256"/>
                </a:lnTo>
                <a:lnTo>
                  <a:pt x="789" y="259"/>
                </a:lnTo>
                <a:lnTo>
                  <a:pt x="789" y="256"/>
                </a:lnTo>
                <a:lnTo>
                  <a:pt x="789" y="259"/>
                </a:lnTo>
                <a:lnTo>
                  <a:pt x="791" y="259"/>
                </a:lnTo>
                <a:lnTo>
                  <a:pt x="791" y="256"/>
                </a:lnTo>
                <a:lnTo>
                  <a:pt x="789" y="256"/>
                </a:lnTo>
                <a:lnTo>
                  <a:pt x="791" y="254"/>
                </a:lnTo>
                <a:lnTo>
                  <a:pt x="794" y="256"/>
                </a:lnTo>
                <a:lnTo>
                  <a:pt x="794" y="254"/>
                </a:lnTo>
                <a:lnTo>
                  <a:pt x="796" y="252"/>
                </a:lnTo>
                <a:lnTo>
                  <a:pt x="798" y="254"/>
                </a:lnTo>
                <a:lnTo>
                  <a:pt x="796" y="254"/>
                </a:lnTo>
                <a:lnTo>
                  <a:pt x="796" y="256"/>
                </a:lnTo>
                <a:lnTo>
                  <a:pt x="798" y="256"/>
                </a:lnTo>
                <a:lnTo>
                  <a:pt x="798" y="259"/>
                </a:lnTo>
                <a:lnTo>
                  <a:pt x="801" y="259"/>
                </a:lnTo>
                <a:lnTo>
                  <a:pt x="801" y="256"/>
                </a:lnTo>
                <a:lnTo>
                  <a:pt x="801" y="254"/>
                </a:lnTo>
                <a:lnTo>
                  <a:pt x="803" y="256"/>
                </a:lnTo>
                <a:lnTo>
                  <a:pt x="803" y="259"/>
                </a:lnTo>
                <a:lnTo>
                  <a:pt x="801" y="259"/>
                </a:lnTo>
                <a:lnTo>
                  <a:pt x="798" y="259"/>
                </a:lnTo>
                <a:lnTo>
                  <a:pt x="798" y="261"/>
                </a:lnTo>
                <a:lnTo>
                  <a:pt x="801" y="261"/>
                </a:lnTo>
                <a:lnTo>
                  <a:pt x="803" y="261"/>
                </a:lnTo>
                <a:lnTo>
                  <a:pt x="805" y="259"/>
                </a:lnTo>
                <a:lnTo>
                  <a:pt x="805" y="261"/>
                </a:lnTo>
                <a:lnTo>
                  <a:pt x="805" y="263"/>
                </a:lnTo>
                <a:lnTo>
                  <a:pt x="803" y="263"/>
                </a:lnTo>
                <a:lnTo>
                  <a:pt x="803" y="266"/>
                </a:lnTo>
                <a:lnTo>
                  <a:pt x="803" y="263"/>
                </a:lnTo>
                <a:lnTo>
                  <a:pt x="805" y="266"/>
                </a:lnTo>
                <a:lnTo>
                  <a:pt x="805" y="268"/>
                </a:lnTo>
                <a:lnTo>
                  <a:pt x="805" y="266"/>
                </a:lnTo>
                <a:lnTo>
                  <a:pt x="805" y="263"/>
                </a:lnTo>
                <a:lnTo>
                  <a:pt x="808" y="263"/>
                </a:lnTo>
                <a:lnTo>
                  <a:pt x="808" y="261"/>
                </a:lnTo>
                <a:lnTo>
                  <a:pt x="808" y="259"/>
                </a:lnTo>
                <a:lnTo>
                  <a:pt x="810" y="259"/>
                </a:lnTo>
                <a:lnTo>
                  <a:pt x="810" y="261"/>
                </a:lnTo>
                <a:lnTo>
                  <a:pt x="810" y="263"/>
                </a:lnTo>
                <a:lnTo>
                  <a:pt x="810" y="266"/>
                </a:lnTo>
                <a:lnTo>
                  <a:pt x="810" y="263"/>
                </a:lnTo>
                <a:lnTo>
                  <a:pt x="810" y="266"/>
                </a:lnTo>
                <a:lnTo>
                  <a:pt x="810" y="268"/>
                </a:lnTo>
                <a:lnTo>
                  <a:pt x="812" y="268"/>
                </a:lnTo>
                <a:lnTo>
                  <a:pt x="810" y="268"/>
                </a:lnTo>
                <a:lnTo>
                  <a:pt x="810" y="270"/>
                </a:lnTo>
                <a:lnTo>
                  <a:pt x="810" y="273"/>
                </a:lnTo>
                <a:lnTo>
                  <a:pt x="812" y="270"/>
                </a:lnTo>
                <a:lnTo>
                  <a:pt x="812" y="268"/>
                </a:lnTo>
                <a:lnTo>
                  <a:pt x="815" y="268"/>
                </a:lnTo>
                <a:lnTo>
                  <a:pt x="815" y="266"/>
                </a:lnTo>
                <a:lnTo>
                  <a:pt x="817" y="266"/>
                </a:lnTo>
                <a:lnTo>
                  <a:pt x="817" y="263"/>
                </a:lnTo>
                <a:lnTo>
                  <a:pt x="817" y="261"/>
                </a:lnTo>
                <a:lnTo>
                  <a:pt x="819" y="263"/>
                </a:lnTo>
                <a:lnTo>
                  <a:pt x="817" y="268"/>
                </a:lnTo>
                <a:lnTo>
                  <a:pt x="819" y="266"/>
                </a:lnTo>
                <a:lnTo>
                  <a:pt x="819" y="268"/>
                </a:lnTo>
                <a:lnTo>
                  <a:pt x="819" y="270"/>
                </a:lnTo>
                <a:lnTo>
                  <a:pt x="819" y="273"/>
                </a:lnTo>
                <a:lnTo>
                  <a:pt x="817" y="273"/>
                </a:lnTo>
                <a:lnTo>
                  <a:pt x="817" y="275"/>
                </a:lnTo>
                <a:lnTo>
                  <a:pt x="817" y="273"/>
                </a:lnTo>
                <a:lnTo>
                  <a:pt x="819" y="273"/>
                </a:lnTo>
                <a:lnTo>
                  <a:pt x="822" y="273"/>
                </a:lnTo>
                <a:lnTo>
                  <a:pt x="822" y="270"/>
                </a:lnTo>
                <a:lnTo>
                  <a:pt x="822" y="268"/>
                </a:lnTo>
                <a:lnTo>
                  <a:pt x="824" y="268"/>
                </a:lnTo>
                <a:lnTo>
                  <a:pt x="824" y="270"/>
                </a:lnTo>
                <a:lnTo>
                  <a:pt x="826" y="268"/>
                </a:lnTo>
                <a:lnTo>
                  <a:pt x="824" y="268"/>
                </a:lnTo>
                <a:lnTo>
                  <a:pt x="824" y="266"/>
                </a:lnTo>
                <a:lnTo>
                  <a:pt x="826" y="266"/>
                </a:lnTo>
                <a:lnTo>
                  <a:pt x="829" y="263"/>
                </a:lnTo>
                <a:lnTo>
                  <a:pt x="826" y="263"/>
                </a:lnTo>
                <a:lnTo>
                  <a:pt x="829" y="263"/>
                </a:lnTo>
                <a:lnTo>
                  <a:pt x="829" y="266"/>
                </a:lnTo>
                <a:lnTo>
                  <a:pt x="829" y="268"/>
                </a:lnTo>
                <a:lnTo>
                  <a:pt x="826" y="268"/>
                </a:lnTo>
                <a:lnTo>
                  <a:pt x="826" y="270"/>
                </a:lnTo>
                <a:lnTo>
                  <a:pt x="826" y="273"/>
                </a:lnTo>
                <a:lnTo>
                  <a:pt x="829" y="270"/>
                </a:lnTo>
                <a:lnTo>
                  <a:pt x="829" y="273"/>
                </a:lnTo>
                <a:lnTo>
                  <a:pt x="829" y="275"/>
                </a:lnTo>
                <a:lnTo>
                  <a:pt x="829" y="277"/>
                </a:lnTo>
                <a:lnTo>
                  <a:pt x="829" y="275"/>
                </a:lnTo>
                <a:lnTo>
                  <a:pt x="829" y="273"/>
                </a:lnTo>
                <a:lnTo>
                  <a:pt x="831" y="273"/>
                </a:lnTo>
                <a:lnTo>
                  <a:pt x="831" y="275"/>
                </a:lnTo>
                <a:lnTo>
                  <a:pt x="831" y="273"/>
                </a:lnTo>
                <a:lnTo>
                  <a:pt x="831" y="270"/>
                </a:lnTo>
                <a:lnTo>
                  <a:pt x="833" y="273"/>
                </a:lnTo>
                <a:lnTo>
                  <a:pt x="833" y="275"/>
                </a:lnTo>
                <a:lnTo>
                  <a:pt x="833" y="277"/>
                </a:lnTo>
                <a:lnTo>
                  <a:pt x="831" y="280"/>
                </a:lnTo>
                <a:lnTo>
                  <a:pt x="833" y="280"/>
                </a:lnTo>
                <a:lnTo>
                  <a:pt x="833" y="275"/>
                </a:lnTo>
                <a:lnTo>
                  <a:pt x="836" y="275"/>
                </a:lnTo>
                <a:lnTo>
                  <a:pt x="836" y="273"/>
                </a:lnTo>
                <a:lnTo>
                  <a:pt x="838" y="273"/>
                </a:lnTo>
                <a:lnTo>
                  <a:pt x="838" y="275"/>
                </a:lnTo>
                <a:lnTo>
                  <a:pt x="840" y="275"/>
                </a:lnTo>
                <a:lnTo>
                  <a:pt x="838" y="270"/>
                </a:lnTo>
                <a:lnTo>
                  <a:pt x="840" y="270"/>
                </a:lnTo>
                <a:lnTo>
                  <a:pt x="840" y="273"/>
                </a:lnTo>
                <a:lnTo>
                  <a:pt x="843" y="275"/>
                </a:lnTo>
                <a:lnTo>
                  <a:pt x="840" y="277"/>
                </a:lnTo>
                <a:lnTo>
                  <a:pt x="840" y="280"/>
                </a:lnTo>
                <a:lnTo>
                  <a:pt x="838" y="280"/>
                </a:lnTo>
                <a:lnTo>
                  <a:pt x="836" y="280"/>
                </a:lnTo>
                <a:lnTo>
                  <a:pt x="833" y="282"/>
                </a:lnTo>
                <a:lnTo>
                  <a:pt x="831" y="282"/>
                </a:lnTo>
                <a:lnTo>
                  <a:pt x="831" y="284"/>
                </a:lnTo>
                <a:lnTo>
                  <a:pt x="833" y="282"/>
                </a:lnTo>
                <a:lnTo>
                  <a:pt x="836" y="282"/>
                </a:lnTo>
                <a:lnTo>
                  <a:pt x="838" y="282"/>
                </a:lnTo>
                <a:lnTo>
                  <a:pt x="840" y="282"/>
                </a:lnTo>
                <a:lnTo>
                  <a:pt x="843" y="282"/>
                </a:lnTo>
                <a:lnTo>
                  <a:pt x="845" y="280"/>
                </a:lnTo>
                <a:lnTo>
                  <a:pt x="847" y="277"/>
                </a:lnTo>
                <a:lnTo>
                  <a:pt x="850" y="277"/>
                </a:lnTo>
                <a:lnTo>
                  <a:pt x="852" y="277"/>
                </a:lnTo>
                <a:lnTo>
                  <a:pt x="854" y="277"/>
                </a:lnTo>
                <a:lnTo>
                  <a:pt x="852" y="280"/>
                </a:lnTo>
                <a:lnTo>
                  <a:pt x="850" y="280"/>
                </a:lnTo>
                <a:lnTo>
                  <a:pt x="850" y="282"/>
                </a:lnTo>
                <a:lnTo>
                  <a:pt x="850" y="284"/>
                </a:lnTo>
                <a:lnTo>
                  <a:pt x="850" y="287"/>
                </a:lnTo>
                <a:lnTo>
                  <a:pt x="850" y="289"/>
                </a:lnTo>
                <a:lnTo>
                  <a:pt x="852" y="289"/>
                </a:lnTo>
                <a:lnTo>
                  <a:pt x="852" y="287"/>
                </a:lnTo>
                <a:lnTo>
                  <a:pt x="854" y="289"/>
                </a:lnTo>
                <a:lnTo>
                  <a:pt x="854" y="287"/>
                </a:lnTo>
                <a:lnTo>
                  <a:pt x="857" y="287"/>
                </a:lnTo>
                <a:lnTo>
                  <a:pt x="857" y="289"/>
                </a:lnTo>
                <a:lnTo>
                  <a:pt x="857" y="291"/>
                </a:lnTo>
                <a:lnTo>
                  <a:pt x="857" y="289"/>
                </a:lnTo>
                <a:lnTo>
                  <a:pt x="859" y="289"/>
                </a:lnTo>
                <a:lnTo>
                  <a:pt x="859" y="287"/>
                </a:lnTo>
                <a:lnTo>
                  <a:pt x="859" y="289"/>
                </a:lnTo>
                <a:lnTo>
                  <a:pt x="859" y="291"/>
                </a:lnTo>
                <a:lnTo>
                  <a:pt x="859" y="294"/>
                </a:lnTo>
                <a:lnTo>
                  <a:pt x="861" y="291"/>
                </a:lnTo>
                <a:lnTo>
                  <a:pt x="861" y="289"/>
                </a:lnTo>
                <a:lnTo>
                  <a:pt x="864" y="291"/>
                </a:lnTo>
                <a:lnTo>
                  <a:pt x="864" y="294"/>
                </a:lnTo>
                <a:lnTo>
                  <a:pt x="864" y="291"/>
                </a:lnTo>
                <a:lnTo>
                  <a:pt x="864" y="289"/>
                </a:lnTo>
                <a:lnTo>
                  <a:pt x="861" y="289"/>
                </a:lnTo>
                <a:lnTo>
                  <a:pt x="864" y="287"/>
                </a:lnTo>
                <a:lnTo>
                  <a:pt x="864" y="284"/>
                </a:lnTo>
                <a:lnTo>
                  <a:pt x="864" y="282"/>
                </a:lnTo>
                <a:lnTo>
                  <a:pt x="866" y="282"/>
                </a:lnTo>
                <a:lnTo>
                  <a:pt x="868" y="280"/>
                </a:lnTo>
                <a:lnTo>
                  <a:pt x="870" y="282"/>
                </a:lnTo>
                <a:lnTo>
                  <a:pt x="870" y="284"/>
                </a:lnTo>
                <a:lnTo>
                  <a:pt x="868" y="284"/>
                </a:lnTo>
                <a:lnTo>
                  <a:pt x="868" y="287"/>
                </a:lnTo>
                <a:lnTo>
                  <a:pt x="866" y="287"/>
                </a:lnTo>
                <a:lnTo>
                  <a:pt x="868" y="287"/>
                </a:lnTo>
                <a:lnTo>
                  <a:pt x="868" y="289"/>
                </a:lnTo>
                <a:lnTo>
                  <a:pt x="866" y="289"/>
                </a:lnTo>
                <a:lnTo>
                  <a:pt x="868" y="289"/>
                </a:lnTo>
                <a:lnTo>
                  <a:pt x="866" y="289"/>
                </a:lnTo>
                <a:lnTo>
                  <a:pt x="866" y="291"/>
                </a:lnTo>
                <a:lnTo>
                  <a:pt x="864" y="298"/>
                </a:lnTo>
                <a:lnTo>
                  <a:pt x="866" y="296"/>
                </a:lnTo>
                <a:lnTo>
                  <a:pt x="868" y="296"/>
                </a:lnTo>
                <a:lnTo>
                  <a:pt x="868" y="298"/>
                </a:lnTo>
                <a:lnTo>
                  <a:pt x="870" y="298"/>
                </a:lnTo>
                <a:lnTo>
                  <a:pt x="870" y="296"/>
                </a:lnTo>
                <a:lnTo>
                  <a:pt x="870" y="298"/>
                </a:lnTo>
                <a:lnTo>
                  <a:pt x="873" y="298"/>
                </a:lnTo>
                <a:lnTo>
                  <a:pt x="873" y="294"/>
                </a:lnTo>
                <a:lnTo>
                  <a:pt x="875" y="294"/>
                </a:lnTo>
                <a:lnTo>
                  <a:pt x="875" y="296"/>
                </a:lnTo>
                <a:lnTo>
                  <a:pt x="875" y="298"/>
                </a:lnTo>
                <a:lnTo>
                  <a:pt x="875" y="301"/>
                </a:lnTo>
                <a:lnTo>
                  <a:pt x="873" y="301"/>
                </a:lnTo>
                <a:lnTo>
                  <a:pt x="875" y="303"/>
                </a:lnTo>
                <a:lnTo>
                  <a:pt x="873" y="303"/>
                </a:lnTo>
                <a:lnTo>
                  <a:pt x="870" y="303"/>
                </a:lnTo>
                <a:lnTo>
                  <a:pt x="870" y="305"/>
                </a:lnTo>
                <a:lnTo>
                  <a:pt x="868" y="305"/>
                </a:lnTo>
                <a:lnTo>
                  <a:pt x="868" y="308"/>
                </a:lnTo>
                <a:lnTo>
                  <a:pt x="870" y="310"/>
                </a:lnTo>
                <a:lnTo>
                  <a:pt x="870" y="312"/>
                </a:lnTo>
                <a:lnTo>
                  <a:pt x="868" y="315"/>
                </a:lnTo>
                <a:lnTo>
                  <a:pt x="868" y="317"/>
                </a:lnTo>
                <a:lnTo>
                  <a:pt x="866" y="319"/>
                </a:lnTo>
                <a:lnTo>
                  <a:pt x="866" y="324"/>
                </a:lnTo>
                <a:lnTo>
                  <a:pt x="866" y="326"/>
                </a:lnTo>
                <a:lnTo>
                  <a:pt x="864" y="326"/>
                </a:lnTo>
                <a:lnTo>
                  <a:pt x="864" y="328"/>
                </a:lnTo>
                <a:lnTo>
                  <a:pt x="864" y="333"/>
                </a:lnTo>
                <a:lnTo>
                  <a:pt x="861" y="333"/>
                </a:lnTo>
                <a:lnTo>
                  <a:pt x="861" y="335"/>
                </a:lnTo>
                <a:lnTo>
                  <a:pt x="857" y="335"/>
                </a:lnTo>
                <a:lnTo>
                  <a:pt x="854" y="335"/>
                </a:lnTo>
                <a:lnTo>
                  <a:pt x="857" y="338"/>
                </a:lnTo>
                <a:lnTo>
                  <a:pt x="857" y="340"/>
                </a:lnTo>
                <a:lnTo>
                  <a:pt x="859" y="340"/>
                </a:lnTo>
                <a:lnTo>
                  <a:pt x="861" y="340"/>
                </a:lnTo>
                <a:lnTo>
                  <a:pt x="861" y="342"/>
                </a:lnTo>
                <a:lnTo>
                  <a:pt x="861" y="345"/>
                </a:lnTo>
                <a:lnTo>
                  <a:pt x="861" y="347"/>
                </a:lnTo>
                <a:lnTo>
                  <a:pt x="861" y="349"/>
                </a:lnTo>
                <a:lnTo>
                  <a:pt x="859" y="352"/>
                </a:lnTo>
                <a:lnTo>
                  <a:pt x="857" y="356"/>
                </a:lnTo>
                <a:lnTo>
                  <a:pt x="854" y="363"/>
                </a:lnTo>
                <a:lnTo>
                  <a:pt x="854" y="366"/>
                </a:lnTo>
                <a:lnTo>
                  <a:pt x="852" y="368"/>
                </a:lnTo>
                <a:lnTo>
                  <a:pt x="850" y="368"/>
                </a:lnTo>
                <a:lnTo>
                  <a:pt x="850" y="370"/>
                </a:lnTo>
                <a:lnTo>
                  <a:pt x="847" y="370"/>
                </a:lnTo>
                <a:lnTo>
                  <a:pt x="847" y="368"/>
                </a:lnTo>
                <a:lnTo>
                  <a:pt x="845" y="368"/>
                </a:lnTo>
                <a:lnTo>
                  <a:pt x="845" y="370"/>
                </a:lnTo>
                <a:lnTo>
                  <a:pt x="845" y="373"/>
                </a:lnTo>
                <a:lnTo>
                  <a:pt x="845" y="375"/>
                </a:lnTo>
                <a:lnTo>
                  <a:pt x="843" y="377"/>
                </a:lnTo>
                <a:lnTo>
                  <a:pt x="845" y="377"/>
                </a:lnTo>
                <a:lnTo>
                  <a:pt x="845" y="380"/>
                </a:lnTo>
                <a:lnTo>
                  <a:pt x="843" y="380"/>
                </a:lnTo>
                <a:lnTo>
                  <a:pt x="843" y="382"/>
                </a:lnTo>
                <a:lnTo>
                  <a:pt x="843" y="384"/>
                </a:lnTo>
                <a:lnTo>
                  <a:pt x="843" y="387"/>
                </a:lnTo>
                <a:lnTo>
                  <a:pt x="843" y="389"/>
                </a:lnTo>
                <a:lnTo>
                  <a:pt x="840" y="389"/>
                </a:lnTo>
                <a:lnTo>
                  <a:pt x="838" y="389"/>
                </a:lnTo>
                <a:lnTo>
                  <a:pt x="838" y="391"/>
                </a:lnTo>
                <a:lnTo>
                  <a:pt x="836" y="394"/>
                </a:lnTo>
                <a:lnTo>
                  <a:pt x="833" y="394"/>
                </a:lnTo>
                <a:lnTo>
                  <a:pt x="831" y="396"/>
                </a:lnTo>
                <a:lnTo>
                  <a:pt x="829" y="396"/>
                </a:lnTo>
                <a:lnTo>
                  <a:pt x="826" y="398"/>
                </a:lnTo>
                <a:lnTo>
                  <a:pt x="826" y="401"/>
                </a:lnTo>
                <a:lnTo>
                  <a:pt x="829" y="405"/>
                </a:lnTo>
                <a:lnTo>
                  <a:pt x="829" y="408"/>
                </a:lnTo>
                <a:lnTo>
                  <a:pt x="831" y="408"/>
                </a:lnTo>
                <a:lnTo>
                  <a:pt x="829" y="410"/>
                </a:lnTo>
                <a:lnTo>
                  <a:pt x="826" y="410"/>
                </a:lnTo>
                <a:lnTo>
                  <a:pt x="829" y="412"/>
                </a:lnTo>
                <a:lnTo>
                  <a:pt x="826" y="410"/>
                </a:lnTo>
                <a:lnTo>
                  <a:pt x="826" y="412"/>
                </a:lnTo>
                <a:lnTo>
                  <a:pt x="826" y="417"/>
                </a:lnTo>
                <a:lnTo>
                  <a:pt x="826" y="419"/>
                </a:lnTo>
                <a:lnTo>
                  <a:pt x="824" y="419"/>
                </a:lnTo>
                <a:lnTo>
                  <a:pt x="824" y="424"/>
                </a:lnTo>
                <a:lnTo>
                  <a:pt x="822" y="426"/>
                </a:lnTo>
                <a:lnTo>
                  <a:pt x="822" y="429"/>
                </a:lnTo>
                <a:lnTo>
                  <a:pt x="819" y="426"/>
                </a:lnTo>
                <a:lnTo>
                  <a:pt x="817" y="429"/>
                </a:lnTo>
                <a:lnTo>
                  <a:pt x="819" y="429"/>
                </a:lnTo>
                <a:lnTo>
                  <a:pt x="817" y="431"/>
                </a:lnTo>
                <a:lnTo>
                  <a:pt x="815" y="431"/>
                </a:lnTo>
                <a:lnTo>
                  <a:pt x="817" y="433"/>
                </a:lnTo>
                <a:lnTo>
                  <a:pt x="815" y="433"/>
                </a:lnTo>
                <a:lnTo>
                  <a:pt x="815" y="436"/>
                </a:lnTo>
                <a:lnTo>
                  <a:pt x="812" y="436"/>
                </a:lnTo>
                <a:lnTo>
                  <a:pt x="812" y="438"/>
                </a:lnTo>
                <a:lnTo>
                  <a:pt x="810" y="438"/>
                </a:lnTo>
                <a:lnTo>
                  <a:pt x="808" y="438"/>
                </a:lnTo>
                <a:lnTo>
                  <a:pt x="805" y="440"/>
                </a:lnTo>
                <a:lnTo>
                  <a:pt x="805" y="443"/>
                </a:lnTo>
                <a:lnTo>
                  <a:pt x="803" y="440"/>
                </a:lnTo>
                <a:lnTo>
                  <a:pt x="803" y="443"/>
                </a:lnTo>
                <a:lnTo>
                  <a:pt x="803" y="445"/>
                </a:lnTo>
                <a:lnTo>
                  <a:pt x="801" y="447"/>
                </a:lnTo>
                <a:lnTo>
                  <a:pt x="801" y="450"/>
                </a:lnTo>
                <a:lnTo>
                  <a:pt x="801" y="452"/>
                </a:lnTo>
                <a:lnTo>
                  <a:pt x="798" y="452"/>
                </a:lnTo>
                <a:lnTo>
                  <a:pt x="796" y="452"/>
                </a:lnTo>
                <a:lnTo>
                  <a:pt x="796" y="454"/>
                </a:lnTo>
                <a:lnTo>
                  <a:pt x="796" y="457"/>
                </a:lnTo>
                <a:lnTo>
                  <a:pt x="796" y="459"/>
                </a:lnTo>
                <a:lnTo>
                  <a:pt x="794" y="459"/>
                </a:lnTo>
                <a:lnTo>
                  <a:pt x="794" y="461"/>
                </a:lnTo>
                <a:lnTo>
                  <a:pt x="794" y="463"/>
                </a:lnTo>
                <a:lnTo>
                  <a:pt x="794" y="466"/>
                </a:lnTo>
                <a:lnTo>
                  <a:pt x="791" y="470"/>
                </a:lnTo>
                <a:lnTo>
                  <a:pt x="791" y="473"/>
                </a:lnTo>
                <a:lnTo>
                  <a:pt x="789" y="475"/>
                </a:lnTo>
                <a:lnTo>
                  <a:pt x="787" y="477"/>
                </a:lnTo>
                <a:lnTo>
                  <a:pt x="784" y="477"/>
                </a:lnTo>
                <a:lnTo>
                  <a:pt x="784" y="480"/>
                </a:lnTo>
                <a:lnTo>
                  <a:pt x="782" y="480"/>
                </a:lnTo>
                <a:lnTo>
                  <a:pt x="777" y="484"/>
                </a:lnTo>
                <a:lnTo>
                  <a:pt x="775" y="484"/>
                </a:lnTo>
                <a:lnTo>
                  <a:pt x="775" y="487"/>
                </a:lnTo>
                <a:lnTo>
                  <a:pt x="775" y="484"/>
                </a:lnTo>
                <a:lnTo>
                  <a:pt x="773" y="484"/>
                </a:lnTo>
                <a:lnTo>
                  <a:pt x="773" y="487"/>
                </a:lnTo>
                <a:lnTo>
                  <a:pt x="773" y="489"/>
                </a:lnTo>
                <a:lnTo>
                  <a:pt x="770" y="489"/>
                </a:lnTo>
                <a:lnTo>
                  <a:pt x="773" y="491"/>
                </a:lnTo>
                <a:lnTo>
                  <a:pt x="770" y="491"/>
                </a:lnTo>
                <a:lnTo>
                  <a:pt x="770" y="494"/>
                </a:lnTo>
                <a:lnTo>
                  <a:pt x="770" y="496"/>
                </a:lnTo>
                <a:lnTo>
                  <a:pt x="768" y="498"/>
                </a:lnTo>
                <a:lnTo>
                  <a:pt x="766" y="498"/>
                </a:lnTo>
                <a:lnTo>
                  <a:pt x="766" y="501"/>
                </a:lnTo>
                <a:lnTo>
                  <a:pt x="763" y="501"/>
                </a:lnTo>
                <a:lnTo>
                  <a:pt x="763" y="503"/>
                </a:lnTo>
                <a:lnTo>
                  <a:pt x="761" y="503"/>
                </a:lnTo>
                <a:lnTo>
                  <a:pt x="761" y="505"/>
                </a:lnTo>
                <a:lnTo>
                  <a:pt x="761" y="508"/>
                </a:lnTo>
                <a:lnTo>
                  <a:pt x="759" y="508"/>
                </a:lnTo>
                <a:lnTo>
                  <a:pt x="759" y="510"/>
                </a:lnTo>
                <a:lnTo>
                  <a:pt x="756" y="510"/>
                </a:lnTo>
                <a:lnTo>
                  <a:pt x="756" y="512"/>
                </a:lnTo>
                <a:lnTo>
                  <a:pt x="754" y="512"/>
                </a:lnTo>
                <a:lnTo>
                  <a:pt x="754" y="515"/>
                </a:lnTo>
                <a:lnTo>
                  <a:pt x="747" y="517"/>
                </a:lnTo>
                <a:lnTo>
                  <a:pt x="747" y="519"/>
                </a:lnTo>
                <a:lnTo>
                  <a:pt x="745" y="519"/>
                </a:lnTo>
                <a:lnTo>
                  <a:pt x="745" y="517"/>
                </a:lnTo>
                <a:lnTo>
                  <a:pt x="742" y="517"/>
                </a:lnTo>
                <a:lnTo>
                  <a:pt x="740" y="517"/>
                </a:lnTo>
                <a:lnTo>
                  <a:pt x="738" y="517"/>
                </a:lnTo>
                <a:lnTo>
                  <a:pt x="708" y="538"/>
                </a:lnTo>
                <a:lnTo>
                  <a:pt x="673" y="561"/>
                </a:lnTo>
                <a:lnTo>
                  <a:pt x="675" y="561"/>
                </a:lnTo>
                <a:lnTo>
                  <a:pt x="680" y="564"/>
                </a:lnTo>
                <a:lnTo>
                  <a:pt x="682" y="566"/>
                </a:lnTo>
                <a:lnTo>
                  <a:pt x="684" y="566"/>
                </a:lnTo>
                <a:lnTo>
                  <a:pt x="687" y="566"/>
                </a:lnTo>
                <a:lnTo>
                  <a:pt x="696" y="566"/>
                </a:lnTo>
                <a:lnTo>
                  <a:pt x="698" y="573"/>
                </a:lnTo>
                <a:lnTo>
                  <a:pt x="701" y="575"/>
                </a:lnTo>
                <a:lnTo>
                  <a:pt x="703" y="575"/>
                </a:lnTo>
                <a:lnTo>
                  <a:pt x="705" y="575"/>
                </a:lnTo>
                <a:lnTo>
                  <a:pt x="705" y="578"/>
                </a:lnTo>
                <a:lnTo>
                  <a:pt x="708" y="578"/>
                </a:lnTo>
                <a:lnTo>
                  <a:pt x="708" y="580"/>
                </a:lnTo>
                <a:lnTo>
                  <a:pt x="710" y="580"/>
                </a:lnTo>
                <a:lnTo>
                  <a:pt x="710" y="582"/>
                </a:lnTo>
                <a:lnTo>
                  <a:pt x="710" y="585"/>
                </a:lnTo>
                <a:lnTo>
                  <a:pt x="708" y="587"/>
                </a:lnTo>
                <a:lnTo>
                  <a:pt x="705" y="587"/>
                </a:lnTo>
                <a:lnTo>
                  <a:pt x="703" y="589"/>
                </a:lnTo>
                <a:lnTo>
                  <a:pt x="701" y="587"/>
                </a:lnTo>
                <a:lnTo>
                  <a:pt x="701" y="589"/>
                </a:lnTo>
                <a:lnTo>
                  <a:pt x="698" y="589"/>
                </a:lnTo>
                <a:lnTo>
                  <a:pt x="698" y="594"/>
                </a:lnTo>
                <a:lnTo>
                  <a:pt x="698" y="596"/>
                </a:lnTo>
                <a:lnTo>
                  <a:pt x="701" y="596"/>
                </a:lnTo>
                <a:lnTo>
                  <a:pt x="703" y="599"/>
                </a:lnTo>
                <a:lnTo>
                  <a:pt x="703" y="601"/>
                </a:lnTo>
                <a:lnTo>
                  <a:pt x="703" y="603"/>
                </a:lnTo>
                <a:lnTo>
                  <a:pt x="698" y="603"/>
                </a:lnTo>
                <a:lnTo>
                  <a:pt x="696" y="603"/>
                </a:lnTo>
                <a:lnTo>
                  <a:pt x="696" y="606"/>
                </a:lnTo>
                <a:lnTo>
                  <a:pt x="696" y="608"/>
                </a:lnTo>
                <a:lnTo>
                  <a:pt x="698" y="608"/>
                </a:lnTo>
                <a:lnTo>
                  <a:pt x="698" y="610"/>
                </a:lnTo>
                <a:lnTo>
                  <a:pt x="698" y="612"/>
                </a:lnTo>
                <a:lnTo>
                  <a:pt x="696" y="615"/>
                </a:lnTo>
                <a:lnTo>
                  <a:pt x="689" y="615"/>
                </a:lnTo>
                <a:lnTo>
                  <a:pt x="689" y="617"/>
                </a:lnTo>
                <a:lnTo>
                  <a:pt x="689" y="622"/>
                </a:lnTo>
                <a:lnTo>
                  <a:pt x="689" y="624"/>
                </a:lnTo>
                <a:lnTo>
                  <a:pt x="689" y="626"/>
                </a:lnTo>
                <a:lnTo>
                  <a:pt x="691" y="626"/>
                </a:lnTo>
                <a:lnTo>
                  <a:pt x="691" y="629"/>
                </a:lnTo>
                <a:lnTo>
                  <a:pt x="689" y="629"/>
                </a:lnTo>
                <a:lnTo>
                  <a:pt x="684" y="629"/>
                </a:lnTo>
                <a:lnTo>
                  <a:pt x="682" y="629"/>
                </a:lnTo>
                <a:lnTo>
                  <a:pt x="677" y="631"/>
                </a:lnTo>
                <a:lnTo>
                  <a:pt x="675" y="633"/>
                </a:lnTo>
                <a:lnTo>
                  <a:pt x="675" y="636"/>
                </a:lnTo>
                <a:lnTo>
                  <a:pt x="673" y="638"/>
                </a:lnTo>
                <a:lnTo>
                  <a:pt x="670" y="638"/>
                </a:lnTo>
                <a:lnTo>
                  <a:pt x="670" y="640"/>
                </a:lnTo>
                <a:lnTo>
                  <a:pt x="673" y="640"/>
                </a:lnTo>
                <a:lnTo>
                  <a:pt x="670" y="645"/>
                </a:lnTo>
                <a:lnTo>
                  <a:pt x="670" y="647"/>
                </a:lnTo>
                <a:lnTo>
                  <a:pt x="661" y="650"/>
                </a:lnTo>
                <a:lnTo>
                  <a:pt x="659" y="652"/>
                </a:lnTo>
                <a:lnTo>
                  <a:pt x="656" y="652"/>
                </a:lnTo>
                <a:lnTo>
                  <a:pt x="654" y="652"/>
                </a:lnTo>
                <a:lnTo>
                  <a:pt x="647" y="654"/>
                </a:lnTo>
                <a:lnTo>
                  <a:pt x="645" y="654"/>
                </a:lnTo>
                <a:lnTo>
                  <a:pt x="635" y="661"/>
                </a:lnTo>
                <a:lnTo>
                  <a:pt x="633" y="661"/>
                </a:lnTo>
                <a:lnTo>
                  <a:pt x="633" y="664"/>
                </a:lnTo>
                <a:lnTo>
                  <a:pt x="633" y="673"/>
                </a:lnTo>
                <a:lnTo>
                  <a:pt x="633" y="682"/>
                </a:lnTo>
                <a:lnTo>
                  <a:pt x="631" y="687"/>
                </a:lnTo>
                <a:lnTo>
                  <a:pt x="619" y="699"/>
                </a:lnTo>
                <a:lnTo>
                  <a:pt x="619" y="701"/>
                </a:lnTo>
                <a:lnTo>
                  <a:pt x="619" y="706"/>
                </a:lnTo>
                <a:lnTo>
                  <a:pt x="619" y="708"/>
                </a:lnTo>
                <a:lnTo>
                  <a:pt x="621" y="710"/>
                </a:lnTo>
                <a:lnTo>
                  <a:pt x="624" y="713"/>
                </a:lnTo>
                <a:lnTo>
                  <a:pt x="628" y="717"/>
                </a:lnTo>
                <a:lnTo>
                  <a:pt x="631" y="717"/>
                </a:lnTo>
                <a:lnTo>
                  <a:pt x="633" y="720"/>
                </a:lnTo>
                <a:lnTo>
                  <a:pt x="631" y="722"/>
                </a:lnTo>
                <a:lnTo>
                  <a:pt x="631" y="724"/>
                </a:lnTo>
                <a:lnTo>
                  <a:pt x="631" y="727"/>
                </a:lnTo>
                <a:lnTo>
                  <a:pt x="631" y="729"/>
                </a:lnTo>
                <a:lnTo>
                  <a:pt x="628" y="731"/>
                </a:lnTo>
                <a:lnTo>
                  <a:pt x="628" y="736"/>
                </a:lnTo>
                <a:lnTo>
                  <a:pt x="626" y="738"/>
                </a:lnTo>
                <a:lnTo>
                  <a:pt x="626" y="741"/>
                </a:lnTo>
                <a:lnTo>
                  <a:pt x="621" y="754"/>
                </a:lnTo>
                <a:lnTo>
                  <a:pt x="619" y="754"/>
                </a:lnTo>
                <a:lnTo>
                  <a:pt x="619" y="757"/>
                </a:lnTo>
                <a:lnTo>
                  <a:pt x="617" y="759"/>
                </a:lnTo>
                <a:lnTo>
                  <a:pt x="614" y="759"/>
                </a:lnTo>
                <a:lnTo>
                  <a:pt x="614" y="761"/>
                </a:lnTo>
                <a:lnTo>
                  <a:pt x="612" y="766"/>
                </a:lnTo>
                <a:lnTo>
                  <a:pt x="607" y="771"/>
                </a:lnTo>
                <a:lnTo>
                  <a:pt x="605" y="773"/>
                </a:lnTo>
                <a:lnTo>
                  <a:pt x="605" y="775"/>
                </a:lnTo>
                <a:lnTo>
                  <a:pt x="603" y="780"/>
                </a:lnTo>
                <a:lnTo>
                  <a:pt x="601" y="782"/>
                </a:lnTo>
                <a:lnTo>
                  <a:pt x="601" y="785"/>
                </a:lnTo>
                <a:lnTo>
                  <a:pt x="598" y="785"/>
                </a:lnTo>
                <a:lnTo>
                  <a:pt x="594" y="787"/>
                </a:lnTo>
                <a:lnTo>
                  <a:pt x="591" y="787"/>
                </a:lnTo>
                <a:lnTo>
                  <a:pt x="589" y="789"/>
                </a:lnTo>
                <a:lnTo>
                  <a:pt x="587" y="789"/>
                </a:lnTo>
                <a:lnTo>
                  <a:pt x="587" y="792"/>
                </a:lnTo>
                <a:lnTo>
                  <a:pt x="584" y="794"/>
                </a:lnTo>
                <a:lnTo>
                  <a:pt x="584" y="796"/>
                </a:lnTo>
                <a:lnTo>
                  <a:pt x="582" y="796"/>
                </a:lnTo>
                <a:lnTo>
                  <a:pt x="580" y="799"/>
                </a:lnTo>
                <a:lnTo>
                  <a:pt x="577" y="803"/>
                </a:lnTo>
                <a:lnTo>
                  <a:pt x="575" y="806"/>
                </a:lnTo>
                <a:lnTo>
                  <a:pt x="573" y="808"/>
                </a:lnTo>
                <a:lnTo>
                  <a:pt x="570" y="810"/>
                </a:lnTo>
                <a:lnTo>
                  <a:pt x="568" y="813"/>
                </a:lnTo>
                <a:lnTo>
                  <a:pt x="568" y="815"/>
                </a:lnTo>
                <a:lnTo>
                  <a:pt x="566" y="815"/>
                </a:lnTo>
                <a:lnTo>
                  <a:pt x="566" y="817"/>
                </a:lnTo>
                <a:lnTo>
                  <a:pt x="566" y="820"/>
                </a:lnTo>
                <a:lnTo>
                  <a:pt x="563" y="824"/>
                </a:lnTo>
                <a:lnTo>
                  <a:pt x="563" y="829"/>
                </a:lnTo>
                <a:lnTo>
                  <a:pt x="563" y="831"/>
                </a:lnTo>
                <a:lnTo>
                  <a:pt x="561" y="834"/>
                </a:lnTo>
                <a:lnTo>
                  <a:pt x="561" y="836"/>
                </a:lnTo>
                <a:lnTo>
                  <a:pt x="559" y="838"/>
                </a:lnTo>
                <a:lnTo>
                  <a:pt x="559" y="841"/>
                </a:lnTo>
                <a:lnTo>
                  <a:pt x="556" y="841"/>
                </a:lnTo>
                <a:lnTo>
                  <a:pt x="556" y="843"/>
                </a:lnTo>
                <a:lnTo>
                  <a:pt x="554" y="845"/>
                </a:lnTo>
                <a:lnTo>
                  <a:pt x="493" y="838"/>
                </a:lnTo>
                <a:lnTo>
                  <a:pt x="486" y="838"/>
                </a:lnTo>
                <a:lnTo>
                  <a:pt x="244" y="813"/>
                </a:lnTo>
                <a:lnTo>
                  <a:pt x="156" y="803"/>
                </a:lnTo>
                <a:lnTo>
                  <a:pt x="154" y="803"/>
                </a:lnTo>
                <a:lnTo>
                  <a:pt x="151" y="801"/>
                </a:lnTo>
                <a:lnTo>
                  <a:pt x="149" y="799"/>
                </a:lnTo>
                <a:lnTo>
                  <a:pt x="147" y="799"/>
                </a:lnTo>
                <a:lnTo>
                  <a:pt x="144" y="799"/>
                </a:lnTo>
                <a:lnTo>
                  <a:pt x="142" y="796"/>
                </a:lnTo>
                <a:lnTo>
                  <a:pt x="140" y="796"/>
                </a:lnTo>
                <a:lnTo>
                  <a:pt x="140" y="799"/>
                </a:lnTo>
                <a:lnTo>
                  <a:pt x="137" y="799"/>
                </a:lnTo>
                <a:lnTo>
                  <a:pt x="135" y="799"/>
                </a:lnTo>
                <a:lnTo>
                  <a:pt x="135" y="796"/>
                </a:lnTo>
                <a:lnTo>
                  <a:pt x="135" y="794"/>
                </a:lnTo>
                <a:lnTo>
                  <a:pt x="133" y="792"/>
                </a:lnTo>
                <a:lnTo>
                  <a:pt x="133" y="789"/>
                </a:lnTo>
                <a:lnTo>
                  <a:pt x="130" y="789"/>
                </a:lnTo>
                <a:lnTo>
                  <a:pt x="126" y="787"/>
                </a:lnTo>
                <a:lnTo>
                  <a:pt x="123" y="787"/>
                </a:lnTo>
                <a:lnTo>
                  <a:pt x="121" y="787"/>
                </a:lnTo>
                <a:lnTo>
                  <a:pt x="119" y="787"/>
                </a:lnTo>
                <a:lnTo>
                  <a:pt x="116" y="785"/>
                </a:lnTo>
                <a:lnTo>
                  <a:pt x="116" y="780"/>
                </a:lnTo>
                <a:lnTo>
                  <a:pt x="116" y="778"/>
                </a:lnTo>
                <a:lnTo>
                  <a:pt x="116" y="775"/>
                </a:lnTo>
                <a:lnTo>
                  <a:pt x="112" y="773"/>
                </a:lnTo>
                <a:lnTo>
                  <a:pt x="109" y="773"/>
                </a:lnTo>
                <a:lnTo>
                  <a:pt x="107" y="771"/>
                </a:lnTo>
                <a:lnTo>
                  <a:pt x="102" y="768"/>
                </a:lnTo>
                <a:lnTo>
                  <a:pt x="100" y="766"/>
                </a:lnTo>
                <a:lnTo>
                  <a:pt x="98" y="766"/>
                </a:lnTo>
                <a:lnTo>
                  <a:pt x="98" y="764"/>
                </a:lnTo>
                <a:lnTo>
                  <a:pt x="95" y="761"/>
                </a:lnTo>
                <a:lnTo>
                  <a:pt x="93" y="759"/>
                </a:lnTo>
                <a:lnTo>
                  <a:pt x="91" y="759"/>
                </a:lnTo>
                <a:lnTo>
                  <a:pt x="91" y="757"/>
                </a:lnTo>
                <a:lnTo>
                  <a:pt x="89" y="757"/>
                </a:lnTo>
                <a:lnTo>
                  <a:pt x="86" y="754"/>
                </a:lnTo>
                <a:lnTo>
                  <a:pt x="84" y="754"/>
                </a:lnTo>
                <a:lnTo>
                  <a:pt x="84" y="752"/>
                </a:lnTo>
                <a:lnTo>
                  <a:pt x="84" y="750"/>
                </a:lnTo>
                <a:lnTo>
                  <a:pt x="84" y="748"/>
                </a:lnTo>
                <a:lnTo>
                  <a:pt x="82" y="748"/>
                </a:lnTo>
                <a:lnTo>
                  <a:pt x="82" y="745"/>
                </a:lnTo>
                <a:lnTo>
                  <a:pt x="82" y="743"/>
                </a:lnTo>
                <a:lnTo>
                  <a:pt x="82" y="741"/>
                </a:lnTo>
                <a:lnTo>
                  <a:pt x="82" y="738"/>
                </a:lnTo>
                <a:lnTo>
                  <a:pt x="79" y="736"/>
                </a:lnTo>
                <a:lnTo>
                  <a:pt x="79" y="734"/>
                </a:lnTo>
                <a:lnTo>
                  <a:pt x="79" y="731"/>
                </a:lnTo>
                <a:lnTo>
                  <a:pt x="79" y="729"/>
                </a:lnTo>
                <a:lnTo>
                  <a:pt x="79" y="727"/>
                </a:lnTo>
                <a:lnTo>
                  <a:pt x="82" y="727"/>
                </a:lnTo>
                <a:lnTo>
                  <a:pt x="82" y="724"/>
                </a:lnTo>
                <a:lnTo>
                  <a:pt x="82" y="722"/>
                </a:lnTo>
                <a:lnTo>
                  <a:pt x="82" y="720"/>
                </a:lnTo>
                <a:lnTo>
                  <a:pt x="77" y="717"/>
                </a:lnTo>
                <a:lnTo>
                  <a:pt x="77" y="715"/>
                </a:lnTo>
                <a:lnTo>
                  <a:pt x="77" y="713"/>
                </a:lnTo>
                <a:lnTo>
                  <a:pt x="72" y="710"/>
                </a:lnTo>
                <a:lnTo>
                  <a:pt x="72" y="708"/>
                </a:lnTo>
                <a:lnTo>
                  <a:pt x="72" y="706"/>
                </a:lnTo>
                <a:lnTo>
                  <a:pt x="70" y="703"/>
                </a:lnTo>
                <a:lnTo>
                  <a:pt x="70" y="701"/>
                </a:lnTo>
                <a:lnTo>
                  <a:pt x="70" y="699"/>
                </a:lnTo>
                <a:lnTo>
                  <a:pt x="68" y="694"/>
                </a:lnTo>
                <a:lnTo>
                  <a:pt x="68" y="692"/>
                </a:lnTo>
                <a:lnTo>
                  <a:pt x="65" y="687"/>
                </a:lnTo>
                <a:lnTo>
                  <a:pt x="65" y="685"/>
                </a:lnTo>
                <a:lnTo>
                  <a:pt x="63" y="682"/>
                </a:lnTo>
                <a:lnTo>
                  <a:pt x="61" y="678"/>
                </a:lnTo>
                <a:lnTo>
                  <a:pt x="61" y="675"/>
                </a:lnTo>
                <a:lnTo>
                  <a:pt x="56" y="668"/>
                </a:lnTo>
                <a:lnTo>
                  <a:pt x="51" y="664"/>
                </a:lnTo>
                <a:lnTo>
                  <a:pt x="49" y="661"/>
                </a:lnTo>
                <a:lnTo>
                  <a:pt x="49" y="659"/>
                </a:lnTo>
                <a:lnTo>
                  <a:pt x="47" y="659"/>
                </a:lnTo>
                <a:lnTo>
                  <a:pt x="47" y="657"/>
                </a:lnTo>
                <a:lnTo>
                  <a:pt x="49" y="657"/>
                </a:lnTo>
                <a:lnTo>
                  <a:pt x="49" y="654"/>
                </a:lnTo>
                <a:lnTo>
                  <a:pt x="47" y="652"/>
                </a:lnTo>
                <a:lnTo>
                  <a:pt x="47" y="650"/>
                </a:lnTo>
                <a:lnTo>
                  <a:pt x="44" y="647"/>
                </a:lnTo>
                <a:lnTo>
                  <a:pt x="42" y="645"/>
                </a:lnTo>
                <a:lnTo>
                  <a:pt x="40" y="640"/>
                </a:lnTo>
                <a:lnTo>
                  <a:pt x="37" y="640"/>
                </a:lnTo>
                <a:lnTo>
                  <a:pt x="35" y="638"/>
                </a:lnTo>
                <a:lnTo>
                  <a:pt x="33" y="636"/>
                </a:lnTo>
                <a:lnTo>
                  <a:pt x="30" y="633"/>
                </a:lnTo>
                <a:lnTo>
                  <a:pt x="30" y="626"/>
                </a:lnTo>
                <a:lnTo>
                  <a:pt x="28" y="624"/>
                </a:lnTo>
                <a:lnTo>
                  <a:pt x="28" y="622"/>
                </a:lnTo>
                <a:lnTo>
                  <a:pt x="30" y="622"/>
                </a:lnTo>
                <a:lnTo>
                  <a:pt x="30" y="619"/>
                </a:lnTo>
                <a:lnTo>
                  <a:pt x="30" y="617"/>
                </a:lnTo>
                <a:lnTo>
                  <a:pt x="33" y="617"/>
                </a:lnTo>
                <a:lnTo>
                  <a:pt x="37" y="612"/>
                </a:lnTo>
                <a:lnTo>
                  <a:pt x="40" y="608"/>
                </a:lnTo>
                <a:lnTo>
                  <a:pt x="147" y="391"/>
                </a:lnTo>
                <a:lnTo>
                  <a:pt x="172" y="338"/>
                </a:lnTo>
                <a:lnTo>
                  <a:pt x="172" y="335"/>
                </a:lnTo>
                <a:lnTo>
                  <a:pt x="172" y="333"/>
                </a:lnTo>
                <a:lnTo>
                  <a:pt x="172" y="331"/>
                </a:lnTo>
                <a:lnTo>
                  <a:pt x="177" y="328"/>
                </a:lnTo>
                <a:lnTo>
                  <a:pt x="175" y="328"/>
                </a:lnTo>
                <a:lnTo>
                  <a:pt x="172" y="328"/>
                </a:lnTo>
                <a:lnTo>
                  <a:pt x="172" y="331"/>
                </a:lnTo>
                <a:lnTo>
                  <a:pt x="172" y="328"/>
                </a:lnTo>
                <a:lnTo>
                  <a:pt x="170" y="328"/>
                </a:lnTo>
                <a:lnTo>
                  <a:pt x="168" y="328"/>
                </a:lnTo>
                <a:lnTo>
                  <a:pt x="165" y="328"/>
                </a:lnTo>
                <a:lnTo>
                  <a:pt x="165" y="326"/>
                </a:lnTo>
                <a:lnTo>
                  <a:pt x="168" y="324"/>
                </a:lnTo>
                <a:lnTo>
                  <a:pt x="165" y="321"/>
                </a:lnTo>
                <a:lnTo>
                  <a:pt x="163" y="321"/>
                </a:lnTo>
                <a:lnTo>
                  <a:pt x="161" y="324"/>
                </a:lnTo>
                <a:lnTo>
                  <a:pt x="156" y="326"/>
                </a:lnTo>
                <a:lnTo>
                  <a:pt x="154" y="326"/>
                </a:lnTo>
                <a:lnTo>
                  <a:pt x="154" y="324"/>
                </a:lnTo>
                <a:lnTo>
                  <a:pt x="151" y="324"/>
                </a:lnTo>
                <a:lnTo>
                  <a:pt x="149" y="324"/>
                </a:lnTo>
                <a:lnTo>
                  <a:pt x="149" y="321"/>
                </a:lnTo>
                <a:lnTo>
                  <a:pt x="147" y="321"/>
                </a:lnTo>
                <a:lnTo>
                  <a:pt x="147" y="319"/>
                </a:lnTo>
                <a:lnTo>
                  <a:pt x="149" y="319"/>
                </a:lnTo>
                <a:lnTo>
                  <a:pt x="149" y="317"/>
                </a:lnTo>
                <a:lnTo>
                  <a:pt x="149" y="315"/>
                </a:lnTo>
                <a:lnTo>
                  <a:pt x="149" y="312"/>
                </a:lnTo>
                <a:lnTo>
                  <a:pt x="147" y="312"/>
                </a:lnTo>
                <a:lnTo>
                  <a:pt x="144" y="312"/>
                </a:lnTo>
                <a:lnTo>
                  <a:pt x="142" y="312"/>
                </a:lnTo>
                <a:lnTo>
                  <a:pt x="137" y="310"/>
                </a:lnTo>
                <a:lnTo>
                  <a:pt x="137" y="308"/>
                </a:lnTo>
                <a:lnTo>
                  <a:pt x="133" y="308"/>
                </a:lnTo>
                <a:lnTo>
                  <a:pt x="133" y="305"/>
                </a:lnTo>
                <a:lnTo>
                  <a:pt x="128" y="303"/>
                </a:lnTo>
                <a:lnTo>
                  <a:pt x="128" y="301"/>
                </a:lnTo>
                <a:lnTo>
                  <a:pt x="126" y="298"/>
                </a:lnTo>
                <a:lnTo>
                  <a:pt x="123" y="296"/>
                </a:lnTo>
                <a:lnTo>
                  <a:pt x="121" y="296"/>
                </a:lnTo>
                <a:lnTo>
                  <a:pt x="119" y="294"/>
                </a:lnTo>
                <a:lnTo>
                  <a:pt x="116" y="294"/>
                </a:lnTo>
                <a:lnTo>
                  <a:pt x="114" y="294"/>
                </a:lnTo>
                <a:lnTo>
                  <a:pt x="116" y="291"/>
                </a:lnTo>
                <a:lnTo>
                  <a:pt x="114" y="291"/>
                </a:lnTo>
                <a:lnTo>
                  <a:pt x="112" y="291"/>
                </a:lnTo>
                <a:lnTo>
                  <a:pt x="109" y="291"/>
                </a:lnTo>
                <a:lnTo>
                  <a:pt x="107" y="291"/>
                </a:lnTo>
                <a:lnTo>
                  <a:pt x="105" y="291"/>
                </a:lnTo>
                <a:lnTo>
                  <a:pt x="102" y="289"/>
                </a:lnTo>
                <a:lnTo>
                  <a:pt x="100" y="289"/>
                </a:lnTo>
                <a:lnTo>
                  <a:pt x="100" y="287"/>
                </a:lnTo>
                <a:lnTo>
                  <a:pt x="98" y="287"/>
                </a:lnTo>
                <a:lnTo>
                  <a:pt x="95" y="284"/>
                </a:lnTo>
                <a:lnTo>
                  <a:pt x="93" y="284"/>
                </a:lnTo>
                <a:lnTo>
                  <a:pt x="89" y="282"/>
                </a:lnTo>
                <a:lnTo>
                  <a:pt x="86" y="282"/>
                </a:lnTo>
                <a:lnTo>
                  <a:pt x="86" y="280"/>
                </a:lnTo>
                <a:lnTo>
                  <a:pt x="84" y="277"/>
                </a:lnTo>
                <a:lnTo>
                  <a:pt x="82" y="277"/>
                </a:lnTo>
                <a:lnTo>
                  <a:pt x="79" y="273"/>
                </a:lnTo>
                <a:lnTo>
                  <a:pt x="77" y="273"/>
                </a:lnTo>
                <a:lnTo>
                  <a:pt x="72" y="270"/>
                </a:lnTo>
                <a:lnTo>
                  <a:pt x="70" y="270"/>
                </a:lnTo>
                <a:lnTo>
                  <a:pt x="70" y="268"/>
                </a:lnTo>
                <a:lnTo>
                  <a:pt x="68" y="268"/>
                </a:lnTo>
                <a:lnTo>
                  <a:pt x="68" y="266"/>
                </a:lnTo>
                <a:lnTo>
                  <a:pt x="65" y="266"/>
                </a:lnTo>
                <a:lnTo>
                  <a:pt x="58" y="261"/>
                </a:lnTo>
                <a:lnTo>
                  <a:pt x="58" y="259"/>
                </a:lnTo>
                <a:lnTo>
                  <a:pt x="56" y="259"/>
                </a:lnTo>
                <a:lnTo>
                  <a:pt x="54" y="259"/>
                </a:lnTo>
                <a:lnTo>
                  <a:pt x="54" y="256"/>
                </a:lnTo>
                <a:lnTo>
                  <a:pt x="51" y="256"/>
                </a:lnTo>
                <a:lnTo>
                  <a:pt x="49" y="252"/>
                </a:lnTo>
                <a:lnTo>
                  <a:pt x="47" y="249"/>
                </a:lnTo>
                <a:lnTo>
                  <a:pt x="44" y="249"/>
                </a:lnTo>
                <a:lnTo>
                  <a:pt x="40" y="245"/>
                </a:lnTo>
                <a:lnTo>
                  <a:pt x="37" y="245"/>
                </a:lnTo>
                <a:lnTo>
                  <a:pt x="37" y="242"/>
                </a:lnTo>
                <a:lnTo>
                  <a:pt x="37" y="240"/>
                </a:lnTo>
                <a:lnTo>
                  <a:pt x="37" y="238"/>
                </a:lnTo>
                <a:lnTo>
                  <a:pt x="37" y="235"/>
                </a:lnTo>
                <a:lnTo>
                  <a:pt x="35" y="235"/>
                </a:lnTo>
                <a:lnTo>
                  <a:pt x="35" y="233"/>
                </a:lnTo>
                <a:lnTo>
                  <a:pt x="35" y="231"/>
                </a:lnTo>
                <a:lnTo>
                  <a:pt x="33" y="231"/>
                </a:lnTo>
                <a:lnTo>
                  <a:pt x="33" y="228"/>
                </a:lnTo>
                <a:lnTo>
                  <a:pt x="30" y="228"/>
                </a:lnTo>
                <a:lnTo>
                  <a:pt x="28" y="226"/>
                </a:lnTo>
                <a:lnTo>
                  <a:pt x="26" y="226"/>
                </a:lnTo>
                <a:lnTo>
                  <a:pt x="23" y="226"/>
                </a:lnTo>
                <a:lnTo>
                  <a:pt x="16" y="221"/>
                </a:lnTo>
                <a:lnTo>
                  <a:pt x="14" y="217"/>
                </a:lnTo>
                <a:lnTo>
                  <a:pt x="14" y="214"/>
                </a:lnTo>
                <a:lnTo>
                  <a:pt x="14" y="210"/>
                </a:lnTo>
                <a:lnTo>
                  <a:pt x="14" y="207"/>
                </a:lnTo>
                <a:lnTo>
                  <a:pt x="16" y="205"/>
                </a:lnTo>
                <a:lnTo>
                  <a:pt x="16" y="203"/>
                </a:lnTo>
                <a:lnTo>
                  <a:pt x="14" y="203"/>
                </a:lnTo>
                <a:lnTo>
                  <a:pt x="14" y="200"/>
                </a:lnTo>
                <a:lnTo>
                  <a:pt x="9" y="200"/>
                </a:lnTo>
                <a:lnTo>
                  <a:pt x="9" y="198"/>
                </a:lnTo>
                <a:lnTo>
                  <a:pt x="7" y="198"/>
                </a:lnTo>
                <a:lnTo>
                  <a:pt x="7" y="196"/>
                </a:lnTo>
                <a:lnTo>
                  <a:pt x="7" y="193"/>
                </a:lnTo>
                <a:lnTo>
                  <a:pt x="7" y="184"/>
                </a:lnTo>
                <a:lnTo>
                  <a:pt x="7" y="182"/>
                </a:lnTo>
                <a:lnTo>
                  <a:pt x="7" y="179"/>
                </a:lnTo>
                <a:lnTo>
                  <a:pt x="7" y="159"/>
                </a:lnTo>
                <a:lnTo>
                  <a:pt x="0" y="84"/>
                </a:lnTo>
                <a:lnTo>
                  <a:pt x="2" y="84"/>
                </a:lnTo>
                <a:lnTo>
                  <a:pt x="5" y="86"/>
                </a:lnTo>
                <a:lnTo>
                  <a:pt x="5" y="89"/>
                </a:lnTo>
                <a:lnTo>
                  <a:pt x="7" y="91"/>
                </a:lnTo>
                <a:lnTo>
                  <a:pt x="9" y="91"/>
                </a:lnTo>
                <a:lnTo>
                  <a:pt x="12" y="91"/>
                </a:lnTo>
                <a:lnTo>
                  <a:pt x="14" y="91"/>
                </a:lnTo>
                <a:lnTo>
                  <a:pt x="16" y="91"/>
                </a:lnTo>
                <a:lnTo>
                  <a:pt x="16" y="89"/>
                </a:lnTo>
                <a:lnTo>
                  <a:pt x="19" y="86"/>
                </a:lnTo>
                <a:lnTo>
                  <a:pt x="21" y="86"/>
                </a:lnTo>
                <a:lnTo>
                  <a:pt x="28" y="86"/>
                </a:lnTo>
                <a:lnTo>
                  <a:pt x="30" y="86"/>
                </a:lnTo>
                <a:lnTo>
                  <a:pt x="33" y="84"/>
                </a:lnTo>
                <a:lnTo>
                  <a:pt x="35" y="82"/>
                </a:lnTo>
                <a:lnTo>
                  <a:pt x="35" y="79"/>
                </a:lnTo>
                <a:lnTo>
                  <a:pt x="33" y="79"/>
                </a:lnTo>
                <a:lnTo>
                  <a:pt x="33" y="77"/>
                </a:lnTo>
                <a:lnTo>
                  <a:pt x="33" y="75"/>
                </a:lnTo>
                <a:lnTo>
                  <a:pt x="33" y="72"/>
                </a:lnTo>
                <a:lnTo>
                  <a:pt x="37" y="72"/>
                </a:lnTo>
                <a:lnTo>
                  <a:pt x="40" y="72"/>
                </a:lnTo>
                <a:lnTo>
                  <a:pt x="42" y="72"/>
                </a:lnTo>
                <a:lnTo>
                  <a:pt x="42" y="70"/>
                </a:lnTo>
                <a:lnTo>
                  <a:pt x="40" y="70"/>
                </a:lnTo>
                <a:lnTo>
                  <a:pt x="40" y="68"/>
                </a:lnTo>
                <a:lnTo>
                  <a:pt x="42" y="68"/>
                </a:lnTo>
                <a:lnTo>
                  <a:pt x="44" y="68"/>
                </a:lnTo>
                <a:lnTo>
                  <a:pt x="44" y="65"/>
                </a:lnTo>
                <a:lnTo>
                  <a:pt x="47" y="63"/>
                </a:lnTo>
                <a:lnTo>
                  <a:pt x="47" y="65"/>
                </a:lnTo>
                <a:lnTo>
                  <a:pt x="49" y="65"/>
                </a:lnTo>
                <a:lnTo>
                  <a:pt x="49" y="68"/>
                </a:lnTo>
                <a:lnTo>
                  <a:pt x="51" y="68"/>
                </a:lnTo>
                <a:lnTo>
                  <a:pt x="54" y="68"/>
                </a:lnTo>
                <a:lnTo>
                  <a:pt x="54" y="65"/>
                </a:lnTo>
                <a:lnTo>
                  <a:pt x="56" y="68"/>
                </a:lnTo>
                <a:lnTo>
                  <a:pt x="56" y="70"/>
                </a:lnTo>
                <a:lnTo>
                  <a:pt x="58" y="70"/>
                </a:lnTo>
                <a:lnTo>
                  <a:pt x="61" y="70"/>
                </a:lnTo>
                <a:lnTo>
                  <a:pt x="63" y="70"/>
                </a:lnTo>
                <a:lnTo>
                  <a:pt x="65" y="70"/>
                </a:lnTo>
                <a:lnTo>
                  <a:pt x="68" y="68"/>
                </a:lnTo>
                <a:lnTo>
                  <a:pt x="68" y="65"/>
                </a:lnTo>
                <a:lnTo>
                  <a:pt x="70" y="63"/>
                </a:lnTo>
                <a:lnTo>
                  <a:pt x="68" y="61"/>
                </a:lnTo>
                <a:lnTo>
                  <a:pt x="70" y="61"/>
                </a:lnTo>
                <a:lnTo>
                  <a:pt x="72" y="61"/>
                </a:lnTo>
                <a:lnTo>
                  <a:pt x="75" y="61"/>
                </a:lnTo>
                <a:lnTo>
                  <a:pt x="77" y="58"/>
                </a:lnTo>
                <a:lnTo>
                  <a:pt x="82" y="56"/>
                </a:lnTo>
                <a:lnTo>
                  <a:pt x="84" y="56"/>
                </a:lnTo>
                <a:lnTo>
                  <a:pt x="86" y="56"/>
                </a:lnTo>
                <a:lnTo>
                  <a:pt x="93" y="58"/>
                </a:lnTo>
                <a:lnTo>
                  <a:pt x="95" y="58"/>
                </a:lnTo>
                <a:lnTo>
                  <a:pt x="98" y="56"/>
                </a:lnTo>
                <a:lnTo>
                  <a:pt x="100" y="56"/>
                </a:lnTo>
                <a:lnTo>
                  <a:pt x="105" y="49"/>
                </a:lnTo>
                <a:lnTo>
                  <a:pt x="107" y="44"/>
                </a:lnTo>
                <a:lnTo>
                  <a:pt x="109" y="44"/>
                </a:lnTo>
                <a:lnTo>
                  <a:pt x="109" y="42"/>
                </a:lnTo>
                <a:lnTo>
                  <a:pt x="112" y="42"/>
                </a:lnTo>
                <a:lnTo>
                  <a:pt x="112" y="40"/>
                </a:lnTo>
                <a:lnTo>
                  <a:pt x="114" y="40"/>
                </a:lnTo>
                <a:lnTo>
                  <a:pt x="116" y="40"/>
                </a:lnTo>
                <a:lnTo>
                  <a:pt x="119" y="40"/>
                </a:lnTo>
                <a:lnTo>
                  <a:pt x="121" y="40"/>
                </a:lnTo>
                <a:lnTo>
                  <a:pt x="128" y="37"/>
                </a:lnTo>
                <a:lnTo>
                  <a:pt x="130" y="35"/>
                </a:lnTo>
                <a:lnTo>
                  <a:pt x="133" y="37"/>
                </a:lnTo>
                <a:lnTo>
                  <a:pt x="133" y="40"/>
                </a:lnTo>
                <a:lnTo>
                  <a:pt x="133" y="42"/>
                </a:lnTo>
                <a:lnTo>
                  <a:pt x="135" y="42"/>
                </a:lnTo>
                <a:lnTo>
                  <a:pt x="137" y="44"/>
                </a:lnTo>
                <a:lnTo>
                  <a:pt x="140" y="44"/>
                </a:lnTo>
                <a:lnTo>
                  <a:pt x="142" y="44"/>
                </a:lnTo>
                <a:lnTo>
                  <a:pt x="144" y="44"/>
                </a:lnTo>
                <a:lnTo>
                  <a:pt x="147" y="47"/>
                </a:lnTo>
                <a:lnTo>
                  <a:pt x="151" y="47"/>
                </a:lnTo>
                <a:lnTo>
                  <a:pt x="154" y="47"/>
                </a:lnTo>
                <a:lnTo>
                  <a:pt x="156" y="44"/>
                </a:lnTo>
                <a:lnTo>
                  <a:pt x="158" y="44"/>
                </a:lnTo>
                <a:lnTo>
                  <a:pt x="161" y="44"/>
                </a:lnTo>
                <a:lnTo>
                  <a:pt x="161" y="42"/>
                </a:lnTo>
                <a:lnTo>
                  <a:pt x="163" y="42"/>
                </a:lnTo>
                <a:lnTo>
                  <a:pt x="165" y="44"/>
                </a:lnTo>
                <a:lnTo>
                  <a:pt x="168" y="44"/>
                </a:lnTo>
                <a:lnTo>
                  <a:pt x="170" y="44"/>
                </a:lnTo>
                <a:lnTo>
                  <a:pt x="175" y="42"/>
                </a:lnTo>
                <a:lnTo>
                  <a:pt x="177" y="44"/>
                </a:lnTo>
                <a:lnTo>
                  <a:pt x="179" y="44"/>
                </a:lnTo>
                <a:lnTo>
                  <a:pt x="182" y="44"/>
                </a:lnTo>
                <a:lnTo>
                  <a:pt x="184" y="44"/>
                </a:lnTo>
                <a:lnTo>
                  <a:pt x="186" y="47"/>
                </a:lnTo>
                <a:lnTo>
                  <a:pt x="189" y="47"/>
                </a:lnTo>
                <a:lnTo>
                  <a:pt x="193" y="47"/>
                </a:lnTo>
                <a:lnTo>
                  <a:pt x="198" y="49"/>
                </a:lnTo>
                <a:lnTo>
                  <a:pt x="200" y="49"/>
                </a:lnTo>
                <a:lnTo>
                  <a:pt x="205" y="51"/>
                </a:lnTo>
                <a:lnTo>
                  <a:pt x="210" y="49"/>
                </a:lnTo>
                <a:lnTo>
                  <a:pt x="212" y="47"/>
                </a:lnTo>
                <a:lnTo>
                  <a:pt x="212" y="44"/>
                </a:lnTo>
                <a:lnTo>
                  <a:pt x="212" y="42"/>
                </a:lnTo>
                <a:lnTo>
                  <a:pt x="212" y="40"/>
                </a:lnTo>
                <a:lnTo>
                  <a:pt x="212" y="37"/>
                </a:lnTo>
                <a:lnTo>
                  <a:pt x="214" y="37"/>
                </a:lnTo>
                <a:lnTo>
                  <a:pt x="214" y="35"/>
                </a:lnTo>
                <a:lnTo>
                  <a:pt x="212" y="35"/>
                </a:lnTo>
                <a:lnTo>
                  <a:pt x="210" y="33"/>
                </a:lnTo>
                <a:lnTo>
                  <a:pt x="207" y="31"/>
                </a:lnTo>
                <a:lnTo>
                  <a:pt x="205" y="28"/>
                </a:lnTo>
                <a:lnTo>
                  <a:pt x="205" y="26"/>
                </a:lnTo>
                <a:lnTo>
                  <a:pt x="205" y="24"/>
                </a:lnTo>
                <a:lnTo>
                  <a:pt x="203" y="24"/>
                </a:lnTo>
                <a:lnTo>
                  <a:pt x="203" y="21"/>
                </a:lnTo>
                <a:lnTo>
                  <a:pt x="198" y="21"/>
                </a:lnTo>
                <a:lnTo>
                  <a:pt x="198" y="19"/>
                </a:lnTo>
                <a:lnTo>
                  <a:pt x="200" y="17"/>
                </a:lnTo>
                <a:lnTo>
                  <a:pt x="200" y="14"/>
                </a:lnTo>
                <a:lnTo>
                  <a:pt x="203" y="14"/>
                </a:lnTo>
                <a:lnTo>
                  <a:pt x="203" y="17"/>
                </a:lnTo>
                <a:lnTo>
                  <a:pt x="205" y="14"/>
                </a:lnTo>
                <a:lnTo>
                  <a:pt x="207" y="12"/>
                </a:lnTo>
                <a:lnTo>
                  <a:pt x="207" y="10"/>
                </a:lnTo>
                <a:lnTo>
                  <a:pt x="207" y="7"/>
                </a:lnTo>
                <a:lnTo>
                  <a:pt x="210" y="5"/>
                </a:lnTo>
                <a:lnTo>
                  <a:pt x="210" y="3"/>
                </a:lnTo>
                <a:lnTo>
                  <a:pt x="212" y="3"/>
                </a:lnTo>
                <a:lnTo>
                  <a:pt x="214" y="5"/>
                </a:lnTo>
                <a:lnTo>
                  <a:pt x="217" y="7"/>
                </a:lnTo>
                <a:lnTo>
                  <a:pt x="219" y="7"/>
                </a:lnTo>
                <a:lnTo>
                  <a:pt x="223" y="10"/>
                </a:lnTo>
                <a:lnTo>
                  <a:pt x="226" y="12"/>
                </a:lnTo>
                <a:lnTo>
                  <a:pt x="228" y="12"/>
                </a:lnTo>
                <a:lnTo>
                  <a:pt x="233" y="12"/>
                </a:lnTo>
                <a:lnTo>
                  <a:pt x="235" y="10"/>
                </a:lnTo>
                <a:lnTo>
                  <a:pt x="237" y="10"/>
                </a:lnTo>
                <a:lnTo>
                  <a:pt x="242" y="10"/>
                </a:lnTo>
                <a:lnTo>
                  <a:pt x="244" y="10"/>
                </a:lnTo>
                <a:lnTo>
                  <a:pt x="247" y="12"/>
                </a:lnTo>
                <a:lnTo>
                  <a:pt x="249" y="12"/>
                </a:lnTo>
                <a:lnTo>
                  <a:pt x="251" y="10"/>
                </a:lnTo>
                <a:lnTo>
                  <a:pt x="254" y="10"/>
                </a:lnTo>
                <a:lnTo>
                  <a:pt x="254" y="7"/>
                </a:lnTo>
                <a:lnTo>
                  <a:pt x="254" y="5"/>
                </a:lnTo>
                <a:lnTo>
                  <a:pt x="256" y="5"/>
                </a:lnTo>
                <a:lnTo>
                  <a:pt x="258" y="5"/>
                </a:lnTo>
                <a:lnTo>
                  <a:pt x="258" y="7"/>
                </a:lnTo>
                <a:lnTo>
                  <a:pt x="261" y="7"/>
                </a:lnTo>
                <a:lnTo>
                  <a:pt x="265" y="3"/>
                </a:lnTo>
                <a:lnTo>
                  <a:pt x="268" y="3"/>
                </a:lnTo>
                <a:lnTo>
                  <a:pt x="270" y="3"/>
                </a:lnTo>
                <a:lnTo>
                  <a:pt x="268" y="5"/>
                </a:lnTo>
                <a:lnTo>
                  <a:pt x="270" y="5"/>
                </a:lnTo>
                <a:lnTo>
                  <a:pt x="272" y="3"/>
                </a:lnTo>
                <a:lnTo>
                  <a:pt x="275" y="3"/>
                </a:lnTo>
                <a:lnTo>
                  <a:pt x="277" y="0"/>
                </a:lnTo>
                <a:lnTo>
                  <a:pt x="279" y="0"/>
                </a:lnTo>
                <a:lnTo>
                  <a:pt x="282" y="0"/>
                </a:lnTo>
                <a:lnTo>
                  <a:pt x="279" y="3"/>
                </a:lnTo>
                <a:lnTo>
                  <a:pt x="279" y="5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6" name="Freeform 13">
            <a:extLst>
              <a:ext uri="{FF2B5EF4-FFF2-40B4-BE49-F238E27FC236}">
                <a16:creationId xmlns:a16="http://schemas.microsoft.com/office/drawing/2014/main" id="{6BCE86C4-9080-A68C-E276-EB6C81A686E9}"/>
              </a:ext>
            </a:extLst>
          </p:cNvPr>
          <p:cNvSpPr>
            <a:spLocks/>
          </p:cNvSpPr>
          <p:nvPr/>
        </p:nvSpPr>
        <p:spPr bwMode="auto">
          <a:xfrm>
            <a:off x="3274547" y="3510614"/>
            <a:ext cx="379397" cy="597198"/>
          </a:xfrm>
          <a:custGeom>
            <a:avLst/>
            <a:gdLst>
              <a:gd name="T0" fmla="*/ 312 w 322"/>
              <a:gd name="T1" fmla="*/ 358 h 531"/>
              <a:gd name="T2" fmla="*/ 289 w 322"/>
              <a:gd name="T3" fmla="*/ 370 h 531"/>
              <a:gd name="T4" fmla="*/ 280 w 322"/>
              <a:gd name="T5" fmla="*/ 386 h 531"/>
              <a:gd name="T6" fmla="*/ 266 w 322"/>
              <a:gd name="T7" fmla="*/ 412 h 531"/>
              <a:gd name="T8" fmla="*/ 294 w 322"/>
              <a:gd name="T9" fmla="*/ 431 h 531"/>
              <a:gd name="T10" fmla="*/ 287 w 322"/>
              <a:gd name="T11" fmla="*/ 445 h 531"/>
              <a:gd name="T12" fmla="*/ 275 w 322"/>
              <a:gd name="T13" fmla="*/ 459 h 531"/>
              <a:gd name="T14" fmla="*/ 282 w 322"/>
              <a:gd name="T15" fmla="*/ 493 h 531"/>
              <a:gd name="T16" fmla="*/ 254 w 322"/>
              <a:gd name="T17" fmla="*/ 507 h 531"/>
              <a:gd name="T18" fmla="*/ 224 w 322"/>
              <a:gd name="T19" fmla="*/ 517 h 531"/>
              <a:gd name="T20" fmla="*/ 189 w 322"/>
              <a:gd name="T21" fmla="*/ 524 h 531"/>
              <a:gd name="T22" fmla="*/ 184 w 322"/>
              <a:gd name="T23" fmla="*/ 531 h 531"/>
              <a:gd name="T24" fmla="*/ 156 w 322"/>
              <a:gd name="T25" fmla="*/ 512 h 531"/>
              <a:gd name="T26" fmla="*/ 124 w 322"/>
              <a:gd name="T27" fmla="*/ 514 h 531"/>
              <a:gd name="T28" fmla="*/ 117 w 322"/>
              <a:gd name="T29" fmla="*/ 517 h 531"/>
              <a:gd name="T30" fmla="*/ 105 w 322"/>
              <a:gd name="T31" fmla="*/ 486 h 531"/>
              <a:gd name="T32" fmla="*/ 77 w 322"/>
              <a:gd name="T33" fmla="*/ 514 h 531"/>
              <a:gd name="T34" fmla="*/ 26 w 322"/>
              <a:gd name="T35" fmla="*/ 491 h 531"/>
              <a:gd name="T36" fmla="*/ 35 w 322"/>
              <a:gd name="T37" fmla="*/ 461 h 531"/>
              <a:gd name="T38" fmla="*/ 17 w 322"/>
              <a:gd name="T39" fmla="*/ 470 h 531"/>
              <a:gd name="T40" fmla="*/ 7 w 322"/>
              <a:gd name="T41" fmla="*/ 484 h 531"/>
              <a:gd name="T42" fmla="*/ 0 w 322"/>
              <a:gd name="T43" fmla="*/ 466 h 531"/>
              <a:gd name="T44" fmla="*/ 3 w 322"/>
              <a:gd name="T45" fmla="*/ 433 h 531"/>
              <a:gd name="T46" fmla="*/ 0 w 322"/>
              <a:gd name="T47" fmla="*/ 412 h 531"/>
              <a:gd name="T48" fmla="*/ 3 w 322"/>
              <a:gd name="T49" fmla="*/ 393 h 531"/>
              <a:gd name="T50" fmla="*/ 10 w 322"/>
              <a:gd name="T51" fmla="*/ 363 h 531"/>
              <a:gd name="T52" fmla="*/ 14 w 322"/>
              <a:gd name="T53" fmla="*/ 342 h 531"/>
              <a:gd name="T54" fmla="*/ 26 w 322"/>
              <a:gd name="T55" fmla="*/ 324 h 531"/>
              <a:gd name="T56" fmla="*/ 38 w 322"/>
              <a:gd name="T57" fmla="*/ 296 h 531"/>
              <a:gd name="T58" fmla="*/ 52 w 322"/>
              <a:gd name="T59" fmla="*/ 268 h 531"/>
              <a:gd name="T60" fmla="*/ 70 w 322"/>
              <a:gd name="T61" fmla="*/ 244 h 531"/>
              <a:gd name="T62" fmla="*/ 91 w 322"/>
              <a:gd name="T63" fmla="*/ 223 h 531"/>
              <a:gd name="T64" fmla="*/ 112 w 322"/>
              <a:gd name="T65" fmla="*/ 186 h 531"/>
              <a:gd name="T66" fmla="*/ 107 w 322"/>
              <a:gd name="T67" fmla="*/ 158 h 531"/>
              <a:gd name="T68" fmla="*/ 131 w 322"/>
              <a:gd name="T69" fmla="*/ 102 h 531"/>
              <a:gd name="T70" fmla="*/ 159 w 322"/>
              <a:gd name="T71" fmla="*/ 86 h 531"/>
              <a:gd name="T72" fmla="*/ 175 w 322"/>
              <a:gd name="T73" fmla="*/ 70 h 531"/>
              <a:gd name="T74" fmla="*/ 189 w 322"/>
              <a:gd name="T75" fmla="*/ 51 h 531"/>
              <a:gd name="T76" fmla="*/ 194 w 322"/>
              <a:gd name="T77" fmla="*/ 35 h 531"/>
              <a:gd name="T78" fmla="*/ 182 w 322"/>
              <a:gd name="T79" fmla="*/ 14 h 531"/>
              <a:gd name="T80" fmla="*/ 168 w 322"/>
              <a:gd name="T81" fmla="*/ 7 h 531"/>
              <a:gd name="T82" fmla="*/ 205 w 322"/>
              <a:gd name="T83" fmla="*/ 7 h 531"/>
              <a:gd name="T84" fmla="*/ 221 w 322"/>
              <a:gd name="T85" fmla="*/ 16 h 531"/>
              <a:gd name="T86" fmla="*/ 240 w 322"/>
              <a:gd name="T87" fmla="*/ 42 h 531"/>
              <a:gd name="T88" fmla="*/ 240 w 322"/>
              <a:gd name="T89" fmla="*/ 72 h 531"/>
              <a:gd name="T90" fmla="*/ 233 w 322"/>
              <a:gd name="T91" fmla="*/ 102 h 531"/>
              <a:gd name="T92" fmla="*/ 224 w 322"/>
              <a:gd name="T93" fmla="*/ 128 h 531"/>
              <a:gd name="T94" fmla="*/ 226 w 322"/>
              <a:gd name="T95" fmla="*/ 142 h 531"/>
              <a:gd name="T96" fmla="*/ 228 w 322"/>
              <a:gd name="T97" fmla="*/ 156 h 531"/>
              <a:gd name="T98" fmla="*/ 240 w 322"/>
              <a:gd name="T99" fmla="*/ 168 h 531"/>
              <a:gd name="T100" fmla="*/ 254 w 322"/>
              <a:gd name="T101" fmla="*/ 191 h 531"/>
              <a:gd name="T102" fmla="*/ 273 w 322"/>
              <a:gd name="T103" fmla="*/ 189 h 531"/>
              <a:gd name="T104" fmla="*/ 289 w 322"/>
              <a:gd name="T105" fmla="*/ 202 h 531"/>
              <a:gd name="T106" fmla="*/ 280 w 322"/>
              <a:gd name="T107" fmla="*/ 221 h 531"/>
              <a:gd name="T108" fmla="*/ 259 w 322"/>
              <a:gd name="T109" fmla="*/ 235 h 531"/>
              <a:gd name="T110" fmla="*/ 247 w 322"/>
              <a:gd name="T111" fmla="*/ 254 h 531"/>
              <a:gd name="T112" fmla="*/ 261 w 322"/>
              <a:gd name="T113" fmla="*/ 268 h 531"/>
              <a:gd name="T114" fmla="*/ 277 w 322"/>
              <a:gd name="T115" fmla="*/ 296 h 531"/>
              <a:gd name="T116" fmla="*/ 270 w 322"/>
              <a:gd name="T117" fmla="*/ 310 h 531"/>
              <a:gd name="T118" fmla="*/ 282 w 322"/>
              <a:gd name="T119" fmla="*/ 331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22" h="531">
                <a:moveTo>
                  <a:pt x="310" y="347"/>
                </a:moveTo>
                <a:lnTo>
                  <a:pt x="317" y="349"/>
                </a:lnTo>
                <a:lnTo>
                  <a:pt x="322" y="349"/>
                </a:lnTo>
                <a:lnTo>
                  <a:pt x="322" y="351"/>
                </a:lnTo>
                <a:lnTo>
                  <a:pt x="319" y="351"/>
                </a:lnTo>
                <a:lnTo>
                  <a:pt x="319" y="354"/>
                </a:lnTo>
                <a:lnTo>
                  <a:pt x="319" y="356"/>
                </a:lnTo>
                <a:lnTo>
                  <a:pt x="317" y="356"/>
                </a:lnTo>
                <a:lnTo>
                  <a:pt x="317" y="358"/>
                </a:lnTo>
                <a:lnTo>
                  <a:pt x="315" y="358"/>
                </a:lnTo>
                <a:lnTo>
                  <a:pt x="312" y="358"/>
                </a:lnTo>
                <a:lnTo>
                  <a:pt x="310" y="358"/>
                </a:lnTo>
                <a:lnTo>
                  <a:pt x="310" y="361"/>
                </a:lnTo>
                <a:lnTo>
                  <a:pt x="308" y="361"/>
                </a:lnTo>
                <a:lnTo>
                  <a:pt x="305" y="363"/>
                </a:lnTo>
                <a:lnTo>
                  <a:pt x="303" y="363"/>
                </a:lnTo>
                <a:lnTo>
                  <a:pt x="301" y="363"/>
                </a:lnTo>
                <a:lnTo>
                  <a:pt x="298" y="363"/>
                </a:lnTo>
                <a:lnTo>
                  <a:pt x="296" y="368"/>
                </a:lnTo>
                <a:lnTo>
                  <a:pt x="294" y="368"/>
                </a:lnTo>
                <a:lnTo>
                  <a:pt x="291" y="368"/>
                </a:lnTo>
                <a:lnTo>
                  <a:pt x="289" y="370"/>
                </a:lnTo>
                <a:lnTo>
                  <a:pt x="287" y="372"/>
                </a:lnTo>
                <a:lnTo>
                  <a:pt x="284" y="375"/>
                </a:lnTo>
                <a:lnTo>
                  <a:pt x="284" y="377"/>
                </a:lnTo>
                <a:lnTo>
                  <a:pt x="287" y="377"/>
                </a:lnTo>
                <a:lnTo>
                  <a:pt x="287" y="379"/>
                </a:lnTo>
                <a:lnTo>
                  <a:pt x="289" y="382"/>
                </a:lnTo>
                <a:lnTo>
                  <a:pt x="289" y="384"/>
                </a:lnTo>
                <a:lnTo>
                  <a:pt x="287" y="384"/>
                </a:lnTo>
                <a:lnTo>
                  <a:pt x="284" y="384"/>
                </a:lnTo>
                <a:lnTo>
                  <a:pt x="282" y="386"/>
                </a:lnTo>
                <a:lnTo>
                  <a:pt x="280" y="386"/>
                </a:lnTo>
                <a:lnTo>
                  <a:pt x="277" y="389"/>
                </a:lnTo>
                <a:lnTo>
                  <a:pt x="275" y="396"/>
                </a:lnTo>
                <a:lnTo>
                  <a:pt x="273" y="400"/>
                </a:lnTo>
                <a:lnTo>
                  <a:pt x="270" y="400"/>
                </a:lnTo>
                <a:lnTo>
                  <a:pt x="270" y="403"/>
                </a:lnTo>
                <a:lnTo>
                  <a:pt x="268" y="403"/>
                </a:lnTo>
                <a:lnTo>
                  <a:pt x="266" y="405"/>
                </a:lnTo>
                <a:lnTo>
                  <a:pt x="266" y="407"/>
                </a:lnTo>
                <a:lnTo>
                  <a:pt x="263" y="407"/>
                </a:lnTo>
                <a:lnTo>
                  <a:pt x="263" y="410"/>
                </a:lnTo>
                <a:lnTo>
                  <a:pt x="266" y="412"/>
                </a:lnTo>
                <a:lnTo>
                  <a:pt x="268" y="414"/>
                </a:lnTo>
                <a:lnTo>
                  <a:pt x="268" y="417"/>
                </a:lnTo>
                <a:lnTo>
                  <a:pt x="270" y="417"/>
                </a:lnTo>
                <a:lnTo>
                  <a:pt x="270" y="419"/>
                </a:lnTo>
                <a:lnTo>
                  <a:pt x="270" y="421"/>
                </a:lnTo>
                <a:lnTo>
                  <a:pt x="273" y="421"/>
                </a:lnTo>
                <a:lnTo>
                  <a:pt x="282" y="424"/>
                </a:lnTo>
                <a:lnTo>
                  <a:pt x="287" y="426"/>
                </a:lnTo>
                <a:lnTo>
                  <a:pt x="291" y="428"/>
                </a:lnTo>
                <a:lnTo>
                  <a:pt x="294" y="428"/>
                </a:lnTo>
                <a:lnTo>
                  <a:pt x="294" y="431"/>
                </a:lnTo>
                <a:lnTo>
                  <a:pt x="291" y="433"/>
                </a:lnTo>
                <a:lnTo>
                  <a:pt x="287" y="435"/>
                </a:lnTo>
                <a:lnTo>
                  <a:pt x="282" y="435"/>
                </a:lnTo>
                <a:lnTo>
                  <a:pt x="282" y="438"/>
                </a:lnTo>
                <a:lnTo>
                  <a:pt x="280" y="438"/>
                </a:lnTo>
                <a:lnTo>
                  <a:pt x="280" y="440"/>
                </a:lnTo>
                <a:lnTo>
                  <a:pt x="280" y="442"/>
                </a:lnTo>
                <a:lnTo>
                  <a:pt x="282" y="445"/>
                </a:lnTo>
                <a:lnTo>
                  <a:pt x="284" y="442"/>
                </a:lnTo>
                <a:lnTo>
                  <a:pt x="287" y="442"/>
                </a:lnTo>
                <a:lnTo>
                  <a:pt x="287" y="445"/>
                </a:lnTo>
                <a:lnTo>
                  <a:pt x="289" y="445"/>
                </a:lnTo>
                <a:lnTo>
                  <a:pt x="291" y="447"/>
                </a:lnTo>
                <a:lnTo>
                  <a:pt x="291" y="449"/>
                </a:lnTo>
                <a:lnTo>
                  <a:pt x="291" y="452"/>
                </a:lnTo>
                <a:lnTo>
                  <a:pt x="289" y="452"/>
                </a:lnTo>
                <a:lnTo>
                  <a:pt x="287" y="452"/>
                </a:lnTo>
                <a:lnTo>
                  <a:pt x="284" y="454"/>
                </a:lnTo>
                <a:lnTo>
                  <a:pt x="282" y="454"/>
                </a:lnTo>
                <a:lnTo>
                  <a:pt x="280" y="456"/>
                </a:lnTo>
                <a:lnTo>
                  <a:pt x="280" y="459"/>
                </a:lnTo>
                <a:lnTo>
                  <a:pt x="275" y="459"/>
                </a:lnTo>
                <a:lnTo>
                  <a:pt x="275" y="461"/>
                </a:lnTo>
                <a:lnTo>
                  <a:pt x="273" y="475"/>
                </a:lnTo>
                <a:lnTo>
                  <a:pt x="273" y="480"/>
                </a:lnTo>
                <a:lnTo>
                  <a:pt x="275" y="480"/>
                </a:lnTo>
                <a:lnTo>
                  <a:pt x="275" y="482"/>
                </a:lnTo>
                <a:lnTo>
                  <a:pt x="277" y="482"/>
                </a:lnTo>
                <a:lnTo>
                  <a:pt x="280" y="484"/>
                </a:lnTo>
                <a:lnTo>
                  <a:pt x="282" y="484"/>
                </a:lnTo>
                <a:lnTo>
                  <a:pt x="282" y="486"/>
                </a:lnTo>
                <a:lnTo>
                  <a:pt x="282" y="491"/>
                </a:lnTo>
                <a:lnTo>
                  <a:pt x="282" y="493"/>
                </a:lnTo>
                <a:lnTo>
                  <a:pt x="277" y="498"/>
                </a:lnTo>
                <a:lnTo>
                  <a:pt x="277" y="500"/>
                </a:lnTo>
                <a:lnTo>
                  <a:pt x="275" y="500"/>
                </a:lnTo>
                <a:lnTo>
                  <a:pt x="275" y="503"/>
                </a:lnTo>
                <a:lnTo>
                  <a:pt x="277" y="505"/>
                </a:lnTo>
                <a:lnTo>
                  <a:pt x="273" y="507"/>
                </a:lnTo>
                <a:lnTo>
                  <a:pt x="268" y="507"/>
                </a:lnTo>
                <a:lnTo>
                  <a:pt x="263" y="507"/>
                </a:lnTo>
                <a:lnTo>
                  <a:pt x="261" y="507"/>
                </a:lnTo>
                <a:lnTo>
                  <a:pt x="259" y="507"/>
                </a:lnTo>
                <a:lnTo>
                  <a:pt x="254" y="507"/>
                </a:lnTo>
                <a:lnTo>
                  <a:pt x="252" y="510"/>
                </a:lnTo>
                <a:lnTo>
                  <a:pt x="249" y="510"/>
                </a:lnTo>
                <a:lnTo>
                  <a:pt x="242" y="517"/>
                </a:lnTo>
                <a:lnTo>
                  <a:pt x="240" y="517"/>
                </a:lnTo>
                <a:lnTo>
                  <a:pt x="240" y="519"/>
                </a:lnTo>
                <a:lnTo>
                  <a:pt x="238" y="519"/>
                </a:lnTo>
                <a:lnTo>
                  <a:pt x="235" y="519"/>
                </a:lnTo>
                <a:lnTo>
                  <a:pt x="231" y="519"/>
                </a:lnTo>
                <a:lnTo>
                  <a:pt x="231" y="517"/>
                </a:lnTo>
                <a:lnTo>
                  <a:pt x="228" y="517"/>
                </a:lnTo>
                <a:lnTo>
                  <a:pt x="224" y="517"/>
                </a:lnTo>
                <a:lnTo>
                  <a:pt x="221" y="519"/>
                </a:lnTo>
                <a:lnTo>
                  <a:pt x="210" y="524"/>
                </a:lnTo>
                <a:lnTo>
                  <a:pt x="208" y="524"/>
                </a:lnTo>
                <a:lnTo>
                  <a:pt x="205" y="524"/>
                </a:lnTo>
                <a:lnTo>
                  <a:pt x="201" y="526"/>
                </a:lnTo>
                <a:lnTo>
                  <a:pt x="198" y="526"/>
                </a:lnTo>
                <a:lnTo>
                  <a:pt x="194" y="526"/>
                </a:lnTo>
                <a:lnTo>
                  <a:pt x="194" y="528"/>
                </a:lnTo>
                <a:lnTo>
                  <a:pt x="191" y="528"/>
                </a:lnTo>
                <a:lnTo>
                  <a:pt x="191" y="526"/>
                </a:lnTo>
                <a:lnTo>
                  <a:pt x="189" y="524"/>
                </a:lnTo>
                <a:lnTo>
                  <a:pt x="189" y="521"/>
                </a:lnTo>
                <a:lnTo>
                  <a:pt x="187" y="519"/>
                </a:lnTo>
                <a:lnTo>
                  <a:pt x="187" y="517"/>
                </a:lnTo>
                <a:lnTo>
                  <a:pt x="187" y="514"/>
                </a:lnTo>
                <a:lnTo>
                  <a:pt x="187" y="517"/>
                </a:lnTo>
                <a:lnTo>
                  <a:pt x="184" y="517"/>
                </a:lnTo>
                <a:lnTo>
                  <a:pt x="182" y="517"/>
                </a:lnTo>
                <a:lnTo>
                  <a:pt x="182" y="519"/>
                </a:lnTo>
                <a:lnTo>
                  <a:pt x="182" y="521"/>
                </a:lnTo>
                <a:lnTo>
                  <a:pt x="184" y="528"/>
                </a:lnTo>
                <a:lnTo>
                  <a:pt x="184" y="531"/>
                </a:lnTo>
                <a:lnTo>
                  <a:pt x="182" y="531"/>
                </a:lnTo>
                <a:lnTo>
                  <a:pt x="173" y="526"/>
                </a:lnTo>
                <a:lnTo>
                  <a:pt x="170" y="526"/>
                </a:lnTo>
                <a:lnTo>
                  <a:pt x="168" y="524"/>
                </a:lnTo>
                <a:lnTo>
                  <a:pt x="166" y="524"/>
                </a:lnTo>
                <a:lnTo>
                  <a:pt x="163" y="524"/>
                </a:lnTo>
                <a:lnTo>
                  <a:pt x="161" y="521"/>
                </a:lnTo>
                <a:lnTo>
                  <a:pt x="159" y="519"/>
                </a:lnTo>
                <a:lnTo>
                  <a:pt x="156" y="519"/>
                </a:lnTo>
                <a:lnTo>
                  <a:pt x="154" y="517"/>
                </a:lnTo>
                <a:lnTo>
                  <a:pt x="156" y="512"/>
                </a:lnTo>
                <a:lnTo>
                  <a:pt x="156" y="510"/>
                </a:lnTo>
                <a:lnTo>
                  <a:pt x="154" y="510"/>
                </a:lnTo>
                <a:lnTo>
                  <a:pt x="152" y="512"/>
                </a:lnTo>
                <a:lnTo>
                  <a:pt x="145" y="517"/>
                </a:lnTo>
                <a:lnTo>
                  <a:pt x="142" y="517"/>
                </a:lnTo>
                <a:lnTo>
                  <a:pt x="140" y="517"/>
                </a:lnTo>
                <a:lnTo>
                  <a:pt x="138" y="517"/>
                </a:lnTo>
                <a:lnTo>
                  <a:pt x="133" y="517"/>
                </a:lnTo>
                <a:lnTo>
                  <a:pt x="128" y="514"/>
                </a:lnTo>
                <a:lnTo>
                  <a:pt x="126" y="514"/>
                </a:lnTo>
                <a:lnTo>
                  <a:pt x="124" y="514"/>
                </a:lnTo>
                <a:lnTo>
                  <a:pt x="124" y="517"/>
                </a:lnTo>
                <a:lnTo>
                  <a:pt x="121" y="517"/>
                </a:lnTo>
                <a:lnTo>
                  <a:pt x="121" y="521"/>
                </a:lnTo>
                <a:lnTo>
                  <a:pt x="121" y="524"/>
                </a:lnTo>
                <a:lnTo>
                  <a:pt x="121" y="526"/>
                </a:lnTo>
                <a:lnTo>
                  <a:pt x="119" y="526"/>
                </a:lnTo>
                <a:lnTo>
                  <a:pt x="117" y="528"/>
                </a:lnTo>
                <a:lnTo>
                  <a:pt x="114" y="526"/>
                </a:lnTo>
                <a:lnTo>
                  <a:pt x="114" y="524"/>
                </a:lnTo>
                <a:lnTo>
                  <a:pt x="114" y="521"/>
                </a:lnTo>
                <a:lnTo>
                  <a:pt x="117" y="517"/>
                </a:lnTo>
                <a:lnTo>
                  <a:pt x="117" y="510"/>
                </a:lnTo>
                <a:lnTo>
                  <a:pt x="117" y="507"/>
                </a:lnTo>
                <a:lnTo>
                  <a:pt x="114" y="505"/>
                </a:lnTo>
                <a:lnTo>
                  <a:pt x="114" y="503"/>
                </a:lnTo>
                <a:lnTo>
                  <a:pt x="117" y="500"/>
                </a:lnTo>
                <a:lnTo>
                  <a:pt x="117" y="498"/>
                </a:lnTo>
                <a:lnTo>
                  <a:pt x="114" y="496"/>
                </a:lnTo>
                <a:lnTo>
                  <a:pt x="114" y="493"/>
                </a:lnTo>
                <a:lnTo>
                  <a:pt x="112" y="491"/>
                </a:lnTo>
                <a:lnTo>
                  <a:pt x="107" y="489"/>
                </a:lnTo>
                <a:lnTo>
                  <a:pt x="105" y="486"/>
                </a:lnTo>
                <a:lnTo>
                  <a:pt x="103" y="486"/>
                </a:lnTo>
                <a:lnTo>
                  <a:pt x="103" y="484"/>
                </a:lnTo>
                <a:lnTo>
                  <a:pt x="105" y="480"/>
                </a:lnTo>
                <a:lnTo>
                  <a:pt x="103" y="480"/>
                </a:lnTo>
                <a:lnTo>
                  <a:pt x="100" y="482"/>
                </a:lnTo>
                <a:lnTo>
                  <a:pt x="96" y="484"/>
                </a:lnTo>
                <a:lnTo>
                  <a:pt x="84" y="500"/>
                </a:lnTo>
                <a:lnTo>
                  <a:pt x="80" y="510"/>
                </a:lnTo>
                <a:lnTo>
                  <a:pt x="80" y="512"/>
                </a:lnTo>
                <a:lnTo>
                  <a:pt x="80" y="514"/>
                </a:lnTo>
                <a:lnTo>
                  <a:pt x="77" y="514"/>
                </a:lnTo>
                <a:lnTo>
                  <a:pt x="77" y="517"/>
                </a:lnTo>
                <a:lnTo>
                  <a:pt x="75" y="517"/>
                </a:lnTo>
                <a:lnTo>
                  <a:pt x="70" y="512"/>
                </a:lnTo>
                <a:lnTo>
                  <a:pt x="66" y="512"/>
                </a:lnTo>
                <a:lnTo>
                  <a:pt x="59" y="510"/>
                </a:lnTo>
                <a:lnTo>
                  <a:pt x="45" y="503"/>
                </a:lnTo>
                <a:lnTo>
                  <a:pt x="42" y="500"/>
                </a:lnTo>
                <a:lnTo>
                  <a:pt x="42" y="498"/>
                </a:lnTo>
                <a:lnTo>
                  <a:pt x="40" y="498"/>
                </a:lnTo>
                <a:lnTo>
                  <a:pt x="38" y="498"/>
                </a:lnTo>
                <a:lnTo>
                  <a:pt x="26" y="491"/>
                </a:lnTo>
                <a:lnTo>
                  <a:pt x="24" y="491"/>
                </a:lnTo>
                <a:lnTo>
                  <a:pt x="24" y="489"/>
                </a:lnTo>
                <a:lnTo>
                  <a:pt x="24" y="482"/>
                </a:lnTo>
                <a:lnTo>
                  <a:pt x="26" y="480"/>
                </a:lnTo>
                <a:lnTo>
                  <a:pt x="28" y="475"/>
                </a:lnTo>
                <a:lnTo>
                  <a:pt x="31" y="473"/>
                </a:lnTo>
                <a:lnTo>
                  <a:pt x="28" y="470"/>
                </a:lnTo>
                <a:lnTo>
                  <a:pt x="31" y="468"/>
                </a:lnTo>
                <a:lnTo>
                  <a:pt x="33" y="463"/>
                </a:lnTo>
                <a:lnTo>
                  <a:pt x="35" y="463"/>
                </a:lnTo>
                <a:lnTo>
                  <a:pt x="35" y="461"/>
                </a:lnTo>
                <a:lnTo>
                  <a:pt x="35" y="459"/>
                </a:lnTo>
                <a:lnTo>
                  <a:pt x="33" y="459"/>
                </a:lnTo>
                <a:lnTo>
                  <a:pt x="28" y="461"/>
                </a:lnTo>
                <a:lnTo>
                  <a:pt x="26" y="463"/>
                </a:lnTo>
                <a:lnTo>
                  <a:pt x="24" y="463"/>
                </a:lnTo>
                <a:lnTo>
                  <a:pt x="24" y="466"/>
                </a:lnTo>
                <a:lnTo>
                  <a:pt x="21" y="466"/>
                </a:lnTo>
                <a:lnTo>
                  <a:pt x="21" y="468"/>
                </a:lnTo>
                <a:lnTo>
                  <a:pt x="19" y="468"/>
                </a:lnTo>
                <a:lnTo>
                  <a:pt x="19" y="470"/>
                </a:lnTo>
                <a:lnTo>
                  <a:pt x="17" y="470"/>
                </a:lnTo>
                <a:lnTo>
                  <a:pt x="17" y="473"/>
                </a:lnTo>
                <a:lnTo>
                  <a:pt x="17" y="475"/>
                </a:lnTo>
                <a:lnTo>
                  <a:pt x="14" y="475"/>
                </a:lnTo>
                <a:lnTo>
                  <a:pt x="14" y="477"/>
                </a:lnTo>
                <a:lnTo>
                  <a:pt x="12" y="477"/>
                </a:lnTo>
                <a:lnTo>
                  <a:pt x="12" y="480"/>
                </a:lnTo>
                <a:lnTo>
                  <a:pt x="12" y="482"/>
                </a:lnTo>
                <a:lnTo>
                  <a:pt x="12" y="484"/>
                </a:lnTo>
                <a:lnTo>
                  <a:pt x="10" y="486"/>
                </a:lnTo>
                <a:lnTo>
                  <a:pt x="10" y="484"/>
                </a:lnTo>
                <a:lnTo>
                  <a:pt x="7" y="484"/>
                </a:lnTo>
                <a:lnTo>
                  <a:pt x="5" y="484"/>
                </a:lnTo>
                <a:lnTo>
                  <a:pt x="5" y="482"/>
                </a:lnTo>
                <a:lnTo>
                  <a:pt x="3" y="482"/>
                </a:lnTo>
                <a:lnTo>
                  <a:pt x="3" y="480"/>
                </a:lnTo>
                <a:lnTo>
                  <a:pt x="3" y="477"/>
                </a:lnTo>
                <a:lnTo>
                  <a:pt x="3" y="475"/>
                </a:lnTo>
                <a:lnTo>
                  <a:pt x="3" y="473"/>
                </a:lnTo>
                <a:lnTo>
                  <a:pt x="0" y="473"/>
                </a:lnTo>
                <a:lnTo>
                  <a:pt x="0" y="470"/>
                </a:lnTo>
                <a:lnTo>
                  <a:pt x="0" y="468"/>
                </a:lnTo>
                <a:lnTo>
                  <a:pt x="0" y="466"/>
                </a:lnTo>
                <a:lnTo>
                  <a:pt x="3" y="466"/>
                </a:lnTo>
                <a:lnTo>
                  <a:pt x="3" y="463"/>
                </a:lnTo>
                <a:lnTo>
                  <a:pt x="3" y="461"/>
                </a:lnTo>
                <a:lnTo>
                  <a:pt x="3" y="459"/>
                </a:lnTo>
                <a:lnTo>
                  <a:pt x="5" y="459"/>
                </a:lnTo>
                <a:lnTo>
                  <a:pt x="3" y="452"/>
                </a:lnTo>
                <a:lnTo>
                  <a:pt x="5" y="449"/>
                </a:lnTo>
                <a:lnTo>
                  <a:pt x="3" y="447"/>
                </a:lnTo>
                <a:lnTo>
                  <a:pt x="3" y="445"/>
                </a:lnTo>
                <a:lnTo>
                  <a:pt x="3" y="442"/>
                </a:lnTo>
                <a:lnTo>
                  <a:pt x="3" y="433"/>
                </a:lnTo>
                <a:lnTo>
                  <a:pt x="3" y="431"/>
                </a:lnTo>
                <a:lnTo>
                  <a:pt x="3" y="428"/>
                </a:lnTo>
                <a:lnTo>
                  <a:pt x="3" y="426"/>
                </a:lnTo>
                <a:lnTo>
                  <a:pt x="5" y="426"/>
                </a:lnTo>
                <a:lnTo>
                  <a:pt x="5" y="424"/>
                </a:lnTo>
                <a:lnTo>
                  <a:pt x="3" y="424"/>
                </a:lnTo>
                <a:lnTo>
                  <a:pt x="3" y="421"/>
                </a:lnTo>
                <a:lnTo>
                  <a:pt x="3" y="419"/>
                </a:lnTo>
                <a:lnTo>
                  <a:pt x="3" y="417"/>
                </a:lnTo>
                <a:lnTo>
                  <a:pt x="0" y="414"/>
                </a:lnTo>
                <a:lnTo>
                  <a:pt x="0" y="412"/>
                </a:lnTo>
                <a:lnTo>
                  <a:pt x="3" y="412"/>
                </a:lnTo>
                <a:lnTo>
                  <a:pt x="3" y="410"/>
                </a:lnTo>
                <a:lnTo>
                  <a:pt x="5" y="410"/>
                </a:lnTo>
                <a:lnTo>
                  <a:pt x="5" y="405"/>
                </a:lnTo>
                <a:lnTo>
                  <a:pt x="3" y="403"/>
                </a:lnTo>
                <a:lnTo>
                  <a:pt x="0" y="403"/>
                </a:lnTo>
                <a:lnTo>
                  <a:pt x="0" y="400"/>
                </a:lnTo>
                <a:lnTo>
                  <a:pt x="0" y="398"/>
                </a:lnTo>
                <a:lnTo>
                  <a:pt x="0" y="396"/>
                </a:lnTo>
                <a:lnTo>
                  <a:pt x="0" y="393"/>
                </a:lnTo>
                <a:lnTo>
                  <a:pt x="3" y="393"/>
                </a:lnTo>
                <a:lnTo>
                  <a:pt x="5" y="386"/>
                </a:lnTo>
                <a:lnTo>
                  <a:pt x="5" y="384"/>
                </a:lnTo>
                <a:lnTo>
                  <a:pt x="5" y="382"/>
                </a:lnTo>
                <a:lnTo>
                  <a:pt x="7" y="377"/>
                </a:lnTo>
                <a:lnTo>
                  <a:pt x="7" y="375"/>
                </a:lnTo>
                <a:lnTo>
                  <a:pt x="7" y="372"/>
                </a:lnTo>
                <a:lnTo>
                  <a:pt x="10" y="372"/>
                </a:lnTo>
                <a:lnTo>
                  <a:pt x="10" y="370"/>
                </a:lnTo>
                <a:lnTo>
                  <a:pt x="10" y="368"/>
                </a:lnTo>
                <a:lnTo>
                  <a:pt x="10" y="365"/>
                </a:lnTo>
                <a:lnTo>
                  <a:pt x="10" y="363"/>
                </a:lnTo>
                <a:lnTo>
                  <a:pt x="10" y="361"/>
                </a:lnTo>
                <a:lnTo>
                  <a:pt x="12" y="358"/>
                </a:lnTo>
                <a:lnTo>
                  <a:pt x="10" y="358"/>
                </a:lnTo>
                <a:lnTo>
                  <a:pt x="10" y="356"/>
                </a:lnTo>
                <a:lnTo>
                  <a:pt x="12" y="354"/>
                </a:lnTo>
                <a:lnTo>
                  <a:pt x="12" y="351"/>
                </a:lnTo>
                <a:lnTo>
                  <a:pt x="14" y="349"/>
                </a:lnTo>
                <a:lnTo>
                  <a:pt x="12" y="347"/>
                </a:lnTo>
                <a:lnTo>
                  <a:pt x="12" y="344"/>
                </a:lnTo>
                <a:lnTo>
                  <a:pt x="14" y="344"/>
                </a:lnTo>
                <a:lnTo>
                  <a:pt x="14" y="342"/>
                </a:lnTo>
                <a:lnTo>
                  <a:pt x="17" y="342"/>
                </a:lnTo>
                <a:lnTo>
                  <a:pt x="17" y="340"/>
                </a:lnTo>
                <a:lnTo>
                  <a:pt x="19" y="340"/>
                </a:lnTo>
                <a:lnTo>
                  <a:pt x="19" y="338"/>
                </a:lnTo>
                <a:lnTo>
                  <a:pt x="19" y="335"/>
                </a:lnTo>
                <a:lnTo>
                  <a:pt x="19" y="333"/>
                </a:lnTo>
                <a:lnTo>
                  <a:pt x="21" y="331"/>
                </a:lnTo>
                <a:lnTo>
                  <a:pt x="21" y="328"/>
                </a:lnTo>
                <a:lnTo>
                  <a:pt x="24" y="328"/>
                </a:lnTo>
                <a:lnTo>
                  <a:pt x="26" y="326"/>
                </a:lnTo>
                <a:lnTo>
                  <a:pt x="26" y="324"/>
                </a:lnTo>
                <a:lnTo>
                  <a:pt x="28" y="319"/>
                </a:lnTo>
                <a:lnTo>
                  <a:pt x="28" y="317"/>
                </a:lnTo>
                <a:lnTo>
                  <a:pt x="28" y="314"/>
                </a:lnTo>
                <a:lnTo>
                  <a:pt x="28" y="312"/>
                </a:lnTo>
                <a:lnTo>
                  <a:pt x="28" y="310"/>
                </a:lnTo>
                <a:lnTo>
                  <a:pt x="31" y="310"/>
                </a:lnTo>
                <a:lnTo>
                  <a:pt x="33" y="307"/>
                </a:lnTo>
                <a:lnTo>
                  <a:pt x="35" y="305"/>
                </a:lnTo>
                <a:lnTo>
                  <a:pt x="35" y="303"/>
                </a:lnTo>
                <a:lnTo>
                  <a:pt x="38" y="298"/>
                </a:lnTo>
                <a:lnTo>
                  <a:pt x="38" y="296"/>
                </a:lnTo>
                <a:lnTo>
                  <a:pt x="40" y="293"/>
                </a:lnTo>
                <a:lnTo>
                  <a:pt x="42" y="291"/>
                </a:lnTo>
                <a:lnTo>
                  <a:pt x="42" y="289"/>
                </a:lnTo>
                <a:lnTo>
                  <a:pt x="45" y="289"/>
                </a:lnTo>
                <a:lnTo>
                  <a:pt x="45" y="286"/>
                </a:lnTo>
                <a:lnTo>
                  <a:pt x="47" y="284"/>
                </a:lnTo>
                <a:lnTo>
                  <a:pt x="47" y="282"/>
                </a:lnTo>
                <a:lnTo>
                  <a:pt x="49" y="279"/>
                </a:lnTo>
                <a:lnTo>
                  <a:pt x="49" y="277"/>
                </a:lnTo>
                <a:lnTo>
                  <a:pt x="49" y="272"/>
                </a:lnTo>
                <a:lnTo>
                  <a:pt x="52" y="268"/>
                </a:lnTo>
                <a:lnTo>
                  <a:pt x="52" y="265"/>
                </a:lnTo>
                <a:lnTo>
                  <a:pt x="52" y="263"/>
                </a:lnTo>
                <a:lnTo>
                  <a:pt x="54" y="263"/>
                </a:lnTo>
                <a:lnTo>
                  <a:pt x="54" y="261"/>
                </a:lnTo>
                <a:lnTo>
                  <a:pt x="56" y="258"/>
                </a:lnTo>
                <a:lnTo>
                  <a:pt x="59" y="256"/>
                </a:lnTo>
                <a:lnTo>
                  <a:pt x="61" y="254"/>
                </a:lnTo>
                <a:lnTo>
                  <a:pt x="63" y="251"/>
                </a:lnTo>
                <a:lnTo>
                  <a:pt x="66" y="247"/>
                </a:lnTo>
                <a:lnTo>
                  <a:pt x="68" y="244"/>
                </a:lnTo>
                <a:lnTo>
                  <a:pt x="70" y="244"/>
                </a:lnTo>
                <a:lnTo>
                  <a:pt x="70" y="242"/>
                </a:lnTo>
                <a:lnTo>
                  <a:pt x="73" y="240"/>
                </a:lnTo>
                <a:lnTo>
                  <a:pt x="73" y="237"/>
                </a:lnTo>
                <a:lnTo>
                  <a:pt x="75" y="237"/>
                </a:lnTo>
                <a:lnTo>
                  <a:pt x="77" y="235"/>
                </a:lnTo>
                <a:lnTo>
                  <a:pt x="80" y="235"/>
                </a:lnTo>
                <a:lnTo>
                  <a:pt x="84" y="233"/>
                </a:lnTo>
                <a:lnTo>
                  <a:pt x="87" y="233"/>
                </a:lnTo>
                <a:lnTo>
                  <a:pt x="87" y="230"/>
                </a:lnTo>
                <a:lnTo>
                  <a:pt x="89" y="228"/>
                </a:lnTo>
                <a:lnTo>
                  <a:pt x="91" y="223"/>
                </a:lnTo>
                <a:lnTo>
                  <a:pt x="91" y="221"/>
                </a:lnTo>
                <a:lnTo>
                  <a:pt x="93" y="219"/>
                </a:lnTo>
                <a:lnTo>
                  <a:pt x="98" y="214"/>
                </a:lnTo>
                <a:lnTo>
                  <a:pt x="100" y="209"/>
                </a:lnTo>
                <a:lnTo>
                  <a:pt x="100" y="207"/>
                </a:lnTo>
                <a:lnTo>
                  <a:pt x="103" y="207"/>
                </a:lnTo>
                <a:lnTo>
                  <a:pt x="105" y="205"/>
                </a:lnTo>
                <a:lnTo>
                  <a:pt x="105" y="202"/>
                </a:lnTo>
                <a:lnTo>
                  <a:pt x="107" y="202"/>
                </a:lnTo>
                <a:lnTo>
                  <a:pt x="112" y="189"/>
                </a:lnTo>
                <a:lnTo>
                  <a:pt x="112" y="186"/>
                </a:lnTo>
                <a:lnTo>
                  <a:pt x="114" y="184"/>
                </a:lnTo>
                <a:lnTo>
                  <a:pt x="114" y="179"/>
                </a:lnTo>
                <a:lnTo>
                  <a:pt x="117" y="177"/>
                </a:lnTo>
                <a:lnTo>
                  <a:pt x="117" y="175"/>
                </a:lnTo>
                <a:lnTo>
                  <a:pt x="117" y="172"/>
                </a:lnTo>
                <a:lnTo>
                  <a:pt x="117" y="170"/>
                </a:lnTo>
                <a:lnTo>
                  <a:pt x="119" y="168"/>
                </a:lnTo>
                <a:lnTo>
                  <a:pt x="117" y="165"/>
                </a:lnTo>
                <a:lnTo>
                  <a:pt x="114" y="165"/>
                </a:lnTo>
                <a:lnTo>
                  <a:pt x="110" y="161"/>
                </a:lnTo>
                <a:lnTo>
                  <a:pt x="107" y="158"/>
                </a:lnTo>
                <a:lnTo>
                  <a:pt x="105" y="156"/>
                </a:lnTo>
                <a:lnTo>
                  <a:pt x="105" y="154"/>
                </a:lnTo>
                <a:lnTo>
                  <a:pt x="105" y="149"/>
                </a:lnTo>
                <a:lnTo>
                  <a:pt x="105" y="147"/>
                </a:lnTo>
                <a:lnTo>
                  <a:pt x="117" y="135"/>
                </a:lnTo>
                <a:lnTo>
                  <a:pt x="119" y="130"/>
                </a:lnTo>
                <a:lnTo>
                  <a:pt x="119" y="121"/>
                </a:lnTo>
                <a:lnTo>
                  <a:pt x="119" y="112"/>
                </a:lnTo>
                <a:lnTo>
                  <a:pt x="119" y="109"/>
                </a:lnTo>
                <a:lnTo>
                  <a:pt x="121" y="109"/>
                </a:lnTo>
                <a:lnTo>
                  <a:pt x="131" y="102"/>
                </a:lnTo>
                <a:lnTo>
                  <a:pt x="133" y="102"/>
                </a:lnTo>
                <a:lnTo>
                  <a:pt x="140" y="100"/>
                </a:lnTo>
                <a:lnTo>
                  <a:pt x="142" y="100"/>
                </a:lnTo>
                <a:lnTo>
                  <a:pt x="145" y="100"/>
                </a:lnTo>
                <a:lnTo>
                  <a:pt x="147" y="98"/>
                </a:lnTo>
                <a:lnTo>
                  <a:pt x="156" y="95"/>
                </a:lnTo>
                <a:lnTo>
                  <a:pt x="156" y="93"/>
                </a:lnTo>
                <a:lnTo>
                  <a:pt x="159" y="88"/>
                </a:lnTo>
                <a:lnTo>
                  <a:pt x="156" y="88"/>
                </a:lnTo>
                <a:lnTo>
                  <a:pt x="156" y="86"/>
                </a:lnTo>
                <a:lnTo>
                  <a:pt x="159" y="86"/>
                </a:lnTo>
                <a:lnTo>
                  <a:pt x="161" y="84"/>
                </a:lnTo>
                <a:lnTo>
                  <a:pt x="161" y="81"/>
                </a:lnTo>
                <a:lnTo>
                  <a:pt x="163" y="79"/>
                </a:lnTo>
                <a:lnTo>
                  <a:pt x="168" y="77"/>
                </a:lnTo>
                <a:lnTo>
                  <a:pt x="170" y="77"/>
                </a:lnTo>
                <a:lnTo>
                  <a:pt x="175" y="77"/>
                </a:lnTo>
                <a:lnTo>
                  <a:pt x="177" y="77"/>
                </a:lnTo>
                <a:lnTo>
                  <a:pt x="177" y="74"/>
                </a:lnTo>
                <a:lnTo>
                  <a:pt x="175" y="74"/>
                </a:lnTo>
                <a:lnTo>
                  <a:pt x="175" y="72"/>
                </a:lnTo>
                <a:lnTo>
                  <a:pt x="175" y="70"/>
                </a:lnTo>
                <a:lnTo>
                  <a:pt x="175" y="65"/>
                </a:lnTo>
                <a:lnTo>
                  <a:pt x="175" y="63"/>
                </a:lnTo>
                <a:lnTo>
                  <a:pt x="182" y="63"/>
                </a:lnTo>
                <a:lnTo>
                  <a:pt x="184" y="60"/>
                </a:lnTo>
                <a:lnTo>
                  <a:pt x="184" y="58"/>
                </a:lnTo>
                <a:lnTo>
                  <a:pt x="184" y="56"/>
                </a:lnTo>
                <a:lnTo>
                  <a:pt x="182" y="56"/>
                </a:lnTo>
                <a:lnTo>
                  <a:pt x="182" y="54"/>
                </a:lnTo>
                <a:lnTo>
                  <a:pt x="182" y="51"/>
                </a:lnTo>
                <a:lnTo>
                  <a:pt x="184" y="51"/>
                </a:lnTo>
                <a:lnTo>
                  <a:pt x="189" y="51"/>
                </a:lnTo>
                <a:lnTo>
                  <a:pt x="189" y="49"/>
                </a:lnTo>
                <a:lnTo>
                  <a:pt x="189" y="47"/>
                </a:lnTo>
                <a:lnTo>
                  <a:pt x="187" y="44"/>
                </a:lnTo>
                <a:lnTo>
                  <a:pt x="184" y="44"/>
                </a:lnTo>
                <a:lnTo>
                  <a:pt x="184" y="42"/>
                </a:lnTo>
                <a:lnTo>
                  <a:pt x="184" y="37"/>
                </a:lnTo>
                <a:lnTo>
                  <a:pt x="187" y="37"/>
                </a:lnTo>
                <a:lnTo>
                  <a:pt x="187" y="35"/>
                </a:lnTo>
                <a:lnTo>
                  <a:pt x="189" y="37"/>
                </a:lnTo>
                <a:lnTo>
                  <a:pt x="191" y="35"/>
                </a:lnTo>
                <a:lnTo>
                  <a:pt x="194" y="35"/>
                </a:lnTo>
                <a:lnTo>
                  <a:pt x="196" y="33"/>
                </a:lnTo>
                <a:lnTo>
                  <a:pt x="196" y="30"/>
                </a:lnTo>
                <a:lnTo>
                  <a:pt x="196" y="28"/>
                </a:lnTo>
                <a:lnTo>
                  <a:pt x="194" y="28"/>
                </a:lnTo>
                <a:lnTo>
                  <a:pt x="194" y="26"/>
                </a:lnTo>
                <a:lnTo>
                  <a:pt x="191" y="26"/>
                </a:lnTo>
                <a:lnTo>
                  <a:pt x="191" y="23"/>
                </a:lnTo>
                <a:lnTo>
                  <a:pt x="189" y="23"/>
                </a:lnTo>
                <a:lnTo>
                  <a:pt x="187" y="23"/>
                </a:lnTo>
                <a:lnTo>
                  <a:pt x="184" y="21"/>
                </a:lnTo>
                <a:lnTo>
                  <a:pt x="182" y="14"/>
                </a:lnTo>
                <a:lnTo>
                  <a:pt x="173" y="14"/>
                </a:lnTo>
                <a:lnTo>
                  <a:pt x="170" y="14"/>
                </a:lnTo>
                <a:lnTo>
                  <a:pt x="168" y="14"/>
                </a:lnTo>
                <a:lnTo>
                  <a:pt x="166" y="12"/>
                </a:lnTo>
                <a:lnTo>
                  <a:pt x="161" y="9"/>
                </a:lnTo>
                <a:lnTo>
                  <a:pt x="159" y="9"/>
                </a:lnTo>
                <a:lnTo>
                  <a:pt x="161" y="7"/>
                </a:lnTo>
                <a:lnTo>
                  <a:pt x="163" y="7"/>
                </a:lnTo>
                <a:lnTo>
                  <a:pt x="166" y="7"/>
                </a:lnTo>
                <a:lnTo>
                  <a:pt x="168" y="9"/>
                </a:lnTo>
                <a:lnTo>
                  <a:pt x="168" y="7"/>
                </a:lnTo>
                <a:lnTo>
                  <a:pt x="170" y="2"/>
                </a:lnTo>
                <a:lnTo>
                  <a:pt x="173" y="2"/>
                </a:lnTo>
                <a:lnTo>
                  <a:pt x="173" y="0"/>
                </a:lnTo>
                <a:lnTo>
                  <a:pt x="175" y="0"/>
                </a:lnTo>
                <a:lnTo>
                  <a:pt x="177" y="0"/>
                </a:lnTo>
                <a:lnTo>
                  <a:pt x="180" y="0"/>
                </a:lnTo>
                <a:lnTo>
                  <a:pt x="187" y="0"/>
                </a:lnTo>
                <a:lnTo>
                  <a:pt x="198" y="7"/>
                </a:lnTo>
                <a:lnTo>
                  <a:pt x="201" y="7"/>
                </a:lnTo>
                <a:lnTo>
                  <a:pt x="203" y="7"/>
                </a:lnTo>
                <a:lnTo>
                  <a:pt x="205" y="7"/>
                </a:lnTo>
                <a:lnTo>
                  <a:pt x="208" y="5"/>
                </a:lnTo>
                <a:lnTo>
                  <a:pt x="210" y="5"/>
                </a:lnTo>
                <a:lnTo>
                  <a:pt x="212" y="7"/>
                </a:lnTo>
                <a:lnTo>
                  <a:pt x="215" y="7"/>
                </a:lnTo>
                <a:lnTo>
                  <a:pt x="215" y="9"/>
                </a:lnTo>
                <a:lnTo>
                  <a:pt x="217" y="9"/>
                </a:lnTo>
                <a:lnTo>
                  <a:pt x="217" y="12"/>
                </a:lnTo>
                <a:lnTo>
                  <a:pt x="217" y="14"/>
                </a:lnTo>
                <a:lnTo>
                  <a:pt x="217" y="16"/>
                </a:lnTo>
                <a:lnTo>
                  <a:pt x="219" y="16"/>
                </a:lnTo>
                <a:lnTo>
                  <a:pt x="221" y="16"/>
                </a:lnTo>
                <a:lnTo>
                  <a:pt x="224" y="16"/>
                </a:lnTo>
                <a:lnTo>
                  <a:pt x="226" y="19"/>
                </a:lnTo>
                <a:lnTo>
                  <a:pt x="231" y="21"/>
                </a:lnTo>
                <a:lnTo>
                  <a:pt x="233" y="23"/>
                </a:lnTo>
                <a:lnTo>
                  <a:pt x="235" y="23"/>
                </a:lnTo>
                <a:lnTo>
                  <a:pt x="238" y="23"/>
                </a:lnTo>
                <a:lnTo>
                  <a:pt x="238" y="26"/>
                </a:lnTo>
                <a:lnTo>
                  <a:pt x="240" y="28"/>
                </a:lnTo>
                <a:lnTo>
                  <a:pt x="240" y="33"/>
                </a:lnTo>
                <a:lnTo>
                  <a:pt x="238" y="42"/>
                </a:lnTo>
                <a:lnTo>
                  <a:pt x="240" y="42"/>
                </a:lnTo>
                <a:lnTo>
                  <a:pt x="240" y="44"/>
                </a:lnTo>
                <a:lnTo>
                  <a:pt x="240" y="47"/>
                </a:lnTo>
                <a:lnTo>
                  <a:pt x="242" y="47"/>
                </a:lnTo>
                <a:lnTo>
                  <a:pt x="242" y="49"/>
                </a:lnTo>
                <a:lnTo>
                  <a:pt x="242" y="51"/>
                </a:lnTo>
                <a:lnTo>
                  <a:pt x="242" y="54"/>
                </a:lnTo>
                <a:lnTo>
                  <a:pt x="242" y="58"/>
                </a:lnTo>
                <a:lnTo>
                  <a:pt x="240" y="65"/>
                </a:lnTo>
                <a:lnTo>
                  <a:pt x="240" y="67"/>
                </a:lnTo>
                <a:lnTo>
                  <a:pt x="240" y="70"/>
                </a:lnTo>
                <a:lnTo>
                  <a:pt x="240" y="72"/>
                </a:lnTo>
                <a:lnTo>
                  <a:pt x="242" y="74"/>
                </a:lnTo>
                <a:lnTo>
                  <a:pt x="242" y="77"/>
                </a:lnTo>
                <a:lnTo>
                  <a:pt x="240" y="81"/>
                </a:lnTo>
                <a:lnTo>
                  <a:pt x="240" y="84"/>
                </a:lnTo>
                <a:lnTo>
                  <a:pt x="240" y="88"/>
                </a:lnTo>
                <a:lnTo>
                  <a:pt x="238" y="88"/>
                </a:lnTo>
                <a:lnTo>
                  <a:pt x="240" y="91"/>
                </a:lnTo>
                <a:lnTo>
                  <a:pt x="238" y="93"/>
                </a:lnTo>
                <a:lnTo>
                  <a:pt x="235" y="95"/>
                </a:lnTo>
                <a:lnTo>
                  <a:pt x="235" y="98"/>
                </a:lnTo>
                <a:lnTo>
                  <a:pt x="233" y="102"/>
                </a:lnTo>
                <a:lnTo>
                  <a:pt x="233" y="105"/>
                </a:lnTo>
                <a:lnTo>
                  <a:pt x="233" y="107"/>
                </a:lnTo>
                <a:lnTo>
                  <a:pt x="233" y="109"/>
                </a:lnTo>
                <a:lnTo>
                  <a:pt x="231" y="114"/>
                </a:lnTo>
                <a:lnTo>
                  <a:pt x="231" y="116"/>
                </a:lnTo>
                <a:lnTo>
                  <a:pt x="233" y="116"/>
                </a:lnTo>
                <a:lnTo>
                  <a:pt x="231" y="119"/>
                </a:lnTo>
                <a:lnTo>
                  <a:pt x="231" y="121"/>
                </a:lnTo>
                <a:lnTo>
                  <a:pt x="231" y="123"/>
                </a:lnTo>
                <a:lnTo>
                  <a:pt x="228" y="126"/>
                </a:lnTo>
                <a:lnTo>
                  <a:pt x="224" y="128"/>
                </a:lnTo>
                <a:lnTo>
                  <a:pt x="221" y="133"/>
                </a:lnTo>
                <a:lnTo>
                  <a:pt x="217" y="133"/>
                </a:lnTo>
                <a:lnTo>
                  <a:pt x="215" y="133"/>
                </a:lnTo>
                <a:lnTo>
                  <a:pt x="215" y="135"/>
                </a:lnTo>
                <a:lnTo>
                  <a:pt x="215" y="137"/>
                </a:lnTo>
                <a:lnTo>
                  <a:pt x="217" y="140"/>
                </a:lnTo>
                <a:lnTo>
                  <a:pt x="219" y="140"/>
                </a:lnTo>
                <a:lnTo>
                  <a:pt x="219" y="144"/>
                </a:lnTo>
                <a:lnTo>
                  <a:pt x="221" y="142"/>
                </a:lnTo>
                <a:lnTo>
                  <a:pt x="224" y="142"/>
                </a:lnTo>
                <a:lnTo>
                  <a:pt x="226" y="142"/>
                </a:lnTo>
                <a:lnTo>
                  <a:pt x="228" y="142"/>
                </a:lnTo>
                <a:lnTo>
                  <a:pt x="231" y="144"/>
                </a:lnTo>
                <a:lnTo>
                  <a:pt x="231" y="147"/>
                </a:lnTo>
                <a:lnTo>
                  <a:pt x="228" y="149"/>
                </a:lnTo>
                <a:lnTo>
                  <a:pt x="226" y="151"/>
                </a:lnTo>
                <a:lnTo>
                  <a:pt x="224" y="151"/>
                </a:lnTo>
                <a:lnTo>
                  <a:pt x="221" y="154"/>
                </a:lnTo>
                <a:lnTo>
                  <a:pt x="224" y="154"/>
                </a:lnTo>
                <a:lnTo>
                  <a:pt x="226" y="154"/>
                </a:lnTo>
                <a:lnTo>
                  <a:pt x="228" y="154"/>
                </a:lnTo>
                <a:lnTo>
                  <a:pt x="228" y="156"/>
                </a:lnTo>
                <a:lnTo>
                  <a:pt x="228" y="158"/>
                </a:lnTo>
                <a:lnTo>
                  <a:pt x="231" y="158"/>
                </a:lnTo>
                <a:lnTo>
                  <a:pt x="233" y="158"/>
                </a:lnTo>
                <a:lnTo>
                  <a:pt x="233" y="161"/>
                </a:lnTo>
                <a:lnTo>
                  <a:pt x="233" y="163"/>
                </a:lnTo>
                <a:lnTo>
                  <a:pt x="235" y="163"/>
                </a:lnTo>
                <a:lnTo>
                  <a:pt x="235" y="165"/>
                </a:lnTo>
                <a:lnTo>
                  <a:pt x="238" y="168"/>
                </a:lnTo>
                <a:lnTo>
                  <a:pt x="235" y="168"/>
                </a:lnTo>
                <a:lnTo>
                  <a:pt x="238" y="168"/>
                </a:lnTo>
                <a:lnTo>
                  <a:pt x="240" y="168"/>
                </a:lnTo>
                <a:lnTo>
                  <a:pt x="240" y="170"/>
                </a:lnTo>
                <a:lnTo>
                  <a:pt x="240" y="172"/>
                </a:lnTo>
                <a:lnTo>
                  <a:pt x="240" y="175"/>
                </a:lnTo>
                <a:lnTo>
                  <a:pt x="242" y="175"/>
                </a:lnTo>
                <a:lnTo>
                  <a:pt x="245" y="177"/>
                </a:lnTo>
                <a:lnTo>
                  <a:pt x="245" y="179"/>
                </a:lnTo>
                <a:lnTo>
                  <a:pt x="247" y="182"/>
                </a:lnTo>
                <a:lnTo>
                  <a:pt x="252" y="186"/>
                </a:lnTo>
                <a:lnTo>
                  <a:pt x="252" y="189"/>
                </a:lnTo>
                <a:lnTo>
                  <a:pt x="252" y="191"/>
                </a:lnTo>
                <a:lnTo>
                  <a:pt x="254" y="191"/>
                </a:lnTo>
                <a:lnTo>
                  <a:pt x="254" y="193"/>
                </a:lnTo>
                <a:lnTo>
                  <a:pt x="256" y="196"/>
                </a:lnTo>
                <a:lnTo>
                  <a:pt x="259" y="196"/>
                </a:lnTo>
                <a:lnTo>
                  <a:pt x="259" y="193"/>
                </a:lnTo>
                <a:lnTo>
                  <a:pt x="261" y="193"/>
                </a:lnTo>
                <a:lnTo>
                  <a:pt x="261" y="191"/>
                </a:lnTo>
                <a:lnTo>
                  <a:pt x="263" y="191"/>
                </a:lnTo>
                <a:lnTo>
                  <a:pt x="266" y="191"/>
                </a:lnTo>
                <a:lnTo>
                  <a:pt x="268" y="191"/>
                </a:lnTo>
                <a:lnTo>
                  <a:pt x="273" y="191"/>
                </a:lnTo>
                <a:lnTo>
                  <a:pt x="273" y="189"/>
                </a:lnTo>
                <a:lnTo>
                  <a:pt x="275" y="189"/>
                </a:lnTo>
                <a:lnTo>
                  <a:pt x="280" y="189"/>
                </a:lnTo>
                <a:lnTo>
                  <a:pt x="282" y="189"/>
                </a:lnTo>
                <a:lnTo>
                  <a:pt x="284" y="189"/>
                </a:lnTo>
                <a:lnTo>
                  <a:pt x="287" y="191"/>
                </a:lnTo>
                <a:lnTo>
                  <a:pt x="289" y="193"/>
                </a:lnTo>
                <a:lnTo>
                  <a:pt x="291" y="193"/>
                </a:lnTo>
                <a:lnTo>
                  <a:pt x="291" y="198"/>
                </a:lnTo>
                <a:lnTo>
                  <a:pt x="291" y="200"/>
                </a:lnTo>
                <a:lnTo>
                  <a:pt x="289" y="200"/>
                </a:lnTo>
                <a:lnTo>
                  <a:pt x="289" y="202"/>
                </a:lnTo>
                <a:lnTo>
                  <a:pt x="289" y="205"/>
                </a:lnTo>
                <a:lnTo>
                  <a:pt x="289" y="207"/>
                </a:lnTo>
                <a:lnTo>
                  <a:pt x="289" y="209"/>
                </a:lnTo>
                <a:lnTo>
                  <a:pt x="287" y="209"/>
                </a:lnTo>
                <a:lnTo>
                  <a:pt x="287" y="212"/>
                </a:lnTo>
                <a:lnTo>
                  <a:pt x="287" y="214"/>
                </a:lnTo>
                <a:lnTo>
                  <a:pt x="284" y="214"/>
                </a:lnTo>
                <a:lnTo>
                  <a:pt x="284" y="216"/>
                </a:lnTo>
                <a:lnTo>
                  <a:pt x="287" y="219"/>
                </a:lnTo>
                <a:lnTo>
                  <a:pt x="287" y="221"/>
                </a:lnTo>
                <a:lnTo>
                  <a:pt x="280" y="221"/>
                </a:lnTo>
                <a:lnTo>
                  <a:pt x="277" y="219"/>
                </a:lnTo>
                <a:lnTo>
                  <a:pt x="273" y="221"/>
                </a:lnTo>
                <a:lnTo>
                  <a:pt x="268" y="221"/>
                </a:lnTo>
                <a:lnTo>
                  <a:pt x="266" y="223"/>
                </a:lnTo>
                <a:lnTo>
                  <a:pt x="263" y="223"/>
                </a:lnTo>
                <a:lnTo>
                  <a:pt x="263" y="226"/>
                </a:lnTo>
                <a:lnTo>
                  <a:pt x="263" y="228"/>
                </a:lnTo>
                <a:lnTo>
                  <a:pt x="261" y="230"/>
                </a:lnTo>
                <a:lnTo>
                  <a:pt x="261" y="233"/>
                </a:lnTo>
                <a:lnTo>
                  <a:pt x="261" y="235"/>
                </a:lnTo>
                <a:lnTo>
                  <a:pt x="259" y="235"/>
                </a:lnTo>
                <a:lnTo>
                  <a:pt x="259" y="237"/>
                </a:lnTo>
                <a:lnTo>
                  <a:pt x="259" y="240"/>
                </a:lnTo>
                <a:lnTo>
                  <a:pt x="259" y="244"/>
                </a:lnTo>
                <a:lnTo>
                  <a:pt x="259" y="247"/>
                </a:lnTo>
                <a:lnTo>
                  <a:pt x="256" y="247"/>
                </a:lnTo>
                <a:lnTo>
                  <a:pt x="256" y="249"/>
                </a:lnTo>
                <a:lnTo>
                  <a:pt x="254" y="249"/>
                </a:lnTo>
                <a:lnTo>
                  <a:pt x="252" y="249"/>
                </a:lnTo>
                <a:lnTo>
                  <a:pt x="252" y="251"/>
                </a:lnTo>
                <a:lnTo>
                  <a:pt x="249" y="254"/>
                </a:lnTo>
                <a:lnTo>
                  <a:pt x="247" y="254"/>
                </a:lnTo>
                <a:lnTo>
                  <a:pt x="247" y="256"/>
                </a:lnTo>
                <a:lnTo>
                  <a:pt x="245" y="256"/>
                </a:lnTo>
                <a:lnTo>
                  <a:pt x="245" y="258"/>
                </a:lnTo>
                <a:lnTo>
                  <a:pt x="247" y="258"/>
                </a:lnTo>
                <a:lnTo>
                  <a:pt x="247" y="261"/>
                </a:lnTo>
                <a:lnTo>
                  <a:pt x="249" y="261"/>
                </a:lnTo>
                <a:lnTo>
                  <a:pt x="252" y="261"/>
                </a:lnTo>
                <a:lnTo>
                  <a:pt x="254" y="261"/>
                </a:lnTo>
                <a:lnTo>
                  <a:pt x="256" y="263"/>
                </a:lnTo>
                <a:lnTo>
                  <a:pt x="259" y="265"/>
                </a:lnTo>
                <a:lnTo>
                  <a:pt x="261" y="268"/>
                </a:lnTo>
                <a:lnTo>
                  <a:pt x="261" y="270"/>
                </a:lnTo>
                <a:lnTo>
                  <a:pt x="261" y="272"/>
                </a:lnTo>
                <a:lnTo>
                  <a:pt x="261" y="277"/>
                </a:lnTo>
                <a:lnTo>
                  <a:pt x="261" y="279"/>
                </a:lnTo>
                <a:lnTo>
                  <a:pt x="261" y="282"/>
                </a:lnTo>
                <a:lnTo>
                  <a:pt x="263" y="284"/>
                </a:lnTo>
                <a:lnTo>
                  <a:pt x="270" y="289"/>
                </a:lnTo>
                <a:lnTo>
                  <a:pt x="275" y="291"/>
                </a:lnTo>
                <a:lnTo>
                  <a:pt x="277" y="291"/>
                </a:lnTo>
                <a:lnTo>
                  <a:pt x="277" y="293"/>
                </a:lnTo>
                <a:lnTo>
                  <a:pt x="277" y="296"/>
                </a:lnTo>
                <a:lnTo>
                  <a:pt x="275" y="296"/>
                </a:lnTo>
                <a:lnTo>
                  <a:pt x="275" y="298"/>
                </a:lnTo>
                <a:lnTo>
                  <a:pt x="273" y="298"/>
                </a:lnTo>
                <a:lnTo>
                  <a:pt x="273" y="300"/>
                </a:lnTo>
                <a:lnTo>
                  <a:pt x="273" y="303"/>
                </a:lnTo>
                <a:lnTo>
                  <a:pt x="270" y="303"/>
                </a:lnTo>
                <a:lnTo>
                  <a:pt x="268" y="303"/>
                </a:lnTo>
                <a:lnTo>
                  <a:pt x="268" y="305"/>
                </a:lnTo>
                <a:lnTo>
                  <a:pt x="268" y="307"/>
                </a:lnTo>
                <a:lnTo>
                  <a:pt x="270" y="307"/>
                </a:lnTo>
                <a:lnTo>
                  <a:pt x="270" y="310"/>
                </a:lnTo>
                <a:lnTo>
                  <a:pt x="273" y="312"/>
                </a:lnTo>
                <a:lnTo>
                  <a:pt x="277" y="314"/>
                </a:lnTo>
                <a:lnTo>
                  <a:pt x="277" y="317"/>
                </a:lnTo>
                <a:lnTo>
                  <a:pt x="280" y="317"/>
                </a:lnTo>
                <a:lnTo>
                  <a:pt x="280" y="319"/>
                </a:lnTo>
                <a:lnTo>
                  <a:pt x="280" y="321"/>
                </a:lnTo>
                <a:lnTo>
                  <a:pt x="280" y="324"/>
                </a:lnTo>
                <a:lnTo>
                  <a:pt x="280" y="326"/>
                </a:lnTo>
                <a:lnTo>
                  <a:pt x="280" y="328"/>
                </a:lnTo>
                <a:lnTo>
                  <a:pt x="282" y="328"/>
                </a:lnTo>
                <a:lnTo>
                  <a:pt x="282" y="331"/>
                </a:lnTo>
                <a:lnTo>
                  <a:pt x="284" y="333"/>
                </a:lnTo>
                <a:lnTo>
                  <a:pt x="287" y="335"/>
                </a:lnTo>
                <a:lnTo>
                  <a:pt x="287" y="338"/>
                </a:lnTo>
                <a:lnTo>
                  <a:pt x="289" y="338"/>
                </a:lnTo>
                <a:lnTo>
                  <a:pt x="294" y="338"/>
                </a:lnTo>
                <a:lnTo>
                  <a:pt x="296" y="338"/>
                </a:lnTo>
                <a:lnTo>
                  <a:pt x="303" y="340"/>
                </a:lnTo>
                <a:lnTo>
                  <a:pt x="305" y="344"/>
                </a:lnTo>
                <a:lnTo>
                  <a:pt x="308" y="347"/>
                </a:lnTo>
                <a:lnTo>
                  <a:pt x="310" y="347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7" name="Freeform 14">
            <a:extLst>
              <a:ext uri="{FF2B5EF4-FFF2-40B4-BE49-F238E27FC236}">
                <a16:creationId xmlns:a16="http://schemas.microsoft.com/office/drawing/2014/main" id="{60F82661-2F4A-E1A2-F2DE-39EB93152F1A}"/>
              </a:ext>
            </a:extLst>
          </p:cNvPr>
          <p:cNvSpPr>
            <a:spLocks/>
          </p:cNvSpPr>
          <p:nvPr/>
        </p:nvSpPr>
        <p:spPr bwMode="auto">
          <a:xfrm>
            <a:off x="3431255" y="4256269"/>
            <a:ext cx="71874" cy="44986"/>
          </a:xfrm>
          <a:custGeom>
            <a:avLst/>
            <a:gdLst>
              <a:gd name="T0" fmla="*/ 40 w 61"/>
              <a:gd name="T1" fmla="*/ 40 h 40"/>
              <a:gd name="T2" fmla="*/ 5 w 61"/>
              <a:gd name="T3" fmla="*/ 35 h 40"/>
              <a:gd name="T4" fmla="*/ 0 w 61"/>
              <a:gd name="T5" fmla="*/ 35 h 40"/>
              <a:gd name="T6" fmla="*/ 0 w 61"/>
              <a:gd name="T7" fmla="*/ 33 h 40"/>
              <a:gd name="T8" fmla="*/ 0 w 61"/>
              <a:gd name="T9" fmla="*/ 33 h 40"/>
              <a:gd name="T10" fmla="*/ 2 w 61"/>
              <a:gd name="T11" fmla="*/ 31 h 40"/>
              <a:gd name="T12" fmla="*/ 0 w 61"/>
              <a:gd name="T13" fmla="*/ 28 h 40"/>
              <a:gd name="T14" fmla="*/ 0 w 61"/>
              <a:gd name="T15" fmla="*/ 28 h 40"/>
              <a:gd name="T16" fmla="*/ 0 w 61"/>
              <a:gd name="T17" fmla="*/ 24 h 40"/>
              <a:gd name="T18" fmla="*/ 0 w 61"/>
              <a:gd name="T19" fmla="*/ 21 h 40"/>
              <a:gd name="T20" fmla="*/ 2 w 61"/>
              <a:gd name="T21" fmla="*/ 21 h 40"/>
              <a:gd name="T22" fmla="*/ 2 w 61"/>
              <a:gd name="T23" fmla="*/ 21 h 40"/>
              <a:gd name="T24" fmla="*/ 2 w 61"/>
              <a:gd name="T25" fmla="*/ 19 h 40"/>
              <a:gd name="T26" fmla="*/ 5 w 61"/>
              <a:gd name="T27" fmla="*/ 17 h 40"/>
              <a:gd name="T28" fmla="*/ 2 w 61"/>
              <a:gd name="T29" fmla="*/ 14 h 40"/>
              <a:gd name="T30" fmla="*/ 2 w 61"/>
              <a:gd name="T31" fmla="*/ 14 h 40"/>
              <a:gd name="T32" fmla="*/ 2 w 61"/>
              <a:gd name="T33" fmla="*/ 12 h 40"/>
              <a:gd name="T34" fmla="*/ 5 w 61"/>
              <a:gd name="T35" fmla="*/ 10 h 40"/>
              <a:gd name="T36" fmla="*/ 5 w 61"/>
              <a:gd name="T37" fmla="*/ 10 h 40"/>
              <a:gd name="T38" fmla="*/ 7 w 61"/>
              <a:gd name="T39" fmla="*/ 3 h 40"/>
              <a:gd name="T40" fmla="*/ 7 w 61"/>
              <a:gd name="T41" fmla="*/ 0 h 40"/>
              <a:gd name="T42" fmla="*/ 33 w 61"/>
              <a:gd name="T43" fmla="*/ 3 h 40"/>
              <a:gd name="T44" fmla="*/ 54 w 61"/>
              <a:gd name="T45" fmla="*/ 5 h 40"/>
              <a:gd name="T46" fmla="*/ 54 w 61"/>
              <a:gd name="T47" fmla="*/ 7 h 40"/>
              <a:gd name="T48" fmla="*/ 54 w 61"/>
              <a:gd name="T49" fmla="*/ 7 h 40"/>
              <a:gd name="T50" fmla="*/ 56 w 61"/>
              <a:gd name="T51" fmla="*/ 10 h 40"/>
              <a:gd name="T52" fmla="*/ 58 w 61"/>
              <a:gd name="T53" fmla="*/ 10 h 40"/>
              <a:gd name="T54" fmla="*/ 61 w 61"/>
              <a:gd name="T55" fmla="*/ 12 h 40"/>
              <a:gd name="T56" fmla="*/ 61 w 61"/>
              <a:gd name="T57" fmla="*/ 12 h 40"/>
              <a:gd name="T58" fmla="*/ 61 w 61"/>
              <a:gd name="T59" fmla="*/ 14 h 40"/>
              <a:gd name="T60" fmla="*/ 58 w 61"/>
              <a:gd name="T61" fmla="*/ 17 h 40"/>
              <a:gd name="T62" fmla="*/ 61 w 61"/>
              <a:gd name="T63" fmla="*/ 19 h 40"/>
              <a:gd name="T64" fmla="*/ 61 w 61"/>
              <a:gd name="T65" fmla="*/ 19 h 40"/>
              <a:gd name="T66" fmla="*/ 58 w 61"/>
              <a:gd name="T67" fmla="*/ 24 h 40"/>
              <a:gd name="T68" fmla="*/ 56 w 61"/>
              <a:gd name="T69" fmla="*/ 26 h 40"/>
              <a:gd name="T70" fmla="*/ 56 w 61"/>
              <a:gd name="T71" fmla="*/ 31 h 40"/>
              <a:gd name="T72" fmla="*/ 56 w 61"/>
              <a:gd name="T73" fmla="*/ 31 h 40"/>
              <a:gd name="T74" fmla="*/ 56 w 61"/>
              <a:gd name="T75" fmla="*/ 33 h 40"/>
              <a:gd name="T76" fmla="*/ 56 w 61"/>
              <a:gd name="T77" fmla="*/ 35 h 40"/>
              <a:gd name="T78" fmla="*/ 56 w 61"/>
              <a:gd name="T79" fmla="*/ 38 h 40"/>
              <a:gd name="T80" fmla="*/ 56 w 61"/>
              <a:gd name="T81" fmla="*/ 38 h 40"/>
              <a:gd name="T82" fmla="*/ 58 w 61"/>
              <a:gd name="T83" fmla="*/ 40 h 40"/>
              <a:gd name="T84" fmla="*/ 58 w 61"/>
              <a:gd name="T85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" h="40">
                <a:moveTo>
                  <a:pt x="58" y="40"/>
                </a:moveTo>
                <a:lnTo>
                  <a:pt x="40" y="40"/>
                </a:lnTo>
                <a:lnTo>
                  <a:pt x="23" y="38"/>
                </a:lnTo>
                <a:lnTo>
                  <a:pt x="5" y="35"/>
                </a:lnTo>
                <a:lnTo>
                  <a:pt x="0" y="35"/>
                </a:lnTo>
                <a:lnTo>
                  <a:pt x="0" y="35"/>
                </a:lnTo>
                <a:lnTo>
                  <a:pt x="0" y="35"/>
                </a:lnTo>
                <a:lnTo>
                  <a:pt x="0" y="33"/>
                </a:lnTo>
                <a:lnTo>
                  <a:pt x="0" y="33"/>
                </a:lnTo>
                <a:lnTo>
                  <a:pt x="0" y="33"/>
                </a:lnTo>
                <a:lnTo>
                  <a:pt x="2" y="31"/>
                </a:lnTo>
                <a:lnTo>
                  <a:pt x="2" y="31"/>
                </a:lnTo>
                <a:lnTo>
                  <a:pt x="2" y="31"/>
                </a:lnTo>
                <a:lnTo>
                  <a:pt x="0" y="28"/>
                </a:lnTo>
                <a:lnTo>
                  <a:pt x="0" y="28"/>
                </a:lnTo>
                <a:lnTo>
                  <a:pt x="0" y="28"/>
                </a:lnTo>
                <a:lnTo>
                  <a:pt x="0" y="26"/>
                </a:lnTo>
                <a:lnTo>
                  <a:pt x="0" y="24"/>
                </a:lnTo>
                <a:lnTo>
                  <a:pt x="0" y="21"/>
                </a:lnTo>
                <a:lnTo>
                  <a:pt x="0" y="21"/>
                </a:lnTo>
                <a:lnTo>
                  <a:pt x="0" y="21"/>
                </a:lnTo>
                <a:lnTo>
                  <a:pt x="2" y="21"/>
                </a:lnTo>
                <a:lnTo>
                  <a:pt x="2" y="21"/>
                </a:lnTo>
                <a:lnTo>
                  <a:pt x="2" y="21"/>
                </a:lnTo>
                <a:lnTo>
                  <a:pt x="2" y="21"/>
                </a:lnTo>
                <a:lnTo>
                  <a:pt x="2" y="19"/>
                </a:lnTo>
                <a:lnTo>
                  <a:pt x="5" y="19"/>
                </a:lnTo>
                <a:lnTo>
                  <a:pt x="5" y="17"/>
                </a:lnTo>
                <a:lnTo>
                  <a:pt x="5" y="17"/>
                </a:lnTo>
                <a:lnTo>
                  <a:pt x="2" y="14"/>
                </a:lnTo>
                <a:lnTo>
                  <a:pt x="2" y="14"/>
                </a:lnTo>
                <a:lnTo>
                  <a:pt x="2" y="14"/>
                </a:lnTo>
                <a:lnTo>
                  <a:pt x="2" y="12"/>
                </a:lnTo>
                <a:lnTo>
                  <a:pt x="2" y="12"/>
                </a:lnTo>
                <a:lnTo>
                  <a:pt x="5" y="10"/>
                </a:lnTo>
                <a:lnTo>
                  <a:pt x="5" y="10"/>
                </a:lnTo>
                <a:lnTo>
                  <a:pt x="5" y="10"/>
                </a:lnTo>
                <a:lnTo>
                  <a:pt x="5" y="10"/>
                </a:lnTo>
                <a:lnTo>
                  <a:pt x="5" y="10"/>
                </a:lnTo>
                <a:lnTo>
                  <a:pt x="7" y="3"/>
                </a:lnTo>
                <a:lnTo>
                  <a:pt x="7" y="3"/>
                </a:lnTo>
                <a:lnTo>
                  <a:pt x="7" y="0"/>
                </a:lnTo>
                <a:lnTo>
                  <a:pt x="16" y="3"/>
                </a:lnTo>
                <a:lnTo>
                  <a:pt x="33" y="3"/>
                </a:lnTo>
                <a:lnTo>
                  <a:pt x="54" y="5"/>
                </a:lnTo>
                <a:lnTo>
                  <a:pt x="54" y="5"/>
                </a:lnTo>
                <a:lnTo>
                  <a:pt x="54" y="7"/>
                </a:lnTo>
                <a:lnTo>
                  <a:pt x="54" y="7"/>
                </a:lnTo>
                <a:lnTo>
                  <a:pt x="54" y="7"/>
                </a:lnTo>
                <a:lnTo>
                  <a:pt x="54" y="7"/>
                </a:lnTo>
                <a:lnTo>
                  <a:pt x="56" y="10"/>
                </a:lnTo>
                <a:lnTo>
                  <a:pt x="56" y="10"/>
                </a:lnTo>
                <a:lnTo>
                  <a:pt x="56" y="10"/>
                </a:lnTo>
                <a:lnTo>
                  <a:pt x="58" y="10"/>
                </a:lnTo>
                <a:lnTo>
                  <a:pt x="58" y="12"/>
                </a:lnTo>
                <a:lnTo>
                  <a:pt x="61" y="12"/>
                </a:lnTo>
                <a:lnTo>
                  <a:pt x="61" y="12"/>
                </a:lnTo>
                <a:lnTo>
                  <a:pt x="61" y="12"/>
                </a:lnTo>
                <a:lnTo>
                  <a:pt x="61" y="12"/>
                </a:lnTo>
                <a:lnTo>
                  <a:pt x="61" y="14"/>
                </a:lnTo>
                <a:lnTo>
                  <a:pt x="61" y="14"/>
                </a:lnTo>
                <a:lnTo>
                  <a:pt x="58" y="17"/>
                </a:lnTo>
                <a:lnTo>
                  <a:pt x="58" y="19"/>
                </a:lnTo>
                <a:lnTo>
                  <a:pt x="61" y="19"/>
                </a:lnTo>
                <a:lnTo>
                  <a:pt x="61" y="19"/>
                </a:lnTo>
                <a:lnTo>
                  <a:pt x="61" y="19"/>
                </a:lnTo>
                <a:lnTo>
                  <a:pt x="58" y="24"/>
                </a:lnTo>
                <a:lnTo>
                  <a:pt x="58" y="24"/>
                </a:lnTo>
                <a:lnTo>
                  <a:pt x="58" y="26"/>
                </a:lnTo>
                <a:lnTo>
                  <a:pt x="56" y="26"/>
                </a:lnTo>
                <a:lnTo>
                  <a:pt x="56" y="28"/>
                </a:lnTo>
                <a:lnTo>
                  <a:pt x="56" y="31"/>
                </a:lnTo>
                <a:lnTo>
                  <a:pt x="56" y="31"/>
                </a:lnTo>
                <a:lnTo>
                  <a:pt x="56" y="31"/>
                </a:lnTo>
                <a:lnTo>
                  <a:pt x="56" y="33"/>
                </a:lnTo>
                <a:lnTo>
                  <a:pt x="56" y="33"/>
                </a:lnTo>
                <a:lnTo>
                  <a:pt x="56" y="35"/>
                </a:lnTo>
                <a:lnTo>
                  <a:pt x="56" y="35"/>
                </a:lnTo>
                <a:lnTo>
                  <a:pt x="56" y="38"/>
                </a:lnTo>
                <a:lnTo>
                  <a:pt x="56" y="38"/>
                </a:lnTo>
                <a:lnTo>
                  <a:pt x="56" y="38"/>
                </a:lnTo>
                <a:lnTo>
                  <a:pt x="56" y="38"/>
                </a:lnTo>
                <a:lnTo>
                  <a:pt x="56" y="38"/>
                </a:lnTo>
                <a:lnTo>
                  <a:pt x="58" y="40"/>
                </a:lnTo>
                <a:lnTo>
                  <a:pt x="58" y="40"/>
                </a:lnTo>
                <a:lnTo>
                  <a:pt x="58" y="40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8" name="Freeform 15">
            <a:extLst>
              <a:ext uri="{FF2B5EF4-FFF2-40B4-BE49-F238E27FC236}">
                <a16:creationId xmlns:a16="http://schemas.microsoft.com/office/drawing/2014/main" id="{9F0AB795-5949-9706-7BE3-6AB9E20D23B7}"/>
              </a:ext>
            </a:extLst>
          </p:cNvPr>
          <p:cNvSpPr>
            <a:spLocks/>
          </p:cNvSpPr>
          <p:nvPr/>
        </p:nvSpPr>
        <p:spPr bwMode="auto">
          <a:xfrm>
            <a:off x="2712523" y="4348491"/>
            <a:ext cx="510183" cy="489231"/>
          </a:xfrm>
          <a:custGeom>
            <a:avLst/>
            <a:gdLst>
              <a:gd name="T0" fmla="*/ 317 w 433"/>
              <a:gd name="T1" fmla="*/ 81 h 435"/>
              <a:gd name="T2" fmla="*/ 326 w 433"/>
              <a:gd name="T3" fmla="*/ 102 h 435"/>
              <a:gd name="T4" fmla="*/ 359 w 433"/>
              <a:gd name="T5" fmla="*/ 112 h 435"/>
              <a:gd name="T6" fmla="*/ 380 w 433"/>
              <a:gd name="T7" fmla="*/ 128 h 435"/>
              <a:gd name="T8" fmla="*/ 412 w 433"/>
              <a:gd name="T9" fmla="*/ 142 h 435"/>
              <a:gd name="T10" fmla="*/ 431 w 433"/>
              <a:gd name="T11" fmla="*/ 158 h 435"/>
              <a:gd name="T12" fmla="*/ 426 w 433"/>
              <a:gd name="T13" fmla="*/ 174 h 435"/>
              <a:gd name="T14" fmla="*/ 405 w 433"/>
              <a:gd name="T15" fmla="*/ 212 h 435"/>
              <a:gd name="T16" fmla="*/ 389 w 433"/>
              <a:gd name="T17" fmla="*/ 230 h 435"/>
              <a:gd name="T18" fmla="*/ 373 w 433"/>
              <a:gd name="T19" fmla="*/ 258 h 435"/>
              <a:gd name="T20" fmla="*/ 361 w 433"/>
              <a:gd name="T21" fmla="*/ 279 h 435"/>
              <a:gd name="T22" fmla="*/ 354 w 433"/>
              <a:gd name="T23" fmla="*/ 293 h 435"/>
              <a:gd name="T24" fmla="*/ 342 w 433"/>
              <a:gd name="T25" fmla="*/ 307 h 435"/>
              <a:gd name="T26" fmla="*/ 328 w 433"/>
              <a:gd name="T27" fmla="*/ 326 h 435"/>
              <a:gd name="T28" fmla="*/ 305 w 433"/>
              <a:gd name="T29" fmla="*/ 337 h 435"/>
              <a:gd name="T30" fmla="*/ 270 w 433"/>
              <a:gd name="T31" fmla="*/ 361 h 435"/>
              <a:gd name="T32" fmla="*/ 256 w 433"/>
              <a:gd name="T33" fmla="*/ 386 h 435"/>
              <a:gd name="T34" fmla="*/ 235 w 433"/>
              <a:gd name="T35" fmla="*/ 419 h 435"/>
              <a:gd name="T36" fmla="*/ 217 w 433"/>
              <a:gd name="T37" fmla="*/ 431 h 435"/>
              <a:gd name="T38" fmla="*/ 182 w 433"/>
              <a:gd name="T39" fmla="*/ 428 h 435"/>
              <a:gd name="T40" fmla="*/ 163 w 433"/>
              <a:gd name="T41" fmla="*/ 428 h 435"/>
              <a:gd name="T42" fmla="*/ 149 w 433"/>
              <a:gd name="T43" fmla="*/ 403 h 435"/>
              <a:gd name="T44" fmla="*/ 152 w 433"/>
              <a:gd name="T45" fmla="*/ 379 h 435"/>
              <a:gd name="T46" fmla="*/ 145 w 433"/>
              <a:gd name="T47" fmla="*/ 356 h 435"/>
              <a:gd name="T48" fmla="*/ 142 w 433"/>
              <a:gd name="T49" fmla="*/ 340 h 435"/>
              <a:gd name="T50" fmla="*/ 128 w 433"/>
              <a:gd name="T51" fmla="*/ 321 h 435"/>
              <a:gd name="T52" fmla="*/ 105 w 433"/>
              <a:gd name="T53" fmla="*/ 314 h 435"/>
              <a:gd name="T54" fmla="*/ 91 w 433"/>
              <a:gd name="T55" fmla="*/ 314 h 435"/>
              <a:gd name="T56" fmla="*/ 82 w 433"/>
              <a:gd name="T57" fmla="*/ 316 h 435"/>
              <a:gd name="T58" fmla="*/ 63 w 433"/>
              <a:gd name="T59" fmla="*/ 316 h 435"/>
              <a:gd name="T60" fmla="*/ 47 w 433"/>
              <a:gd name="T61" fmla="*/ 314 h 435"/>
              <a:gd name="T62" fmla="*/ 28 w 433"/>
              <a:gd name="T63" fmla="*/ 307 h 435"/>
              <a:gd name="T64" fmla="*/ 17 w 433"/>
              <a:gd name="T65" fmla="*/ 307 h 435"/>
              <a:gd name="T66" fmla="*/ 12 w 433"/>
              <a:gd name="T67" fmla="*/ 293 h 435"/>
              <a:gd name="T68" fmla="*/ 14 w 433"/>
              <a:gd name="T69" fmla="*/ 275 h 435"/>
              <a:gd name="T70" fmla="*/ 17 w 433"/>
              <a:gd name="T71" fmla="*/ 256 h 435"/>
              <a:gd name="T72" fmla="*/ 21 w 433"/>
              <a:gd name="T73" fmla="*/ 237 h 435"/>
              <a:gd name="T74" fmla="*/ 17 w 433"/>
              <a:gd name="T75" fmla="*/ 226 h 435"/>
              <a:gd name="T76" fmla="*/ 14 w 433"/>
              <a:gd name="T77" fmla="*/ 216 h 435"/>
              <a:gd name="T78" fmla="*/ 12 w 433"/>
              <a:gd name="T79" fmla="*/ 202 h 435"/>
              <a:gd name="T80" fmla="*/ 0 w 433"/>
              <a:gd name="T81" fmla="*/ 188 h 435"/>
              <a:gd name="T82" fmla="*/ 10 w 433"/>
              <a:gd name="T83" fmla="*/ 179 h 435"/>
              <a:gd name="T84" fmla="*/ 3 w 433"/>
              <a:gd name="T85" fmla="*/ 158 h 435"/>
              <a:gd name="T86" fmla="*/ 24 w 433"/>
              <a:gd name="T87" fmla="*/ 119 h 435"/>
              <a:gd name="T88" fmla="*/ 31 w 433"/>
              <a:gd name="T89" fmla="*/ 86 h 435"/>
              <a:gd name="T90" fmla="*/ 38 w 433"/>
              <a:gd name="T91" fmla="*/ 56 h 435"/>
              <a:gd name="T92" fmla="*/ 35 w 433"/>
              <a:gd name="T93" fmla="*/ 35 h 435"/>
              <a:gd name="T94" fmla="*/ 47 w 433"/>
              <a:gd name="T95" fmla="*/ 42 h 435"/>
              <a:gd name="T96" fmla="*/ 77 w 433"/>
              <a:gd name="T97" fmla="*/ 23 h 435"/>
              <a:gd name="T98" fmla="*/ 86 w 433"/>
              <a:gd name="T99" fmla="*/ 7 h 435"/>
              <a:gd name="T100" fmla="*/ 114 w 433"/>
              <a:gd name="T101" fmla="*/ 5 h 435"/>
              <a:gd name="T102" fmla="*/ 133 w 433"/>
              <a:gd name="T103" fmla="*/ 2 h 435"/>
              <a:gd name="T104" fmla="*/ 156 w 433"/>
              <a:gd name="T105" fmla="*/ 12 h 435"/>
              <a:gd name="T106" fmla="*/ 173 w 433"/>
              <a:gd name="T107" fmla="*/ 26 h 435"/>
              <a:gd name="T108" fmla="*/ 200 w 433"/>
              <a:gd name="T109" fmla="*/ 30 h 435"/>
              <a:gd name="T110" fmla="*/ 226 w 433"/>
              <a:gd name="T111" fmla="*/ 26 h 435"/>
              <a:gd name="T112" fmla="*/ 242 w 433"/>
              <a:gd name="T113" fmla="*/ 30 h 435"/>
              <a:gd name="T114" fmla="*/ 263 w 433"/>
              <a:gd name="T115" fmla="*/ 16 h 435"/>
              <a:gd name="T116" fmla="*/ 270 w 433"/>
              <a:gd name="T117" fmla="*/ 32 h 435"/>
              <a:gd name="T118" fmla="*/ 259 w 433"/>
              <a:gd name="T119" fmla="*/ 44 h 435"/>
              <a:gd name="T120" fmla="*/ 277 w 433"/>
              <a:gd name="T121" fmla="*/ 56 h 435"/>
              <a:gd name="T122" fmla="*/ 303 w 433"/>
              <a:gd name="T123" fmla="*/ 58 h 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33" h="435">
                <a:moveTo>
                  <a:pt x="310" y="58"/>
                </a:moveTo>
                <a:lnTo>
                  <a:pt x="310" y="60"/>
                </a:lnTo>
                <a:lnTo>
                  <a:pt x="312" y="63"/>
                </a:lnTo>
                <a:lnTo>
                  <a:pt x="310" y="77"/>
                </a:lnTo>
                <a:lnTo>
                  <a:pt x="310" y="79"/>
                </a:lnTo>
                <a:lnTo>
                  <a:pt x="310" y="81"/>
                </a:lnTo>
                <a:lnTo>
                  <a:pt x="312" y="81"/>
                </a:lnTo>
                <a:lnTo>
                  <a:pt x="314" y="81"/>
                </a:lnTo>
                <a:lnTo>
                  <a:pt x="317" y="81"/>
                </a:lnTo>
                <a:lnTo>
                  <a:pt x="319" y="79"/>
                </a:lnTo>
                <a:lnTo>
                  <a:pt x="321" y="81"/>
                </a:lnTo>
                <a:lnTo>
                  <a:pt x="326" y="84"/>
                </a:lnTo>
                <a:lnTo>
                  <a:pt x="326" y="86"/>
                </a:lnTo>
                <a:lnTo>
                  <a:pt x="326" y="88"/>
                </a:lnTo>
                <a:lnTo>
                  <a:pt x="321" y="93"/>
                </a:lnTo>
                <a:lnTo>
                  <a:pt x="319" y="98"/>
                </a:lnTo>
                <a:lnTo>
                  <a:pt x="319" y="100"/>
                </a:lnTo>
                <a:lnTo>
                  <a:pt x="326" y="102"/>
                </a:lnTo>
                <a:lnTo>
                  <a:pt x="331" y="105"/>
                </a:lnTo>
                <a:lnTo>
                  <a:pt x="333" y="105"/>
                </a:lnTo>
                <a:lnTo>
                  <a:pt x="335" y="105"/>
                </a:lnTo>
                <a:lnTo>
                  <a:pt x="342" y="105"/>
                </a:lnTo>
                <a:lnTo>
                  <a:pt x="345" y="105"/>
                </a:lnTo>
                <a:lnTo>
                  <a:pt x="349" y="112"/>
                </a:lnTo>
                <a:lnTo>
                  <a:pt x="352" y="112"/>
                </a:lnTo>
                <a:lnTo>
                  <a:pt x="356" y="112"/>
                </a:lnTo>
                <a:lnTo>
                  <a:pt x="359" y="112"/>
                </a:lnTo>
                <a:lnTo>
                  <a:pt x="361" y="114"/>
                </a:lnTo>
                <a:lnTo>
                  <a:pt x="366" y="116"/>
                </a:lnTo>
                <a:lnTo>
                  <a:pt x="366" y="119"/>
                </a:lnTo>
                <a:lnTo>
                  <a:pt x="368" y="121"/>
                </a:lnTo>
                <a:lnTo>
                  <a:pt x="370" y="121"/>
                </a:lnTo>
                <a:lnTo>
                  <a:pt x="373" y="123"/>
                </a:lnTo>
                <a:lnTo>
                  <a:pt x="375" y="123"/>
                </a:lnTo>
                <a:lnTo>
                  <a:pt x="377" y="126"/>
                </a:lnTo>
                <a:lnTo>
                  <a:pt x="380" y="128"/>
                </a:lnTo>
                <a:lnTo>
                  <a:pt x="391" y="133"/>
                </a:lnTo>
                <a:lnTo>
                  <a:pt x="396" y="135"/>
                </a:lnTo>
                <a:lnTo>
                  <a:pt x="398" y="135"/>
                </a:lnTo>
                <a:lnTo>
                  <a:pt x="403" y="135"/>
                </a:lnTo>
                <a:lnTo>
                  <a:pt x="405" y="135"/>
                </a:lnTo>
                <a:lnTo>
                  <a:pt x="405" y="137"/>
                </a:lnTo>
                <a:lnTo>
                  <a:pt x="410" y="140"/>
                </a:lnTo>
                <a:lnTo>
                  <a:pt x="410" y="142"/>
                </a:lnTo>
                <a:lnTo>
                  <a:pt x="412" y="142"/>
                </a:lnTo>
                <a:lnTo>
                  <a:pt x="412" y="144"/>
                </a:lnTo>
                <a:lnTo>
                  <a:pt x="415" y="144"/>
                </a:lnTo>
                <a:lnTo>
                  <a:pt x="417" y="144"/>
                </a:lnTo>
                <a:lnTo>
                  <a:pt x="419" y="144"/>
                </a:lnTo>
                <a:lnTo>
                  <a:pt x="422" y="144"/>
                </a:lnTo>
                <a:lnTo>
                  <a:pt x="422" y="147"/>
                </a:lnTo>
                <a:lnTo>
                  <a:pt x="424" y="147"/>
                </a:lnTo>
                <a:lnTo>
                  <a:pt x="426" y="151"/>
                </a:lnTo>
                <a:lnTo>
                  <a:pt x="431" y="158"/>
                </a:lnTo>
                <a:lnTo>
                  <a:pt x="431" y="161"/>
                </a:lnTo>
                <a:lnTo>
                  <a:pt x="433" y="163"/>
                </a:lnTo>
                <a:lnTo>
                  <a:pt x="431" y="163"/>
                </a:lnTo>
                <a:lnTo>
                  <a:pt x="429" y="163"/>
                </a:lnTo>
                <a:lnTo>
                  <a:pt x="429" y="165"/>
                </a:lnTo>
                <a:lnTo>
                  <a:pt x="429" y="168"/>
                </a:lnTo>
                <a:lnTo>
                  <a:pt x="429" y="170"/>
                </a:lnTo>
                <a:lnTo>
                  <a:pt x="426" y="172"/>
                </a:lnTo>
                <a:lnTo>
                  <a:pt x="426" y="174"/>
                </a:lnTo>
                <a:lnTo>
                  <a:pt x="426" y="184"/>
                </a:lnTo>
                <a:lnTo>
                  <a:pt x="426" y="193"/>
                </a:lnTo>
                <a:lnTo>
                  <a:pt x="426" y="198"/>
                </a:lnTo>
                <a:lnTo>
                  <a:pt x="424" y="202"/>
                </a:lnTo>
                <a:lnTo>
                  <a:pt x="422" y="205"/>
                </a:lnTo>
                <a:lnTo>
                  <a:pt x="419" y="207"/>
                </a:lnTo>
                <a:lnTo>
                  <a:pt x="417" y="209"/>
                </a:lnTo>
                <a:lnTo>
                  <a:pt x="410" y="209"/>
                </a:lnTo>
                <a:lnTo>
                  <a:pt x="405" y="212"/>
                </a:lnTo>
                <a:lnTo>
                  <a:pt x="403" y="216"/>
                </a:lnTo>
                <a:lnTo>
                  <a:pt x="401" y="216"/>
                </a:lnTo>
                <a:lnTo>
                  <a:pt x="398" y="219"/>
                </a:lnTo>
                <a:lnTo>
                  <a:pt x="398" y="221"/>
                </a:lnTo>
                <a:lnTo>
                  <a:pt x="394" y="226"/>
                </a:lnTo>
                <a:lnTo>
                  <a:pt x="391" y="226"/>
                </a:lnTo>
                <a:lnTo>
                  <a:pt x="389" y="226"/>
                </a:lnTo>
                <a:lnTo>
                  <a:pt x="389" y="228"/>
                </a:lnTo>
                <a:lnTo>
                  <a:pt x="389" y="230"/>
                </a:lnTo>
                <a:lnTo>
                  <a:pt x="387" y="233"/>
                </a:lnTo>
                <a:lnTo>
                  <a:pt x="387" y="237"/>
                </a:lnTo>
                <a:lnTo>
                  <a:pt x="387" y="244"/>
                </a:lnTo>
                <a:lnTo>
                  <a:pt x="384" y="244"/>
                </a:lnTo>
                <a:lnTo>
                  <a:pt x="380" y="249"/>
                </a:lnTo>
                <a:lnTo>
                  <a:pt x="380" y="251"/>
                </a:lnTo>
                <a:lnTo>
                  <a:pt x="377" y="254"/>
                </a:lnTo>
                <a:lnTo>
                  <a:pt x="375" y="256"/>
                </a:lnTo>
                <a:lnTo>
                  <a:pt x="373" y="258"/>
                </a:lnTo>
                <a:lnTo>
                  <a:pt x="370" y="258"/>
                </a:lnTo>
                <a:lnTo>
                  <a:pt x="370" y="261"/>
                </a:lnTo>
                <a:lnTo>
                  <a:pt x="370" y="265"/>
                </a:lnTo>
                <a:lnTo>
                  <a:pt x="370" y="270"/>
                </a:lnTo>
                <a:lnTo>
                  <a:pt x="370" y="272"/>
                </a:lnTo>
                <a:lnTo>
                  <a:pt x="366" y="275"/>
                </a:lnTo>
                <a:lnTo>
                  <a:pt x="366" y="277"/>
                </a:lnTo>
                <a:lnTo>
                  <a:pt x="363" y="279"/>
                </a:lnTo>
                <a:lnTo>
                  <a:pt x="361" y="279"/>
                </a:lnTo>
                <a:lnTo>
                  <a:pt x="359" y="279"/>
                </a:lnTo>
                <a:lnTo>
                  <a:pt x="356" y="279"/>
                </a:lnTo>
                <a:lnTo>
                  <a:pt x="356" y="282"/>
                </a:lnTo>
                <a:lnTo>
                  <a:pt x="356" y="284"/>
                </a:lnTo>
                <a:lnTo>
                  <a:pt x="359" y="289"/>
                </a:lnTo>
                <a:lnTo>
                  <a:pt x="359" y="291"/>
                </a:lnTo>
                <a:lnTo>
                  <a:pt x="359" y="293"/>
                </a:lnTo>
                <a:lnTo>
                  <a:pt x="356" y="293"/>
                </a:lnTo>
                <a:lnTo>
                  <a:pt x="354" y="293"/>
                </a:lnTo>
                <a:lnTo>
                  <a:pt x="354" y="296"/>
                </a:lnTo>
                <a:lnTo>
                  <a:pt x="352" y="296"/>
                </a:lnTo>
                <a:lnTo>
                  <a:pt x="349" y="298"/>
                </a:lnTo>
                <a:lnTo>
                  <a:pt x="349" y="300"/>
                </a:lnTo>
                <a:lnTo>
                  <a:pt x="349" y="303"/>
                </a:lnTo>
                <a:lnTo>
                  <a:pt x="347" y="303"/>
                </a:lnTo>
                <a:lnTo>
                  <a:pt x="347" y="305"/>
                </a:lnTo>
                <a:lnTo>
                  <a:pt x="345" y="305"/>
                </a:lnTo>
                <a:lnTo>
                  <a:pt x="342" y="307"/>
                </a:lnTo>
                <a:lnTo>
                  <a:pt x="342" y="310"/>
                </a:lnTo>
                <a:lnTo>
                  <a:pt x="340" y="312"/>
                </a:lnTo>
                <a:lnTo>
                  <a:pt x="340" y="314"/>
                </a:lnTo>
                <a:lnTo>
                  <a:pt x="338" y="314"/>
                </a:lnTo>
                <a:lnTo>
                  <a:pt x="338" y="316"/>
                </a:lnTo>
                <a:lnTo>
                  <a:pt x="333" y="321"/>
                </a:lnTo>
                <a:lnTo>
                  <a:pt x="333" y="323"/>
                </a:lnTo>
                <a:lnTo>
                  <a:pt x="331" y="323"/>
                </a:lnTo>
                <a:lnTo>
                  <a:pt x="328" y="326"/>
                </a:lnTo>
                <a:lnTo>
                  <a:pt x="326" y="326"/>
                </a:lnTo>
                <a:lnTo>
                  <a:pt x="324" y="326"/>
                </a:lnTo>
                <a:lnTo>
                  <a:pt x="324" y="328"/>
                </a:lnTo>
                <a:lnTo>
                  <a:pt x="319" y="328"/>
                </a:lnTo>
                <a:lnTo>
                  <a:pt x="317" y="330"/>
                </a:lnTo>
                <a:lnTo>
                  <a:pt x="312" y="333"/>
                </a:lnTo>
                <a:lnTo>
                  <a:pt x="310" y="333"/>
                </a:lnTo>
                <a:lnTo>
                  <a:pt x="310" y="335"/>
                </a:lnTo>
                <a:lnTo>
                  <a:pt x="305" y="337"/>
                </a:lnTo>
                <a:lnTo>
                  <a:pt x="303" y="337"/>
                </a:lnTo>
                <a:lnTo>
                  <a:pt x="301" y="340"/>
                </a:lnTo>
                <a:lnTo>
                  <a:pt x="301" y="342"/>
                </a:lnTo>
                <a:lnTo>
                  <a:pt x="298" y="342"/>
                </a:lnTo>
                <a:lnTo>
                  <a:pt x="296" y="344"/>
                </a:lnTo>
                <a:lnTo>
                  <a:pt x="294" y="349"/>
                </a:lnTo>
                <a:lnTo>
                  <a:pt x="291" y="351"/>
                </a:lnTo>
                <a:lnTo>
                  <a:pt x="289" y="354"/>
                </a:lnTo>
                <a:lnTo>
                  <a:pt x="270" y="361"/>
                </a:lnTo>
                <a:lnTo>
                  <a:pt x="268" y="363"/>
                </a:lnTo>
                <a:lnTo>
                  <a:pt x="266" y="365"/>
                </a:lnTo>
                <a:lnTo>
                  <a:pt x="263" y="365"/>
                </a:lnTo>
                <a:lnTo>
                  <a:pt x="263" y="370"/>
                </a:lnTo>
                <a:lnTo>
                  <a:pt x="261" y="372"/>
                </a:lnTo>
                <a:lnTo>
                  <a:pt x="261" y="377"/>
                </a:lnTo>
                <a:lnTo>
                  <a:pt x="261" y="379"/>
                </a:lnTo>
                <a:lnTo>
                  <a:pt x="259" y="382"/>
                </a:lnTo>
                <a:lnTo>
                  <a:pt x="256" y="386"/>
                </a:lnTo>
                <a:lnTo>
                  <a:pt x="256" y="389"/>
                </a:lnTo>
                <a:lnTo>
                  <a:pt x="254" y="391"/>
                </a:lnTo>
                <a:lnTo>
                  <a:pt x="247" y="393"/>
                </a:lnTo>
                <a:lnTo>
                  <a:pt x="242" y="396"/>
                </a:lnTo>
                <a:lnTo>
                  <a:pt x="240" y="398"/>
                </a:lnTo>
                <a:lnTo>
                  <a:pt x="240" y="400"/>
                </a:lnTo>
                <a:lnTo>
                  <a:pt x="238" y="410"/>
                </a:lnTo>
                <a:lnTo>
                  <a:pt x="238" y="412"/>
                </a:lnTo>
                <a:lnTo>
                  <a:pt x="235" y="419"/>
                </a:lnTo>
                <a:lnTo>
                  <a:pt x="235" y="421"/>
                </a:lnTo>
                <a:lnTo>
                  <a:pt x="233" y="426"/>
                </a:lnTo>
                <a:lnTo>
                  <a:pt x="233" y="428"/>
                </a:lnTo>
                <a:lnTo>
                  <a:pt x="233" y="431"/>
                </a:lnTo>
                <a:lnTo>
                  <a:pt x="228" y="433"/>
                </a:lnTo>
                <a:lnTo>
                  <a:pt x="226" y="433"/>
                </a:lnTo>
                <a:lnTo>
                  <a:pt x="224" y="435"/>
                </a:lnTo>
                <a:lnTo>
                  <a:pt x="221" y="433"/>
                </a:lnTo>
                <a:lnTo>
                  <a:pt x="217" y="431"/>
                </a:lnTo>
                <a:lnTo>
                  <a:pt x="214" y="426"/>
                </a:lnTo>
                <a:lnTo>
                  <a:pt x="212" y="424"/>
                </a:lnTo>
                <a:lnTo>
                  <a:pt x="203" y="419"/>
                </a:lnTo>
                <a:lnTo>
                  <a:pt x="200" y="419"/>
                </a:lnTo>
                <a:lnTo>
                  <a:pt x="198" y="421"/>
                </a:lnTo>
                <a:lnTo>
                  <a:pt x="191" y="424"/>
                </a:lnTo>
                <a:lnTo>
                  <a:pt x="186" y="426"/>
                </a:lnTo>
                <a:lnTo>
                  <a:pt x="184" y="428"/>
                </a:lnTo>
                <a:lnTo>
                  <a:pt x="182" y="428"/>
                </a:lnTo>
                <a:lnTo>
                  <a:pt x="180" y="428"/>
                </a:lnTo>
                <a:lnTo>
                  <a:pt x="177" y="428"/>
                </a:lnTo>
                <a:lnTo>
                  <a:pt x="175" y="428"/>
                </a:lnTo>
                <a:lnTo>
                  <a:pt x="173" y="431"/>
                </a:lnTo>
                <a:lnTo>
                  <a:pt x="170" y="431"/>
                </a:lnTo>
                <a:lnTo>
                  <a:pt x="168" y="431"/>
                </a:lnTo>
                <a:lnTo>
                  <a:pt x="166" y="431"/>
                </a:lnTo>
                <a:lnTo>
                  <a:pt x="166" y="428"/>
                </a:lnTo>
                <a:lnTo>
                  <a:pt x="163" y="428"/>
                </a:lnTo>
                <a:lnTo>
                  <a:pt x="159" y="428"/>
                </a:lnTo>
                <a:lnTo>
                  <a:pt x="156" y="428"/>
                </a:lnTo>
                <a:lnTo>
                  <a:pt x="156" y="426"/>
                </a:lnTo>
                <a:lnTo>
                  <a:pt x="156" y="424"/>
                </a:lnTo>
                <a:lnTo>
                  <a:pt x="154" y="412"/>
                </a:lnTo>
                <a:lnTo>
                  <a:pt x="154" y="407"/>
                </a:lnTo>
                <a:lnTo>
                  <a:pt x="152" y="405"/>
                </a:lnTo>
                <a:lnTo>
                  <a:pt x="149" y="405"/>
                </a:lnTo>
                <a:lnTo>
                  <a:pt x="149" y="403"/>
                </a:lnTo>
                <a:lnTo>
                  <a:pt x="149" y="400"/>
                </a:lnTo>
                <a:lnTo>
                  <a:pt x="149" y="398"/>
                </a:lnTo>
                <a:lnTo>
                  <a:pt x="149" y="396"/>
                </a:lnTo>
                <a:lnTo>
                  <a:pt x="152" y="391"/>
                </a:lnTo>
                <a:lnTo>
                  <a:pt x="152" y="389"/>
                </a:lnTo>
                <a:lnTo>
                  <a:pt x="149" y="386"/>
                </a:lnTo>
                <a:lnTo>
                  <a:pt x="149" y="384"/>
                </a:lnTo>
                <a:lnTo>
                  <a:pt x="152" y="382"/>
                </a:lnTo>
                <a:lnTo>
                  <a:pt x="152" y="379"/>
                </a:lnTo>
                <a:lnTo>
                  <a:pt x="149" y="375"/>
                </a:lnTo>
                <a:lnTo>
                  <a:pt x="147" y="375"/>
                </a:lnTo>
                <a:lnTo>
                  <a:pt x="147" y="372"/>
                </a:lnTo>
                <a:lnTo>
                  <a:pt x="147" y="370"/>
                </a:lnTo>
                <a:lnTo>
                  <a:pt x="147" y="368"/>
                </a:lnTo>
                <a:lnTo>
                  <a:pt x="145" y="365"/>
                </a:lnTo>
                <a:lnTo>
                  <a:pt x="145" y="363"/>
                </a:lnTo>
                <a:lnTo>
                  <a:pt x="145" y="361"/>
                </a:lnTo>
                <a:lnTo>
                  <a:pt x="145" y="356"/>
                </a:lnTo>
                <a:lnTo>
                  <a:pt x="145" y="354"/>
                </a:lnTo>
                <a:lnTo>
                  <a:pt x="145" y="351"/>
                </a:lnTo>
                <a:lnTo>
                  <a:pt x="147" y="351"/>
                </a:lnTo>
                <a:lnTo>
                  <a:pt x="147" y="349"/>
                </a:lnTo>
                <a:lnTo>
                  <a:pt x="147" y="347"/>
                </a:lnTo>
                <a:lnTo>
                  <a:pt x="147" y="344"/>
                </a:lnTo>
                <a:lnTo>
                  <a:pt x="147" y="342"/>
                </a:lnTo>
                <a:lnTo>
                  <a:pt x="145" y="342"/>
                </a:lnTo>
                <a:lnTo>
                  <a:pt x="142" y="340"/>
                </a:lnTo>
                <a:lnTo>
                  <a:pt x="140" y="337"/>
                </a:lnTo>
                <a:lnTo>
                  <a:pt x="140" y="335"/>
                </a:lnTo>
                <a:lnTo>
                  <a:pt x="140" y="328"/>
                </a:lnTo>
                <a:lnTo>
                  <a:pt x="140" y="326"/>
                </a:lnTo>
                <a:lnTo>
                  <a:pt x="138" y="326"/>
                </a:lnTo>
                <a:lnTo>
                  <a:pt x="133" y="321"/>
                </a:lnTo>
                <a:lnTo>
                  <a:pt x="133" y="323"/>
                </a:lnTo>
                <a:lnTo>
                  <a:pt x="131" y="321"/>
                </a:lnTo>
                <a:lnTo>
                  <a:pt x="128" y="321"/>
                </a:lnTo>
                <a:lnTo>
                  <a:pt x="126" y="321"/>
                </a:lnTo>
                <a:lnTo>
                  <a:pt x="126" y="319"/>
                </a:lnTo>
                <a:lnTo>
                  <a:pt x="126" y="321"/>
                </a:lnTo>
                <a:lnTo>
                  <a:pt x="124" y="321"/>
                </a:lnTo>
                <a:lnTo>
                  <a:pt x="114" y="319"/>
                </a:lnTo>
                <a:lnTo>
                  <a:pt x="112" y="319"/>
                </a:lnTo>
                <a:lnTo>
                  <a:pt x="110" y="316"/>
                </a:lnTo>
                <a:lnTo>
                  <a:pt x="107" y="314"/>
                </a:lnTo>
                <a:lnTo>
                  <a:pt x="105" y="314"/>
                </a:lnTo>
                <a:lnTo>
                  <a:pt x="105" y="312"/>
                </a:lnTo>
                <a:lnTo>
                  <a:pt x="103" y="307"/>
                </a:lnTo>
                <a:lnTo>
                  <a:pt x="100" y="307"/>
                </a:lnTo>
                <a:lnTo>
                  <a:pt x="98" y="307"/>
                </a:lnTo>
                <a:lnTo>
                  <a:pt x="96" y="307"/>
                </a:lnTo>
                <a:lnTo>
                  <a:pt x="96" y="310"/>
                </a:lnTo>
                <a:lnTo>
                  <a:pt x="93" y="310"/>
                </a:lnTo>
                <a:lnTo>
                  <a:pt x="93" y="312"/>
                </a:lnTo>
                <a:lnTo>
                  <a:pt x="91" y="314"/>
                </a:lnTo>
                <a:lnTo>
                  <a:pt x="89" y="316"/>
                </a:lnTo>
                <a:lnTo>
                  <a:pt x="86" y="316"/>
                </a:lnTo>
                <a:lnTo>
                  <a:pt x="89" y="316"/>
                </a:lnTo>
                <a:lnTo>
                  <a:pt x="89" y="319"/>
                </a:lnTo>
                <a:lnTo>
                  <a:pt x="86" y="319"/>
                </a:lnTo>
                <a:lnTo>
                  <a:pt x="84" y="316"/>
                </a:lnTo>
                <a:lnTo>
                  <a:pt x="84" y="314"/>
                </a:lnTo>
                <a:lnTo>
                  <a:pt x="84" y="316"/>
                </a:lnTo>
                <a:lnTo>
                  <a:pt x="82" y="316"/>
                </a:lnTo>
                <a:lnTo>
                  <a:pt x="79" y="316"/>
                </a:lnTo>
                <a:lnTo>
                  <a:pt x="77" y="316"/>
                </a:lnTo>
                <a:lnTo>
                  <a:pt x="77" y="319"/>
                </a:lnTo>
                <a:lnTo>
                  <a:pt x="75" y="319"/>
                </a:lnTo>
                <a:lnTo>
                  <a:pt x="72" y="316"/>
                </a:lnTo>
                <a:lnTo>
                  <a:pt x="70" y="316"/>
                </a:lnTo>
                <a:lnTo>
                  <a:pt x="68" y="316"/>
                </a:lnTo>
                <a:lnTo>
                  <a:pt x="65" y="316"/>
                </a:lnTo>
                <a:lnTo>
                  <a:pt x="63" y="316"/>
                </a:lnTo>
                <a:lnTo>
                  <a:pt x="61" y="316"/>
                </a:lnTo>
                <a:lnTo>
                  <a:pt x="61" y="314"/>
                </a:lnTo>
                <a:lnTo>
                  <a:pt x="58" y="314"/>
                </a:lnTo>
                <a:lnTo>
                  <a:pt x="56" y="314"/>
                </a:lnTo>
                <a:lnTo>
                  <a:pt x="56" y="312"/>
                </a:lnTo>
                <a:lnTo>
                  <a:pt x="54" y="312"/>
                </a:lnTo>
                <a:lnTo>
                  <a:pt x="52" y="314"/>
                </a:lnTo>
                <a:lnTo>
                  <a:pt x="49" y="314"/>
                </a:lnTo>
                <a:lnTo>
                  <a:pt x="47" y="314"/>
                </a:lnTo>
                <a:lnTo>
                  <a:pt x="45" y="314"/>
                </a:lnTo>
                <a:lnTo>
                  <a:pt x="42" y="312"/>
                </a:lnTo>
                <a:lnTo>
                  <a:pt x="40" y="312"/>
                </a:lnTo>
                <a:lnTo>
                  <a:pt x="38" y="312"/>
                </a:lnTo>
                <a:lnTo>
                  <a:pt x="35" y="312"/>
                </a:lnTo>
                <a:lnTo>
                  <a:pt x="33" y="312"/>
                </a:lnTo>
                <a:lnTo>
                  <a:pt x="31" y="312"/>
                </a:lnTo>
                <a:lnTo>
                  <a:pt x="31" y="310"/>
                </a:lnTo>
                <a:lnTo>
                  <a:pt x="28" y="307"/>
                </a:lnTo>
                <a:lnTo>
                  <a:pt x="26" y="307"/>
                </a:lnTo>
                <a:lnTo>
                  <a:pt x="24" y="307"/>
                </a:lnTo>
                <a:lnTo>
                  <a:pt x="21" y="307"/>
                </a:lnTo>
                <a:lnTo>
                  <a:pt x="21" y="310"/>
                </a:lnTo>
                <a:lnTo>
                  <a:pt x="21" y="307"/>
                </a:lnTo>
                <a:lnTo>
                  <a:pt x="19" y="307"/>
                </a:lnTo>
                <a:lnTo>
                  <a:pt x="19" y="310"/>
                </a:lnTo>
                <a:lnTo>
                  <a:pt x="17" y="310"/>
                </a:lnTo>
                <a:lnTo>
                  <a:pt x="17" y="307"/>
                </a:lnTo>
                <a:lnTo>
                  <a:pt x="14" y="307"/>
                </a:lnTo>
                <a:lnTo>
                  <a:pt x="12" y="307"/>
                </a:lnTo>
                <a:lnTo>
                  <a:pt x="12" y="305"/>
                </a:lnTo>
                <a:lnTo>
                  <a:pt x="10" y="305"/>
                </a:lnTo>
                <a:lnTo>
                  <a:pt x="10" y="303"/>
                </a:lnTo>
                <a:lnTo>
                  <a:pt x="12" y="298"/>
                </a:lnTo>
                <a:lnTo>
                  <a:pt x="14" y="296"/>
                </a:lnTo>
                <a:lnTo>
                  <a:pt x="14" y="293"/>
                </a:lnTo>
                <a:lnTo>
                  <a:pt x="12" y="293"/>
                </a:lnTo>
                <a:lnTo>
                  <a:pt x="12" y="291"/>
                </a:lnTo>
                <a:lnTo>
                  <a:pt x="12" y="289"/>
                </a:lnTo>
                <a:lnTo>
                  <a:pt x="12" y="286"/>
                </a:lnTo>
                <a:lnTo>
                  <a:pt x="12" y="284"/>
                </a:lnTo>
                <a:lnTo>
                  <a:pt x="14" y="282"/>
                </a:lnTo>
                <a:lnTo>
                  <a:pt x="14" y="279"/>
                </a:lnTo>
                <a:lnTo>
                  <a:pt x="14" y="277"/>
                </a:lnTo>
                <a:lnTo>
                  <a:pt x="12" y="277"/>
                </a:lnTo>
                <a:lnTo>
                  <a:pt x="14" y="275"/>
                </a:lnTo>
                <a:lnTo>
                  <a:pt x="14" y="272"/>
                </a:lnTo>
                <a:lnTo>
                  <a:pt x="12" y="272"/>
                </a:lnTo>
                <a:lnTo>
                  <a:pt x="12" y="270"/>
                </a:lnTo>
                <a:lnTo>
                  <a:pt x="12" y="268"/>
                </a:lnTo>
                <a:lnTo>
                  <a:pt x="14" y="265"/>
                </a:lnTo>
                <a:lnTo>
                  <a:pt x="17" y="261"/>
                </a:lnTo>
                <a:lnTo>
                  <a:pt x="19" y="258"/>
                </a:lnTo>
                <a:lnTo>
                  <a:pt x="17" y="258"/>
                </a:lnTo>
                <a:lnTo>
                  <a:pt x="17" y="256"/>
                </a:lnTo>
                <a:lnTo>
                  <a:pt x="14" y="256"/>
                </a:lnTo>
                <a:lnTo>
                  <a:pt x="14" y="254"/>
                </a:lnTo>
                <a:lnTo>
                  <a:pt x="17" y="254"/>
                </a:lnTo>
                <a:lnTo>
                  <a:pt x="19" y="251"/>
                </a:lnTo>
                <a:lnTo>
                  <a:pt x="19" y="249"/>
                </a:lnTo>
                <a:lnTo>
                  <a:pt x="19" y="244"/>
                </a:lnTo>
                <a:lnTo>
                  <a:pt x="19" y="242"/>
                </a:lnTo>
                <a:lnTo>
                  <a:pt x="19" y="240"/>
                </a:lnTo>
                <a:lnTo>
                  <a:pt x="21" y="237"/>
                </a:lnTo>
                <a:lnTo>
                  <a:pt x="21" y="235"/>
                </a:lnTo>
                <a:lnTo>
                  <a:pt x="19" y="233"/>
                </a:lnTo>
                <a:lnTo>
                  <a:pt x="19" y="235"/>
                </a:lnTo>
                <a:lnTo>
                  <a:pt x="17" y="233"/>
                </a:lnTo>
                <a:lnTo>
                  <a:pt x="14" y="233"/>
                </a:lnTo>
                <a:lnTo>
                  <a:pt x="14" y="230"/>
                </a:lnTo>
                <a:lnTo>
                  <a:pt x="19" y="228"/>
                </a:lnTo>
                <a:lnTo>
                  <a:pt x="19" y="226"/>
                </a:lnTo>
                <a:lnTo>
                  <a:pt x="17" y="226"/>
                </a:lnTo>
                <a:lnTo>
                  <a:pt x="14" y="226"/>
                </a:lnTo>
                <a:lnTo>
                  <a:pt x="14" y="223"/>
                </a:lnTo>
                <a:lnTo>
                  <a:pt x="17" y="223"/>
                </a:lnTo>
                <a:lnTo>
                  <a:pt x="17" y="221"/>
                </a:lnTo>
                <a:lnTo>
                  <a:pt x="19" y="221"/>
                </a:lnTo>
                <a:lnTo>
                  <a:pt x="19" y="219"/>
                </a:lnTo>
                <a:lnTo>
                  <a:pt x="17" y="219"/>
                </a:lnTo>
                <a:lnTo>
                  <a:pt x="17" y="216"/>
                </a:lnTo>
                <a:lnTo>
                  <a:pt x="14" y="216"/>
                </a:lnTo>
                <a:lnTo>
                  <a:pt x="12" y="219"/>
                </a:lnTo>
                <a:lnTo>
                  <a:pt x="12" y="216"/>
                </a:lnTo>
                <a:lnTo>
                  <a:pt x="12" y="214"/>
                </a:lnTo>
                <a:lnTo>
                  <a:pt x="10" y="214"/>
                </a:lnTo>
                <a:lnTo>
                  <a:pt x="10" y="212"/>
                </a:lnTo>
                <a:lnTo>
                  <a:pt x="10" y="209"/>
                </a:lnTo>
                <a:lnTo>
                  <a:pt x="10" y="207"/>
                </a:lnTo>
                <a:lnTo>
                  <a:pt x="10" y="205"/>
                </a:lnTo>
                <a:lnTo>
                  <a:pt x="12" y="202"/>
                </a:lnTo>
                <a:lnTo>
                  <a:pt x="10" y="200"/>
                </a:lnTo>
                <a:lnTo>
                  <a:pt x="7" y="200"/>
                </a:lnTo>
                <a:lnTo>
                  <a:pt x="5" y="198"/>
                </a:lnTo>
                <a:lnTo>
                  <a:pt x="5" y="195"/>
                </a:lnTo>
                <a:lnTo>
                  <a:pt x="5" y="193"/>
                </a:lnTo>
                <a:lnTo>
                  <a:pt x="5" y="191"/>
                </a:lnTo>
                <a:lnTo>
                  <a:pt x="3" y="191"/>
                </a:lnTo>
                <a:lnTo>
                  <a:pt x="0" y="191"/>
                </a:lnTo>
                <a:lnTo>
                  <a:pt x="0" y="188"/>
                </a:lnTo>
                <a:lnTo>
                  <a:pt x="3" y="188"/>
                </a:lnTo>
                <a:lnTo>
                  <a:pt x="3" y="186"/>
                </a:lnTo>
                <a:lnTo>
                  <a:pt x="0" y="186"/>
                </a:lnTo>
                <a:lnTo>
                  <a:pt x="0" y="184"/>
                </a:lnTo>
                <a:lnTo>
                  <a:pt x="3" y="184"/>
                </a:lnTo>
                <a:lnTo>
                  <a:pt x="5" y="184"/>
                </a:lnTo>
                <a:lnTo>
                  <a:pt x="5" y="181"/>
                </a:lnTo>
                <a:lnTo>
                  <a:pt x="7" y="181"/>
                </a:lnTo>
                <a:lnTo>
                  <a:pt x="10" y="179"/>
                </a:lnTo>
                <a:lnTo>
                  <a:pt x="12" y="177"/>
                </a:lnTo>
                <a:lnTo>
                  <a:pt x="14" y="177"/>
                </a:lnTo>
                <a:lnTo>
                  <a:pt x="17" y="177"/>
                </a:lnTo>
                <a:lnTo>
                  <a:pt x="19" y="174"/>
                </a:lnTo>
                <a:lnTo>
                  <a:pt x="19" y="172"/>
                </a:lnTo>
                <a:lnTo>
                  <a:pt x="14" y="168"/>
                </a:lnTo>
                <a:lnTo>
                  <a:pt x="10" y="163"/>
                </a:lnTo>
                <a:lnTo>
                  <a:pt x="5" y="158"/>
                </a:lnTo>
                <a:lnTo>
                  <a:pt x="3" y="158"/>
                </a:lnTo>
                <a:lnTo>
                  <a:pt x="5" y="154"/>
                </a:lnTo>
                <a:lnTo>
                  <a:pt x="7" y="151"/>
                </a:lnTo>
                <a:lnTo>
                  <a:pt x="7" y="149"/>
                </a:lnTo>
                <a:lnTo>
                  <a:pt x="10" y="144"/>
                </a:lnTo>
                <a:lnTo>
                  <a:pt x="10" y="142"/>
                </a:lnTo>
                <a:lnTo>
                  <a:pt x="12" y="140"/>
                </a:lnTo>
                <a:lnTo>
                  <a:pt x="17" y="130"/>
                </a:lnTo>
                <a:lnTo>
                  <a:pt x="21" y="121"/>
                </a:lnTo>
                <a:lnTo>
                  <a:pt x="24" y="119"/>
                </a:lnTo>
                <a:lnTo>
                  <a:pt x="24" y="116"/>
                </a:lnTo>
                <a:lnTo>
                  <a:pt x="26" y="114"/>
                </a:lnTo>
                <a:lnTo>
                  <a:pt x="28" y="114"/>
                </a:lnTo>
                <a:lnTo>
                  <a:pt x="28" y="112"/>
                </a:lnTo>
                <a:lnTo>
                  <a:pt x="28" y="107"/>
                </a:lnTo>
                <a:lnTo>
                  <a:pt x="26" y="107"/>
                </a:lnTo>
                <a:lnTo>
                  <a:pt x="26" y="105"/>
                </a:lnTo>
                <a:lnTo>
                  <a:pt x="28" y="95"/>
                </a:lnTo>
                <a:lnTo>
                  <a:pt x="31" y="86"/>
                </a:lnTo>
                <a:lnTo>
                  <a:pt x="35" y="77"/>
                </a:lnTo>
                <a:lnTo>
                  <a:pt x="38" y="67"/>
                </a:lnTo>
                <a:lnTo>
                  <a:pt x="38" y="65"/>
                </a:lnTo>
                <a:lnTo>
                  <a:pt x="40" y="65"/>
                </a:lnTo>
                <a:lnTo>
                  <a:pt x="40" y="63"/>
                </a:lnTo>
                <a:lnTo>
                  <a:pt x="45" y="63"/>
                </a:lnTo>
                <a:lnTo>
                  <a:pt x="42" y="63"/>
                </a:lnTo>
                <a:lnTo>
                  <a:pt x="40" y="60"/>
                </a:lnTo>
                <a:lnTo>
                  <a:pt x="38" y="56"/>
                </a:lnTo>
                <a:lnTo>
                  <a:pt x="35" y="49"/>
                </a:lnTo>
                <a:lnTo>
                  <a:pt x="28" y="39"/>
                </a:lnTo>
                <a:lnTo>
                  <a:pt x="31" y="39"/>
                </a:lnTo>
                <a:lnTo>
                  <a:pt x="31" y="37"/>
                </a:lnTo>
                <a:lnTo>
                  <a:pt x="28" y="35"/>
                </a:lnTo>
                <a:lnTo>
                  <a:pt x="31" y="32"/>
                </a:lnTo>
                <a:lnTo>
                  <a:pt x="33" y="32"/>
                </a:lnTo>
                <a:lnTo>
                  <a:pt x="35" y="32"/>
                </a:lnTo>
                <a:lnTo>
                  <a:pt x="35" y="35"/>
                </a:lnTo>
                <a:lnTo>
                  <a:pt x="38" y="35"/>
                </a:lnTo>
                <a:lnTo>
                  <a:pt x="38" y="37"/>
                </a:lnTo>
                <a:lnTo>
                  <a:pt x="40" y="39"/>
                </a:lnTo>
                <a:lnTo>
                  <a:pt x="42" y="39"/>
                </a:lnTo>
                <a:lnTo>
                  <a:pt x="45" y="42"/>
                </a:lnTo>
                <a:lnTo>
                  <a:pt x="45" y="44"/>
                </a:lnTo>
                <a:lnTo>
                  <a:pt x="45" y="46"/>
                </a:lnTo>
                <a:lnTo>
                  <a:pt x="45" y="44"/>
                </a:lnTo>
                <a:lnTo>
                  <a:pt x="47" y="42"/>
                </a:lnTo>
                <a:lnTo>
                  <a:pt x="47" y="39"/>
                </a:lnTo>
                <a:lnTo>
                  <a:pt x="58" y="37"/>
                </a:lnTo>
                <a:lnTo>
                  <a:pt x="61" y="37"/>
                </a:lnTo>
                <a:lnTo>
                  <a:pt x="65" y="35"/>
                </a:lnTo>
                <a:lnTo>
                  <a:pt x="68" y="35"/>
                </a:lnTo>
                <a:lnTo>
                  <a:pt x="75" y="28"/>
                </a:lnTo>
                <a:lnTo>
                  <a:pt x="75" y="26"/>
                </a:lnTo>
                <a:lnTo>
                  <a:pt x="75" y="23"/>
                </a:lnTo>
                <a:lnTo>
                  <a:pt x="77" y="23"/>
                </a:lnTo>
                <a:lnTo>
                  <a:pt x="77" y="21"/>
                </a:lnTo>
                <a:lnTo>
                  <a:pt x="79" y="21"/>
                </a:lnTo>
                <a:lnTo>
                  <a:pt x="82" y="19"/>
                </a:lnTo>
                <a:lnTo>
                  <a:pt x="82" y="16"/>
                </a:lnTo>
                <a:lnTo>
                  <a:pt x="84" y="14"/>
                </a:lnTo>
                <a:lnTo>
                  <a:pt x="84" y="12"/>
                </a:lnTo>
                <a:lnTo>
                  <a:pt x="86" y="12"/>
                </a:lnTo>
                <a:lnTo>
                  <a:pt x="86" y="9"/>
                </a:lnTo>
                <a:lnTo>
                  <a:pt x="86" y="7"/>
                </a:lnTo>
                <a:lnTo>
                  <a:pt x="89" y="7"/>
                </a:lnTo>
                <a:lnTo>
                  <a:pt x="93" y="7"/>
                </a:lnTo>
                <a:lnTo>
                  <a:pt x="103" y="7"/>
                </a:lnTo>
                <a:lnTo>
                  <a:pt x="105" y="7"/>
                </a:lnTo>
                <a:lnTo>
                  <a:pt x="107" y="7"/>
                </a:lnTo>
                <a:lnTo>
                  <a:pt x="110" y="7"/>
                </a:lnTo>
                <a:lnTo>
                  <a:pt x="112" y="7"/>
                </a:lnTo>
                <a:lnTo>
                  <a:pt x="112" y="5"/>
                </a:lnTo>
                <a:lnTo>
                  <a:pt x="114" y="5"/>
                </a:lnTo>
                <a:lnTo>
                  <a:pt x="117" y="5"/>
                </a:lnTo>
                <a:lnTo>
                  <a:pt x="119" y="2"/>
                </a:lnTo>
                <a:lnTo>
                  <a:pt x="119" y="0"/>
                </a:lnTo>
                <a:lnTo>
                  <a:pt x="121" y="0"/>
                </a:lnTo>
                <a:lnTo>
                  <a:pt x="126" y="0"/>
                </a:lnTo>
                <a:lnTo>
                  <a:pt x="128" y="0"/>
                </a:lnTo>
                <a:lnTo>
                  <a:pt x="131" y="0"/>
                </a:lnTo>
                <a:lnTo>
                  <a:pt x="133" y="0"/>
                </a:lnTo>
                <a:lnTo>
                  <a:pt x="133" y="2"/>
                </a:lnTo>
                <a:lnTo>
                  <a:pt x="135" y="5"/>
                </a:lnTo>
                <a:lnTo>
                  <a:pt x="140" y="7"/>
                </a:lnTo>
                <a:lnTo>
                  <a:pt x="142" y="7"/>
                </a:lnTo>
                <a:lnTo>
                  <a:pt x="145" y="7"/>
                </a:lnTo>
                <a:lnTo>
                  <a:pt x="145" y="9"/>
                </a:lnTo>
                <a:lnTo>
                  <a:pt x="147" y="9"/>
                </a:lnTo>
                <a:lnTo>
                  <a:pt x="152" y="12"/>
                </a:lnTo>
                <a:lnTo>
                  <a:pt x="154" y="12"/>
                </a:lnTo>
                <a:lnTo>
                  <a:pt x="156" y="12"/>
                </a:lnTo>
                <a:lnTo>
                  <a:pt x="159" y="14"/>
                </a:lnTo>
                <a:lnTo>
                  <a:pt x="159" y="16"/>
                </a:lnTo>
                <a:lnTo>
                  <a:pt x="161" y="16"/>
                </a:lnTo>
                <a:lnTo>
                  <a:pt x="161" y="19"/>
                </a:lnTo>
                <a:lnTo>
                  <a:pt x="163" y="21"/>
                </a:lnTo>
                <a:lnTo>
                  <a:pt x="168" y="23"/>
                </a:lnTo>
                <a:lnTo>
                  <a:pt x="170" y="23"/>
                </a:lnTo>
                <a:lnTo>
                  <a:pt x="170" y="26"/>
                </a:lnTo>
                <a:lnTo>
                  <a:pt x="173" y="26"/>
                </a:lnTo>
                <a:lnTo>
                  <a:pt x="175" y="26"/>
                </a:lnTo>
                <a:lnTo>
                  <a:pt x="175" y="28"/>
                </a:lnTo>
                <a:lnTo>
                  <a:pt x="177" y="28"/>
                </a:lnTo>
                <a:lnTo>
                  <a:pt x="184" y="32"/>
                </a:lnTo>
                <a:lnTo>
                  <a:pt x="186" y="32"/>
                </a:lnTo>
                <a:lnTo>
                  <a:pt x="189" y="32"/>
                </a:lnTo>
                <a:lnTo>
                  <a:pt x="196" y="30"/>
                </a:lnTo>
                <a:lnTo>
                  <a:pt x="198" y="32"/>
                </a:lnTo>
                <a:lnTo>
                  <a:pt x="200" y="30"/>
                </a:lnTo>
                <a:lnTo>
                  <a:pt x="205" y="28"/>
                </a:lnTo>
                <a:lnTo>
                  <a:pt x="207" y="28"/>
                </a:lnTo>
                <a:lnTo>
                  <a:pt x="207" y="26"/>
                </a:lnTo>
                <a:lnTo>
                  <a:pt x="210" y="23"/>
                </a:lnTo>
                <a:lnTo>
                  <a:pt x="212" y="23"/>
                </a:lnTo>
                <a:lnTo>
                  <a:pt x="219" y="23"/>
                </a:lnTo>
                <a:lnTo>
                  <a:pt x="221" y="23"/>
                </a:lnTo>
                <a:lnTo>
                  <a:pt x="224" y="23"/>
                </a:lnTo>
                <a:lnTo>
                  <a:pt x="226" y="26"/>
                </a:lnTo>
                <a:lnTo>
                  <a:pt x="228" y="28"/>
                </a:lnTo>
                <a:lnTo>
                  <a:pt x="231" y="28"/>
                </a:lnTo>
                <a:lnTo>
                  <a:pt x="231" y="30"/>
                </a:lnTo>
                <a:lnTo>
                  <a:pt x="231" y="32"/>
                </a:lnTo>
                <a:lnTo>
                  <a:pt x="231" y="35"/>
                </a:lnTo>
                <a:lnTo>
                  <a:pt x="233" y="35"/>
                </a:lnTo>
                <a:lnTo>
                  <a:pt x="235" y="35"/>
                </a:lnTo>
                <a:lnTo>
                  <a:pt x="240" y="32"/>
                </a:lnTo>
                <a:lnTo>
                  <a:pt x="242" y="30"/>
                </a:lnTo>
                <a:lnTo>
                  <a:pt x="245" y="30"/>
                </a:lnTo>
                <a:lnTo>
                  <a:pt x="247" y="30"/>
                </a:lnTo>
                <a:lnTo>
                  <a:pt x="249" y="28"/>
                </a:lnTo>
                <a:lnTo>
                  <a:pt x="252" y="28"/>
                </a:lnTo>
                <a:lnTo>
                  <a:pt x="252" y="26"/>
                </a:lnTo>
                <a:lnTo>
                  <a:pt x="252" y="23"/>
                </a:lnTo>
                <a:lnTo>
                  <a:pt x="256" y="23"/>
                </a:lnTo>
                <a:lnTo>
                  <a:pt x="259" y="21"/>
                </a:lnTo>
                <a:lnTo>
                  <a:pt x="263" y="16"/>
                </a:lnTo>
                <a:lnTo>
                  <a:pt x="266" y="14"/>
                </a:lnTo>
                <a:lnTo>
                  <a:pt x="266" y="12"/>
                </a:lnTo>
                <a:lnTo>
                  <a:pt x="270" y="9"/>
                </a:lnTo>
                <a:lnTo>
                  <a:pt x="275" y="9"/>
                </a:lnTo>
                <a:lnTo>
                  <a:pt x="275" y="12"/>
                </a:lnTo>
                <a:lnTo>
                  <a:pt x="273" y="21"/>
                </a:lnTo>
                <a:lnTo>
                  <a:pt x="273" y="26"/>
                </a:lnTo>
                <a:lnTo>
                  <a:pt x="270" y="28"/>
                </a:lnTo>
                <a:lnTo>
                  <a:pt x="270" y="32"/>
                </a:lnTo>
                <a:lnTo>
                  <a:pt x="270" y="35"/>
                </a:lnTo>
                <a:lnTo>
                  <a:pt x="268" y="35"/>
                </a:lnTo>
                <a:lnTo>
                  <a:pt x="266" y="35"/>
                </a:lnTo>
                <a:lnTo>
                  <a:pt x="263" y="35"/>
                </a:lnTo>
                <a:lnTo>
                  <a:pt x="263" y="37"/>
                </a:lnTo>
                <a:lnTo>
                  <a:pt x="261" y="37"/>
                </a:lnTo>
                <a:lnTo>
                  <a:pt x="261" y="39"/>
                </a:lnTo>
                <a:lnTo>
                  <a:pt x="259" y="42"/>
                </a:lnTo>
                <a:lnTo>
                  <a:pt x="259" y="44"/>
                </a:lnTo>
                <a:lnTo>
                  <a:pt x="256" y="46"/>
                </a:lnTo>
                <a:lnTo>
                  <a:pt x="254" y="49"/>
                </a:lnTo>
                <a:lnTo>
                  <a:pt x="254" y="51"/>
                </a:lnTo>
                <a:lnTo>
                  <a:pt x="256" y="51"/>
                </a:lnTo>
                <a:lnTo>
                  <a:pt x="259" y="51"/>
                </a:lnTo>
                <a:lnTo>
                  <a:pt x="261" y="51"/>
                </a:lnTo>
                <a:lnTo>
                  <a:pt x="268" y="56"/>
                </a:lnTo>
                <a:lnTo>
                  <a:pt x="270" y="56"/>
                </a:lnTo>
                <a:lnTo>
                  <a:pt x="277" y="56"/>
                </a:lnTo>
                <a:lnTo>
                  <a:pt x="280" y="56"/>
                </a:lnTo>
                <a:lnTo>
                  <a:pt x="284" y="58"/>
                </a:lnTo>
                <a:lnTo>
                  <a:pt x="287" y="58"/>
                </a:lnTo>
                <a:lnTo>
                  <a:pt x="289" y="58"/>
                </a:lnTo>
                <a:lnTo>
                  <a:pt x="289" y="56"/>
                </a:lnTo>
                <a:lnTo>
                  <a:pt x="296" y="56"/>
                </a:lnTo>
                <a:lnTo>
                  <a:pt x="296" y="58"/>
                </a:lnTo>
                <a:lnTo>
                  <a:pt x="301" y="58"/>
                </a:lnTo>
                <a:lnTo>
                  <a:pt x="303" y="58"/>
                </a:lnTo>
                <a:lnTo>
                  <a:pt x="305" y="60"/>
                </a:lnTo>
                <a:lnTo>
                  <a:pt x="310" y="58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9" name="Freeform 16">
            <a:extLst>
              <a:ext uri="{FF2B5EF4-FFF2-40B4-BE49-F238E27FC236}">
                <a16:creationId xmlns:a16="http://schemas.microsoft.com/office/drawing/2014/main" id="{2358BB32-9FC5-11B3-3768-F56C62605062}"/>
              </a:ext>
            </a:extLst>
          </p:cNvPr>
          <p:cNvSpPr>
            <a:spLocks/>
          </p:cNvSpPr>
          <p:nvPr/>
        </p:nvSpPr>
        <p:spPr bwMode="auto">
          <a:xfrm>
            <a:off x="3214456" y="4194412"/>
            <a:ext cx="817705" cy="599448"/>
          </a:xfrm>
          <a:custGeom>
            <a:avLst/>
            <a:gdLst>
              <a:gd name="T0" fmla="*/ 633 w 694"/>
              <a:gd name="T1" fmla="*/ 260 h 533"/>
              <a:gd name="T2" fmla="*/ 617 w 694"/>
              <a:gd name="T3" fmla="*/ 272 h 533"/>
              <a:gd name="T4" fmla="*/ 603 w 694"/>
              <a:gd name="T5" fmla="*/ 286 h 533"/>
              <a:gd name="T6" fmla="*/ 596 w 694"/>
              <a:gd name="T7" fmla="*/ 311 h 533"/>
              <a:gd name="T8" fmla="*/ 598 w 694"/>
              <a:gd name="T9" fmla="*/ 328 h 533"/>
              <a:gd name="T10" fmla="*/ 594 w 694"/>
              <a:gd name="T11" fmla="*/ 356 h 533"/>
              <a:gd name="T12" fmla="*/ 573 w 694"/>
              <a:gd name="T13" fmla="*/ 384 h 533"/>
              <a:gd name="T14" fmla="*/ 540 w 694"/>
              <a:gd name="T15" fmla="*/ 409 h 533"/>
              <a:gd name="T16" fmla="*/ 531 w 694"/>
              <a:gd name="T17" fmla="*/ 430 h 533"/>
              <a:gd name="T18" fmla="*/ 515 w 694"/>
              <a:gd name="T19" fmla="*/ 449 h 533"/>
              <a:gd name="T20" fmla="*/ 505 w 694"/>
              <a:gd name="T21" fmla="*/ 479 h 533"/>
              <a:gd name="T22" fmla="*/ 452 w 694"/>
              <a:gd name="T23" fmla="*/ 500 h 533"/>
              <a:gd name="T24" fmla="*/ 421 w 694"/>
              <a:gd name="T25" fmla="*/ 495 h 533"/>
              <a:gd name="T26" fmla="*/ 382 w 694"/>
              <a:gd name="T27" fmla="*/ 502 h 533"/>
              <a:gd name="T28" fmla="*/ 335 w 694"/>
              <a:gd name="T29" fmla="*/ 512 h 533"/>
              <a:gd name="T30" fmla="*/ 303 w 694"/>
              <a:gd name="T31" fmla="*/ 519 h 533"/>
              <a:gd name="T32" fmla="*/ 293 w 694"/>
              <a:gd name="T33" fmla="*/ 528 h 533"/>
              <a:gd name="T34" fmla="*/ 268 w 694"/>
              <a:gd name="T35" fmla="*/ 528 h 533"/>
              <a:gd name="T36" fmla="*/ 256 w 694"/>
              <a:gd name="T37" fmla="*/ 512 h 533"/>
              <a:gd name="T38" fmla="*/ 247 w 694"/>
              <a:gd name="T39" fmla="*/ 484 h 533"/>
              <a:gd name="T40" fmla="*/ 254 w 694"/>
              <a:gd name="T41" fmla="*/ 453 h 533"/>
              <a:gd name="T42" fmla="*/ 245 w 694"/>
              <a:gd name="T43" fmla="*/ 433 h 533"/>
              <a:gd name="T44" fmla="*/ 224 w 694"/>
              <a:gd name="T45" fmla="*/ 414 h 533"/>
              <a:gd name="T46" fmla="*/ 219 w 694"/>
              <a:gd name="T47" fmla="*/ 372 h 533"/>
              <a:gd name="T48" fmla="*/ 210 w 694"/>
              <a:gd name="T49" fmla="*/ 342 h 533"/>
              <a:gd name="T50" fmla="*/ 182 w 694"/>
              <a:gd name="T51" fmla="*/ 344 h 533"/>
              <a:gd name="T52" fmla="*/ 158 w 694"/>
              <a:gd name="T53" fmla="*/ 346 h 533"/>
              <a:gd name="T54" fmla="*/ 126 w 694"/>
              <a:gd name="T55" fmla="*/ 360 h 533"/>
              <a:gd name="T56" fmla="*/ 103 w 694"/>
              <a:gd name="T57" fmla="*/ 351 h 533"/>
              <a:gd name="T58" fmla="*/ 40 w 694"/>
              <a:gd name="T59" fmla="*/ 321 h 533"/>
              <a:gd name="T60" fmla="*/ 3 w 694"/>
              <a:gd name="T61" fmla="*/ 305 h 533"/>
              <a:gd name="T62" fmla="*/ 14 w 694"/>
              <a:gd name="T63" fmla="*/ 284 h 533"/>
              <a:gd name="T64" fmla="*/ 35 w 694"/>
              <a:gd name="T65" fmla="*/ 260 h 533"/>
              <a:gd name="T66" fmla="*/ 98 w 694"/>
              <a:gd name="T67" fmla="*/ 239 h 533"/>
              <a:gd name="T68" fmla="*/ 172 w 694"/>
              <a:gd name="T69" fmla="*/ 237 h 533"/>
              <a:gd name="T70" fmla="*/ 214 w 694"/>
              <a:gd name="T71" fmla="*/ 230 h 533"/>
              <a:gd name="T72" fmla="*/ 231 w 694"/>
              <a:gd name="T73" fmla="*/ 204 h 533"/>
              <a:gd name="T74" fmla="*/ 221 w 694"/>
              <a:gd name="T75" fmla="*/ 179 h 533"/>
              <a:gd name="T76" fmla="*/ 240 w 694"/>
              <a:gd name="T77" fmla="*/ 160 h 533"/>
              <a:gd name="T78" fmla="*/ 238 w 694"/>
              <a:gd name="T79" fmla="*/ 132 h 533"/>
              <a:gd name="T80" fmla="*/ 242 w 694"/>
              <a:gd name="T81" fmla="*/ 95 h 533"/>
              <a:gd name="T82" fmla="*/ 270 w 694"/>
              <a:gd name="T83" fmla="*/ 88 h 533"/>
              <a:gd name="T84" fmla="*/ 272 w 694"/>
              <a:gd name="T85" fmla="*/ 48 h 533"/>
              <a:gd name="T86" fmla="*/ 296 w 694"/>
              <a:gd name="T87" fmla="*/ 25 h 533"/>
              <a:gd name="T88" fmla="*/ 324 w 694"/>
              <a:gd name="T89" fmla="*/ 32 h 533"/>
              <a:gd name="T90" fmla="*/ 328 w 694"/>
              <a:gd name="T91" fmla="*/ 51 h 533"/>
              <a:gd name="T92" fmla="*/ 356 w 694"/>
              <a:gd name="T93" fmla="*/ 37 h 533"/>
              <a:gd name="T94" fmla="*/ 401 w 694"/>
              <a:gd name="T95" fmla="*/ 16 h 533"/>
              <a:gd name="T96" fmla="*/ 440 w 694"/>
              <a:gd name="T97" fmla="*/ 2 h 533"/>
              <a:gd name="T98" fmla="*/ 466 w 694"/>
              <a:gd name="T99" fmla="*/ 14 h 533"/>
              <a:gd name="T100" fmla="*/ 489 w 694"/>
              <a:gd name="T101" fmla="*/ 37 h 533"/>
              <a:gd name="T102" fmla="*/ 526 w 694"/>
              <a:gd name="T103" fmla="*/ 48 h 533"/>
              <a:gd name="T104" fmla="*/ 561 w 694"/>
              <a:gd name="T105" fmla="*/ 72 h 533"/>
              <a:gd name="T106" fmla="*/ 610 w 694"/>
              <a:gd name="T107" fmla="*/ 118 h 533"/>
              <a:gd name="T108" fmla="*/ 645 w 694"/>
              <a:gd name="T109" fmla="*/ 123 h 533"/>
              <a:gd name="T110" fmla="*/ 677 w 694"/>
              <a:gd name="T111" fmla="*/ 137 h 533"/>
              <a:gd name="T112" fmla="*/ 689 w 694"/>
              <a:gd name="T113" fmla="*/ 160 h 533"/>
              <a:gd name="T114" fmla="*/ 663 w 694"/>
              <a:gd name="T115" fmla="*/ 193 h 533"/>
              <a:gd name="T116" fmla="*/ 640 w 694"/>
              <a:gd name="T117" fmla="*/ 221 h 533"/>
              <a:gd name="T118" fmla="*/ 650 w 694"/>
              <a:gd name="T119" fmla="*/ 244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94" h="533">
                <a:moveTo>
                  <a:pt x="657" y="267"/>
                </a:moveTo>
                <a:lnTo>
                  <a:pt x="654" y="265"/>
                </a:lnTo>
                <a:lnTo>
                  <a:pt x="652" y="265"/>
                </a:lnTo>
                <a:lnTo>
                  <a:pt x="652" y="263"/>
                </a:lnTo>
                <a:lnTo>
                  <a:pt x="650" y="263"/>
                </a:lnTo>
                <a:lnTo>
                  <a:pt x="647" y="263"/>
                </a:lnTo>
                <a:lnTo>
                  <a:pt x="647" y="260"/>
                </a:lnTo>
                <a:lnTo>
                  <a:pt x="645" y="260"/>
                </a:lnTo>
                <a:lnTo>
                  <a:pt x="645" y="258"/>
                </a:lnTo>
                <a:lnTo>
                  <a:pt x="643" y="258"/>
                </a:lnTo>
                <a:lnTo>
                  <a:pt x="643" y="260"/>
                </a:lnTo>
                <a:lnTo>
                  <a:pt x="643" y="263"/>
                </a:lnTo>
                <a:lnTo>
                  <a:pt x="640" y="263"/>
                </a:lnTo>
                <a:lnTo>
                  <a:pt x="640" y="260"/>
                </a:lnTo>
                <a:lnTo>
                  <a:pt x="638" y="260"/>
                </a:lnTo>
                <a:lnTo>
                  <a:pt x="636" y="260"/>
                </a:lnTo>
                <a:lnTo>
                  <a:pt x="633" y="260"/>
                </a:lnTo>
                <a:lnTo>
                  <a:pt x="631" y="260"/>
                </a:lnTo>
                <a:lnTo>
                  <a:pt x="629" y="263"/>
                </a:lnTo>
                <a:lnTo>
                  <a:pt x="629" y="260"/>
                </a:lnTo>
                <a:lnTo>
                  <a:pt x="626" y="260"/>
                </a:lnTo>
                <a:lnTo>
                  <a:pt x="624" y="260"/>
                </a:lnTo>
                <a:lnTo>
                  <a:pt x="622" y="260"/>
                </a:lnTo>
                <a:lnTo>
                  <a:pt x="622" y="263"/>
                </a:lnTo>
                <a:lnTo>
                  <a:pt x="622" y="260"/>
                </a:lnTo>
                <a:lnTo>
                  <a:pt x="619" y="260"/>
                </a:lnTo>
                <a:lnTo>
                  <a:pt x="617" y="260"/>
                </a:lnTo>
                <a:lnTo>
                  <a:pt x="615" y="260"/>
                </a:lnTo>
                <a:lnTo>
                  <a:pt x="615" y="258"/>
                </a:lnTo>
                <a:lnTo>
                  <a:pt x="615" y="260"/>
                </a:lnTo>
                <a:lnTo>
                  <a:pt x="622" y="270"/>
                </a:lnTo>
                <a:lnTo>
                  <a:pt x="622" y="272"/>
                </a:lnTo>
                <a:lnTo>
                  <a:pt x="619" y="272"/>
                </a:lnTo>
                <a:lnTo>
                  <a:pt x="617" y="272"/>
                </a:lnTo>
                <a:lnTo>
                  <a:pt x="615" y="270"/>
                </a:lnTo>
                <a:lnTo>
                  <a:pt x="612" y="270"/>
                </a:lnTo>
                <a:lnTo>
                  <a:pt x="610" y="270"/>
                </a:lnTo>
                <a:lnTo>
                  <a:pt x="608" y="272"/>
                </a:lnTo>
                <a:lnTo>
                  <a:pt x="605" y="272"/>
                </a:lnTo>
                <a:lnTo>
                  <a:pt x="603" y="272"/>
                </a:lnTo>
                <a:lnTo>
                  <a:pt x="603" y="274"/>
                </a:lnTo>
                <a:lnTo>
                  <a:pt x="601" y="277"/>
                </a:lnTo>
                <a:lnTo>
                  <a:pt x="598" y="279"/>
                </a:lnTo>
                <a:lnTo>
                  <a:pt x="598" y="281"/>
                </a:lnTo>
                <a:lnTo>
                  <a:pt x="598" y="284"/>
                </a:lnTo>
                <a:lnTo>
                  <a:pt x="596" y="284"/>
                </a:lnTo>
                <a:lnTo>
                  <a:pt x="598" y="286"/>
                </a:lnTo>
                <a:lnTo>
                  <a:pt x="598" y="284"/>
                </a:lnTo>
                <a:lnTo>
                  <a:pt x="601" y="284"/>
                </a:lnTo>
                <a:lnTo>
                  <a:pt x="603" y="284"/>
                </a:lnTo>
                <a:lnTo>
                  <a:pt x="603" y="286"/>
                </a:lnTo>
                <a:lnTo>
                  <a:pt x="605" y="286"/>
                </a:lnTo>
                <a:lnTo>
                  <a:pt x="605" y="288"/>
                </a:lnTo>
                <a:lnTo>
                  <a:pt x="605" y="291"/>
                </a:lnTo>
                <a:lnTo>
                  <a:pt x="605" y="293"/>
                </a:lnTo>
                <a:lnTo>
                  <a:pt x="603" y="295"/>
                </a:lnTo>
                <a:lnTo>
                  <a:pt x="603" y="298"/>
                </a:lnTo>
                <a:lnTo>
                  <a:pt x="603" y="302"/>
                </a:lnTo>
                <a:lnTo>
                  <a:pt x="601" y="302"/>
                </a:lnTo>
                <a:lnTo>
                  <a:pt x="603" y="302"/>
                </a:lnTo>
                <a:lnTo>
                  <a:pt x="605" y="305"/>
                </a:lnTo>
                <a:lnTo>
                  <a:pt x="608" y="305"/>
                </a:lnTo>
                <a:lnTo>
                  <a:pt x="608" y="309"/>
                </a:lnTo>
                <a:lnTo>
                  <a:pt x="608" y="311"/>
                </a:lnTo>
                <a:lnTo>
                  <a:pt x="605" y="311"/>
                </a:lnTo>
                <a:lnTo>
                  <a:pt x="605" y="314"/>
                </a:lnTo>
                <a:lnTo>
                  <a:pt x="603" y="314"/>
                </a:lnTo>
                <a:lnTo>
                  <a:pt x="596" y="311"/>
                </a:lnTo>
                <a:lnTo>
                  <a:pt x="594" y="311"/>
                </a:lnTo>
                <a:lnTo>
                  <a:pt x="591" y="311"/>
                </a:lnTo>
                <a:lnTo>
                  <a:pt x="589" y="311"/>
                </a:lnTo>
                <a:lnTo>
                  <a:pt x="587" y="311"/>
                </a:lnTo>
                <a:lnTo>
                  <a:pt x="587" y="314"/>
                </a:lnTo>
                <a:lnTo>
                  <a:pt x="589" y="314"/>
                </a:lnTo>
                <a:lnTo>
                  <a:pt x="589" y="316"/>
                </a:lnTo>
                <a:lnTo>
                  <a:pt x="591" y="316"/>
                </a:lnTo>
                <a:lnTo>
                  <a:pt x="594" y="316"/>
                </a:lnTo>
                <a:lnTo>
                  <a:pt x="596" y="316"/>
                </a:lnTo>
                <a:lnTo>
                  <a:pt x="596" y="318"/>
                </a:lnTo>
                <a:lnTo>
                  <a:pt x="598" y="318"/>
                </a:lnTo>
                <a:lnTo>
                  <a:pt x="598" y="321"/>
                </a:lnTo>
                <a:lnTo>
                  <a:pt x="598" y="323"/>
                </a:lnTo>
                <a:lnTo>
                  <a:pt x="598" y="325"/>
                </a:lnTo>
                <a:lnTo>
                  <a:pt x="596" y="325"/>
                </a:lnTo>
                <a:lnTo>
                  <a:pt x="598" y="328"/>
                </a:lnTo>
                <a:lnTo>
                  <a:pt x="601" y="330"/>
                </a:lnTo>
                <a:lnTo>
                  <a:pt x="603" y="332"/>
                </a:lnTo>
                <a:lnTo>
                  <a:pt x="603" y="335"/>
                </a:lnTo>
                <a:lnTo>
                  <a:pt x="603" y="337"/>
                </a:lnTo>
                <a:lnTo>
                  <a:pt x="603" y="339"/>
                </a:lnTo>
                <a:lnTo>
                  <a:pt x="601" y="339"/>
                </a:lnTo>
                <a:lnTo>
                  <a:pt x="601" y="342"/>
                </a:lnTo>
                <a:lnTo>
                  <a:pt x="603" y="342"/>
                </a:lnTo>
                <a:lnTo>
                  <a:pt x="603" y="344"/>
                </a:lnTo>
                <a:lnTo>
                  <a:pt x="601" y="346"/>
                </a:lnTo>
                <a:lnTo>
                  <a:pt x="601" y="351"/>
                </a:lnTo>
                <a:lnTo>
                  <a:pt x="598" y="351"/>
                </a:lnTo>
                <a:lnTo>
                  <a:pt x="598" y="353"/>
                </a:lnTo>
                <a:lnTo>
                  <a:pt x="598" y="356"/>
                </a:lnTo>
                <a:lnTo>
                  <a:pt x="596" y="356"/>
                </a:lnTo>
                <a:lnTo>
                  <a:pt x="594" y="353"/>
                </a:lnTo>
                <a:lnTo>
                  <a:pt x="594" y="356"/>
                </a:lnTo>
                <a:lnTo>
                  <a:pt x="594" y="358"/>
                </a:lnTo>
                <a:lnTo>
                  <a:pt x="591" y="360"/>
                </a:lnTo>
                <a:lnTo>
                  <a:pt x="589" y="360"/>
                </a:lnTo>
                <a:lnTo>
                  <a:pt x="589" y="363"/>
                </a:lnTo>
                <a:lnTo>
                  <a:pt x="587" y="363"/>
                </a:lnTo>
                <a:lnTo>
                  <a:pt x="587" y="365"/>
                </a:lnTo>
                <a:lnTo>
                  <a:pt x="584" y="365"/>
                </a:lnTo>
                <a:lnTo>
                  <a:pt x="582" y="372"/>
                </a:lnTo>
                <a:lnTo>
                  <a:pt x="584" y="372"/>
                </a:lnTo>
                <a:lnTo>
                  <a:pt x="582" y="372"/>
                </a:lnTo>
                <a:lnTo>
                  <a:pt x="582" y="377"/>
                </a:lnTo>
                <a:lnTo>
                  <a:pt x="580" y="377"/>
                </a:lnTo>
                <a:lnTo>
                  <a:pt x="580" y="379"/>
                </a:lnTo>
                <a:lnTo>
                  <a:pt x="577" y="379"/>
                </a:lnTo>
                <a:lnTo>
                  <a:pt x="575" y="379"/>
                </a:lnTo>
                <a:lnTo>
                  <a:pt x="575" y="381"/>
                </a:lnTo>
                <a:lnTo>
                  <a:pt x="573" y="384"/>
                </a:lnTo>
                <a:lnTo>
                  <a:pt x="573" y="388"/>
                </a:lnTo>
                <a:lnTo>
                  <a:pt x="570" y="391"/>
                </a:lnTo>
                <a:lnTo>
                  <a:pt x="570" y="393"/>
                </a:lnTo>
                <a:lnTo>
                  <a:pt x="568" y="395"/>
                </a:lnTo>
                <a:lnTo>
                  <a:pt x="566" y="395"/>
                </a:lnTo>
                <a:lnTo>
                  <a:pt x="547" y="393"/>
                </a:lnTo>
                <a:lnTo>
                  <a:pt x="547" y="395"/>
                </a:lnTo>
                <a:lnTo>
                  <a:pt x="545" y="395"/>
                </a:lnTo>
                <a:lnTo>
                  <a:pt x="545" y="398"/>
                </a:lnTo>
                <a:lnTo>
                  <a:pt x="542" y="398"/>
                </a:lnTo>
                <a:lnTo>
                  <a:pt x="542" y="400"/>
                </a:lnTo>
                <a:lnTo>
                  <a:pt x="540" y="400"/>
                </a:lnTo>
                <a:lnTo>
                  <a:pt x="540" y="402"/>
                </a:lnTo>
                <a:lnTo>
                  <a:pt x="538" y="402"/>
                </a:lnTo>
                <a:lnTo>
                  <a:pt x="540" y="405"/>
                </a:lnTo>
                <a:lnTo>
                  <a:pt x="542" y="407"/>
                </a:lnTo>
                <a:lnTo>
                  <a:pt x="540" y="409"/>
                </a:lnTo>
                <a:lnTo>
                  <a:pt x="540" y="412"/>
                </a:lnTo>
                <a:lnTo>
                  <a:pt x="540" y="414"/>
                </a:lnTo>
                <a:lnTo>
                  <a:pt x="538" y="416"/>
                </a:lnTo>
                <a:lnTo>
                  <a:pt x="538" y="419"/>
                </a:lnTo>
                <a:lnTo>
                  <a:pt x="535" y="419"/>
                </a:lnTo>
                <a:lnTo>
                  <a:pt x="538" y="419"/>
                </a:lnTo>
                <a:lnTo>
                  <a:pt x="540" y="419"/>
                </a:lnTo>
                <a:lnTo>
                  <a:pt x="540" y="421"/>
                </a:lnTo>
                <a:lnTo>
                  <a:pt x="538" y="421"/>
                </a:lnTo>
                <a:lnTo>
                  <a:pt x="538" y="423"/>
                </a:lnTo>
                <a:lnTo>
                  <a:pt x="535" y="426"/>
                </a:lnTo>
                <a:lnTo>
                  <a:pt x="533" y="426"/>
                </a:lnTo>
                <a:lnTo>
                  <a:pt x="533" y="428"/>
                </a:lnTo>
                <a:lnTo>
                  <a:pt x="535" y="428"/>
                </a:lnTo>
                <a:lnTo>
                  <a:pt x="533" y="428"/>
                </a:lnTo>
                <a:lnTo>
                  <a:pt x="533" y="430"/>
                </a:lnTo>
                <a:lnTo>
                  <a:pt x="531" y="430"/>
                </a:lnTo>
                <a:lnTo>
                  <a:pt x="531" y="433"/>
                </a:lnTo>
                <a:lnTo>
                  <a:pt x="529" y="433"/>
                </a:lnTo>
                <a:lnTo>
                  <a:pt x="529" y="435"/>
                </a:lnTo>
                <a:lnTo>
                  <a:pt x="526" y="437"/>
                </a:lnTo>
                <a:lnTo>
                  <a:pt x="524" y="437"/>
                </a:lnTo>
                <a:lnTo>
                  <a:pt x="524" y="435"/>
                </a:lnTo>
                <a:lnTo>
                  <a:pt x="522" y="435"/>
                </a:lnTo>
                <a:lnTo>
                  <a:pt x="519" y="435"/>
                </a:lnTo>
                <a:lnTo>
                  <a:pt x="519" y="437"/>
                </a:lnTo>
                <a:lnTo>
                  <a:pt x="517" y="437"/>
                </a:lnTo>
                <a:lnTo>
                  <a:pt x="517" y="440"/>
                </a:lnTo>
                <a:lnTo>
                  <a:pt x="519" y="440"/>
                </a:lnTo>
                <a:lnTo>
                  <a:pt x="519" y="442"/>
                </a:lnTo>
                <a:lnTo>
                  <a:pt x="517" y="444"/>
                </a:lnTo>
                <a:lnTo>
                  <a:pt x="517" y="447"/>
                </a:lnTo>
                <a:lnTo>
                  <a:pt x="515" y="447"/>
                </a:lnTo>
                <a:lnTo>
                  <a:pt x="515" y="449"/>
                </a:lnTo>
                <a:lnTo>
                  <a:pt x="512" y="449"/>
                </a:lnTo>
                <a:lnTo>
                  <a:pt x="512" y="451"/>
                </a:lnTo>
                <a:lnTo>
                  <a:pt x="512" y="453"/>
                </a:lnTo>
                <a:lnTo>
                  <a:pt x="510" y="456"/>
                </a:lnTo>
                <a:lnTo>
                  <a:pt x="510" y="458"/>
                </a:lnTo>
                <a:lnTo>
                  <a:pt x="510" y="460"/>
                </a:lnTo>
                <a:lnTo>
                  <a:pt x="505" y="463"/>
                </a:lnTo>
                <a:lnTo>
                  <a:pt x="505" y="465"/>
                </a:lnTo>
                <a:lnTo>
                  <a:pt x="505" y="467"/>
                </a:lnTo>
                <a:lnTo>
                  <a:pt x="503" y="467"/>
                </a:lnTo>
                <a:lnTo>
                  <a:pt x="503" y="470"/>
                </a:lnTo>
                <a:lnTo>
                  <a:pt x="501" y="472"/>
                </a:lnTo>
                <a:lnTo>
                  <a:pt x="498" y="474"/>
                </a:lnTo>
                <a:lnTo>
                  <a:pt x="498" y="477"/>
                </a:lnTo>
                <a:lnTo>
                  <a:pt x="501" y="479"/>
                </a:lnTo>
                <a:lnTo>
                  <a:pt x="503" y="479"/>
                </a:lnTo>
                <a:lnTo>
                  <a:pt x="505" y="479"/>
                </a:lnTo>
                <a:lnTo>
                  <a:pt x="505" y="481"/>
                </a:lnTo>
                <a:lnTo>
                  <a:pt x="503" y="484"/>
                </a:lnTo>
                <a:lnTo>
                  <a:pt x="501" y="484"/>
                </a:lnTo>
                <a:lnTo>
                  <a:pt x="498" y="484"/>
                </a:lnTo>
                <a:lnTo>
                  <a:pt x="496" y="486"/>
                </a:lnTo>
                <a:lnTo>
                  <a:pt x="491" y="486"/>
                </a:lnTo>
                <a:lnTo>
                  <a:pt x="487" y="488"/>
                </a:lnTo>
                <a:lnTo>
                  <a:pt x="480" y="491"/>
                </a:lnTo>
                <a:lnTo>
                  <a:pt x="475" y="493"/>
                </a:lnTo>
                <a:lnTo>
                  <a:pt x="466" y="495"/>
                </a:lnTo>
                <a:lnTo>
                  <a:pt x="463" y="495"/>
                </a:lnTo>
                <a:lnTo>
                  <a:pt x="461" y="498"/>
                </a:lnTo>
                <a:lnTo>
                  <a:pt x="459" y="498"/>
                </a:lnTo>
                <a:lnTo>
                  <a:pt x="456" y="498"/>
                </a:lnTo>
                <a:lnTo>
                  <a:pt x="456" y="500"/>
                </a:lnTo>
                <a:lnTo>
                  <a:pt x="454" y="500"/>
                </a:lnTo>
                <a:lnTo>
                  <a:pt x="452" y="500"/>
                </a:lnTo>
                <a:lnTo>
                  <a:pt x="449" y="500"/>
                </a:lnTo>
                <a:lnTo>
                  <a:pt x="449" y="498"/>
                </a:lnTo>
                <a:lnTo>
                  <a:pt x="452" y="498"/>
                </a:lnTo>
                <a:lnTo>
                  <a:pt x="452" y="495"/>
                </a:lnTo>
                <a:lnTo>
                  <a:pt x="449" y="495"/>
                </a:lnTo>
                <a:lnTo>
                  <a:pt x="447" y="495"/>
                </a:lnTo>
                <a:lnTo>
                  <a:pt x="445" y="495"/>
                </a:lnTo>
                <a:lnTo>
                  <a:pt x="442" y="495"/>
                </a:lnTo>
                <a:lnTo>
                  <a:pt x="440" y="495"/>
                </a:lnTo>
                <a:lnTo>
                  <a:pt x="440" y="493"/>
                </a:lnTo>
                <a:lnTo>
                  <a:pt x="438" y="493"/>
                </a:lnTo>
                <a:lnTo>
                  <a:pt x="433" y="495"/>
                </a:lnTo>
                <a:lnTo>
                  <a:pt x="431" y="495"/>
                </a:lnTo>
                <a:lnTo>
                  <a:pt x="428" y="495"/>
                </a:lnTo>
                <a:lnTo>
                  <a:pt x="426" y="495"/>
                </a:lnTo>
                <a:lnTo>
                  <a:pt x="424" y="495"/>
                </a:lnTo>
                <a:lnTo>
                  <a:pt x="421" y="495"/>
                </a:lnTo>
                <a:lnTo>
                  <a:pt x="419" y="495"/>
                </a:lnTo>
                <a:lnTo>
                  <a:pt x="417" y="495"/>
                </a:lnTo>
                <a:lnTo>
                  <a:pt x="414" y="495"/>
                </a:lnTo>
                <a:lnTo>
                  <a:pt x="414" y="493"/>
                </a:lnTo>
                <a:lnTo>
                  <a:pt x="412" y="493"/>
                </a:lnTo>
                <a:lnTo>
                  <a:pt x="412" y="495"/>
                </a:lnTo>
                <a:lnTo>
                  <a:pt x="407" y="495"/>
                </a:lnTo>
                <a:lnTo>
                  <a:pt x="405" y="495"/>
                </a:lnTo>
                <a:lnTo>
                  <a:pt x="405" y="498"/>
                </a:lnTo>
                <a:lnTo>
                  <a:pt x="403" y="498"/>
                </a:lnTo>
                <a:lnTo>
                  <a:pt x="396" y="500"/>
                </a:lnTo>
                <a:lnTo>
                  <a:pt x="394" y="500"/>
                </a:lnTo>
                <a:lnTo>
                  <a:pt x="391" y="500"/>
                </a:lnTo>
                <a:lnTo>
                  <a:pt x="387" y="502"/>
                </a:lnTo>
                <a:lnTo>
                  <a:pt x="384" y="505"/>
                </a:lnTo>
                <a:lnTo>
                  <a:pt x="384" y="502"/>
                </a:lnTo>
                <a:lnTo>
                  <a:pt x="382" y="502"/>
                </a:lnTo>
                <a:lnTo>
                  <a:pt x="380" y="502"/>
                </a:lnTo>
                <a:lnTo>
                  <a:pt x="375" y="502"/>
                </a:lnTo>
                <a:lnTo>
                  <a:pt x="373" y="502"/>
                </a:lnTo>
                <a:lnTo>
                  <a:pt x="368" y="505"/>
                </a:lnTo>
                <a:lnTo>
                  <a:pt x="366" y="505"/>
                </a:lnTo>
                <a:lnTo>
                  <a:pt x="363" y="505"/>
                </a:lnTo>
                <a:lnTo>
                  <a:pt x="361" y="507"/>
                </a:lnTo>
                <a:lnTo>
                  <a:pt x="359" y="507"/>
                </a:lnTo>
                <a:lnTo>
                  <a:pt x="356" y="507"/>
                </a:lnTo>
                <a:lnTo>
                  <a:pt x="354" y="507"/>
                </a:lnTo>
                <a:lnTo>
                  <a:pt x="352" y="507"/>
                </a:lnTo>
                <a:lnTo>
                  <a:pt x="349" y="509"/>
                </a:lnTo>
                <a:lnTo>
                  <a:pt x="345" y="512"/>
                </a:lnTo>
                <a:lnTo>
                  <a:pt x="342" y="512"/>
                </a:lnTo>
                <a:lnTo>
                  <a:pt x="340" y="512"/>
                </a:lnTo>
                <a:lnTo>
                  <a:pt x="338" y="512"/>
                </a:lnTo>
                <a:lnTo>
                  <a:pt x="335" y="512"/>
                </a:lnTo>
                <a:lnTo>
                  <a:pt x="333" y="512"/>
                </a:lnTo>
                <a:lnTo>
                  <a:pt x="333" y="514"/>
                </a:lnTo>
                <a:lnTo>
                  <a:pt x="328" y="514"/>
                </a:lnTo>
                <a:lnTo>
                  <a:pt x="326" y="516"/>
                </a:lnTo>
                <a:lnTo>
                  <a:pt x="324" y="516"/>
                </a:lnTo>
                <a:lnTo>
                  <a:pt x="324" y="519"/>
                </a:lnTo>
                <a:lnTo>
                  <a:pt x="319" y="519"/>
                </a:lnTo>
                <a:lnTo>
                  <a:pt x="317" y="521"/>
                </a:lnTo>
                <a:lnTo>
                  <a:pt x="314" y="521"/>
                </a:lnTo>
                <a:lnTo>
                  <a:pt x="314" y="519"/>
                </a:lnTo>
                <a:lnTo>
                  <a:pt x="312" y="516"/>
                </a:lnTo>
                <a:lnTo>
                  <a:pt x="312" y="519"/>
                </a:lnTo>
                <a:lnTo>
                  <a:pt x="310" y="519"/>
                </a:lnTo>
                <a:lnTo>
                  <a:pt x="310" y="521"/>
                </a:lnTo>
                <a:lnTo>
                  <a:pt x="307" y="521"/>
                </a:lnTo>
                <a:lnTo>
                  <a:pt x="305" y="519"/>
                </a:lnTo>
                <a:lnTo>
                  <a:pt x="303" y="519"/>
                </a:lnTo>
                <a:lnTo>
                  <a:pt x="300" y="519"/>
                </a:lnTo>
                <a:lnTo>
                  <a:pt x="298" y="519"/>
                </a:lnTo>
                <a:lnTo>
                  <a:pt x="300" y="516"/>
                </a:lnTo>
                <a:lnTo>
                  <a:pt x="300" y="514"/>
                </a:lnTo>
                <a:lnTo>
                  <a:pt x="298" y="514"/>
                </a:lnTo>
                <a:lnTo>
                  <a:pt x="296" y="514"/>
                </a:lnTo>
                <a:lnTo>
                  <a:pt x="296" y="516"/>
                </a:lnTo>
                <a:lnTo>
                  <a:pt x="298" y="516"/>
                </a:lnTo>
                <a:lnTo>
                  <a:pt x="298" y="519"/>
                </a:lnTo>
                <a:lnTo>
                  <a:pt x="296" y="519"/>
                </a:lnTo>
                <a:lnTo>
                  <a:pt x="291" y="521"/>
                </a:lnTo>
                <a:lnTo>
                  <a:pt x="291" y="523"/>
                </a:lnTo>
                <a:lnTo>
                  <a:pt x="293" y="523"/>
                </a:lnTo>
                <a:lnTo>
                  <a:pt x="296" y="523"/>
                </a:lnTo>
                <a:lnTo>
                  <a:pt x="296" y="526"/>
                </a:lnTo>
                <a:lnTo>
                  <a:pt x="296" y="528"/>
                </a:lnTo>
                <a:lnTo>
                  <a:pt x="293" y="528"/>
                </a:lnTo>
                <a:lnTo>
                  <a:pt x="293" y="530"/>
                </a:lnTo>
                <a:lnTo>
                  <a:pt x="291" y="530"/>
                </a:lnTo>
                <a:lnTo>
                  <a:pt x="289" y="530"/>
                </a:lnTo>
                <a:lnTo>
                  <a:pt x="286" y="530"/>
                </a:lnTo>
                <a:lnTo>
                  <a:pt x="284" y="530"/>
                </a:lnTo>
                <a:lnTo>
                  <a:pt x="284" y="528"/>
                </a:lnTo>
                <a:lnTo>
                  <a:pt x="284" y="530"/>
                </a:lnTo>
                <a:lnTo>
                  <a:pt x="282" y="530"/>
                </a:lnTo>
                <a:lnTo>
                  <a:pt x="282" y="528"/>
                </a:lnTo>
                <a:lnTo>
                  <a:pt x="282" y="530"/>
                </a:lnTo>
                <a:lnTo>
                  <a:pt x="279" y="530"/>
                </a:lnTo>
                <a:lnTo>
                  <a:pt x="277" y="530"/>
                </a:lnTo>
                <a:lnTo>
                  <a:pt x="272" y="533"/>
                </a:lnTo>
                <a:lnTo>
                  <a:pt x="270" y="533"/>
                </a:lnTo>
                <a:lnTo>
                  <a:pt x="270" y="530"/>
                </a:lnTo>
                <a:lnTo>
                  <a:pt x="270" y="528"/>
                </a:lnTo>
                <a:lnTo>
                  <a:pt x="268" y="528"/>
                </a:lnTo>
                <a:lnTo>
                  <a:pt x="268" y="530"/>
                </a:lnTo>
                <a:lnTo>
                  <a:pt x="266" y="530"/>
                </a:lnTo>
                <a:lnTo>
                  <a:pt x="263" y="530"/>
                </a:lnTo>
                <a:lnTo>
                  <a:pt x="261" y="530"/>
                </a:lnTo>
                <a:lnTo>
                  <a:pt x="259" y="528"/>
                </a:lnTo>
                <a:lnTo>
                  <a:pt x="259" y="526"/>
                </a:lnTo>
                <a:lnTo>
                  <a:pt x="259" y="523"/>
                </a:lnTo>
                <a:lnTo>
                  <a:pt x="259" y="521"/>
                </a:lnTo>
                <a:lnTo>
                  <a:pt x="256" y="519"/>
                </a:lnTo>
                <a:lnTo>
                  <a:pt x="254" y="519"/>
                </a:lnTo>
                <a:lnTo>
                  <a:pt x="254" y="516"/>
                </a:lnTo>
                <a:lnTo>
                  <a:pt x="252" y="516"/>
                </a:lnTo>
                <a:lnTo>
                  <a:pt x="254" y="516"/>
                </a:lnTo>
                <a:lnTo>
                  <a:pt x="254" y="514"/>
                </a:lnTo>
                <a:lnTo>
                  <a:pt x="256" y="514"/>
                </a:lnTo>
                <a:lnTo>
                  <a:pt x="259" y="514"/>
                </a:lnTo>
                <a:lnTo>
                  <a:pt x="256" y="512"/>
                </a:lnTo>
                <a:lnTo>
                  <a:pt x="256" y="509"/>
                </a:lnTo>
                <a:lnTo>
                  <a:pt x="259" y="509"/>
                </a:lnTo>
                <a:lnTo>
                  <a:pt x="259" y="507"/>
                </a:lnTo>
                <a:lnTo>
                  <a:pt x="256" y="507"/>
                </a:lnTo>
                <a:lnTo>
                  <a:pt x="254" y="507"/>
                </a:lnTo>
                <a:lnTo>
                  <a:pt x="252" y="505"/>
                </a:lnTo>
                <a:lnTo>
                  <a:pt x="249" y="505"/>
                </a:lnTo>
                <a:lnTo>
                  <a:pt x="249" y="502"/>
                </a:lnTo>
                <a:lnTo>
                  <a:pt x="249" y="500"/>
                </a:lnTo>
                <a:lnTo>
                  <a:pt x="247" y="500"/>
                </a:lnTo>
                <a:lnTo>
                  <a:pt x="245" y="498"/>
                </a:lnTo>
                <a:lnTo>
                  <a:pt x="245" y="495"/>
                </a:lnTo>
                <a:lnTo>
                  <a:pt x="242" y="493"/>
                </a:lnTo>
                <a:lnTo>
                  <a:pt x="242" y="491"/>
                </a:lnTo>
                <a:lnTo>
                  <a:pt x="245" y="486"/>
                </a:lnTo>
                <a:lnTo>
                  <a:pt x="245" y="484"/>
                </a:lnTo>
                <a:lnTo>
                  <a:pt x="247" y="484"/>
                </a:lnTo>
                <a:lnTo>
                  <a:pt x="249" y="481"/>
                </a:lnTo>
                <a:lnTo>
                  <a:pt x="247" y="479"/>
                </a:lnTo>
                <a:lnTo>
                  <a:pt x="245" y="479"/>
                </a:lnTo>
                <a:lnTo>
                  <a:pt x="242" y="477"/>
                </a:lnTo>
                <a:lnTo>
                  <a:pt x="245" y="477"/>
                </a:lnTo>
                <a:lnTo>
                  <a:pt x="245" y="474"/>
                </a:lnTo>
                <a:lnTo>
                  <a:pt x="247" y="474"/>
                </a:lnTo>
                <a:lnTo>
                  <a:pt x="249" y="472"/>
                </a:lnTo>
                <a:lnTo>
                  <a:pt x="247" y="470"/>
                </a:lnTo>
                <a:lnTo>
                  <a:pt x="247" y="467"/>
                </a:lnTo>
                <a:lnTo>
                  <a:pt x="247" y="465"/>
                </a:lnTo>
                <a:lnTo>
                  <a:pt x="247" y="463"/>
                </a:lnTo>
                <a:lnTo>
                  <a:pt x="247" y="460"/>
                </a:lnTo>
                <a:lnTo>
                  <a:pt x="249" y="460"/>
                </a:lnTo>
                <a:lnTo>
                  <a:pt x="249" y="458"/>
                </a:lnTo>
                <a:lnTo>
                  <a:pt x="252" y="453"/>
                </a:lnTo>
                <a:lnTo>
                  <a:pt x="254" y="453"/>
                </a:lnTo>
                <a:lnTo>
                  <a:pt x="254" y="451"/>
                </a:lnTo>
                <a:lnTo>
                  <a:pt x="256" y="451"/>
                </a:lnTo>
                <a:lnTo>
                  <a:pt x="256" y="449"/>
                </a:lnTo>
                <a:lnTo>
                  <a:pt x="256" y="447"/>
                </a:lnTo>
                <a:lnTo>
                  <a:pt x="256" y="444"/>
                </a:lnTo>
                <a:lnTo>
                  <a:pt x="259" y="444"/>
                </a:lnTo>
                <a:lnTo>
                  <a:pt x="259" y="442"/>
                </a:lnTo>
                <a:lnTo>
                  <a:pt x="259" y="440"/>
                </a:lnTo>
                <a:lnTo>
                  <a:pt x="256" y="440"/>
                </a:lnTo>
                <a:lnTo>
                  <a:pt x="256" y="437"/>
                </a:lnTo>
                <a:lnTo>
                  <a:pt x="254" y="437"/>
                </a:lnTo>
                <a:lnTo>
                  <a:pt x="252" y="437"/>
                </a:lnTo>
                <a:lnTo>
                  <a:pt x="252" y="435"/>
                </a:lnTo>
                <a:lnTo>
                  <a:pt x="249" y="433"/>
                </a:lnTo>
                <a:lnTo>
                  <a:pt x="249" y="435"/>
                </a:lnTo>
                <a:lnTo>
                  <a:pt x="247" y="435"/>
                </a:lnTo>
                <a:lnTo>
                  <a:pt x="245" y="433"/>
                </a:lnTo>
                <a:lnTo>
                  <a:pt x="242" y="433"/>
                </a:lnTo>
                <a:lnTo>
                  <a:pt x="240" y="433"/>
                </a:lnTo>
                <a:lnTo>
                  <a:pt x="238" y="435"/>
                </a:lnTo>
                <a:lnTo>
                  <a:pt x="238" y="433"/>
                </a:lnTo>
                <a:lnTo>
                  <a:pt x="238" y="435"/>
                </a:lnTo>
                <a:lnTo>
                  <a:pt x="235" y="435"/>
                </a:lnTo>
                <a:lnTo>
                  <a:pt x="231" y="435"/>
                </a:lnTo>
                <a:lnTo>
                  <a:pt x="231" y="433"/>
                </a:lnTo>
                <a:lnTo>
                  <a:pt x="231" y="430"/>
                </a:lnTo>
                <a:lnTo>
                  <a:pt x="228" y="428"/>
                </a:lnTo>
                <a:lnTo>
                  <a:pt x="228" y="426"/>
                </a:lnTo>
                <a:lnTo>
                  <a:pt x="228" y="423"/>
                </a:lnTo>
                <a:lnTo>
                  <a:pt x="228" y="421"/>
                </a:lnTo>
                <a:lnTo>
                  <a:pt x="226" y="421"/>
                </a:lnTo>
                <a:lnTo>
                  <a:pt x="226" y="419"/>
                </a:lnTo>
                <a:lnTo>
                  <a:pt x="224" y="416"/>
                </a:lnTo>
                <a:lnTo>
                  <a:pt x="224" y="414"/>
                </a:lnTo>
                <a:lnTo>
                  <a:pt x="224" y="409"/>
                </a:lnTo>
                <a:lnTo>
                  <a:pt x="224" y="407"/>
                </a:lnTo>
                <a:lnTo>
                  <a:pt x="224" y="405"/>
                </a:lnTo>
                <a:lnTo>
                  <a:pt x="221" y="405"/>
                </a:lnTo>
                <a:lnTo>
                  <a:pt x="221" y="402"/>
                </a:lnTo>
                <a:lnTo>
                  <a:pt x="219" y="402"/>
                </a:lnTo>
                <a:lnTo>
                  <a:pt x="219" y="400"/>
                </a:lnTo>
                <a:lnTo>
                  <a:pt x="221" y="395"/>
                </a:lnTo>
                <a:lnTo>
                  <a:pt x="221" y="393"/>
                </a:lnTo>
                <a:lnTo>
                  <a:pt x="224" y="393"/>
                </a:lnTo>
                <a:lnTo>
                  <a:pt x="224" y="391"/>
                </a:lnTo>
                <a:lnTo>
                  <a:pt x="224" y="388"/>
                </a:lnTo>
                <a:lnTo>
                  <a:pt x="226" y="388"/>
                </a:lnTo>
                <a:lnTo>
                  <a:pt x="228" y="386"/>
                </a:lnTo>
                <a:lnTo>
                  <a:pt x="226" y="379"/>
                </a:lnTo>
                <a:lnTo>
                  <a:pt x="219" y="374"/>
                </a:lnTo>
                <a:lnTo>
                  <a:pt x="219" y="372"/>
                </a:lnTo>
                <a:lnTo>
                  <a:pt x="219" y="370"/>
                </a:lnTo>
                <a:lnTo>
                  <a:pt x="219" y="367"/>
                </a:lnTo>
                <a:lnTo>
                  <a:pt x="219" y="365"/>
                </a:lnTo>
                <a:lnTo>
                  <a:pt x="219" y="363"/>
                </a:lnTo>
                <a:lnTo>
                  <a:pt x="221" y="363"/>
                </a:lnTo>
                <a:lnTo>
                  <a:pt x="221" y="360"/>
                </a:lnTo>
                <a:lnTo>
                  <a:pt x="221" y="358"/>
                </a:lnTo>
                <a:lnTo>
                  <a:pt x="224" y="358"/>
                </a:lnTo>
                <a:lnTo>
                  <a:pt x="221" y="356"/>
                </a:lnTo>
                <a:lnTo>
                  <a:pt x="219" y="353"/>
                </a:lnTo>
                <a:lnTo>
                  <a:pt x="219" y="351"/>
                </a:lnTo>
                <a:lnTo>
                  <a:pt x="214" y="349"/>
                </a:lnTo>
                <a:lnTo>
                  <a:pt x="212" y="349"/>
                </a:lnTo>
                <a:lnTo>
                  <a:pt x="212" y="346"/>
                </a:lnTo>
                <a:lnTo>
                  <a:pt x="212" y="344"/>
                </a:lnTo>
                <a:lnTo>
                  <a:pt x="212" y="342"/>
                </a:lnTo>
                <a:lnTo>
                  <a:pt x="210" y="342"/>
                </a:lnTo>
                <a:lnTo>
                  <a:pt x="207" y="342"/>
                </a:lnTo>
                <a:lnTo>
                  <a:pt x="205" y="342"/>
                </a:lnTo>
                <a:lnTo>
                  <a:pt x="203" y="342"/>
                </a:lnTo>
                <a:lnTo>
                  <a:pt x="203" y="344"/>
                </a:lnTo>
                <a:lnTo>
                  <a:pt x="200" y="344"/>
                </a:lnTo>
                <a:lnTo>
                  <a:pt x="198" y="344"/>
                </a:lnTo>
                <a:lnTo>
                  <a:pt x="198" y="342"/>
                </a:lnTo>
                <a:lnTo>
                  <a:pt x="196" y="342"/>
                </a:lnTo>
                <a:lnTo>
                  <a:pt x="189" y="339"/>
                </a:lnTo>
                <a:lnTo>
                  <a:pt x="186" y="339"/>
                </a:lnTo>
                <a:lnTo>
                  <a:pt x="186" y="342"/>
                </a:lnTo>
                <a:lnTo>
                  <a:pt x="186" y="344"/>
                </a:lnTo>
                <a:lnTo>
                  <a:pt x="186" y="346"/>
                </a:lnTo>
                <a:lnTo>
                  <a:pt x="184" y="349"/>
                </a:lnTo>
                <a:lnTo>
                  <a:pt x="182" y="349"/>
                </a:lnTo>
                <a:lnTo>
                  <a:pt x="182" y="346"/>
                </a:lnTo>
                <a:lnTo>
                  <a:pt x="182" y="344"/>
                </a:lnTo>
                <a:lnTo>
                  <a:pt x="179" y="344"/>
                </a:lnTo>
                <a:lnTo>
                  <a:pt x="179" y="342"/>
                </a:lnTo>
                <a:lnTo>
                  <a:pt x="179" y="346"/>
                </a:lnTo>
                <a:lnTo>
                  <a:pt x="177" y="346"/>
                </a:lnTo>
                <a:lnTo>
                  <a:pt x="177" y="349"/>
                </a:lnTo>
                <a:lnTo>
                  <a:pt x="175" y="349"/>
                </a:lnTo>
                <a:lnTo>
                  <a:pt x="172" y="349"/>
                </a:lnTo>
                <a:lnTo>
                  <a:pt x="170" y="349"/>
                </a:lnTo>
                <a:lnTo>
                  <a:pt x="168" y="346"/>
                </a:lnTo>
                <a:lnTo>
                  <a:pt x="168" y="344"/>
                </a:lnTo>
                <a:lnTo>
                  <a:pt x="165" y="342"/>
                </a:lnTo>
                <a:lnTo>
                  <a:pt x="165" y="339"/>
                </a:lnTo>
                <a:lnTo>
                  <a:pt x="163" y="342"/>
                </a:lnTo>
                <a:lnTo>
                  <a:pt x="165" y="346"/>
                </a:lnTo>
                <a:lnTo>
                  <a:pt x="163" y="349"/>
                </a:lnTo>
                <a:lnTo>
                  <a:pt x="161" y="346"/>
                </a:lnTo>
                <a:lnTo>
                  <a:pt x="158" y="346"/>
                </a:lnTo>
                <a:lnTo>
                  <a:pt x="154" y="346"/>
                </a:lnTo>
                <a:lnTo>
                  <a:pt x="151" y="346"/>
                </a:lnTo>
                <a:lnTo>
                  <a:pt x="149" y="346"/>
                </a:lnTo>
                <a:lnTo>
                  <a:pt x="144" y="346"/>
                </a:lnTo>
                <a:lnTo>
                  <a:pt x="142" y="346"/>
                </a:lnTo>
                <a:lnTo>
                  <a:pt x="140" y="346"/>
                </a:lnTo>
                <a:lnTo>
                  <a:pt x="138" y="346"/>
                </a:lnTo>
                <a:lnTo>
                  <a:pt x="135" y="346"/>
                </a:lnTo>
                <a:lnTo>
                  <a:pt x="133" y="346"/>
                </a:lnTo>
                <a:lnTo>
                  <a:pt x="128" y="346"/>
                </a:lnTo>
                <a:lnTo>
                  <a:pt x="126" y="349"/>
                </a:lnTo>
                <a:lnTo>
                  <a:pt x="126" y="351"/>
                </a:lnTo>
                <a:lnTo>
                  <a:pt x="124" y="353"/>
                </a:lnTo>
                <a:lnTo>
                  <a:pt x="126" y="356"/>
                </a:lnTo>
                <a:lnTo>
                  <a:pt x="124" y="358"/>
                </a:lnTo>
                <a:lnTo>
                  <a:pt x="124" y="360"/>
                </a:lnTo>
                <a:lnTo>
                  <a:pt x="126" y="360"/>
                </a:lnTo>
                <a:lnTo>
                  <a:pt x="126" y="363"/>
                </a:lnTo>
                <a:lnTo>
                  <a:pt x="124" y="363"/>
                </a:lnTo>
                <a:lnTo>
                  <a:pt x="121" y="363"/>
                </a:lnTo>
                <a:lnTo>
                  <a:pt x="119" y="363"/>
                </a:lnTo>
                <a:lnTo>
                  <a:pt x="119" y="360"/>
                </a:lnTo>
                <a:lnTo>
                  <a:pt x="119" y="356"/>
                </a:lnTo>
                <a:lnTo>
                  <a:pt x="119" y="351"/>
                </a:lnTo>
                <a:lnTo>
                  <a:pt x="119" y="349"/>
                </a:lnTo>
                <a:lnTo>
                  <a:pt x="119" y="346"/>
                </a:lnTo>
                <a:lnTo>
                  <a:pt x="117" y="344"/>
                </a:lnTo>
                <a:lnTo>
                  <a:pt x="114" y="346"/>
                </a:lnTo>
                <a:lnTo>
                  <a:pt x="112" y="351"/>
                </a:lnTo>
                <a:lnTo>
                  <a:pt x="110" y="351"/>
                </a:lnTo>
                <a:lnTo>
                  <a:pt x="110" y="353"/>
                </a:lnTo>
                <a:lnTo>
                  <a:pt x="107" y="353"/>
                </a:lnTo>
                <a:lnTo>
                  <a:pt x="105" y="353"/>
                </a:lnTo>
                <a:lnTo>
                  <a:pt x="103" y="351"/>
                </a:lnTo>
                <a:lnTo>
                  <a:pt x="103" y="349"/>
                </a:lnTo>
                <a:lnTo>
                  <a:pt x="100" y="344"/>
                </a:lnTo>
                <a:lnTo>
                  <a:pt x="100" y="342"/>
                </a:lnTo>
                <a:lnTo>
                  <a:pt x="100" y="339"/>
                </a:lnTo>
                <a:lnTo>
                  <a:pt x="100" y="337"/>
                </a:lnTo>
                <a:lnTo>
                  <a:pt x="103" y="337"/>
                </a:lnTo>
                <a:lnTo>
                  <a:pt x="103" y="335"/>
                </a:lnTo>
                <a:lnTo>
                  <a:pt x="105" y="335"/>
                </a:lnTo>
                <a:lnTo>
                  <a:pt x="105" y="332"/>
                </a:lnTo>
                <a:lnTo>
                  <a:pt x="103" y="332"/>
                </a:lnTo>
                <a:lnTo>
                  <a:pt x="100" y="332"/>
                </a:lnTo>
                <a:lnTo>
                  <a:pt x="96" y="332"/>
                </a:lnTo>
                <a:lnTo>
                  <a:pt x="91" y="330"/>
                </a:lnTo>
                <a:lnTo>
                  <a:pt x="86" y="330"/>
                </a:lnTo>
                <a:lnTo>
                  <a:pt x="68" y="328"/>
                </a:lnTo>
                <a:lnTo>
                  <a:pt x="58" y="325"/>
                </a:lnTo>
                <a:lnTo>
                  <a:pt x="40" y="321"/>
                </a:lnTo>
                <a:lnTo>
                  <a:pt x="37" y="318"/>
                </a:lnTo>
                <a:lnTo>
                  <a:pt x="35" y="316"/>
                </a:lnTo>
                <a:lnTo>
                  <a:pt x="33" y="316"/>
                </a:lnTo>
                <a:lnTo>
                  <a:pt x="30" y="316"/>
                </a:lnTo>
                <a:lnTo>
                  <a:pt x="28" y="316"/>
                </a:lnTo>
                <a:lnTo>
                  <a:pt x="26" y="318"/>
                </a:lnTo>
                <a:lnTo>
                  <a:pt x="21" y="323"/>
                </a:lnTo>
                <a:lnTo>
                  <a:pt x="19" y="325"/>
                </a:lnTo>
                <a:lnTo>
                  <a:pt x="7" y="328"/>
                </a:lnTo>
                <a:lnTo>
                  <a:pt x="3" y="330"/>
                </a:lnTo>
                <a:lnTo>
                  <a:pt x="0" y="335"/>
                </a:lnTo>
                <a:lnTo>
                  <a:pt x="0" y="330"/>
                </a:lnTo>
                <a:lnTo>
                  <a:pt x="0" y="321"/>
                </a:lnTo>
                <a:lnTo>
                  <a:pt x="0" y="311"/>
                </a:lnTo>
                <a:lnTo>
                  <a:pt x="0" y="309"/>
                </a:lnTo>
                <a:lnTo>
                  <a:pt x="3" y="307"/>
                </a:lnTo>
                <a:lnTo>
                  <a:pt x="3" y="305"/>
                </a:lnTo>
                <a:lnTo>
                  <a:pt x="3" y="302"/>
                </a:lnTo>
                <a:lnTo>
                  <a:pt x="3" y="300"/>
                </a:lnTo>
                <a:lnTo>
                  <a:pt x="5" y="300"/>
                </a:lnTo>
                <a:lnTo>
                  <a:pt x="7" y="300"/>
                </a:lnTo>
                <a:lnTo>
                  <a:pt x="5" y="298"/>
                </a:lnTo>
                <a:lnTo>
                  <a:pt x="5" y="295"/>
                </a:lnTo>
                <a:lnTo>
                  <a:pt x="5" y="293"/>
                </a:lnTo>
                <a:lnTo>
                  <a:pt x="7" y="293"/>
                </a:lnTo>
                <a:lnTo>
                  <a:pt x="7" y="295"/>
                </a:lnTo>
                <a:lnTo>
                  <a:pt x="10" y="295"/>
                </a:lnTo>
                <a:lnTo>
                  <a:pt x="12" y="295"/>
                </a:lnTo>
                <a:lnTo>
                  <a:pt x="12" y="293"/>
                </a:lnTo>
                <a:lnTo>
                  <a:pt x="10" y="291"/>
                </a:lnTo>
                <a:lnTo>
                  <a:pt x="12" y="288"/>
                </a:lnTo>
                <a:lnTo>
                  <a:pt x="12" y="286"/>
                </a:lnTo>
                <a:lnTo>
                  <a:pt x="12" y="284"/>
                </a:lnTo>
                <a:lnTo>
                  <a:pt x="14" y="284"/>
                </a:lnTo>
                <a:lnTo>
                  <a:pt x="14" y="281"/>
                </a:lnTo>
                <a:lnTo>
                  <a:pt x="16" y="281"/>
                </a:lnTo>
                <a:lnTo>
                  <a:pt x="19" y="279"/>
                </a:lnTo>
                <a:lnTo>
                  <a:pt x="19" y="277"/>
                </a:lnTo>
                <a:lnTo>
                  <a:pt x="21" y="277"/>
                </a:lnTo>
                <a:lnTo>
                  <a:pt x="21" y="274"/>
                </a:lnTo>
                <a:lnTo>
                  <a:pt x="23" y="274"/>
                </a:lnTo>
                <a:lnTo>
                  <a:pt x="26" y="272"/>
                </a:lnTo>
                <a:lnTo>
                  <a:pt x="28" y="274"/>
                </a:lnTo>
                <a:lnTo>
                  <a:pt x="30" y="274"/>
                </a:lnTo>
                <a:lnTo>
                  <a:pt x="33" y="272"/>
                </a:lnTo>
                <a:lnTo>
                  <a:pt x="33" y="270"/>
                </a:lnTo>
                <a:lnTo>
                  <a:pt x="35" y="270"/>
                </a:lnTo>
                <a:lnTo>
                  <a:pt x="35" y="267"/>
                </a:lnTo>
                <a:lnTo>
                  <a:pt x="35" y="265"/>
                </a:lnTo>
                <a:lnTo>
                  <a:pt x="35" y="263"/>
                </a:lnTo>
                <a:lnTo>
                  <a:pt x="35" y="260"/>
                </a:lnTo>
                <a:lnTo>
                  <a:pt x="37" y="260"/>
                </a:lnTo>
                <a:lnTo>
                  <a:pt x="47" y="249"/>
                </a:lnTo>
                <a:lnTo>
                  <a:pt x="49" y="249"/>
                </a:lnTo>
                <a:lnTo>
                  <a:pt x="58" y="246"/>
                </a:lnTo>
                <a:lnTo>
                  <a:pt x="61" y="246"/>
                </a:lnTo>
                <a:lnTo>
                  <a:pt x="63" y="246"/>
                </a:lnTo>
                <a:lnTo>
                  <a:pt x="63" y="244"/>
                </a:lnTo>
                <a:lnTo>
                  <a:pt x="65" y="244"/>
                </a:lnTo>
                <a:lnTo>
                  <a:pt x="68" y="244"/>
                </a:lnTo>
                <a:lnTo>
                  <a:pt x="72" y="246"/>
                </a:lnTo>
                <a:lnTo>
                  <a:pt x="75" y="246"/>
                </a:lnTo>
                <a:lnTo>
                  <a:pt x="77" y="246"/>
                </a:lnTo>
                <a:lnTo>
                  <a:pt x="91" y="242"/>
                </a:lnTo>
                <a:lnTo>
                  <a:pt x="93" y="242"/>
                </a:lnTo>
                <a:lnTo>
                  <a:pt x="93" y="239"/>
                </a:lnTo>
                <a:lnTo>
                  <a:pt x="96" y="239"/>
                </a:lnTo>
                <a:lnTo>
                  <a:pt x="98" y="239"/>
                </a:lnTo>
                <a:lnTo>
                  <a:pt x="98" y="242"/>
                </a:lnTo>
                <a:lnTo>
                  <a:pt x="98" y="244"/>
                </a:lnTo>
                <a:lnTo>
                  <a:pt x="100" y="246"/>
                </a:lnTo>
                <a:lnTo>
                  <a:pt x="103" y="249"/>
                </a:lnTo>
                <a:lnTo>
                  <a:pt x="105" y="249"/>
                </a:lnTo>
                <a:lnTo>
                  <a:pt x="114" y="239"/>
                </a:lnTo>
                <a:lnTo>
                  <a:pt x="117" y="237"/>
                </a:lnTo>
                <a:lnTo>
                  <a:pt x="119" y="235"/>
                </a:lnTo>
                <a:lnTo>
                  <a:pt x="126" y="232"/>
                </a:lnTo>
                <a:lnTo>
                  <a:pt x="131" y="230"/>
                </a:lnTo>
                <a:lnTo>
                  <a:pt x="133" y="232"/>
                </a:lnTo>
                <a:lnTo>
                  <a:pt x="135" y="232"/>
                </a:lnTo>
                <a:lnTo>
                  <a:pt x="138" y="232"/>
                </a:lnTo>
                <a:lnTo>
                  <a:pt x="151" y="235"/>
                </a:lnTo>
                <a:lnTo>
                  <a:pt x="165" y="235"/>
                </a:lnTo>
                <a:lnTo>
                  <a:pt x="170" y="235"/>
                </a:lnTo>
                <a:lnTo>
                  <a:pt x="172" y="237"/>
                </a:lnTo>
                <a:lnTo>
                  <a:pt x="175" y="237"/>
                </a:lnTo>
                <a:lnTo>
                  <a:pt x="177" y="239"/>
                </a:lnTo>
                <a:lnTo>
                  <a:pt x="179" y="239"/>
                </a:lnTo>
                <a:lnTo>
                  <a:pt x="179" y="242"/>
                </a:lnTo>
                <a:lnTo>
                  <a:pt x="182" y="242"/>
                </a:lnTo>
                <a:lnTo>
                  <a:pt x="184" y="239"/>
                </a:lnTo>
                <a:lnTo>
                  <a:pt x="184" y="242"/>
                </a:lnTo>
                <a:lnTo>
                  <a:pt x="186" y="242"/>
                </a:lnTo>
                <a:lnTo>
                  <a:pt x="189" y="244"/>
                </a:lnTo>
                <a:lnTo>
                  <a:pt x="191" y="244"/>
                </a:lnTo>
                <a:lnTo>
                  <a:pt x="193" y="244"/>
                </a:lnTo>
                <a:lnTo>
                  <a:pt x="207" y="237"/>
                </a:lnTo>
                <a:lnTo>
                  <a:pt x="210" y="237"/>
                </a:lnTo>
                <a:lnTo>
                  <a:pt x="210" y="235"/>
                </a:lnTo>
                <a:lnTo>
                  <a:pt x="212" y="232"/>
                </a:lnTo>
                <a:lnTo>
                  <a:pt x="214" y="232"/>
                </a:lnTo>
                <a:lnTo>
                  <a:pt x="214" y="230"/>
                </a:lnTo>
                <a:lnTo>
                  <a:pt x="221" y="228"/>
                </a:lnTo>
                <a:lnTo>
                  <a:pt x="224" y="228"/>
                </a:lnTo>
                <a:lnTo>
                  <a:pt x="226" y="228"/>
                </a:lnTo>
                <a:lnTo>
                  <a:pt x="226" y="225"/>
                </a:lnTo>
                <a:lnTo>
                  <a:pt x="228" y="225"/>
                </a:lnTo>
                <a:lnTo>
                  <a:pt x="228" y="223"/>
                </a:lnTo>
                <a:lnTo>
                  <a:pt x="231" y="223"/>
                </a:lnTo>
                <a:lnTo>
                  <a:pt x="233" y="223"/>
                </a:lnTo>
                <a:lnTo>
                  <a:pt x="231" y="218"/>
                </a:lnTo>
                <a:lnTo>
                  <a:pt x="231" y="216"/>
                </a:lnTo>
                <a:lnTo>
                  <a:pt x="231" y="214"/>
                </a:lnTo>
                <a:lnTo>
                  <a:pt x="231" y="211"/>
                </a:lnTo>
                <a:lnTo>
                  <a:pt x="228" y="211"/>
                </a:lnTo>
                <a:lnTo>
                  <a:pt x="228" y="209"/>
                </a:lnTo>
                <a:lnTo>
                  <a:pt x="228" y="207"/>
                </a:lnTo>
                <a:lnTo>
                  <a:pt x="231" y="207"/>
                </a:lnTo>
                <a:lnTo>
                  <a:pt x="231" y="204"/>
                </a:lnTo>
                <a:lnTo>
                  <a:pt x="231" y="202"/>
                </a:lnTo>
                <a:lnTo>
                  <a:pt x="233" y="200"/>
                </a:lnTo>
                <a:lnTo>
                  <a:pt x="235" y="197"/>
                </a:lnTo>
                <a:lnTo>
                  <a:pt x="235" y="195"/>
                </a:lnTo>
                <a:lnTo>
                  <a:pt x="235" y="193"/>
                </a:lnTo>
                <a:lnTo>
                  <a:pt x="235" y="190"/>
                </a:lnTo>
                <a:lnTo>
                  <a:pt x="233" y="190"/>
                </a:lnTo>
                <a:lnTo>
                  <a:pt x="231" y="188"/>
                </a:lnTo>
                <a:lnTo>
                  <a:pt x="228" y="188"/>
                </a:lnTo>
                <a:lnTo>
                  <a:pt x="228" y="186"/>
                </a:lnTo>
                <a:lnTo>
                  <a:pt x="226" y="186"/>
                </a:lnTo>
                <a:lnTo>
                  <a:pt x="226" y="188"/>
                </a:lnTo>
                <a:lnTo>
                  <a:pt x="224" y="188"/>
                </a:lnTo>
                <a:lnTo>
                  <a:pt x="221" y="186"/>
                </a:lnTo>
                <a:lnTo>
                  <a:pt x="221" y="183"/>
                </a:lnTo>
                <a:lnTo>
                  <a:pt x="221" y="181"/>
                </a:lnTo>
                <a:lnTo>
                  <a:pt x="221" y="179"/>
                </a:lnTo>
                <a:lnTo>
                  <a:pt x="221" y="176"/>
                </a:lnTo>
                <a:lnTo>
                  <a:pt x="224" y="176"/>
                </a:lnTo>
                <a:lnTo>
                  <a:pt x="226" y="176"/>
                </a:lnTo>
                <a:lnTo>
                  <a:pt x="228" y="174"/>
                </a:lnTo>
                <a:lnTo>
                  <a:pt x="228" y="172"/>
                </a:lnTo>
                <a:lnTo>
                  <a:pt x="231" y="169"/>
                </a:lnTo>
                <a:lnTo>
                  <a:pt x="231" y="172"/>
                </a:lnTo>
                <a:lnTo>
                  <a:pt x="231" y="169"/>
                </a:lnTo>
                <a:lnTo>
                  <a:pt x="233" y="169"/>
                </a:lnTo>
                <a:lnTo>
                  <a:pt x="233" y="167"/>
                </a:lnTo>
                <a:lnTo>
                  <a:pt x="233" y="165"/>
                </a:lnTo>
                <a:lnTo>
                  <a:pt x="235" y="165"/>
                </a:lnTo>
                <a:lnTo>
                  <a:pt x="238" y="165"/>
                </a:lnTo>
                <a:lnTo>
                  <a:pt x="238" y="163"/>
                </a:lnTo>
                <a:lnTo>
                  <a:pt x="240" y="163"/>
                </a:lnTo>
                <a:lnTo>
                  <a:pt x="242" y="160"/>
                </a:lnTo>
                <a:lnTo>
                  <a:pt x="240" y="160"/>
                </a:lnTo>
                <a:lnTo>
                  <a:pt x="240" y="158"/>
                </a:lnTo>
                <a:lnTo>
                  <a:pt x="242" y="158"/>
                </a:lnTo>
                <a:lnTo>
                  <a:pt x="242" y="156"/>
                </a:lnTo>
                <a:lnTo>
                  <a:pt x="245" y="156"/>
                </a:lnTo>
                <a:lnTo>
                  <a:pt x="247" y="156"/>
                </a:lnTo>
                <a:lnTo>
                  <a:pt x="247" y="153"/>
                </a:lnTo>
                <a:lnTo>
                  <a:pt x="247" y="151"/>
                </a:lnTo>
                <a:lnTo>
                  <a:pt x="245" y="151"/>
                </a:lnTo>
                <a:lnTo>
                  <a:pt x="245" y="149"/>
                </a:lnTo>
                <a:lnTo>
                  <a:pt x="245" y="146"/>
                </a:lnTo>
                <a:lnTo>
                  <a:pt x="245" y="144"/>
                </a:lnTo>
                <a:lnTo>
                  <a:pt x="242" y="144"/>
                </a:lnTo>
                <a:lnTo>
                  <a:pt x="242" y="139"/>
                </a:lnTo>
                <a:lnTo>
                  <a:pt x="242" y="137"/>
                </a:lnTo>
                <a:lnTo>
                  <a:pt x="240" y="135"/>
                </a:lnTo>
                <a:lnTo>
                  <a:pt x="240" y="132"/>
                </a:lnTo>
                <a:lnTo>
                  <a:pt x="238" y="132"/>
                </a:lnTo>
                <a:lnTo>
                  <a:pt x="238" y="130"/>
                </a:lnTo>
                <a:lnTo>
                  <a:pt x="235" y="130"/>
                </a:lnTo>
                <a:lnTo>
                  <a:pt x="233" y="130"/>
                </a:lnTo>
                <a:lnTo>
                  <a:pt x="233" y="128"/>
                </a:lnTo>
                <a:lnTo>
                  <a:pt x="231" y="125"/>
                </a:lnTo>
                <a:lnTo>
                  <a:pt x="231" y="123"/>
                </a:lnTo>
                <a:lnTo>
                  <a:pt x="233" y="118"/>
                </a:lnTo>
                <a:lnTo>
                  <a:pt x="235" y="116"/>
                </a:lnTo>
                <a:lnTo>
                  <a:pt x="235" y="114"/>
                </a:lnTo>
                <a:lnTo>
                  <a:pt x="238" y="114"/>
                </a:lnTo>
                <a:lnTo>
                  <a:pt x="238" y="111"/>
                </a:lnTo>
                <a:lnTo>
                  <a:pt x="240" y="109"/>
                </a:lnTo>
                <a:lnTo>
                  <a:pt x="240" y="107"/>
                </a:lnTo>
                <a:lnTo>
                  <a:pt x="240" y="102"/>
                </a:lnTo>
                <a:lnTo>
                  <a:pt x="240" y="100"/>
                </a:lnTo>
                <a:lnTo>
                  <a:pt x="242" y="97"/>
                </a:lnTo>
                <a:lnTo>
                  <a:pt x="242" y="95"/>
                </a:lnTo>
                <a:lnTo>
                  <a:pt x="245" y="95"/>
                </a:lnTo>
                <a:lnTo>
                  <a:pt x="247" y="95"/>
                </a:lnTo>
                <a:lnTo>
                  <a:pt x="249" y="95"/>
                </a:lnTo>
                <a:lnTo>
                  <a:pt x="249" y="93"/>
                </a:lnTo>
                <a:lnTo>
                  <a:pt x="252" y="93"/>
                </a:lnTo>
                <a:lnTo>
                  <a:pt x="252" y="90"/>
                </a:lnTo>
                <a:lnTo>
                  <a:pt x="254" y="90"/>
                </a:lnTo>
                <a:lnTo>
                  <a:pt x="254" y="88"/>
                </a:lnTo>
                <a:lnTo>
                  <a:pt x="254" y="90"/>
                </a:lnTo>
                <a:lnTo>
                  <a:pt x="256" y="90"/>
                </a:lnTo>
                <a:lnTo>
                  <a:pt x="259" y="90"/>
                </a:lnTo>
                <a:lnTo>
                  <a:pt x="259" y="88"/>
                </a:lnTo>
                <a:lnTo>
                  <a:pt x="261" y="88"/>
                </a:lnTo>
                <a:lnTo>
                  <a:pt x="263" y="90"/>
                </a:lnTo>
                <a:lnTo>
                  <a:pt x="266" y="88"/>
                </a:lnTo>
                <a:lnTo>
                  <a:pt x="268" y="88"/>
                </a:lnTo>
                <a:lnTo>
                  <a:pt x="270" y="88"/>
                </a:lnTo>
                <a:lnTo>
                  <a:pt x="272" y="88"/>
                </a:lnTo>
                <a:lnTo>
                  <a:pt x="272" y="86"/>
                </a:lnTo>
                <a:lnTo>
                  <a:pt x="272" y="83"/>
                </a:lnTo>
                <a:lnTo>
                  <a:pt x="272" y="81"/>
                </a:lnTo>
                <a:lnTo>
                  <a:pt x="272" y="79"/>
                </a:lnTo>
                <a:lnTo>
                  <a:pt x="270" y="69"/>
                </a:lnTo>
                <a:lnTo>
                  <a:pt x="268" y="67"/>
                </a:lnTo>
                <a:lnTo>
                  <a:pt x="268" y="60"/>
                </a:lnTo>
                <a:lnTo>
                  <a:pt x="268" y="58"/>
                </a:lnTo>
                <a:lnTo>
                  <a:pt x="270" y="58"/>
                </a:lnTo>
                <a:lnTo>
                  <a:pt x="270" y="55"/>
                </a:lnTo>
                <a:lnTo>
                  <a:pt x="272" y="55"/>
                </a:lnTo>
                <a:lnTo>
                  <a:pt x="272" y="53"/>
                </a:lnTo>
                <a:lnTo>
                  <a:pt x="275" y="53"/>
                </a:lnTo>
                <a:lnTo>
                  <a:pt x="275" y="51"/>
                </a:lnTo>
                <a:lnTo>
                  <a:pt x="272" y="51"/>
                </a:lnTo>
                <a:lnTo>
                  <a:pt x="272" y="48"/>
                </a:lnTo>
                <a:lnTo>
                  <a:pt x="272" y="46"/>
                </a:lnTo>
                <a:lnTo>
                  <a:pt x="270" y="46"/>
                </a:lnTo>
                <a:lnTo>
                  <a:pt x="272" y="37"/>
                </a:lnTo>
                <a:lnTo>
                  <a:pt x="272" y="34"/>
                </a:lnTo>
                <a:lnTo>
                  <a:pt x="275" y="34"/>
                </a:lnTo>
                <a:lnTo>
                  <a:pt x="277" y="34"/>
                </a:lnTo>
                <a:lnTo>
                  <a:pt x="279" y="34"/>
                </a:lnTo>
                <a:lnTo>
                  <a:pt x="282" y="34"/>
                </a:lnTo>
                <a:lnTo>
                  <a:pt x="289" y="39"/>
                </a:lnTo>
                <a:lnTo>
                  <a:pt x="291" y="39"/>
                </a:lnTo>
                <a:lnTo>
                  <a:pt x="293" y="37"/>
                </a:lnTo>
                <a:lnTo>
                  <a:pt x="293" y="34"/>
                </a:lnTo>
                <a:lnTo>
                  <a:pt x="293" y="32"/>
                </a:lnTo>
                <a:lnTo>
                  <a:pt x="293" y="30"/>
                </a:lnTo>
                <a:lnTo>
                  <a:pt x="293" y="27"/>
                </a:lnTo>
                <a:lnTo>
                  <a:pt x="293" y="25"/>
                </a:lnTo>
                <a:lnTo>
                  <a:pt x="296" y="25"/>
                </a:lnTo>
                <a:lnTo>
                  <a:pt x="293" y="25"/>
                </a:lnTo>
                <a:lnTo>
                  <a:pt x="293" y="23"/>
                </a:lnTo>
                <a:lnTo>
                  <a:pt x="293" y="21"/>
                </a:lnTo>
                <a:lnTo>
                  <a:pt x="298" y="16"/>
                </a:lnTo>
                <a:lnTo>
                  <a:pt x="300" y="16"/>
                </a:lnTo>
                <a:lnTo>
                  <a:pt x="300" y="18"/>
                </a:lnTo>
                <a:lnTo>
                  <a:pt x="305" y="21"/>
                </a:lnTo>
                <a:lnTo>
                  <a:pt x="307" y="21"/>
                </a:lnTo>
                <a:lnTo>
                  <a:pt x="307" y="23"/>
                </a:lnTo>
                <a:lnTo>
                  <a:pt x="310" y="25"/>
                </a:lnTo>
                <a:lnTo>
                  <a:pt x="310" y="30"/>
                </a:lnTo>
                <a:lnTo>
                  <a:pt x="312" y="30"/>
                </a:lnTo>
                <a:lnTo>
                  <a:pt x="314" y="30"/>
                </a:lnTo>
                <a:lnTo>
                  <a:pt x="317" y="32"/>
                </a:lnTo>
                <a:lnTo>
                  <a:pt x="319" y="32"/>
                </a:lnTo>
                <a:lnTo>
                  <a:pt x="321" y="32"/>
                </a:lnTo>
                <a:lnTo>
                  <a:pt x="324" y="32"/>
                </a:lnTo>
                <a:lnTo>
                  <a:pt x="326" y="30"/>
                </a:lnTo>
                <a:lnTo>
                  <a:pt x="328" y="30"/>
                </a:lnTo>
                <a:lnTo>
                  <a:pt x="328" y="32"/>
                </a:lnTo>
                <a:lnTo>
                  <a:pt x="328" y="34"/>
                </a:lnTo>
                <a:lnTo>
                  <a:pt x="331" y="37"/>
                </a:lnTo>
                <a:lnTo>
                  <a:pt x="328" y="37"/>
                </a:lnTo>
                <a:lnTo>
                  <a:pt x="328" y="39"/>
                </a:lnTo>
                <a:lnTo>
                  <a:pt x="326" y="41"/>
                </a:lnTo>
                <a:lnTo>
                  <a:pt x="326" y="44"/>
                </a:lnTo>
                <a:lnTo>
                  <a:pt x="324" y="46"/>
                </a:lnTo>
                <a:lnTo>
                  <a:pt x="324" y="48"/>
                </a:lnTo>
                <a:lnTo>
                  <a:pt x="321" y="48"/>
                </a:lnTo>
                <a:lnTo>
                  <a:pt x="321" y="51"/>
                </a:lnTo>
                <a:lnTo>
                  <a:pt x="321" y="53"/>
                </a:lnTo>
                <a:lnTo>
                  <a:pt x="324" y="53"/>
                </a:lnTo>
                <a:lnTo>
                  <a:pt x="324" y="51"/>
                </a:lnTo>
                <a:lnTo>
                  <a:pt x="328" y="51"/>
                </a:lnTo>
                <a:lnTo>
                  <a:pt x="328" y="48"/>
                </a:lnTo>
                <a:lnTo>
                  <a:pt x="331" y="48"/>
                </a:lnTo>
                <a:lnTo>
                  <a:pt x="331" y="46"/>
                </a:lnTo>
                <a:lnTo>
                  <a:pt x="333" y="46"/>
                </a:lnTo>
                <a:lnTo>
                  <a:pt x="335" y="46"/>
                </a:lnTo>
                <a:lnTo>
                  <a:pt x="338" y="46"/>
                </a:lnTo>
                <a:lnTo>
                  <a:pt x="342" y="48"/>
                </a:lnTo>
                <a:lnTo>
                  <a:pt x="345" y="46"/>
                </a:lnTo>
                <a:lnTo>
                  <a:pt x="347" y="46"/>
                </a:lnTo>
                <a:lnTo>
                  <a:pt x="347" y="44"/>
                </a:lnTo>
                <a:lnTo>
                  <a:pt x="349" y="44"/>
                </a:lnTo>
                <a:lnTo>
                  <a:pt x="349" y="41"/>
                </a:lnTo>
                <a:lnTo>
                  <a:pt x="352" y="41"/>
                </a:lnTo>
                <a:lnTo>
                  <a:pt x="352" y="39"/>
                </a:lnTo>
                <a:lnTo>
                  <a:pt x="354" y="39"/>
                </a:lnTo>
                <a:lnTo>
                  <a:pt x="354" y="37"/>
                </a:lnTo>
                <a:lnTo>
                  <a:pt x="356" y="37"/>
                </a:lnTo>
                <a:lnTo>
                  <a:pt x="359" y="37"/>
                </a:lnTo>
                <a:lnTo>
                  <a:pt x="361" y="37"/>
                </a:lnTo>
                <a:lnTo>
                  <a:pt x="363" y="37"/>
                </a:lnTo>
                <a:lnTo>
                  <a:pt x="366" y="34"/>
                </a:lnTo>
                <a:lnTo>
                  <a:pt x="368" y="34"/>
                </a:lnTo>
                <a:lnTo>
                  <a:pt x="368" y="32"/>
                </a:lnTo>
                <a:lnTo>
                  <a:pt x="370" y="32"/>
                </a:lnTo>
                <a:lnTo>
                  <a:pt x="373" y="32"/>
                </a:lnTo>
                <a:lnTo>
                  <a:pt x="373" y="30"/>
                </a:lnTo>
                <a:lnTo>
                  <a:pt x="375" y="30"/>
                </a:lnTo>
                <a:lnTo>
                  <a:pt x="377" y="27"/>
                </a:lnTo>
                <a:lnTo>
                  <a:pt x="377" y="25"/>
                </a:lnTo>
                <a:lnTo>
                  <a:pt x="380" y="25"/>
                </a:lnTo>
                <a:lnTo>
                  <a:pt x="382" y="25"/>
                </a:lnTo>
                <a:lnTo>
                  <a:pt x="384" y="25"/>
                </a:lnTo>
                <a:lnTo>
                  <a:pt x="401" y="18"/>
                </a:lnTo>
                <a:lnTo>
                  <a:pt x="401" y="16"/>
                </a:lnTo>
                <a:lnTo>
                  <a:pt x="403" y="16"/>
                </a:lnTo>
                <a:lnTo>
                  <a:pt x="403" y="14"/>
                </a:lnTo>
                <a:lnTo>
                  <a:pt x="405" y="14"/>
                </a:lnTo>
                <a:lnTo>
                  <a:pt x="412" y="11"/>
                </a:lnTo>
                <a:lnTo>
                  <a:pt x="412" y="9"/>
                </a:lnTo>
                <a:lnTo>
                  <a:pt x="414" y="9"/>
                </a:lnTo>
                <a:lnTo>
                  <a:pt x="417" y="9"/>
                </a:lnTo>
                <a:lnTo>
                  <a:pt x="417" y="7"/>
                </a:lnTo>
                <a:lnTo>
                  <a:pt x="419" y="7"/>
                </a:lnTo>
                <a:lnTo>
                  <a:pt x="421" y="4"/>
                </a:lnTo>
                <a:lnTo>
                  <a:pt x="426" y="4"/>
                </a:lnTo>
                <a:lnTo>
                  <a:pt x="431" y="2"/>
                </a:lnTo>
                <a:lnTo>
                  <a:pt x="433" y="2"/>
                </a:lnTo>
                <a:lnTo>
                  <a:pt x="435" y="2"/>
                </a:lnTo>
                <a:lnTo>
                  <a:pt x="435" y="0"/>
                </a:lnTo>
                <a:lnTo>
                  <a:pt x="438" y="2"/>
                </a:lnTo>
                <a:lnTo>
                  <a:pt x="440" y="2"/>
                </a:lnTo>
                <a:lnTo>
                  <a:pt x="442" y="2"/>
                </a:lnTo>
                <a:lnTo>
                  <a:pt x="445" y="2"/>
                </a:lnTo>
                <a:lnTo>
                  <a:pt x="445" y="4"/>
                </a:lnTo>
                <a:lnTo>
                  <a:pt x="447" y="4"/>
                </a:lnTo>
                <a:lnTo>
                  <a:pt x="449" y="4"/>
                </a:lnTo>
                <a:lnTo>
                  <a:pt x="452" y="4"/>
                </a:lnTo>
                <a:lnTo>
                  <a:pt x="454" y="4"/>
                </a:lnTo>
                <a:lnTo>
                  <a:pt x="456" y="4"/>
                </a:lnTo>
                <a:lnTo>
                  <a:pt x="456" y="7"/>
                </a:lnTo>
                <a:lnTo>
                  <a:pt x="459" y="7"/>
                </a:lnTo>
                <a:lnTo>
                  <a:pt x="461" y="7"/>
                </a:lnTo>
                <a:lnTo>
                  <a:pt x="463" y="7"/>
                </a:lnTo>
                <a:lnTo>
                  <a:pt x="463" y="9"/>
                </a:lnTo>
                <a:lnTo>
                  <a:pt x="466" y="9"/>
                </a:lnTo>
                <a:lnTo>
                  <a:pt x="468" y="9"/>
                </a:lnTo>
                <a:lnTo>
                  <a:pt x="468" y="11"/>
                </a:lnTo>
                <a:lnTo>
                  <a:pt x="466" y="14"/>
                </a:lnTo>
                <a:lnTo>
                  <a:pt x="466" y="16"/>
                </a:lnTo>
                <a:lnTo>
                  <a:pt x="463" y="18"/>
                </a:lnTo>
                <a:lnTo>
                  <a:pt x="463" y="21"/>
                </a:lnTo>
                <a:lnTo>
                  <a:pt x="461" y="21"/>
                </a:lnTo>
                <a:lnTo>
                  <a:pt x="461" y="23"/>
                </a:lnTo>
                <a:lnTo>
                  <a:pt x="461" y="25"/>
                </a:lnTo>
                <a:lnTo>
                  <a:pt x="461" y="27"/>
                </a:lnTo>
                <a:lnTo>
                  <a:pt x="461" y="30"/>
                </a:lnTo>
                <a:lnTo>
                  <a:pt x="463" y="32"/>
                </a:lnTo>
                <a:lnTo>
                  <a:pt x="468" y="34"/>
                </a:lnTo>
                <a:lnTo>
                  <a:pt x="470" y="34"/>
                </a:lnTo>
                <a:lnTo>
                  <a:pt x="470" y="37"/>
                </a:lnTo>
                <a:lnTo>
                  <a:pt x="484" y="41"/>
                </a:lnTo>
                <a:lnTo>
                  <a:pt x="487" y="41"/>
                </a:lnTo>
                <a:lnTo>
                  <a:pt x="487" y="39"/>
                </a:lnTo>
                <a:lnTo>
                  <a:pt x="489" y="39"/>
                </a:lnTo>
                <a:lnTo>
                  <a:pt x="489" y="37"/>
                </a:lnTo>
                <a:lnTo>
                  <a:pt x="491" y="37"/>
                </a:lnTo>
                <a:lnTo>
                  <a:pt x="498" y="34"/>
                </a:lnTo>
                <a:lnTo>
                  <a:pt x="501" y="34"/>
                </a:lnTo>
                <a:lnTo>
                  <a:pt x="501" y="32"/>
                </a:lnTo>
                <a:lnTo>
                  <a:pt x="503" y="32"/>
                </a:lnTo>
                <a:lnTo>
                  <a:pt x="505" y="34"/>
                </a:lnTo>
                <a:lnTo>
                  <a:pt x="508" y="34"/>
                </a:lnTo>
                <a:lnTo>
                  <a:pt x="510" y="37"/>
                </a:lnTo>
                <a:lnTo>
                  <a:pt x="512" y="37"/>
                </a:lnTo>
                <a:lnTo>
                  <a:pt x="515" y="37"/>
                </a:lnTo>
                <a:lnTo>
                  <a:pt x="517" y="37"/>
                </a:lnTo>
                <a:lnTo>
                  <a:pt x="517" y="39"/>
                </a:lnTo>
                <a:lnTo>
                  <a:pt x="519" y="39"/>
                </a:lnTo>
                <a:lnTo>
                  <a:pt x="519" y="41"/>
                </a:lnTo>
                <a:lnTo>
                  <a:pt x="522" y="44"/>
                </a:lnTo>
                <a:lnTo>
                  <a:pt x="526" y="46"/>
                </a:lnTo>
                <a:lnTo>
                  <a:pt x="526" y="48"/>
                </a:lnTo>
                <a:lnTo>
                  <a:pt x="529" y="51"/>
                </a:lnTo>
                <a:lnTo>
                  <a:pt x="531" y="53"/>
                </a:lnTo>
                <a:lnTo>
                  <a:pt x="533" y="53"/>
                </a:lnTo>
                <a:lnTo>
                  <a:pt x="533" y="55"/>
                </a:lnTo>
                <a:lnTo>
                  <a:pt x="535" y="55"/>
                </a:lnTo>
                <a:lnTo>
                  <a:pt x="535" y="58"/>
                </a:lnTo>
                <a:lnTo>
                  <a:pt x="538" y="55"/>
                </a:lnTo>
                <a:lnTo>
                  <a:pt x="538" y="58"/>
                </a:lnTo>
                <a:lnTo>
                  <a:pt x="540" y="58"/>
                </a:lnTo>
                <a:lnTo>
                  <a:pt x="542" y="58"/>
                </a:lnTo>
                <a:lnTo>
                  <a:pt x="542" y="60"/>
                </a:lnTo>
                <a:lnTo>
                  <a:pt x="545" y="62"/>
                </a:lnTo>
                <a:lnTo>
                  <a:pt x="547" y="65"/>
                </a:lnTo>
                <a:lnTo>
                  <a:pt x="554" y="69"/>
                </a:lnTo>
                <a:lnTo>
                  <a:pt x="556" y="69"/>
                </a:lnTo>
                <a:lnTo>
                  <a:pt x="559" y="72"/>
                </a:lnTo>
                <a:lnTo>
                  <a:pt x="561" y="72"/>
                </a:lnTo>
                <a:lnTo>
                  <a:pt x="563" y="72"/>
                </a:lnTo>
                <a:lnTo>
                  <a:pt x="566" y="74"/>
                </a:lnTo>
                <a:lnTo>
                  <a:pt x="566" y="76"/>
                </a:lnTo>
                <a:lnTo>
                  <a:pt x="568" y="76"/>
                </a:lnTo>
                <a:lnTo>
                  <a:pt x="570" y="76"/>
                </a:lnTo>
                <a:lnTo>
                  <a:pt x="573" y="76"/>
                </a:lnTo>
                <a:lnTo>
                  <a:pt x="575" y="76"/>
                </a:lnTo>
                <a:lnTo>
                  <a:pt x="577" y="76"/>
                </a:lnTo>
                <a:lnTo>
                  <a:pt x="580" y="76"/>
                </a:lnTo>
                <a:lnTo>
                  <a:pt x="580" y="74"/>
                </a:lnTo>
                <a:lnTo>
                  <a:pt x="582" y="74"/>
                </a:lnTo>
                <a:lnTo>
                  <a:pt x="584" y="74"/>
                </a:lnTo>
                <a:lnTo>
                  <a:pt x="601" y="93"/>
                </a:lnTo>
                <a:lnTo>
                  <a:pt x="608" y="102"/>
                </a:lnTo>
                <a:lnTo>
                  <a:pt x="608" y="116"/>
                </a:lnTo>
                <a:lnTo>
                  <a:pt x="608" y="118"/>
                </a:lnTo>
                <a:lnTo>
                  <a:pt x="610" y="118"/>
                </a:lnTo>
                <a:lnTo>
                  <a:pt x="612" y="118"/>
                </a:lnTo>
                <a:lnTo>
                  <a:pt x="615" y="118"/>
                </a:lnTo>
                <a:lnTo>
                  <a:pt x="617" y="121"/>
                </a:lnTo>
                <a:lnTo>
                  <a:pt x="619" y="121"/>
                </a:lnTo>
                <a:lnTo>
                  <a:pt x="622" y="121"/>
                </a:lnTo>
                <a:lnTo>
                  <a:pt x="624" y="121"/>
                </a:lnTo>
                <a:lnTo>
                  <a:pt x="626" y="118"/>
                </a:lnTo>
                <a:lnTo>
                  <a:pt x="629" y="118"/>
                </a:lnTo>
                <a:lnTo>
                  <a:pt x="629" y="116"/>
                </a:lnTo>
                <a:lnTo>
                  <a:pt x="631" y="116"/>
                </a:lnTo>
                <a:lnTo>
                  <a:pt x="633" y="116"/>
                </a:lnTo>
                <a:lnTo>
                  <a:pt x="636" y="118"/>
                </a:lnTo>
                <a:lnTo>
                  <a:pt x="638" y="118"/>
                </a:lnTo>
                <a:lnTo>
                  <a:pt x="640" y="118"/>
                </a:lnTo>
                <a:lnTo>
                  <a:pt x="643" y="121"/>
                </a:lnTo>
                <a:lnTo>
                  <a:pt x="643" y="123"/>
                </a:lnTo>
                <a:lnTo>
                  <a:pt x="645" y="123"/>
                </a:lnTo>
                <a:lnTo>
                  <a:pt x="645" y="121"/>
                </a:lnTo>
                <a:lnTo>
                  <a:pt x="647" y="121"/>
                </a:lnTo>
                <a:lnTo>
                  <a:pt x="650" y="121"/>
                </a:lnTo>
                <a:lnTo>
                  <a:pt x="650" y="123"/>
                </a:lnTo>
                <a:lnTo>
                  <a:pt x="654" y="125"/>
                </a:lnTo>
                <a:lnTo>
                  <a:pt x="654" y="128"/>
                </a:lnTo>
                <a:lnTo>
                  <a:pt x="657" y="128"/>
                </a:lnTo>
                <a:lnTo>
                  <a:pt x="659" y="128"/>
                </a:lnTo>
                <a:lnTo>
                  <a:pt x="661" y="128"/>
                </a:lnTo>
                <a:lnTo>
                  <a:pt x="666" y="130"/>
                </a:lnTo>
                <a:lnTo>
                  <a:pt x="668" y="130"/>
                </a:lnTo>
                <a:lnTo>
                  <a:pt x="670" y="130"/>
                </a:lnTo>
                <a:lnTo>
                  <a:pt x="673" y="132"/>
                </a:lnTo>
                <a:lnTo>
                  <a:pt x="675" y="132"/>
                </a:lnTo>
                <a:lnTo>
                  <a:pt x="675" y="135"/>
                </a:lnTo>
                <a:lnTo>
                  <a:pt x="677" y="135"/>
                </a:lnTo>
                <a:lnTo>
                  <a:pt x="677" y="137"/>
                </a:lnTo>
                <a:lnTo>
                  <a:pt x="680" y="137"/>
                </a:lnTo>
                <a:lnTo>
                  <a:pt x="682" y="137"/>
                </a:lnTo>
                <a:lnTo>
                  <a:pt x="682" y="139"/>
                </a:lnTo>
                <a:lnTo>
                  <a:pt x="684" y="139"/>
                </a:lnTo>
                <a:lnTo>
                  <a:pt x="684" y="142"/>
                </a:lnTo>
                <a:lnTo>
                  <a:pt x="684" y="144"/>
                </a:lnTo>
                <a:lnTo>
                  <a:pt x="687" y="144"/>
                </a:lnTo>
                <a:lnTo>
                  <a:pt x="689" y="144"/>
                </a:lnTo>
                <a:lnTo>
                  <a:pt x="691" y="146"/>
                </a:lnTo>
                <a:lnTo>
                  <a:pt x="691" y="149"/>
                </a:lnTo>
                <a:lnTo>
                  <a:pt x="694" y="149"/>
                </a:lnTo>
                <a:lnTo>
                  <a:pt x="694" y="151"/>
                </a:lnTo>
                <a:lnTo>
                  <a:pt x="694" y="153"/>
                </a:lnTo>
                <a:lnTo>
                  <a:pt x="694" y="156"/>
                </a:lnTo>
                <a:lnTo>
                  <a:pt x="691" y="156"/>
                </a:lnTo>
                <a:lnTo>
                  <a:pt x="691" y="158"/>
                </a:lnTo>
                <a:lnTo>
                  <a:pt x="689" y="160"/>
                </a:lnTo>
                <a:lnTo>
                  <a:pt x="689" y="163"/>
                </a:lnTo>
                <a:lnTo>
                  <a:pt x="689" y="165"/>
                </a:lnTo>
                <a:lnTo>
                  <a:pt x="687" y="165"/>
                </a:lnTo>
                <a:lnTo>
                  <a:pt x="684" y="167"/>
                </a:lnTo>
                <a:lnTo>
                  <a:pt x="680" y="169"/>
                </a:lnTo>
                <a:lnTo>
                  <a:pt x="675" y="174"/>
                </a:lnTo>
                <a:lnTo>
                  <a:pt x="673" y="176"/>
                </a:lnTo>
                <a:lnTo>
                  <a:pt x="673" y="179"/>
                </a:lnTo>
                <a:lnTo>
                  <a:pt x="670" y="176"/>
                </a:lnTo>
                <a:lnTo>
                  <a:pt x="666" y="179"/>
                </a:lnTo>
                <a:lnTo>
                  <a:pt x="666" y="181"/>
                </a:lnTo>
                <a:lnTo>
                  <a:pt x="663" y="181"/>
                </a:lnTo>
                <a:lnTo>
                  <a:pt x="663" y="183"/>
                </a:lnTo>
                <a:lnTo>
                  <a:pt x="663" y="186"/>
                </a:lnTo>
                <a:lnTo>
                  <a:pt x="663" y="188"/>
                </a:lnTo>
                <a:lnTo>
                  <a:pt x="663" y="190"/>
                </a:lnTo>
                <a:lnTo>
                  <a:pt x="663" y="193"/>
                </a:lnTo>
                <a:lnTo>
                  <a:pt x="663" y="195"/>
                </a:lnTo>
                <a:lnTo>
                  <a:pt x="661" y="195"/>
                </a:lnTo>
                <a:lnTo>
                  <a:pt x="661" y="197"/>
                </a:lnTo>
                <a:lnTo>
                  <a:pt x="659" y="197"/>
                </a:lnTo>
                <a:lnTo>
                  <a:pt x="654" y="197"/>
                </a:lnTo>
                <a:lnTo>
                  <a:pt x="652" y="195"/>
                </a:lnTo>
                <a:lnTo>
                  <a:pt x="650" y="195"/>
                </a:lnTo>
                <a:lnTo>
                  <a:pt x="650" y="197"/>
                </a:lnTo>
                <a:lnTo>
                  <a:pt x="647" y="197"/>
                </a:lnTo>
                <a:lnTo>
                  <a:pt x="645" y="207"/>
                </a:lnTo>
                <a:lnTo>
                  <a:pt x="643" y="209"/>
                </a:lnTo>
                <a:lnTo>
                  <a:pt x="643" y="211"/>
                </a:lnTo>
                <a:lnTo>
                  <a:pt x="643" y="214"/>
                </a:lnTo>
                <a:lnTo>
                  <a:pt x="643" y="216"/>
                </a:lnTo>
                <a:lnTo>
                  <a:pt x="643" y="218"/>
                </a:lnTo>
                <a:lnTo>
                  <a:pt x="640" y="218"/>
                </a:lnTo>
                <a:lnTo>
                  <a:pt x="640" y="221"/>
                </a:lnTo>
                <a:lnTo>
                  <a:pt x="638" y="221"/>
                </a:lnTo>
                <a:lnTo>
                  <a:pt x="638" y="225"/>
                </a:lnTo>
                <a:lnTo>
                  <a:pt x="638" y="228"/>
                </a:lnTo>
                <a:lnTo>
                  <a:pt x="640" y="228"/>
                </a:lnTo>
                <a:lnTo>
                  <a:pt x="640" y="225"/>
                </a:lnTo>
                <a:lnTo>
                  <a:pt x="643" y="225"/>
                </a:lnTo>
                <a:lnTo>
                  <a:pt x="643" y="228"/>
                </a:lnTo>
                <a:lnTo>
                  <a:pt x="643" y="230"/>
                </a:lnTo>
                <a:lnTo>
                  <a:pt x="645" y="230"/>
                </a:lnTo>
                <a:lnTo>
                  <a:pt x="645" y="232"/>
                </a:lnTo>
                <a:lnTo>
                  <a:pt x="643" y="235"/>
                </a:lnTo>
                <a:lnTo>
                  <a:pt x="643" y="237"/>
                </a:lnTo>
                <a:lnTo>
                  <a:pt x="645" y="239"/>
                </a:lnTo>
                <a:lnTo>
                  <a:pt x="647" y="239"/>
                </a:lnTo>
                <a:lnTo>
                  <a:pt x="650" y="239"/>
                </a:lnTo>
                <a:lnTo>
                  <a:pt x="650" y="242"/>
                </a:lnTo>
                <a:lnTo>
                  <a:pt x="650" y="244"/>
                </a:lnTo>
                <a:lnTo>
                  <a:pt x="652" y="246"/>
                </a:lnTo>
                <a:lnTo>
                  <a:pt x="654" y="249"/>
                </a:lnTo>
                <a:lnTo>
                  <a:pt x="657" y="251"/>
                </a:lnTo>
                <a:lnTo>
                  <a:pt x="659" y="253"/>
                </a:lnTo>
                <a:lnTo>
                  <a:pt x="659" y="256"/>
                </a:lnTo>
                <a:lnTo>
                  <a:pt x="659" y="258"/>
                </a:lnTo>
                <a:lnTo>
                  <a:pt x="659" y="260"/>
                </a:lnTo>
                <a:lnTo>
                  <a:pt x="657" y="260"/>
                </a:lnTo>
                <a:lnTo>
                  <a:pt x="657" y="263"/>
                </a:lnTo>
                <a:lnTo>
                  <a:pt x="657" y="265"/>
                </a:lnTo>
                <a:lnTo>
                  <a:pt x="657" y="267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0" name="Freeform 17">
            <a:extLst>
              <a:ext uri="{FF2B5EF4-FFF2-40B4-BE49-F238E27FC236}">
                <a16:creationId xmlns:a16="http://schemas.microsoft.com/office/drawing/2014/main" id="{8D302A16-5451-B941-3C85-A66D86440E03}"/>
              </a:ext>
            </a:extLst>
          </p:cNvPr>
          <p:cNvSpPr>
            <a:spLocks/>
          </p:cNvSpPr>
          <p:nvPr/>
        </p:nvSpPr>
        <p:spPr bwMode="auto">
          <a:xfrm>
            <a:off x="2463911" y="3636576"/>
            <a:ext cx="857766" cy="779395"/>
          </a:xfrm>
          <a:custGeom>
            <a:avLst/>
            <a:gdLst>
              <a:gd name="T0" fmla="*/ 714 w 728"/>
              <a:gd name="T1" fmla="*/ 212 h 693"/>
              <a:gd name="T2" fmla="*/ 700 w 728"/>
              <a:gd name="T3" fmla="*/ 232 h 693"/>
              <a:gd name="T4" fmla="*/ 698 w 728"/>
              <a:gd name="T5" fmla="*/ 260 h 693"/>
              <a:gd name="T6" fmla="*/ 691 w 728"/>
              <a:gd name="T7" fmla="*/ 291 h 693"/>
              <a:gd name="T8" fmla="*/ 691 w 728"/>
              <a:gd name="T9" fmla="*/ 314 h 693"/>
              <a:gd name="T10" fmla="*/ 691 w 728"/>
              <a:gd name="T11" fmla="*/ 354 h 693"/>
              <a:gd name="T12" fmla="*/ 698 w 728"/>
              <a:gd name="T13" fmla="*/ 372 h 693"/>
              <a:gd name="T14" fmla="*/ 691 w 728"/>
              <a:gd name="T15" fmla="*/ 395 h 693"/>
              <a:gd name="T16" fmla="*/ 677 w 728"/>
              <a:gd name="T17" fmla="*/ 421 h 693"/>
              <a:gd name="T18" fmla="*/ 670 w 728"/>
              <a:gd name="T19" fmla="*/ 447 h 693"/>
              <a:gd name="T20" fmla="*/ 660 w 728"/>
              <a:gd name="T21" fmla="*/ 472 h 693"/>
              <a:gd name="T22" fmla="*/ 651 w 728"/>
              <a:gd name="T23" fmla="*/ 500 h 693"/>
              <a:gd name="T24" fmla="*/ 630 w 728"/>
              <a:gd name="T25" fmla="*/ 507 h 693"/>
              <a:gd name="T26" fmla="*/ 614 w 728"/>
              <a:gd name="T27" fmla="*/ 528 h 693"/>
              <a:gd name="T28" fmla="*/ 595 w 728"/>
              <a:gd name="T29" fmla="*/ 556 h 693"/>
              <a:gd name="T30" fmla="*/ 565 w 728"/>
              <a:gd name="T31" fmla="*/ 572 h 693"/>
              <a:gd name="T32" fmla="*/ 553 w 728"/>
              <a:gd name="T33" fmla="*/ 591 h 693"/>
              <a:gd name="T34" fmla="*/ 537 w 728"/>
              <a:gd name="T35" fmla="*/ 614 h 693"/>
              <a:gd name="T36" fmla="*/ 519 w 728"/>
              <a:gd name="T37" fmla="*/ 640 h 693"/>
              <a:gd name="T38" fmla="*/ 516 w 728"/>
              <a:gd name="T39" fmla="*/ 675 h 693"/>
              <a:gd name="T40" fmla="*/ 498 w 728"/>
              <a:gd name="T41" fmla="*/ 691 h 693"/>
              <a:gd name="T42" fmla="*/ 470 w 728"/>
              <a:gd name="T43" fmla="*/ 675 h 693"/>
              <a:gd name="T44" fmla="*/ 486 w 728"/>
              <a:gd name="T45" fmla="*/ 642 h 693"/>
              <a:gd name="T46" fmla="*/ 453 w 728"/>
              <a:gd name="T47" fmla="*/ 663 h 693"/>
              <a:gd name="T48" fmla="*/ 423 w 728"/>
              <a:gd name="T49" fmla="*/ 656 h 693"/>
              <a:gd name="T50" fmla="*/ 386 w 728"/>
              <a:gd name="T51" fmla="*/ 659 h 693"/>
              <a:gd name="T52" fmla="*/ 358 w 728"/>
              <a:gd name="T53" fmla="*/ 642 h 693"/>
              <a:gd name="T54" fmla="*/ 330 w 728"/>
              <a:gd name="T55" fmla="*/ 635 h 693"/>
              <a:gd name="T56" fmla="*/ 297 w 728"/>
              <a:gd name="T57" fmla="*/ 645 h 693"/>
              <a:gd name="T58" fmla="*/ 272 w 728"/>
              <a:gd name="T59" fmla="*/ 670 h 693"/>
              <a:gd name="T60" fmla="*/ 246 w 728"/>
              <a:gd name="T61" fmla="*/ 665 h 693"/>
              <a:gd name="T62" fmla="*/ 230 w 728"/>
              <a:gd name="T63" fmla="*/ 652 h 693"/>
              <a:gd name="T64" fmla="*/ 209 w 728"/>
              <a:gd name="T65" fmla="*/ 638 h 693"/>
              <a:gd name="T66" fmla="*/ 197 w 728"/>
              <a:gd name="T67" fmla="*/ 610 h 693"/>
              <a:gd name="T68" fmla="*/ 200 w 728"/>
              <a:gd name="T69" fmla="*/ 572 h 693"/>
              <a:gd name="T70" fmla="*/ 93 w 728"/>
              <a:gd name="T71" fmla="*/ 570 h 693"/>
              <a:gd name="T72" fmla="*/ 79 w 728"/>
              <a:gd name="T73" fmla="*/ 498 h 693"/>
              <a:gd name="T74" fmla="*/ 79 w 728"/>
              <a:gd name="T75" fmla="*/ 449 h 693"/>
              <a:gd name="T76" fmla="*/ 79 w 728"/>
              <a:gd name="T77" fmla="*/ 423 h 693"/>
              <a:gd name="T78" fmla="*/ 60 w 728"/>
              <a:gd name="T79" fmla="*/ 405 h 693"/>
              <a:gd name="T80" fmla="*/ 90 w 728"/>
              <a:gd name="T81" fmla="*/ 363 h 693"/>
              <a:gd name="T82" fmla="*/ 109 w 728"/>
              <a:gd name="T83" fmla="*/ 340 h 693"/>
              <a:gd name="T84" fmla="*/ 102 w 728"/>
              <a:gd name="T85" fmla="*/ 293 h 693"/>
              <a:gd name="T86" fmla="*/ 104 w 728"/>
              <a:gd name="T87" fmla="*/ 263 h 693"/>
              <a:gd name="T88" fmla="*/ 93 w 728"/>
              <a:gd name="T89" fmla="*/ 242 h 693"/>
              <a:gd name="T90" fmla="*/ 6 w 728"/>
              <a:gd name="T91" fmla="*/ 235 h 693"/>
              <a:gd name="T92" fmla="*/ 9 w 728"/>
              <a:gd name="T93" fmla="*/ 205 h 693"/>
              <a:gd name="T94" fmla="*/ 4 w 728"/>
              <a:gd name="T95" fmla="*/ 174 h 693"/>
              <a:gd name="T96" fmla="*/ 6 w 728"/>
              <a:gd name="T97" fmla="*/ 151 h 693"/>
              <a:gd name="T98" fmla="*/ 0 w 728"/>
              <a:gd name="T99" fmla="*/ 128 h 693"/>
              <a:gd name="T100" fmla="*/ 6 w 728"/>
              <a:gd name="T101" fmla="*/ 97 h 693"/>
              <a:gd name="T102" fmla="*/ 204 w 728"/>
              <a:gd name="T103" fmla="*/ 70 h 693"/>
              <a:gd name="T104" fmla="*/ 209 w 728"/>
              <a:gd name="T105" fmla="*/ 35 h 693"/>
              <a:gd name="T106" fmla="*/ 218 w 728"/>
              <a:gd name="T107" fmla="*/ 4 h 693"/>
              <a:gd name="T108" fmla="*/ 242 w 728"/>
              <a:gd name="T109" fmla="*/ 30 h 693"/>
              <a:gd name="T110" fmla="*/ 256 w 728"/>
              <a:gd name="T111" fmla="*/ 63 h 693"/>
              <a:gd name="T112" fmla="*/ 258 w 728"/>
              <a:gd name="T113" fmla="*/ 88 h 693"/>
              <a:gd name="T114" fmla="*/ 283 w 728"/>
              <a:gd name="T115" fmla="*/ 109 h 693"/>
              <a:gd name="T116" fmla="*/ 309 w 728"/>
              <a:gd name="T117" fmla="*/ 130 h 693"/>
              <a:gd name="T118" fmla="*/ 418 w 728"/>
              <a:gd name="T119" fmla="*/ 149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8" h="693">
                <a:moveTo>
                  <a:pt x="728" y="181"/>
                </a:moveTo>
                <a:lnTo>
                  <a:pt x="726" y="184"/>
                </a:lnTo>
                <a:lnTo>
                  <a:pt x="726" y="186"/>
                </a:lnTo>
                <a:lnTo>
                  <a:pt x="723" y="191"/>
                </a:lnTo>
                <a:lnTo>
                  <a:pt x="723" y="193"/>
                </a:lnTo>
                <a:lnTo>
                  <a:pt x="721" y="195"/>
                </a:lnTo>
                <a:lnTo>
                  <a:pt x="719" y="198"/>
                </a:lnTo>
                <a:lnTo>
                  <a:pt x="716" y="198"/>
                </a:lnTo>
                <a:lnTo>
                  <a:pt x="716" y="200"/>
                </a:lnTo>
                <a:lnTo>
                  <a:pt x="716" y="202"/>
                </a:lnTo>
                <a:lnTo>
                  <a:pt x="716" y="205"/>
                </a:lnTo>
                <a:lnTo>
                  <a:pt x="716" y="207"/>
                </a:lnTo>
                <a:lnTo>
                  <a:pt x="714" y="212"/>
                </a:lnTo>
                <a:lnTo>
                  <a:pt x="714" y="214"/>
                </a:lnTo>
                <a:lnTo>
                  <a:pt x="712" y="216"/>
                </a:lnTo>
                <a:lnTo>
                  <a:pt x="709" y="216"/>
                </a:lnTo>
                <a:lnTo>
                  <a:pt x="709" y="219"/>
                </a:lnTo>
                <a:lnTo>
                  <a:pt x="707" y="221"/>
                </a:lnTo>
                <a:lnTo>
                  <a:pt x="707" y="223"/>
                </a:lnTo>
                <a:lnTo>
                  <a:pt x="707" y="226"/>
                </a:lnTo>
                <a:lnTo>
                  <a:pt x="707" y="228"/>
                </a:lnTo>
                <a:lnTo>
                  <a:pt x="705" y="228"/>
                </a:lnTo>
                <a:lnTo>
                  <a:pt x="705" y="230"/>
                </a:lnTo>
                <a:lnTo>
                  <a:pt x="702" y="230"/>
                </a:lnTo>
                <a:lnTo>
                  <a:pt x="702" y="232"/>
                </a:lnTo>
                <a:lnTo>
                  <a:pt x="700" y="232"/>
                </a:lnTo>
                <a:lnTo>
                  <a:pt x="700" y="235"/>
                </a:lnTo>
                <a:lnTo>
                  <a:pt x="702" y="237"/>
                </a:lnTo>
                <a:lnTo>
                  <a:pt x="700" y="239"/>
                </a:lnTo>
                <a:lnTo>
                  <a:pt x="700" y="242"/>
                </a:lnTo>
                <a:lnTo>
                  <a:pt x="698" y="244"/>
                </a:lnTo>
                <a:lnTo>
                  <a:pt x="698" y="246"/>
                </a:lnTo>
                <a:lnTo>
                  <a:pt x="700" y="246"/>
                </a:lnTo>
                <a:lnTo>
                  <a:pt x="698" y="249"/>
                </a:lnTo>
                <a:lnTo>
                  <a:pt x="698" y="251"/>
                </a:lnTo>
                <a:lnTo>
                  <a:pt x="698" y="253"/>
                </a:lnTo>
                <a:lnTo>
                  <a:pt x="698" y="256"/>
                </a:lnTo>
                <a:lnTo>
                  <a:pt x="698" y="258"/>
                </a:lnTo>
                <a:lnTo>
                  <a:pt x="698" y="260"/>
                </a:lnTo>
                <a:lnTo>
                  <a:pt x="695" y="260"/>
                </a:lnTo>
                <a:lnTo>
                  <a:pt x="695" y="263"/>
                </a:lnTo>
                <a:lnTo>
                  <a:pt x="695" y="265"/>
                </a:lnTo>
                <a:lnTo>
                  <a:pt x="693" y="270"/>
                </a:lnTo>
                <a:lnTo>
                  <a:pt x="693" y="272"/>
                </a:lnTo>
                <a:lnTo>
                  <a:pt x="693" y="274"/>
                </a:lnTo>
                <a:lnTo>
                  <a:pt x="691" y="281"/>
                </a:lnTo>
                <a:lnTo>
                  <a:pt x="688" y="281"/>
                </a:lnTo>
                <a:lnTo>
                  <a:pt x="688" y="284"/>
                </a:lnTo>
                <a:lnTo>
                  <a:pt x="688" y="286"/>
                </a:lnTo>
                <a:lnTo>
                  <a:pt x="688" y="288"/>
                </a:lnTo>
                <a:lnTo>
                  <a:pt x="688" y="291"/>
                </a:lnTo>
                <a:lnTo>
                  <a:pt x="691" y="291"/>
                </a:lnTo>
                <a:lnTo>
                  <a:pt x="693" y="293"/>
                </a:lnTo>
                <a:lnTo>
                  <a:pt x="693" y="298"/>
                </a:lnTo>
                <a:lnTo>
                  <a:pt x="691" y="298"/>
                </a:lnTo>
                <a:lnTo>
                  <a:pt x="691" y="300"/>
                </a:lnTo>
                <a:lnTo>
                  <a:pt x="688" y="300"/>
                </a:lnTo>
                <a:lnTo>
                  <a:pt x="688" y="302"/>
                </a:lnTo>
                <a:lnTo>
                  <a:pt x="691" y="305"/>
                </a:lnTo>
                <a:lnTo>
                  <a:pt x="691" y="307"/>
                </a:lnTo>
                <a:lnTo>
                  <a:pt x="691" y="309"/>
                </a:lnTo>
                <a:lnTo>
                  <a:pt x="691" y="312"/>
                </a:lnTo>
                <a:lnTo>
                  <a:pt x="693" y="312"/>
                </a:lnTo>
                <a:lnTo>
                  <a:pt x="693" y="314"/>
                </a:lnTo>
                <a:lnTo>
                  <a:pt x="691" y="314"/>
                </a:lnTo>
                <a:lnTo>
                  <a:pt x="691" y="316"/>
                </a:lnTo>
                <a:lnTo>
                  <a:pt x="691" y="319"/>
                </a:lnTo>
                <a:lnTo>
                  <a:pt x="691" y="321"/>
                </a:lnTo>
                <a:lnTo>
                  <a:pt x="691" y="330"/>
                </a:lnTo>
                <a:lnTo>
                  <a:pt x="691" y="333"/>
                </a:lnTo>
                <a:lnTo>
                  <a:pt x="691" y="335"/>
                </a:lnTo>
                <a:lnTo>
                  <a:pt x="693" y="337"/>
                </a:lnTo>
                <a:lnTo>
                  <a:pt x="691" y="340"/>
                </a:lnTo>
                <a:lnTo>
                  <a:pt x="693" y="347"/>
                </a:lnTo>
                <a:lnTo>
                  <a:pt x="691" y="347"/>
                </a:lnTo>
                <a:lnTo>
                  <a:pt x="691" y="349"/>
                </a:lnTo>
                <a:lnTo>
                  <a:pt x="691" y="351"/>
                </a:lnTo>
                <a:lnTo>
                  <a:pt x="691" y="354"/>
                </a:lnTo>
                <a:lnTo>
                  <a:pt x="688" y="354"/>
                </a:lnTo>
                <a:lnTo>
                  <a:pt x="688" y="356"/>
                </a:lnTo>
                <a:lnTo>
                  <a:pt x="688" y="358"/>
                </a:lnTo>
                <a:lnTo>
                  <a:pt x="688" y="361"/>
                </a:lnTo>
                <a:lnTo>
                  <a:pt x="691" y="361"/>
                </a:lnTo>
                <a:lnTo>
                  <a:pt x="691" y="363"/>
                </a:lnTo>
                <a:lnTo>
                  <a:pt x="691" y="365"/>
                </a:lnTo>
                <a:lnTo>
                  <a:pt x="691" y="368"/>
                </a:lnTo>
                <a:lnTo>
                  <a:pt x="691" y="370"/>
                </a:lnTo>
                <a:lnTo>
                  <a:pt x="693" y="370"/>
                </a:lnTo>
                <a:lnTo>
                  <a:pt x="693" y="372"/>
                </a:lnTo>
                <a:lnTo>
                  <a:pt x="695" y="372"/>
                </a:lnTo>
                <a:lnTo>
                  <a:pt x="698" y="372"/>
                </a:lnTo>
                <a:lnTo>
                  <a:pt x="698" y="374"/>
                </a:lnTo>
                <a:lnTo>
                  <a:pt x="700" y="374"/>
                </a:lnTo>
                <a:lnTo>
                  <a:pt x="700" y="377"/>
                </a:lnTo>
                <a:lnTo>
                  <a:pt x="698" y="379"/>
                </a:lnTo>
                <a:lnTo>
                  <a:pt x="698" y="381"/>
                </a:lnTo>
                <a:lnTo>
                  <a:pt x="695" y="381"/>
                </a:lnTo>
                <a:lnTo>
                  <a:pt x="693" y="384"/>
                </a:lnTo>
                <a:lnTo>
                  <a:pt x="693" y="386"/>
                </a:lnTo>
                <a:lnTo>
                  <a:pt x="691" y="386"/>
                </a:lnTo>
                <a:lnTo>
                  <a:pt x="691" y="388"/>
                </a:lnTo>
                <a:lnTo>
                  <a:pt x="691" y="391"/>
                </a:lnTo>
                <a:lnTo>
                  <a:pt x="691" y="393"/>
                </a:lnTo>
                <a:lnTo>
                  <a:pt x="691" y="395"/>
                </a:lnTo>
                <a:lnTo>
                  <a:pt x="691" y="398"/>
                </a:lnTo>
                <a:lnTo>
                  <a:pt x="688" y="402"/>
                </a:lnTo>
                <a:lnTo>
                  <a:pt x="688" y="405"/>
                </a:lnTo>
                <a:lnTo>
                  <a:pt x="686" y="405"/>
                </a:lnTo>
                <a:lnTo>
                  <a:pt x="686" y="407"/>
                </a:lnTo>
                <a:lnTo>
                  <a:pt x="686" y="409"/>
                </a:lnTo>
                <a:lnTo>
                  <a:pt x="684" y="409"/>
                </a:lnTo>
                <a:lnTo>
                  <a:pt x="684" y="412"/>
                </a:lnTo>
                <a:lnTo>
                  <a:pt x="681" y="412"/>
                </a:lnTo>
                <a:lnTo>
                  <a:pt x="681" y="414"/>
                </a:lnTo>
                <a:lnTo>
                  <a:pt x="679" y="414"/>
                </a:lnTo>
                <a:lnTo>
                  <a:pt x="679" y="416"/>
                </a:lnTo>
                <a:lnTo>
                  <a:pt x="677" y="421"/>
                </a:lnTo>
                <a:lnTo>
                  <a:pt x="677" y="423"/>
                </a:lnTo>
                <a:lnTo>
                  <a:pt x="677" y="426"/>
                </a:lnTo>
                <a:lnTo>
                  <a:pt x="674" y="426"/>
                </a:lnTo>
                <a:lnTo>
                  <a:pt x="672" y="426"/>
                </a:lnTo>
                <a:lnTo>
                  <a:pt x="672" y="428"/>
                </a:lnTo>
                <a:lnTo>
                  <a:pt x="672" y="430"/>
                </a:lnTo>
                <a:lnTo>
                  <a:pt x="672" y="433"/>
                </a:lnTo>
                <a:lnTo>
                  <a:pt x="672" y="435"/>
                </a:lnTo>
                <a:lnTo>
                  <a:pt x="672" y="437"/>
                </a:lnTo>
                <a:lnTo>
                  <a:pt x="672" y="440"/>
                </a:lnTo>
                <a:lnTo>
                  <a:pt x="670" y="442"/>
                </a:lnTo>
                <a:lnTo>
                  <a:pt x="670" y="444"/>
                </a:lnTo>
                <a:lnTo>
                  <a:pt x="670" y="447"/>
                </a:lnTo>
                <a:lnTo>
                  <a:pt x="670" y="449"/>
                </a:lnTo>
                <a:lnTo>
                  <a:pt x="672" y="449"/>
                </a:lnTo>
                <a:lnTo>
                  <a:pt x="672" y="451"/>
                </a:lnTo>
                <a:lnTo>
                  <a:pt x="670" y="451"/>
                </a:lnTo>
                <a:lnTo>
                  <a:pt x="667" y="454"/>
                </a:lnTo>
                <a:lnTo>
                  <a:pt x="665" y="454"/>
                </a:lnTo>
                <a:lnTo>
                  <a:pt x="665" y="456"/>
                </a:lnTo>
                <a:lnTo>
                  <a:pt x="663" y="461"/>
                </a:lnTo>
                <a:lnTo>
                  <a:pt x="663" y="463"/>
                </a:lnTo>
                <a:lnTo>
                  <a:pt x="663" y="465"/>
                </a:lnTo>
                <a:lnTo>
                  <a:pt x="660" y="468"/>
                </a:lnTo>
                <a:lnTo>
                  <a:pt x="660" y="470"/>
                </a:lnTo>
                <a:lnTo>
                  <a:pt x="660" y="472"/>
                </a:lnTo>
                <a:lnTo>
                  <a:pt x="660" y="475"/>
                </a:lnTo>
                <a:lnTo>
                  <a:pt x="660" y="477"/>
                </a:lnTo>
                <a:lnTo>
                  <a:pt x="660" y="479"/>
                </a:lnTo>
                <a:lnTo>
                  <a:pt x="660" y="482"/>
                </a:lnTo>
                <a:lnTo>
                  <a:pt x="658" y="484"/>
                </a:lnTo>
                <a:lnTo>
                  <a:pt x="658" y="486"/>
                </a:lnTo>
                <a:lnTo>
                  <a:pt x="656" y="486"/>
                </a:lnTo>
                <a:lnTo>
                  <a:pt x="656" y="489"/>
                </a:lnTo>
                <a:lnTo>
                  <a:pt x="656" y="491"/>
                </a:lnTo>
                <a:lnTo>
                  <a:pt x="653" y="491"/>
                </a:lnTo>
                <a:lnTo>
                  <a:pt x="653" y="496"/>
                </a:lnTo>
                <a:lnTo>
                  <a:pt x="653" y="498"/>
                </a:lnTo>
                <a:lnTo>
                  <a:pt x="651" y="500"/>
                </a:lnTo>
                <a:lnTo>
                  <a:pt x="651" y="503"/>
                </a:lnTo>
                <a:lnTo>
                  <a:pt x="649" y="503"/>
                </a:lnTo>
                <a:lnTo>
                  <a:pt x="649" y="505"/>
                </a:lnTo>
                <a:lnTo>
                  <a:pt x="647" y="507"/>
                </a:lnTo>
                <a:lnTo>
                  <a:pt x="644" y="507"/>
                </a:lnTo>
                <a:lnTo>
                  <a:pt x="642" y="507"/>
                </a:lnTo>
                <a:lnTo>
                  <a:pt x="640" y="510"/>
                </a:lnTo>
                <a:lnTo>
                  <a:pt x="640" y="507"/>
                </a:lnTo>
                <a:lnTo>
                  <a:pt x="640" y="505"/>
                </a:lnTo>
                <a:lnTo>
                  <a:pt x="637" y="505"/>
                </a:lnTo>
                <a:lnTo>
                  <a:pt x="635" y="507"/>
                </a:lnTo>
                <a:lnTo>
                  <a:pt x="633" y="507"/>
                </a:lnTo>
                <a:lnTo>
                  <a:pt x="630" y="507"/>
                </a:lnTo>
                <a:lnTo>
                  <a:pt x="630" y="510"/>
                </a:lnTo>
                <a:lnTo>
                  <a:pt x="628" y="510"/>
                </a:lnTo>
                <a:lnTo>
                  <a:pt x="626" y="510"/>
                </a:lnTo>
                <a:lnTo>
                  <a:pt x="626" y="512"/>
                </a:lnTo>
                <a:lnTo>
                  <a:pt x="621" y="514"/>
                </a:lnTo>
                <a:lnTo>
                  <a:pt x="621" y="517"/>
                </a:lnTo>
                <a:lnTo>
                  <a:pt x="619" y="517"/>
                </a:lnTo>
                <a:lnTo>
                  <a:pt x="616" y="519"/>
                </a:lnTo>
                <a:lnTo>
                  <a:pt x="616" y="521"/>
                </a:lnTo>
                <a:lnTo>
                  <a:pt x="616" y="523"/>
                </a:lnTo>
                <a:lnTo>
                  <a:pt x="614" y="523"/>
                </a:lnTo>
                <a:lnTo>
                  <a:pt x="614" y="526"/>
                </a:lnTo>
                <a:lnTo>
                  <a:pt x="614" y="528"/>
                </a:lnTo>
                <a:lnTo>
                  <a:pt x="614" y="530"/>
                </a:lnTo>
                <a:lnTo>
                  <a:pt x="612" y="535"/>
                </a:lnTo>
                <a:lnTo>
                  <a:pt x="612" y="537"/>
                </a:lnTo>
                <a:lnTo>
                  <a:pt x="609" y="540"/>
                </a:lnTo>
                <a:lnTo>
                  <a:pt x="607" y="540"/>
                </a:lnTo>
                <a:lnTo>
                  <a:pt x="607" y="542"/>
                </a:lnTo>
                <a:lnTo>
                  <a:pt x="607" y="544"/>
                </a:lnTo>
                <a:lnTo>
                  <a:pt x="607" y="547"/>
                </a:lnTo>
                <a:lnTo>
                  <a:pt x="605" y="551"/>
                </a:lnTo>
                <a:lnTo>
                  <a:pt x="602" y="554"/>
                </a:lnTo>
                <a:lnTo>
                  <a:pt x="600" y="556"/>
                </a:lnTo>
                <a:lnTo>
                  <a:pt x="598" y="556"/>
                </a:lnTo>
                <a:lnTo>
                  <a:pt x="595" y="556"/>
                </a:lnTo>
                <a:lnTo>
                  <a:pt x="593" y="558"/>
                </a:lnTo>
                <a:lnTo>
                  <a:pt x="591" y="558"/>
                </a:lnTo>
                <a:lnTo>
                  <a:pt x="591" y="561"/>
                </a:lnTo>
                <a:lnTo>
                  <a:pt x="584" y="561"/>
                </a:lnTo>
                <a:lnTo>
                  <a:pt x="581" y="561"/>
                </a:lnTo>
                <a:lnTo>
                  <a:pt x="579" y="561"/>
                </a:lnTo>
                <a:lnTo>
                  <a:pt x="577" y="561"/>
                </a:lnTo>
                <a:lnTo>
                  <a:pt x="577" y="563"/>
                </a:lnTo>
                <a:lnTo>
                  <a:pt x="574" y="565"/>
                </a:lnTo>
                <a:lnTo>
                  <a:pt x="572" y="570"/>
                </a:lnTo>
                <a:lnTo>
                  <a:pt x="570" y="570"/>
                </a:lnTo>
                <a:lnTo>
                  <a:pt x="567" y="570"/>
                </a:lnTo>
                <a:lnTo>
                  <a:pt x="565" y="572"/>
                </a:lnTo>
                <a:lnTo>
                  <a:pt x="563" y="575"/>
                </a:lnTo>
                <a:lnTo>
                  <a:pt x="560" y="575"/>
                </a:lnTo>
                <a:lnTo>
                  <a:pt x="558" y="577"/>
                </a:lnTo>
                <a:lnTo>
                  <a:pt x="558" y="579"/>
                </a:lnTo>
                <a:lnTo>
                  <a:pt x="558" y="582"/>
                </a:lnTo>
                <a:lnTo>
                  <a:pt x="553" y="582"/>
                </a:lnTo>
                <a:lnTo>
                  <a:pt x="551" y="584"/>
                </a:lnTo>
                <a:lnTo>
                  <a:pt x="551" y="586"/>
                </a:lnTo>
                <a:lnTo>
                  <a:pt x="549" y="586"/>
                </a:lnTo>
                <a:lnTo>
                  <a:pt x="549" y="589"/>
                </a:lnTo>
                <a:lnTo>
                  <a:pt x="549" y="591"/>
                </a:lnTo>
                <a:lnTo>
                  <a:pt x="551" y="591"/>
                </a:lnTo>
                <a:lnTo>
                  <a:pt x="553" y="591"/>
                </a:lnTo>
                <a:lnTo>
                  <a:pt x="553" y="593"/>
                </a:lnTo>
                <a:lnTo>
                  <a:pt x="553" y="596"/>
                </a:lnTo>
                <a:lnTo>
                  <a:pt x="553" y="598"/>
                </a:lnTo>
                <a:lnTo>
                  <a:pt x="551" y="600"/>
                </a:lnTo>
                <a:lnTo>
                  <a:pt x="549" y="600"/>
                </a:lnTo>
                <a:lnTo>
                  <a:pt x="549" y="603"/>
                </a:lnTo>
                <a:lnTo>
                  <a:pt x="546" y="605"/>
                </a:lnTo>
                <a:lnTo>
                  <a:pt x="546" y="607"/>
                </a:lnTo>
                <a:lnTo>
                  <a:pt x="544" y="610"/>
                </a:lnTo>
                <a:lnTo>
                  <a:pt x="542" y="612"/>
                </a:lnTo>
                <a:lnTo>
                  <a:pt x="539" y="612"/>
                </a:lnTo>
                <a:lnTo>
                  <a:pt x="539" y="614"/>
                </a:lnTo>
                <a:lnTo>
                  <a:pt x="537" y="614"/>
                </a:lnTo>
                <a:lnTo>
                  <a:pt x="535" y="614"/>
                </a:lnTo>
                <a:lnTo>
                  <a:pt x="530" y="617"/>
                </a:lnTo>
                <a:lnTo>
                  <a:pt x="528" y="619"/>
                </a:lnTo>
                <a:lnTo>
                  <a:pt x="528" y="621"/>
                </a:lnTo>
                <a:lnTo>
                  <a:pt x="528" y="624"/>
                </a:lnTo>
                <a:lnTo>
                  <a:pt x="525" y="626"/>
                </a:lnTo>
                <a:lnTo>
                  <a:pt x="525" y="628"/>
                </a:lnTo>
                <a:lnTo>
                  <a:pt x="525" y="631"/>
                </a:lnTo>
                <a:lnTo>
                  <a:pt x="525" y="633"/>
                </a:lnTo>
                <a:lnTo>
                  <a:pt x="523" y="633"/>
                </a:lnTo>
                <a:lnTo>
                  <a:pt x="521" y="638"/>
                </a:lnTo>
                <a:lnTo>
                  <a:pt x="519" y="638"/>
                </a:lnTo>
                <a:lnTo>
                  <a:pt x="519" y="640"/>
                </a:lnTo>
                <a:lnTo>
                  <a:pt x="519" y="642"/>
                </a:lnTo>
                <a:lnTo>
                  <a:pt x="516" y="645"/>
                </a:lnTo>
                <a:lnTo>
                  <a:pt x="516" y="649"/>
                </a:lnTo>
                <a:lnTo>
                  <a:pt x="516" y="652"/>
                </a:lnTo>
                <a:lnTo>
                  <a:pt x="514" y="652"/>
                </a:lnTo>
                <a:lnTo>
                  <a:pt x="514" y="654"/>
                </a:lnTo>
                <a:lnTo>
                  <a:pt x="514" y="656"/>
                </a:lnTo>
                <a:lnTo>
                  <a:pt x="514" y="659"/>
                </a:lnTo>
                <a:lnTo>
                  <a:pt x="512" y="659"/>
                </a:lnTo>
                <a:lnTo>
                  <a:pt x="512" y="663"/>
                </a:lnTo>
                <a:lnTo>
                  <a:pt x="512" y="665"/>
                </a:lnTo>
                <a:lnTo>
                  <a:pt x="512" y="668"/>
                </a:lnTo>
                <a:lnTo>
                  <a:pt x="516" y="675"/>
                </a:lnTo>
                <a:lnTo>
                  <a:pt x="516" y="677"/>
                </a:lnTo>
                <a:lnTo>
                  <a:pt x="519" y="679"/>
                </a:lnTo>
                <a:lnTo>
                  <a:pt x="519" y="684"/>
                </a:lnTo>
                <a:lnTo>
                  <a:pt x="521" y="689"/>
                </a:lnTo>
                <a:lnTo>
                  <a:pt x="521" y="691"/>
                </a:lnTo>
                <a:lnTo>
                  <a:pt x="516" y="693"/>
                </a:lnTo>
                <a:lnTo>
                  <a:pt x="514" y="691"/>
                </a:lnTo>
                <a:lnTo>
                  <a:pt x="512" y="691"/>
                </a:lnTo>
                <a:lnTo>
                  <a:pt x="507" y="691"/>
                </a:lnTo>
                <a:lnTo>
                  <a:pt x="507" y="689"/>
                </a:lnTo>
                <a:lnTo>
                  <a:pt x="500" y="689"/>
                </a:lnTo>
                <a:lnTo>
                  <a:pt x="500" y="691"/>
                </a:lnTo>
                <a:lnTo>
                  <a:pt x="498" y="691"/>
                </a:lnTo>
                <a:lnTo>
                  <a:pt x="495" y="691"/>
                </a:lnTo>
                <a:lnTo>
                  <a:pt x="491" y="689"/>
                </a:lnTo>
                <a:lnTo>
                  <a:pt x="488" y="689"/>
                </a:lnTo>
                <a:lnTo>
                  <a:pt x="481" y="689"/>
                </a:lnTo>
                <a:lnTo>
                  <a:pt x="479" y="689"/>
                </a:lnTo>
                <a:lnTo>
                  <a:pt x="472" y="684"/>
                </a:lnTo>
                <a:lnTo>
                  <a:pt x="470" y="684"/>
                </a:lnTo>
                <a:lnTo>
                  <a:pt x="467" y="684"/>
                </a:lnTo>
                <a:lnTo>
                  <a:pt x="465" y="684"/>
                </a:lnTo>
                <a:lnTo>
                  <a:pt x="465" y="682"/>
                </a:lnTo>
                <a:lnTo>
                  <a:pt x="467" y="679"/>
                </a:lnTo>
                <a:lnTo>
                  <a:pt x="470" y="677"/>
                </a:lnTo>
                <a:lnTo>
                  <a:pt x="470" y="675"/>
                </a:lnTo>
                <a:lnTo>
                  <a:pt x="472" y="672"/>
                </a:lnTo>
                <a:lnTo>
                  <a:pt x="472" y="670"/>
                </a:lnTo>
                <a:lnTo>
                  <a:pt x="474" y="670"/>
                </a:lnTo>
                <a:lnTo>
                  <a:pt x="474" y="668"/>
                </a:lnTo>
                <a:lnTo>
                  <a:pt x="477" y="668"/>
                </a:lnTo>
                <a:lnTo>
                  <a:pt x="479" y="668"/>
                </a:lnTo>
                <a:lnTo>
                  <a:pt x="481" y="668"/>
                </a:lnTo>
                <a:lnTo>
                  <a:pt x="481" y="665"/>
                </a:lnTo>
                <a:lnTo>
                  <a:pt x="481" y="661"/>
                </a:lnTo>
                <a:lnTo>
                  <a:pt x="484" y="659"/>
                </a:lnTo>
                <a:lnTo>
                  <a:pt x="484" y="654"/>
                </a:lnTo>
                <a:lnTo>
                  <a:pt x="486" y="645"/>
                </a:lnTo>
                <a:lnTo>
                  <a:pt x="486" y="642"/>
                </a:lnTo>
                <a:lnTo>
                  <a:pt x="481" y="642"/>
                </a:lnTo>
                <a:lnTo>
                  <a:pt x="477" y="645"/>
                </a:lnTo>
                <a:lnTo>
                  <a:pt x="477" y="647"/>
                </a:lnTo>
                <a:lnTo>
                  <a:pt x="474" y="649"/>
                </a:lnTo>
                <a:lnTo>
                  <a:pt x="470" y="654"/>
                </a:lnTo>
                <a:lnTo>
                  <a:pt x="467" y="656"/>
                </a:lnTo>
                <a:lnTo>
                  <a:pt x="463" y="656"/>
                </a:lnTo>
                <a:lnTo>
                  <a:pt x="463" y="659"/>
                </a:lnTo>
                <a:lnTo>
                  <a:pt x="463" y="661"/>
                </a:lnTo>
                <a:lnTo>
                  <a:pt x="460" y="661"/>
                </a:lnTo>
                <a:lnTo>
                  <a:pt x="458" y="663"/>
                </a:lnTo>
                <a:lnTo>
                  <a:pt x="456" y="663"/>
                </a:lnTo>
                <a:lnTo>
                  <a:pt x="453" y="663"/>
                </a:lnTo>
                <a:lnTo>
                  <a:pt x="451" y="665"/>
                </a:lnTo>
                <a:lnTo>
                  <a:pt x="446" y="668"/>
                </a:lnTo>
                <a:lnTo>
                  <a:pt x="444" y="668"/>
                </a:lnTo>
                <a:lnTo>
                  <a:pt x="442" y="668"/>
                </a:lnTo>
                <a:lnTo>
                  <a:pt x="442" y="665"/>
                </a:lnTo>
                <a:lnTo>
                  <a:pt x="442" y="663"/>
                </a:lnTo>
                <a:lnTo>
                  <a:pt x="442" y="661"/>
                </a:lnTo>
                <a:lnTo>
                  <a:pt x="439" y="661"/>
                </a:lnTo>
                <a:lnTo>
                  <a:pt x="437" y="659"/>
                </a:lnTo>
                <a:lnTo>
                  <a:pt x="435" y="656"/>
                </a:lnTo>
                <a:lnTo>
                  <a:pt x="432" y="656"/>
                </a:lnTo>
                <a:lnTo>
                  <a:pt x="430" y="656"/>
                </a:lnTo>
                <a:lnTo>
                  <a:pt x="423" y="656"/>
                </a:lnTo>
                <a:lnTo>
                  <a:pt x="421" y="656"/>
                </a:lnTo>
                <a:lnTo>
                  <a:pt x="418" y="659"/>
                </a:lnTo>
                <a:lnTo>
                  <a:pt x="418" y="661"/>
                </a:lnTo>
                <a:lnTo>
                  <a:pt x="416" y="661"/>
                </a:lnTo>
                <a:lnTo>
                  <a:pt x="411" y="663"/>
                </a:lnTo>
                <a:lnTo>
                  <a:pt x="409" y="665"/>
                </a:lnTo>
                <a:lnTo>
                  <a:pt x="407" y="663"/>
                </a:lnTo>
                <a:lnTo>
                  <a:pt x="400" y="665"/>
                </a:lnTo>
                <a:lnTo>
                  <a:pt x="397" y="665"/>
                </a:lnTo>
                <a:lnTo>
                  <a:pt x="395" y="665"/>
                </a:lnTo>
                <a:lnTo>
                  <a:pt x="388" y="661"/>
                </a:lnTo>
                <a:lnTo>
                  <a:pt x="386" y="661"/>
                </a:lnTo>
                <a:lnTo>
                  <a:pt x="386" y="659"/>
                </a:lnTo>
                <a:lnTo>
                  <a:pt x="384" y="659"/>
                </a:lnTo>
                <a:lnTo>
                  <a:pt x="381" y="659"/>
                </a:lnTo>
                <a:lnTo>
                  <a:pt x="381" y="656"/>
                </a:lnTo>
                <a:lnTo>
                  <a:pt x="379" y="656"/>
                </a:lnTo>
                <a:lnTo>
                  <a:pt x="374" y="654"/>
                </a:lnTo>
                <a:lnTo>
                  <a:pt x="372" y="652"/>
                </a:lnTo>
                <a:lnTo>
                  <a:pt x="372" y="649"/>
                </a:lnTo>
                <a:lnTo>
                  <a:pt x="370" y="649"/>
                </a:lnTo>
                <a:lnTo>
                  <a:pt x="370" y="647"/>
                </a:lnTo>
                <a:lnTo>
                  <a:pt x="367" y="645"/>
                </a:lnTo>
                <a:lnTo>
                  <a:pt x="365" y="645"/>
                </a:lnTo>
                <a:lnTo>
                  <a:pt x="363" y="645"/>
                </a:lnTo>
                <a:lnTo>
                  <a:pt x="358" y="642"/>
                </a:lnTo>
                <a:lnTo>
                  <a:pt x="356" y="642"/>
                </a:lnTo>
                <a:lnTo>
                  <a:pt x="356" y="640"/>
                </a:lnTo>
                <a:lnTo>
                  <a:pt x="353" y="640"/>
                </a:lnTo>
                <a:lnTo>
                  <a:pt x="351" y="640"/>
                </a:lnTo>
                <a:lnTo>
                  <a:pt x="346" y="638"/>
                </a:lnTo>
                <a:lnTo>
                  <a:pt x="344" y="635"/>
                </a:lnTo>
                <a:lnTo>
                  <a:pt x="344" y="633"/>
                </a:lnTo>
                <a:lnTo>
                  <a:pt x="342" y="633"/>
                </a:lnTo>
                <a:lnTo>
                  <a:pt x="339" y="633"/>
                </a:lnTo>
                <a:lnTo>
                  <a:pt x="337" y="633"/>
                </a:lnTo>
                <a:lnTo>
                  <a:pt x="332" y="633"/>
                </a:lnTo>
                <a:lnTo>
                  <a:pt x="330" y="633"/>
                </a:lnTo>
                <a:lnTo>
                  <a:pt x="330" y="635"/>
                </a:lnTo>
                <a:lnTo>
                  <a:pt x="328" y="638"/>
                </a:lnTo>
                <a:lnTo>
                  <a:pt x="325" y="638"/>
                </a:lnTo>
                <a:lnTo>
                  <a:pt x="323" y="638"/>
                </a:lnTo>
                <a:lnTo>
                  <a:pt x="323" y="640"/>
                </a:lnTo>
                <a:lnTo>
                  <a:pt x="321" y="640"/>
                </a:lnTo>
                <a:lnTo>
                  <a:pt x="318" y="640"/>
                </a:lnTo>
                <a:lnTo>
                  <a:pt x="316" y="640"/>
                </a:lnTo>
                <a:lnTo>
                  <a:pt x="314" y="640"/>
                </a:lnTo>
                <a:lnTo>
                  <a:pt x="304" y="640"/>
                </a:lnTo>
                <a:lnTo>
                  <a:pt x="300" y="640"/>
                </a:lnTo>
                <a:lnTo>
                  <a:pt x="297" y="640"/>
                </a:lnTo>
                <a:lnTo>
                  <a:pt x="297" y="642"/>
                </a:lnTo>
                <a:lnTo>
                  <a:pt x="297" y="645"/>
                </a:lnTo>
                <a:lnTo>
                  <a:pt x="295" y="645"/>
                </a:lnTo>
                <a:lnTo>
                  <a:pt x="295" y="647"/>
                </a:lnTo>
                <a:lnTo>
                  <a:pt x="293" y="649"/>
                </a:lnTo>
                <a:lnTo>
                  <a:pt x="293" y="652"/>
                </a:lnTo>
                <a:lnTo>
                  <a:pt x="290" y="654"/>
                </a:lnTo>
                <a:lnTo>
                  <a:pt x="288" y="654"/>
                </a:lnTo>
                <a:lnTo>
                  <a:pt x="288" y="656"/>
                </a:lnTo>
                <a:lnTo>
                  <a:pt x="286" y="656"/>
                </a:lnTo>
                <a:lnTo>
                  <a:pt x="286" y="659"/>
                </a:lnTo>
                <a:lnTo>
                  <a:pt x="286" y="661"/>
                </a:lnTo>
                <a:lnTo>
                  <a:pt x="279" y="668"/>
                </a:lnTo>
                <a:lnTo>
                  <a:pt x="276" y="668"/>
                </a:lnTo>
                <a:lnTo>
                  <a:pt x="272" y="670"/>
                </a:lnTo>
                <a:lnTo>
                  <a:pt x="269" y="670"/>
                </a:lnTo>
                <a:lnTo>
                  <a:pt x="258" y="672"/>
                </a:lnTo>
                <a:lnTo>
                  <a:pt x="258" y="675"/>
                </a:lnTo>
                <a:lnTo>
                  <a:pt x="256" y="677"/>
                </a:lnTo>
                <a:lnTo>
                  <a:pt x="256" y="679"/>
                </a:lnTo>
                <a:lnTo>
                  <a:pt x="256" y="677"/>
                </a:lnTo>
                <a:lnTo>
                  <a:pt x="256" y="675"/>
                </a:lnTo>
                <a:lnTo>
                  <a:pt x="253" y="672"/>
                </a:lnTo>
                <a:lnTo>
                  <a:pt x="251" y="672"/>
                </a:lnTo>
                <a:lnTo>
                  <a:pt x="249" y="670"/>
                </a:lnTo>
                <a:lnTo>
                  <a:pt x="249" y="668"/>
                </a:lnTo>
                <a:lnTo>
                  <a:pt x="246" y="668"/>
                </a:lnTo>
                <a:lnTo>
                  <a:pt x="246" y="665"/>
                </a:lnTo>
                <a:lnTo>
                  <a:pt x="244" y="665"/>
                </a:lnTo>
                <a:lnTo>
                  <a:pt x="242" y="665"/>
                </a:lnTo>
                <a:lnTo>
                  <a:pt x="239" y="665"/>
                </a:lnTo>
                <a:lnTo>
                  <a:pt x="239" y="663"/>
                </a:lnTo>
                <a:lnTo>
                  <a:pt x="237" y="663"/>
                </a:lnTo>
                <a:lnTo>
                  <a:pt x="237" y="661"/>
                </a:lnTo>
                <a:lnTo>
                  <a:pt x="237" y="659"/>
                </a:lnTo>
                <a:lnTo>
                  <a:pt x="237" y="656"/>
                </a:lnTo>
                <a:lnTo>
                  <a:pt x="237" y="654"/>
                </a:lnTo>
                <a:lnTo>
                  <a:pt x="237" y="652"/>
                </a:lnTo>
                <a:lnTo>
                  <a:pt x="235" y="652"/>
                </a:lnTo>
                <a:lnTo>
                  <a:pt x="232" y="652"/>
                </a:lnTo>
                <a:lnTo>
                  <a:pt x="230" y="652"/>
                </a:lnTo>
                <a:lnTo>
                  <a:pt x="228" y="652"/>
                </a:lnTo>
                <a:lnTo>
                  <a:pt x="225" y="649"/>
                </a:lnTo>
                <a:lnTo>
                  <a:pt x="223" y="649"/>
                </a:lnTo>
                <a:lnTo>
                  <a:pt x="221" y="647"/>
                </a:lnTo>
                <a:lnTo>
                  <a:pt x="218" y="647"/>
                </a:lnTo>
                <a:lnTo>
                  <a:pt x="218" y="645"/>
                </a:lnTo>
                <a:lnTo>
                  <a:pt x="216" y="645"/>
                </a:lnTo>
                <a:lnTo>
                  <a:pt x="216" y="642"/>
                </a:lnTo>
                <a:lnTo>
                  <a:pt x="214" y="642"/>
                </a:lnTo>
                <a:lnTo>
                  <a:pt x="211" y="642"/>
                </a:lnTo>
                <a:lnTo>
                  <a:pt x="211" y="640"/>
                </a:lnTo>
                <a:lnTo>
                  <a:pt x="209" y="640"/>
                </a:lnTo>
                <a:lnTo>
                  <a:pt x="209" y="638"/>
                </a:lnTo>
                <a:lnTo>
                  <a:pt x="207" y="638"/>
                </a:lnTo>
                <a:lnTo>
                  <a:pt x="204" y="635"/>
                </a:lnTo>
                <a:lnTo>
                  <a:pt x="202" y="635"/>
                </a:lnTo>
                <a:lnTo>
                  <a:pt x="200" y="633"/>
                </a:lnTo>
                <a:lnTo>
                  <a:pt x="200" y="631"/>
                </a:lnTo>
                <a:lnTo>
                  <a:pt x="200" y="626"/>
                </a:lnTo>
                <a:lnTo>
                  <a:pt x="200" y="624"/>
                </a:lnTo>
                <a:lnTo>
                  <a:pt x="200" y="621"/>
                </a:lnTo>
                <a:lnTo>
                  <a:pt x="197" y="621"/>
                </a:lnTo>
                <a:lnTo>
                  <a:pt x="197" y="617"/>
                </a:lnTo>
                <a:lnTo>
                  <a:pt x="197" y="614"/>
                </a:lnTo>
                <a:lnTo>
                  <a:pt x="195" y="610"/>
                </a:lnTo>
                <a:lnTo>
                  <a:pt x="197" y="610"/>
                </a:lnTo>
                <a:lnTo>
                  <a:pt x="197" y="607"/>
                </a:lnTo>
                <a:lnTo>
                  <a:pt x="197" y="605"/>
                </a:lnTo>
                <a:lnTo>
                  <a:pt x="195" y="600"/>
                </a:lnTo>
                <a:lnTo>
                  <a:pt x="195" y="598"/>
                </a:lnTo>
                <a:lnTo>
                  <a:pt x="195" y="596"/>
                </a:lnTo>
                <a:lnTo>
                  <a:pt x="197" y="593"/>
                </a:lnTo>
                <a:lnTo>
                  <a:pt x="202" y="586"/>
                </a:lnTo>
                <a:lnTo>
                  <a:pt x="204" y="584"/>
                </a:lnTo>
                <a:lnTo>
                  <a:pt x="202" y="582"/>
                </a:lnTo>
                <a:lnTo>
                  <a:pt x="204" y="579"/>
                </a:lnTo>
                <a:lnTo>
                  <a:pt x="204" y="572"/>
                </a:lnTo>
                <a:lnTo>
                  <a:pt x="202" y="572"/>
                </a:lnTo>
                <a:lnTo>
                  <a:pt x="200" y="572"/>
                </a:lnTo>
                <a:lnTo>
                  <a:pt x="200" y="575"/>
                </a:lnTo>
                <a:lnTo>
                  <a:pt x="197" y="575"/>
                </a:lnTo>
                <a:lnTo>
                  <a:pt x="193" y="575"/>
                </a:lnTo>
                <a:lnTo>
                  <a:pt x="181" y="575"/>
                </a:lnTo>
                <a:lnTo>
                  <a:pt x="169" y="575"/>
                </a:lnTo>
                <a:lnTo>
                  <a:pt x="158" y="575"/>
                </a:lnTo>
                <a:lnTo>
                  <a:pt x="146" y="572"/>
                </a:lnTo>
                <a:lnTo>
                  <a:pt x="135" y="572"/>
                </a:lnTo>
                <a:lnTo>
                  <a:pt x="123" y="572"/>
                </a:lnTo>
                <a:lnTo>
                  <a:pt x="111" y="572"/>
                </a:lnTo>
                <a:lnTo>
                  <a:pt x="100" y="572"/>
                </a:lnTo>
                <a:lnTo>
                  <a:pt x="95" y="572"/>
                </a:lnTo>
                <a:lnTo>
                  <a:pt x="93" y="570"/>
                </a:lnTo>
                <a:lnTo>
                  <a:pt x="93" y="568"/>
                </a:lnTo>
                <a:lnTo>
                  <a:pt x="90" y="561"/>
                </a:lnTo>
                <a:lnTo>
                  <a:pt x="90" y="554"/>
                </a:lnTo>
                <a:lnTo>
                  <a:pt x="90" y="544"/>
                </a:lnTo>
                <a:lnTo>
                  <a:pt x="88" y="533"/>
                </a:lnTo>
                <a:lnTo>
                  <a:pt x="88" y="523"/>
                </a:lnTo>
                <a:lnTo>
                  <a:pt x="88" y="521"/>
                </a:lnTo>
                <a:lnTo>
                  <a:pt x="88" y="519"/>
                </a:lnTo>
                <a:lnTo>
                  <a:pt x="81" y="512"/>
                </a:lnTo>
                <a:lnTo>
                  <a:pt x="74" y="505"/>
                </a:lnTo>
                <a:lnTo>
                  <a:pt x="69" y="500"/>
                </a:lnTo>
                <a:lnTo>
                  <a:pt x="67" y="498"/>
                </a:lnTo>
                <a:lnTo>
                  <a:pt x="79" y="498"/>
                </a:lnTo>
                <a:lnTo>
                  <a:pt x="86" y="496"/>
                </a:lnTo>
                <a:lnTo>
                  <a:pt x="86" y="491"/>
                </a:lnTo>
                <a:lnTo>
                  <a:pt x="86" y="486"/>
                </a:lnTo>
                <a:lnTo>
                  <a:pt x="86" y="482"/>
                </a:lnTo>
                <a:lnTo>
                  <a:pt x="86" y="477"/>
                </a:lnTo>
                <a:lnTo>
                  <a:pt x="86" y="470"/>
                </a:lnTo>
                <a:lnTo>
                  <a:pt x="86" y="468"/>
                </a:lnTo>
                <a:lnTo>
                  <a:pt x="83" y="465"/>
                </a:lnTo>
                <a:lnTo>
                  <a:pt x="81" y="463"/>
                </a:lnTo>
                <a:lnTo>
                  <a:pt x="81" y="461"/>
                </a:lnTo>
                <a:lnTo>
                  <a:pt x="81" y="458"/>
                </a:lnTo>
                <a:lnTo>
                  <a:pt x="79" y="454"/>
                </a:lnTo>
                <a:lnTo>
                  <a:pt x="79" y="449"/>
                </a:lnTo>
                <a:lnTo>
                  <a:pt x="74" y="447"/>
                </a:lnTo>
                <a:lnTo>
                  <a:pt x="74" y="444"/>
                </a:lnTo>
                <a:lnTo>
                  <a:pt x="74" y="442"/>
                </a:lnTo>
                <a:lnTo>
                  <a:pt x="74" y="440"/>
                </a:lnTo>
                <a:lnTo>
                  <a:pt x="74" y="437"/>
                </a:lnTo>
                <a:lnTo>
                  <a:pt x="74" y="435"/>
                </a:lnTo>
                <a:lnTo>
                  <a:pt x="74" y="433"/>
                </a:lnTo>
                <a:lnTo>
                  <a:pt x="76" y="433"/>
                </a:lnTo>
                <a:lnTo>
                  <a:pt x="76" y="430"/>
                </a:lnTo>
                <a:lnTo>
                  <a:pt x="79" y="428"/>
                </a:lnTo>
                <a:lnTo>
                  <a:pt x="79" y="426"/>
                </a:lnTo>
                <a:lnTo>
                  <a:pt x="76" y="426"/>
                </a:lnTo>
                <a:lnTo>
                  <a:pt x="79" y="423"/>
                </a:lnTo>
                <a:lnTo>
                  <a:pt x="76" y="423"/>
                </a:lnTo>
                <a:lnTo>
                  <a:pt x="76" y="421"/>
                </a:lnTo>
                <a:lnTo>
                  <a:pt x="74" y="421"/>
                </a:lnTo>
                <a:lnTo>
                  <a:pt x="74" y="419"/>
                </a:lnTo>
                <a:lnTo>
                  <a:pt x="74" y="416"/>
                </a:lnTo>
                <a:lnTo>
                  <a:pt x="74" y="414"/>
                </a:lnTo>
                <a:lnTo>
                  <a:pt x="72" y="414"/>
                </a:lnTo>
                <a:lnTo>
                  <a:pt x="67" y="412"/>
                </a:lnTo>
                <a:lnTo>
                  <a:pt x="65" y="412"/>
                </a:lnTo>
                <a:lnTo>
                  <a:pt x="65" y="409"/>
                </a:lnTo>
                <a:lnTo>
                  <a:pt x="62" y="409"/>
                </a:lnTo>
                <a:lnTo>
                  <a:pt x="58" y="405"/>
                </a:lnTo>
                <a:lnTo>
                  <a:pt x="60" y="405"/>
                </a:lnTo>
                <a:lnTo>
                  <a:pt x="62" y="402"/>
                </a:lnTo>
                <a:lnTo>
                  <a:pt x="72" y="395"/>
                </a:lnTo>
                <a:lnTo>
                  <a:pt x="79" y="391"/>
                </a:lnTo>
                <a:lnTo>
                  <a:pt x="79" y="388"/>
                </a:lnTo>
                <a:lnTo>
                  <a:pt x="81" y="386"/>
                </a:lnTo>
                <a:lnTo>
                  <a:pt x="81" y="384"/>
                </a:lnTo>
                <a:lnTo>
                  <a:pt x="81" y="381"/>
                </a:lnTo>
                <a:lnTo>
                  <a:pt x="81" y="379"/>
                </a:lnTo>
                <a:lnTo>
                  <a:pt x="86" y="372"/>
                </a:lnTo>
                <a:lnTo>
                  <a:pt x="86" y="370"/>
                </a:lnTo>
                <a:lnTo>
                  <a:pt x="86" y="368"/>
                </a:lnTo>
                <a:lnTo>
                  <a:pt x="88" y="365"/>
                </a:lnTo>
                <a:lnTo>
                  <a:pt x="90" y="363"/>
                </a:lnTo>
                <a:lnTo>
                  <a:pt x="90" y="361"/>
                </a:lnTo>
                <a:lnTo>
                  <a:pt x="93" y="361"/>
                </a:lnTo>
                <a:lnTo>
                  <a:pt x="97" y="361"/>
                </a:lnTo>
                <a:lnTo>
                  <a:pt x="97" y="358"/>
                </a:lnTo>
                <a:lnTo>
                  <a:pt x="100" y="356"/>
                </a:lnTo>
                <a:lnTo>
                  <a:pt x="100" y="354"/>
                </a:lnTo>
                <a:lnTo>
                  <a:pt x="102" y="354"/>
                </a:lnTo>
                <a:lnTo>
                  <a:pt x="102" y="351"/>
                </a:lnTo>
                <a:lnTo>
                  <a:pt x="102" y="349"/>
                </a:lnTo>
                <a:lnTo>
                  <a:pt x="102" y="347"/>
                </a:lnTo>
                <a:lnTo>
                  <a:pt x="102" y="344"/>
                </a:lnTo>
                <a:lnTo>
                  <a:pt x="104" y="344"/>
                </a:lnTo>
                <a:lnTo>
                  <a:pt x="109" y="340"/>
                </a:lnTo>
                <a:lnTo>
                  <a:pt x="114" y="328"/>
                </a:lnTo>
                <a:lnTo>
                  <a:pt x="114" y="326"/>
                </a:lnTo>
                <a:lnTo>
                  <a:pt x="114" y="323"/>
                </a:lnTo>
                <a:lnTo>
                  <a:pt x="111" y="321"/>
                </a:lnTo>
                <a:lnTo>
                  <a:pt x="111" y="316"/>
                </a:lnTo>
                <a:lnTo>
                  <a:pt x="109" y="316"/>
                </a:lnTo>
                <a:lnTo>
                  <a:pt x="109" y="314"/>
                </a:lnTo>
                <a:lnTo>
                  <a:pt x="109" y="307"/>
                </a:lnTo>
                <a:lnTo>
                  <a:pt x="107" y="302"/>
                </a:lnTo>
                <a:lnTo>
                  <a:pt x="107" y="300"/>
                </a:lnTo>
                <a:lnTo>
                  <a:pt x="104" y="298"/>
                </a:lnTo>
                <a:lnTo>
                  <a:pt x="104" y="293"/>
                </a:lnTo>
                <a:lnTo>
                  <a:pt x="102" y="293"/>
                </a:lnTo>
                <a:lnTo>
                  <a:pt x="100" y="293"/>
                </a:lnTo>
                <a:lnTo>
                  <a:pt x="97" y="291"/>
                </a:lnTo>
                <a:lnTo>
                  <a:pt x="97" y="288"/>
                </a:lnTo>
                <a:lnTo>
                  <a:pt x="97" y="286"/>
                </a:lnTo>
                <a:lnTo>
                  <a:pt x="97" y="284"/>
                </a:lnTo>
                <a:lnTo>
                  <a:pt x="95" y="277"/>
                </a:lnTo>
                <a:lnTo>
                  <a:pt x="97" y="274"/>
                </a:lnTo>
                <a:lnTo>
                  <a:pt x="97" y="272"/>
                </a:lnTo>
                <a:lnTo>
                  <a:pt x="102" y="270"/>
                </a:lnTo>
                <a:lnTo>
                  <a:pt x="102" y="267"/>
                </a:lnTo>
                <a:lnTo>
                  <a:pt x="104" y="267"/>
                </a:lnTo>
                <a:lnTo>
                  <a:pt x="104" y="265"/>
                </a:lnTo>
                <a:lnTo>
                  <a:pt x="104" y="263"/>
                </a:lnTo>
                <a:lnTo>
                  <a:pt x="107" y="263"/>
                </a:lnTo>
                <a:lnTo>
                  <a:pt x="109" y="260"/>
                </a:lnTo>
                <a:lnTo>
                  <a:pt x="109" y="258"/>
                </a:lnTo>
                <a:lnTo>
                  <a:pt x="107" y="253"/>
                </a:lnTo>
                <a:lnTo>
                  <a:pt x="104" y="251"/>
                </a:lnTo>
                <a:lnTo>
                  <a:pt x="104" y="249"/>
                </a:lnTo>
                <a:lnTo>
                  <a:pt x="104" y="244"/>
                </a:lnTo>
                <a:lnTo>
                  <a:pt x="102" y="244"/>
                </a:lnTo>
                <a:lnTo>
                  <a:pt x="100" y="244"/>
                </a:lnTo>
                <a:lnTo>
                  <a:pt x="100" y="242"/>
                </a:lnTo>
                <a:lnTo>
                  <a:pt x="97" y="242"/>
                </a:lnTo>
                <a:lnTo>
                  <a:pt x="95" y="242"/>
                </a:lnTo>
                <a:lnTo>
                  <a:pt x="93" y="242"/>
                </a:lnTo>
                <a:lnTo>
                  <a:pt x="90" y="242"/>
                </a:lnTo>
                <a:lnTo>
                  <a:pt x="88" y="242"/>
                </a:lnTo>
                <a:lnTo>
                  <a:pt x="86" y="239"/>
                </a:lnTo>
                <a:lnTo>
                  <a:pt x="83" y="239"/>
                </a:lnTo>
                <a:lnTo>
                  <a:pt x="81" y="242"/>
                </a:lnTo>
                <a:lnTo>
                  <a:pt x="79" y="242"/>
                </a:lnTo>
                <a:lnTo>
                  <a:pt x="76" y="239"/>
                </a:lnTo>
                <a:lnTo>
                  <a:pt x="74" y="237"/>
                </a:lnTo>
                <a:lnTo>
                  <a:pt x="76" y="237"/>
                </a:lnTo>
                <a:lnTo>
                  <a:pt x="76" y="235"/>
                </a:lnTo>
                <a:lnTo>
                  <a:pt x="74" y="235"/>
                </a:lnTo>
                <a:lnTo>
                  <a:pt x="9" y="235"/>
                </a:lnTo>
                <a:lnTo>
                  <a:pt x="6" y="235"/>
                </a:lnTo>
                <a:lnTo>
                  <a:pt x="6" y="232"/>
                </a:lnTo>
                <a:lnTo>
                  <a:pt x="6" y="228"/>
                </a:lnTo>
                <a:lnTo>
                  <a:pt x="6" y="226"/>
                </a:lnTo>
                <a:lnTo>
                  <a:pt x="6" y="223"/>
                </a:lnTo>
                <a:lnTo>
                  <a:pt x="6" y="221"/>
                </a:lnTo>
                <a:lnTo>
                  <a:pt x="9" y="221"/>
                </a:lnTo>
                <a:lnTo>
                  <a:pt x="9" y="219"/>
                </a:lnTo>
                <a:lnTo>
                  <a:pt x="9" y="216"/>
                </a:lnTo>
                <a:lnTo>
                  <a:pt x="6" y="216"/>
                </a:lnTo>
                <a:lnTo>
                  <a:pt x="6" y="214"/>
                </a:lnTo>
                <a:lnTo>
                  <a:pt x="9" y="212"/>
                </a:lnTo>
                <a:lnTo>
                  <a:pt x="9" y="207"/>
                </a:lnTo>
                <a:lnTo>
                  <a:pt x="9" y="205"/>
                </a:lnTo>
                <a:lnTo>
                  <a:pt x="9" y="200"/>
                </a:lnTo>
                <a:lnTo>
                  <a:pt x="9" y="198"/>
                </a:lnTo>
                <a:lnTo>
                  <a:pt x="6" y="195"/>
                </a:lnTo>
                <a:lnTo>
                  <a:pt x="4" y="188"/>
                </a:lnTo>
                <a:lnTo>
                  <a:pt x="2" y="188"/>
                </a:lnTo>
                <a:lnTo>
                  <a:pt x="2" y="186"/>
                </a:lnTo>
                <a:lnTo>
                  <a:pt x="4" y="184"/>
                </a:lnTo>
                <a:lnTo>
                  <a:pt x="4" y="181"/>
                </a:lnTo>
                <a:lnTo>
                  <a:pt x="2" y="181"/>
                </a:lnTo>
                <a:lnTo>
                  <a:pt x="2" y="179"/>
                </a:lnTo>
                <a:lnTo>
                  <a:pt x="2" y="177"/>
                </a:lnTo>
                <a:lnTo>
                  <a:pt x="2" y="174"/>
                </a:lnTo>
                <a:lnTo>
                  <a:pt x="4" y="174"/>
                </a:lnTo>
                <a:lnTo>
                  <a:pt x="4" y="172"/>
                </a:lnTo>
                <a:lnTo>
                  <a:pt x="4" y="170"/>
                </a:lnTo>
                <a:lnTo>
                  <a:pt x="4" y="167"/>
                </a:lnTo>
                <a:lnTo>
                  <a:pt x="4" y="165"/>
                </a:lnTo>
                <a:lnTo>
                  <a:pt x="6" y="165"/>
                </a:lnTo>
                <a:lnTo>
                  <a:pt x="6" y="163"/>
                </a:lnTo>
                <a:lnTo>
                  <a:pt x="4" y="160"/>
                </a:lnTo>
                <a:lnTo>
                  <a:pt x="4" y="158"/>
                </a:lnTo>
                <a:lnTo>
                  <a:pt x="4" y="156"/>
                </a:lnTo>
                <a:lnTo>
                  <a:pt x="2" y="153"/>
                </a:lnTo>
                <a:lnTo>
                  <a:pt x="4" y="153"/>
                </a:lnTo>
                <a:lnTo>
                  <a:pt x="6" y="153"/>
                </a:lnTo>
                <a:lnTo>
                  <a:pt x="6" y="151"/>
                </a:lnTo>
                <a:lnTo>
                  <a:pt x="6" y="149"/>
                </a:lnTo>
                <a:lnTo>
                  <a:pt x="9" y="149"/>
                </a:lnTo>
                <a:lnTo>
                  <a:pt x="9" y="146"/>
                </a:lnTo>
                <a:lnTo>
                  <a:pt x="6" y="146"/>
                </a:lnTo>
                <a:lnTo>
                  <a:pt x="6" y="144"/>
                </a:lnTo>
                <a:lnTo>
                  <a:pt x="4" y="144"/>
                </a:lnTo>
                <a:lnTo>
                  <a:pt x="4" y="137"/>
                </a:lnTo>
                <a:lnTo>
                  <a:pt x="4" y="135"/>
                </a:lnTo>
                <a:lnTo>
                  <a:pt x="4" y="132"/>
                </a:lnTo>
                <a:lnTo>
                  <a:pt x="2" y="132"/>
                </a:lnTo>
                <a:lnTo>
                  <a:pt x="2" y="130"/>
                </a:lnTo>
                <a:lnTo>
                  <a:pt x="0" y="130"/>
                </a:lnTo>
                <a:lnTo>
                  <a:pt x="0" y="128"/>
                </a:lnTo>
                <a:lnTo>
                  <a:pt x="0" y="125"/>
                </a:lnTo>
                <a:lnTo>
                  <a:pt x="0" y="123"/>
                </a:lnTo>
                <a:lnTo>
                  <a:pt x="2" y="123"/>
                </a:lnTo>
                <a:lnTo>
                  <a:pt x="2" y="121"/>
                </a:lnTo>
                <a:lnTo>
                  <a:pt x="4" y="121"/>
                </a:lnTo>
                <a:lnTo>
                  <a:pt x="4" y="118"/>
                </a:lnTo>
                <a:lnTo>
                  <a:pt x="2" y="116"/>
                </a:lnTo>
                <a:lnTo>
                  <a:pt x="2" y="114"/>
                </a:lnTo>
                <a:lnTo>
                  <a:pt x="2" y="111"/>
                </a:lnTo>
                <a:lnTo>
                  <a:pt x="4" y="107"/>
                </a:lnTo>
                <a:lnTo>
                  <a:pt x="6" y="102"/>
                </a:lnTo>
                <a:lnTo>
                  <a:pt x="6" y="100"/>
                </a:lnTo>
                <a:lnTo>
                  <a:pt x="6" y="97"/>
                </a:lnTo>
                <a:lnTo>
                  <a:pt x="4" y="95"/>
                </a:lnTo>
                <a:lnTo>
                  <a:pt x="2" y="93"/>
                </a:lnTo>
                <a:lnTo>
                  <a:pt x="0" y="93"/>
                </a:lnTo>
                <a:lnTo>
                  <a:pt x="197" y="90"/>
                </a:lnTo>
                <a:lnTo>
                  <a:pt x="200" y="88"/>
                </a:lnTo>
                <a:lnTo>
                  <a:pt x="202" y="88"/>
                </a:lnTo>
                <a:lnTo>
                  <a:pt x="202" y="86"/>
                </a:lnTo>
                <a:lnTo>
                  <a:pt x="202" y="81"/>
                </a:lnTo>
                <a:lnTo>
                  <a:pt x="204" y="81"/>
                </a:lnTo>
                <a:lnTo>
                  <a:pt x="204" y="79"/>
                </a:lnTo>
                <a:lnTo>
                  <a:pt x="204" y="77"/>
                </a:lnTo>
                <a:lnTo>
                  <a:pt x="204" y="74"/>
                </a:lnTo>
                <a:lnTo>
                  <a:pt x="204" y="70"/>
                </a:lnTo>
                <a:lnTo>
                  <a:pt x="204" y="67"/>
                </a:lnTo>
                <a:lnTo>
                  <a:pt x="207" y="67"/>
                </a:lnTo>
                <a:lnTo>
                  <a:pt x="207" y="65"/>
                </a:lnTo>
                <a:lnTo>
                  <a:pt x="209" y="63"/>
                </a:lnTo>
                <a:lnTo>
                  <a:pt x="209" y="60"/>
                </a:lnTo>
                <a:lnTo>
                  <a:pt x="211" y="58"/>
                </a:lnTo>
                <a:lnTo>
                  <a:pt x="211" y="56"/>
                </a:lnTo>
                <a:lnTo>
                  <a:pt x="214" y="49"/>
                </a:lnTo>
                <a:lnTo>
                  <a:pt x="214" y="46"/>
                </a:lnTo>
                <a:lnTo>
                  <a:pt x="211" y="42"/>
                </a:lnTo>
                <a:lnTo>
                  <a:pt x="211" y="39"/>
                </a:lnTo>
                <a:lnTo>
                  <a:pt x="209" y="37"/>
                </a:lnTo>
                <a:lnTo>
                  <a:pt x="209" y="35"/>
                </a:lnTo>
                <a:lnTo>
                  <a:pt x="209" y="32"/>
                </a:lnTo>
                <a:lnTo>
                  <a:pt x="209" y="30"/>
                </a:lnTo>
                <a:lnTo>
                  <a:pt x="209" y="28"/>
                </a:lnTo>
                <a:lnTo>
                  <a:pt x="211" y="25"/>
                </a:lnTo>
                <a:lnTo>
                  <a:pt x="214" y="25"/>
                </a:lnTo>
                <a:lnTo>
                  <a:pt x="216" y="21"/>
                </a:lnTo>
                <a:lnTo>
                  <a:pt x="218" y="18"/>
                </a:lnTo>
                <a:lnTo>
                  <a:pt x="218" y="16"/>
                </a:lnTo>
                <a:lnTo>
                  <a:pt x="221" y="14"/>
                </a:lnTo>
                <a:lnTo>
                  <a:pt x="218" y="11"/>
                </a:lnTo>
                <a:lnTo>
                  <a:pt x="218" y="9"/>
                </a:lnTo>
                <a:lnTo>
                  <a:pt x="218" y="7"/>
                </a:lnTo>
                <a:lnTo>
                  <a:pt x="218" y="4"/>
                </a:lnTo>
                <a:lnTo>
                  <a:pt x="221" y="4"/>
                </a:lnTo>
                <a:lnTo>
                  <a:pt x="221" y="2"/>
                </a:lnTo>
                <a:lnTo>
                  <a:pt x="223" y="2"/>
                </a:lnTo>
                <a:lnTo>
                  <a:pt x="223" y="0"/>
                </a:lnTo>
                <a:lnTo>
                  <a:pt x="225" y="0"/>
                </a:lnTo>
                <a:lnTo>
                  <a:pt x="230" y="4"/>
                </a:lnTo>
                <a:lnTo>
                  <a:pt x="235" y="11"/>
                </a:lnTo>
                <a:lnTo>
                  <a:pt x="235" y="14"/>
                </a:lnTo>
                <a:lnTo>
                  <a:pt x="237" y="18"/>
                </a:lnTo>
                <a:lnTo>
                  <a:pt x="239" y="21"/>
                </a:lnTo>
                <a:lnTo>
                  <a:pt x="239" y="23"/>
                </a:lnTo>
                <a:lnTo>
                  <a:pt x="242" y="28"/>
                </a:lnTo>
                <a:lnTo>
                  <a:pt x="242" y="30"/>
                </a:lnTo>
                <a:lnTo>
                  <a:pt x="244" y="35"/>
                </a:lnTo>
                <a:lnTo>
                  <a:pt x="244" y="37"/>
                </a:lnTo>
                <a:lnTo>
                  <a:pt x="244" y="39"/>
                </a:lnTo>
                <a:lnTo>
                  <a:pt x="246" y="42"/>
                </a:lnTo>
                <a:lnTo>
                  <a:pt x="246" y="44"/>
                </a:lnTo>
                <a:lnTo>
                  <a:pt x="246" y="46"/>
                </a:lnTo>
                <a:lnTo>
                  <a:pt x="251" y="49"/>
                </a:lnTo>
                <a:lnTo>
                  <a:pt x="251" y="51"/>
                </a:lnTo>
                <a:lnTo>
                  <a:pt x="251" y="53"/>
                </a:lnTo>
                <a:lnTo>
                  <a:pt x="256" y="56"/>
                </a:lnTo>
                <a:lnTo>
                  <a:pt x="256" y="58"/>
                </a:lnTo>
                <a:lnTo>
                  <a:pt x="256" y="60"/>
                </a:lnTo>
                <a:lnTo>
                  <a:pt x="256" y="63"/>
                </a:lnTo>
                <a:lnTo>
                  <a:pt x="253" y="63"/>
                </a:lnTo>
                <a:lnTo>
                  <a:pt x="253" y="65"/>
                </a:lnTo>
                <a:lnTo>
                  <a:pt x="253" y="67"/>
                </a:lnTo>
                <a:lnTo>
                  <a:pt x="253" y="70"/>
                </a:lnTo>
                <a:lnTo>
                  <a:pt x="253" y="72"/>
                </a:lnTo>
                <a:lnTo>
                  <a:pt x="256" y="74"/>
                </a:lnTo>
                <a:lnTo>
                  <a:pt x="256" y="77"/>
                </a:lnTo>
                <a:lnTo>
                  <a:pt x="256" y="79"/>
                </a:lnTo>
                <a:lnTo>
                  <a:pt x="256" y="81"/>
                </a:lnTo>
                <a:lnTo>
                  <a:pt x="256" y="84"/>
                </a:lnTo>
                <a:lnTo>
                  <a:pt x="258" y="84"/>
                </a:lnTo>
                <a:lnTo>
                  <a:pt x="258" y="86"/>
                </a:lnTo>
                <a:lnTo>
                  <a:pt x="258" y="88"/>
                </a:lnTo>
                <a:lnTo>
                  <a:pt x="258" y="90"/>
                </a:lnTo>
                <a:lnTo>
                  <a:pt x="260" y="90"/>
                </a:lnTo>
                <a:lnTo>
                  <a:pt x="263" y="93"/>
                </a:lnTo>
                <a:lnTo>
                  <a:pt x="265" y="93"/>
                </a:lnTo>
                <a:lnTo>
                  <a:pt x="265" y="95"/>
                </a:lnTo>
                <a:lnTo>
                  <a:pt x="267" y="95"/>
                </a:lnTo>
                <a:lnTo>
                  <a:pt x="269" y="97"/>
                </a:lnTo>
                <a:lnTo>
                  <a:pt x="272" y="100"/>
                </a:lnTo>
                <a:lnTo>
                  <a:pt x="272" y="102"/>
                </a:lnTo>
                <a:lnTo>
                  <a:pt x="274" y="102"/>
                </a:lnTo>
                <a:lnTo>
                  <a:pt x="276" y="104"/>
                </a:lnTo>
                <a:lnTo>
                  <a:pt x="281" y="107"/>
                </a:lnTo>
                <a:lnTo>
                  <a:pt x="283" y="109"/>
                </a:lnTo>
                <a:lnTo>
                  <a:pt x="286" y="109"/>
                </a:lnTo>
                <a:lnTo>
                  <a:pt x="290" y="111"/>
                </a:lnTo>
                <a:lnTo>
                  <a:pt x="290" y="114"/>
                </a:lnTo>
                <a:lnTo>
                  <a:pt x="290" y="116"/>
                </a:lnTo>
                <a:lnTo>
                  <a:pt x="290" y="121"/>
                </a:lnTo>
                <a:lnTo>
                  <a:pt x="293" y="123"/>
                </a:lnTo>
                <a:lnTo>
                  <a:pt x="295" y="123"/>
                </a:lnTo>
                <a:lnTo>
                  <a:pt x="297" y="123"/>
                </a:lnTo>
                <a:lnTo>
                  <a:pt x="300" y="123"/>
                </a:lnTo>
                <a:lnTo>
                  <a:pt x="304" y="125"/>
                </a:lnTo>
                <a:lnTo>
                  <a:pt x="307" y="125"/>
                </a:lnTo>
                <a:lnTo>
                  <a:pt x="307" y="128"/>
                </a:lnTo>
                <a:lnTo>
                  <a:pt x="309" y="130"/>
                </a:lnTo>
                <a:lnTo>
                  <a:pt x="309" y="132"/>
                </a:lnTo>
                <a:lnTo>
                  <a:pt x="309" y="135"/>
                </a:lnTo>
                <a:lnTo>
                  <a:pt x="311" y="135"/>
                </a:lnTo>
                <a:lnTo>
                  <a:pt x="314" y="135"/>
                </a:lnTo>
                <a:lnTo>
                  <a:pt x="314" y="132"/>
                </a:lnTo>
                <a:lnTo>
                  <a:pt x="316" y="132"/>
                </a:lnTo>
                <a:lnTo>
                  <a:pt x="318" y="135"/>
                </a:lnTo>
                <a:lnTo>
                  <a:pt x="321" y="135"/>
                </a:lnTo>
                <a:lnTo>
                  <a:pt x="323" y="135"/>
                </a:lnTo>
                <a:lnTo>
                  <a:pt x="325" y="137"/>
                </a:lnTo>
                <a:lnTo>
                  <a:pt x="328" y="139"/>
                </a:lnTo>
                <a:lnTo>
                  <a:pt x="330" y="139"/>
                </a:lnTo>
                <a:lnTo>
                  <a:pt x="418" y="149"/>
                </a:lnTo>
                <a:lnTo>
                  <a:pt x="660" y="174"/>
                </a:lnTo>
                <a:lnTo>
                  <a:pt x="667" y="174"/>
                </a:lnTo>
                <a:lnTo>
                  <a:pt x="728" y="181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>
              <a:solidFill>
                <a:schemeClr val="accent4"/>
              </a:solidFill>
            </a:endParaRPr>
          </a:p>
        </p:txBody>
      </p:sp>
      <p:sp>
        <p:nvSpPr>
          <p:cNvPr id="141" name="Freeform 18">
            <a:extLst>
              <a:ext uri="{FF2B5EF4-FFF2-40B4-BE49-F238E27FC236}">
                <a16:creationId xmlns:a16="http://schemas.microsoft.com/office/drawing/2014/main" id="{2A3A623E-0F34-556B-D623-44A2B3FD89F6}"/>
              </a:ext>
            </a:extLst>
          </p:cNvPr>
          <p:cNvSpPr>
            <a:spLocks/>
          </p:cNvSpPr>
          <p:nvPr/>
        </p:nvSpPr>
        <p:spPr bwMode="auto">
          <a:xfrm>
            <a:off x="2740801" y="5052534"/>
            <a:ext cx="517252" cy="473485"/>
          </a:xfrm>
          <a:custGeom>
            <a:avLst/>
            <a:gdLst>
              <a:gd name="T0" fmla="*/ 365 w 439"/>
              <a:gd name="T1" fmla="*/ 270 h 421"/>
              <a:gd name="T2" fmla="*/ 300 w 439"/>
              <a:gd name="T3" fmla="*/ 312 h 421"/>
              <a:gd name="T4" fmla="*/ 325 w 439"/>
              <a:gd name="T5" fmla="*/ 293 h 421"/>
              <a:gd name="T6" fmla="*/ 339 w 439"/>
              <a:gd name="T7" fmla="*/ 286 h 421"/>
              <a:gd name="T8" fmla="*/ 358 w 439"/>
              <a:gd name="T9" fmla="*/ 261 h 421"/>
              <a:gd name="T10" fmla="*/ 372 w 439"/>
              <a:gd name="T11" fmla="*/ 245 h 421"/>
              <a:gd name="T12" fmla="*/ 381 w 439"/>
              <a:gd name="T13" fmla="*/ 221 h 421"/>
              <a:gd name="T14" fmla="*/ 379 w 439"/>
              <a:gd name="T15" fmla="*/ 210 h 421"/>
              <a:gd name="T16" fmla="*/ 358 w 439"/>
              <a:gd name="T17" fmla="*/ 214 h 421"/>
              <a:gd name="T18" fmla="*/ 349 w 439"/>
              <a:gd name="T19" fmla="*/ 200 h 421"/>
              <a:gd name="T20" fmla="*/ 346 w 439"/>
              <a:gd name="T21" fmla="*/ 207 h 421"/>
              <a:gd name="T22" fmla="*/ 344 w 439"/>
              <a:gd name="T23" fmla="*/ 226 h 421"/>
              <a:gd name="T24" fmla="*/ 339 w 439"/>
              <a:gd name="T25" fmla="*/ 240 h 421"/>
              <a:gd name="T26" fmla="*/ 323 w 439"/>
              <a:gd name="T27" fmla="*/ 263 h 421"/>
              <a:gd name="T28" fmla="*/ 304 w 439"/>
              <a:gd name="T29" fmla="*/ 272 h 421"/>
              <a:gd name="T30" fmla="*/ 297 w 439"/>
              <a:gd name="T31" fmla="*/ 286 h 421"/>
              <a:gd name="T32" fmla="*/ 290 w 439"/>
              <a:gd name="T33" fmla="*/ 310 h 421"/>
              <a:gd name="T34" fmla="*/ 295 w 439"/>
              <a:gd name="T35" fmla="*/ 317 h 421"/>
              <a:gd name="T36" fmla="*/ 274 w 439"/>
              <a:gd name="T37" fmla="*/ 359 h 421"/>
              <a:gd name="T38" fmla="*/ 214 w 439"/>
              <a:gd name="T39" fmla="*/ 419 h 421"/>
              <a:gd name="T40" fmla="*/ 221 w 439"/>
              <a:gd name="T41" fmla="*/ 387 h 421"/>
              <a:gd name="T42" fmla="*/ 235 w 439"/>
              <a:gd name="T43" fmla="*/ 368 h 421"/>
              <a:gd name="T44" fmla="*/ 258 w 439"/>
              <a:gd name="T45" fmla="*/ 368 h 421"/>
              <a:gd name="T46" fmla="*/ 263 w 439"/>
              <a:gd name="T47" fmla="*/ 328 h 421"/>
              <a:gd name="T48" fmla="*/ 246 w 439"/>
              <a:gd name="T49" fmla="*/ 345 h 421"/>
              <a:gd name="T50" fmla="*/ 218 w 439"/>
              <a:gd name="T51" fmla="*/ 342 h 421"/>
              <a:gd name="T52" fmla="*/ 200 w 439"/>
              <a:gd name="T53" fmla="*/ 312 h 421"/>
              <a:gd name="T54" fmla="*/ 172 w 439"/>
              <a:gd name="T55" fmla="*/ 293 h 421"/>
              <a:gd name="T56" fmla="*/ 146 w 439"/>
              <a:gd name="T57" fmla="*/ 268 h 421"/>
              <a:gd name="T58" fmla="*/ 125 w 439"/>
              <a:gd name="T59" fmla="*/ 256 h 421"/>
              <a:gd name="T60" fmla="*/ 104 w 439"/>
              <a:gd name="T61" fmla="*/ 238 h 421"/>
              <a:gd name="T62" fmla="*/ 86 w 439"/>
              <a:gd name="T63" fmla="*/ 235 h 421"/>
              <a:gd name="T64" fmla="*/ 65 w 439"/>
              <a:gd name="T65" fmla="*/ 205 h 421"/>
              <a:gd name="T66" fmla="*/ 41 w 439"/>
              <a:gd name="T67" fmla="*/ 184 h 421"/>
              <a:gd name="T68" fmla="*/ 21 w 439"/>
              <a:gd name="T69" fmla="*/ 196 h 421"/>
              <a:gd name="T70" fmla="*/ 11 w 439"/>
              <a:gd name="T71" fmla="*/ 179 h 421"/>
              <a:gd name="T72" fmla="*/ 37 w 439"/>
              <a:gd name="T73" fmla="*/ 151 h 421"/>
              <a:gd name="T74" fmla="*/ 58 w 439"/>
              <a:gd name="T75" fmla="*/ 123 h 421"/>
              <a:gd name="T76" fmla="*/ 90 w 439"/>
              <a:gd name="T77" fmla="*/ 89 h 421"/>
              <a:gd name="T78" fmla="*/ 107 w 439"/>
              <a:gd name="T79" fmla="*/ 79 h 421"/>
              <a:gd name="T80" fmla="*/ 116 w 439"/>
              <a:gd name="T81" fmla="*/ 61 h 421"/>
              <a:gd name="T82" fmla="*/ 135 w 439"/>
              <a:gd name="T83" fmla="*/ 47 h 421"/>
              <a:gd name="T84" fmla="*/ 153 w 439"/>
              <a:gd name="T85" fmla="*/ 40 h 421"/>
              <a:gd name="T86" fmla="*/ 167 w 439"/>
              <a:gd name="T87" fmla="*/ 26 h 421"/>
              <a:gd name="T88" fmla="*/ 186 w 439"/>
              <a:gd name="T89" fmla="*/ 19 h 421"/>
              <a:gd name="T90" fmla="*/ 207 w 439"/>
              <a:gd name="T91" fmla="*/ 5 h 421"/>
              <a:gd name="T92" fmla="*/ 228 w 439"/>
              <a:gd name="T93" fmla="*/ 7 h 421"/>
              <a:gd name="T94" fmla="*/ 244 w 439"/>
              <a:gd name="T95" fmla="*/ 9 h 421"/>
              <a:gd name="T96" fmla="*/ 263 w 439"/>
              <a:gd name="T97" fmla="*/ 7 h 421"/>
              <a:gd name="T98" fmla="*/ 274 w 439"/>
              <a:gd name="T99" fmla="*/ 12 h 421"/>
              <a:gd name="T100" fmla="*/ 295 w 439"/>
              <a:gd name="T101" fmla="*/ 14 h 421"/>
              <a:gd name="T102" fmla="*/ 309 w 439"/>
              <a:gd name="T103" fmla="*/ 19 h 421"/>
              <a:gd name="T104" fmla="*/ 321 w 439"/>
              <a:gd name="T105" fmla="*/ 28 h 421"/>
              <a:gd name="T106" fmla="*/ 339 w 439"/>
              <a:gd name="T107" fmla="*/ 35 h 421"/>
              <a:gd name="T108" fmla="*/ 358 w 439"/>
              <a:gd name="T109" fmla="*/ 49 h 421"/>
              <a:gd name="T110" fmla="*/ 377 w 439"/>
              <a:gd name="T111" fmla="*/ 70 h 421"/>
              <a:gd name="T112" fmla="*/ 400 w 439"/>
              <a:gd name="T113" fmla="*/ 96 h 421"/>
              <a:gd name="T114" fmla="*/ 423 w 439"/>
              <a:gd name="T115" fmla="*/ 98 h 421"/>
              <a:gd name="T116" fmla="*/ 437 w 439"/>
              <a:gd name="T117" fmla="*/ 110 h 421"/>
              <a:gd name="T118" fmla="*/ 421 w 439"/>
              <a:gd name="T119" fmla="*/ 137 h 421"/>
              <a:gd name="T120" fmla="*/ 418 w 439"/>
              <a:gd name="T121" fmla="*/ 151 h 4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9" h="421">
                <a:moveTo>
                  <a:pt x="437" y="154"/>
                </a:moveTo>
                <a:lnTo>
                  <a:pt x="430" y="161"/>
                </a:lnTo>
                <a:lnTo>
                  <a:pt x="428" y="168"/>
                </a:lnTo>
                <a:lnTo>
                  <a:pt x="423" y="172"/>
                </a:lnTo>
                <a:lnTo>
                  <a:pt x="418" y="182"/>
                </a:lnTo>
                <a:lnTo>
                  <a:pt x="416" y="184"/>
                </a:lnTo>
                <a:lnTo>
                  <a:pt x="405" y="207"/>
                </a:lnTo>
                <a:lnTo>
                  <a:pt x="402" y="214"/>
                </a:lnTo>
                <a:lnTo>
                  <a:pt x="398" y="224"/>
                </a:lnTo>
                <a:lnTo>
                  <a:pt x="381" y="247"/>
                </a:lnTo>
                <a:lnTo>
                  <a:pt x="381" y="249"/>
                </a:lnTo>
                <a:lnTo>
                  <a:pt x="374" y="259"/>
                </a:lnTo>
                <a:lnTo>
                  <a:pt x="367" y="265"/>
                </a:lnTo>
                <a:lnTo>
                  <a:pt x="365" y="270"/>
                </a:lnTo>
                <a:lnTo>
                  <a:pt x="356" y="279"/>
                </a:lnTo>
                <a:lnTo>
                  <a:pt x="349" y="284"/>
                </a:lnTo>
                <a:lnTo>
                  <a:pt x="339" y="293"/>
                </a:lnTo>
                <a:lnTo>
                  <a:pt x="325" y="303"/>
                </a:lnTo>
                <a:lnTo>
                  <a:pt x="309" y="312"/>
                </a:lnTo>
                <a:lnTo>
                  <a:pt x="307" y="312"/>
                </a:lnTo>
                <a:lnTo>
                  <a:pt x="297" y="321"/>
                </a:lnTo>
                <a:lnTo>
                  <a:pt x="295" y="326"/>
                </a:lnTo>
                <a:lnTo>
                  <a:pt x="295" y="324"/>
                </a:lnTo>
                <a:lnTo>
                  <a:pt x="297" y="321"/>
                </a:lnTo>
                <a:lnTo>
                  <a:pt x="297" y="319"/>
                </a:lnTo>
                <a:lnTo>
                  <a:pt x="297" y="317"/>
                </a:lnTo>
                <a:lnTo>
                  <a:pt x="297" y="314"/>
                </a:lnTo>
                <a:lnTo>
                  <a:pt x="300" y="312"/>
                </a:lnTo>
                <a:lnTo>
                  <a:pt x="300" y="310"/>
                </a:lnTo>
                <a:lnTo>
                  <a:pt x="295" y="305"/>
                </a:lnTo>
                <a:lnTo>
                  <a:pt x="297" y="303"/>
                </a:lnTo>
                <a:lnTo>
                  <a:pt x="300" y="305"/>
                </a:lnTo>
                <a:lnTo>
                  <a:pt x="304" y="307"/>
                </a:lnTo>
                <a:lnTo>
                  <a:pt x="307" y="307"/>
                </a:lnTo>
                <a:lnTo>
                  <a:pt x="309" y="307"/>
                </a:lnTo>
                <a:lnTo>
                  <a:pt x="311" y="305"/>
                </a:lnTo>
                <a:lnTo>
                  <a:pt x="309" y="303"/>
                </a:lnTo>
                <a:lnTo>
                  <a:pt x="314" y="303"/>
                </a:lnTo>
                <a:lnTo>
                  <a:pt x="316" y="303"/>
                </a:lnTo>
                <a:lnTo>
                  <a:pt x="318" y="303"/>
                </a:lnTo>
                <a:lnTo>
                  <a:pt x="325" y="296"/>
                </a:lnTo>
                <a:lnTo>
                  <a:pt x="325" y="293"/>
                </a:lnTo>
                <a:lnTo>
                  <a:pt x="328" y="293"/>
                </a:lnTo>
                <a:lnTo>
                  <a:pt x="328" y="291"/>
                </a:lnTo>
                <a:lnTo>
                  <a:pt x="330" y="289"/>
                </a:lnTo>
                <a:lnTo>
                  <a:pt x="330" y="291"/>
                </a:lnTo>
                <a:lnTo>
                  <a:pt x="330" y="293"/>
                </a:lnTo>
                <a:lnTo>
                  <a:pt x="332" y="293"/>
                </a:lnTo>
                <a:lnTo>
                  <a:pt x="332" y="291"/>
                </a:lnTo>
                <a:lnTo>
                  <a:pt x="330" y="289"/>
                </a:lnTo>
                <a:lnTo>
                  <a:pt x="332" y="289"/>
                </a:lnTo>
                <a:lnTo>
                  <a:pt x="332" y="286"/>
                </a:lnTo>
                <a:lnTo>
                  <a:pt x="332" y="284"/>
                </a:lnTo>
                <a:lnTo>
                  <a:pt x="335" y="284"/>
                </a:lnTo>
                <a:lnTo>
                  <a:pt x="335" y="286"/>
                </a:lnTo>
                <a:lnTo>
                  <a:pt x="339" y="286"/>
                </a:lnTo>
                <a:lnTo>
                  <a:pt x="342" y="284"/>
                </a:lnTo>
                <a:lnTo>
                  <a:pt x="344" y="284"/>
                </a:lnTo>
                <a:lnTo>
                  <a:pt x="346" y="282"/>
                </a:lnTo>
                <a:lnTo>
                  <a:pt x="346" y="277"/>
                </a:lnTo>
                <a:lnTo>
                  <a:pt x="349" y="272"/>
                </a:lnTo>
                <a:lnTo>
                  <a:pt x="349" y="268"/>
                </a:lnTo>
                <a:lnTo>
                  <a:pt x="349" y="263"/>
                </a:lnTo>
                <a:lnTo>
                  <a:pt x="349" y="261"/>
                </a:lnTo>
                <a:lnTo>
                  <a:pt x="349" y="259"/>
                </a:lnTo>
                <a:lnTo>
                  <a:pt x="351" y="259"/>
                </a:lnTo>
                <a:lnTo>
                  <a:pt x="353" y="261"/>
                </a:lnTo>
                <a:lnTo>
                  <a:pt x="356" y="259"/>
                </a:lnTo>
                <a:lnTo>
                  <a:pt x="358" y="259"/>
                </a:lnTo>
                <a:lnTo>
                  <a:pt x="358" y="261"/>
                </a:lnTo>
                <a:lnTo>
                  <a:pt x="358" y="263"/>
                </a:lnTo>
                <a:lnTo>
                  <a:pt x="360" y="263"/>
                </a:lnTo>
                <a:lnTo>
                  <a:pt x="360" y="261"/>
                </a:lnTo>
                <a:lnTo>
                  <a:pt x="363" y="261"/>
                </a:lnTo>
                <a:lnTo>
                  <a:pt x="360" y="261"/>
                </a:lnTo>
                <a:lnTo>
                  <a:pt x="358" y="259"/>
                </a:lnTo>
                <a:lnTo>
                  <a:pt x="360" y="256"/>
                </a:lnTo>
                <a:lnTo>
                  <a:pt x="360" y="254"/>
                </a:lnTo>
                <a:lnTo>
                  <a:pt x="360" y="252"/>
                </a:lnTo>
                <a:lnTo>
                  <a:pt x="360" y="249"/>
                </a:lnTo>
                <a:lnTo>
                  <a:pt x="363" y="249"/>
                </a:lnTo>
                <a:lnTo>
                  <a:pt x="365" y="249"/>
                </a:lnTo>
                <a:lnTo>
                  <a:pt x="370" y="245"/>
                </a:lnTo>
                <a:lnTo>
                  <a:pt x="372" y="245"/>
                </a:lnTo>
                <a:lnTo>
                  <a:pt x="374" y="245"/>
                </a:lnTo>
                <a:lnTo>
                  <a:pt x="374" y="242"/>
                </a:lnTo>
                <a:lnTo>
                  <a:pt x="377" y="240"/>
                </a:lnTo>
                <a:lnTo>
                  <a:pt x="377" y="233"/>
                </a:lnTo>
                <a:lnTo>
                  <a:pt x="377" y="224"/>
                </a:lnTo>
                <a:lnTo>
                  <a:pt x="377" y="221"/>
                </a:lnTo>
                <a:lnTo>
                  <a:pt x="377" y="219"/>
                </a:lnTo>
                <a:lnTo>
                  <a:pt x="377" y="217"/>
                </a:lnTo>
                <a:lnTo>
                  <a:pt x="377" y="214"/>
                </a:lnTo>
                <a:lnTo>
                  <a:pt x="379" y="217"/>
                </a:lnTo>
                <a:lnTo>
                  <a:pt x="381" y="219"/>
                </a:lnTo>
                <a:lnTo>
                  <a:pt x="379" y="219"/>
                </a:lnTo>
                <a:lnTo>
                  <a:pt x="379" y="221"/>
                </a:lnTo>
                <a:lnTo>
                  <a:pt x="381" y="221"/>
                </a:lnTo>
                <a:lnTo>
                  <a:pt x="381" y="224"/>
                </a:lnTo>
                <a:lnTo>
                  <a:pt x="384" y="224"/>
                </a:lnTo>
                <a:lnTo>
                  <a:pt x="384" y="221"/>
                </a:lnTo>
                <a:lnTo>
                  <a:pt x="384" y="219"/>
                </a:lnTo>
                <a:lnTo>
                  <a:pt x="386" y="217"/>
                </a:lnTo>
                <a:lnTo>
                  <a:pt x="386" y="214"/>
                </a:lnTo>
                <a:lnTo>
                  <a:pt x="386" y="212"/>
                </a:lnTo>
                <a:lnTo>
                  <a:pt x="386" y="210"/>
                </a:lnTo>
                <a:lnTo>
                  <a:pt x="384" y="207"/>
                </a:lnTo>
                <a:lnTo>
                  <a:pt x="384" y="205"/>
                </a:lnTo>
                <a:lnTo>
                  <a:pt x="381" y="205"/>
                </a:lnTo>
                <a:lnTo>
                  <a:pt x="379" y="207"/>
                </a:lnTo>
                <a:lnTo>
                  <a:pt x="381" y="210"/>
                </a:lnTo>
                <a:lnTo>
                  <a:pt x="379" y="210"/>
                </a:lnTo>
                <a:lnTo>
                  <a:pt x="379" y="212"/>
                </a:lnTo>
                <a:lnTo>
                  <a:pt x="374" y="212"/>
                </a:lnTo>
                <a:lnTo>
                  <a:pt x="372" y="212"/>
                </a:lnTo>
                <a:lnTo>
                  <a:pt x="372" y="214"/>
                </a:lnTo>
                <a:lnTo>
                  <a:pt x="370" y="212"/>
                </a:lnTo>
                <a:lnTo>
                  <a:pt x="367" y="212"/>
                </a:lnTo>
                <a:lnTo>
                  <a:pt x="365" y="212"/>
                </a:lnTo>
                <a:lnTo>
                  <a:pt x="365" y="214"/>
                </a:lnTo>
                <a:lnTo>
                  <a:pt x="365" y="217"/>
                </a:lnTo>
                <a:lnTo>
                  <a:pt x="365" y="219"/>
                </a:lnTo>
                <a:lnTo>
                  <a:pt x="363" y="217"/>
                </a:lnTo>
                <a:lnTo>
                  <a:pt x="360" y="217"/>
                </a:lnTo>
                <a:lnTo>
                  <a:pt x="358" y="217"/>
                </a:lnTo>
                <a:lnTo>
                  <a:pt x="358" y="214"/>
                </a:lnTo>
                <a:lnTo>
                  <a:pt x="360" y="212"/>
                </a:lnTo>
                <a:lnTo>
                  <a:pt x="360" y="210"/>
                </a:lnTo>
                <a:lnTo>
                  <a:pt x="360" y="207"/>
                </a:lnTo>
                <a:lnTo>
                  <a:pt x="358" y="210"/>
                </a:lnTo>
                <a:lnTo>
                  <a:pt x="358" y="207"/>
                </a:lnTo>
                <a:lnTo>
                  <a:pt x="356" y="207"/>
                </a:lnTo>
                <a:lnTo>
                  <a:pt x="353" y="207"/>
                </a:lnTo>
                <a:lnTo>
                  <a:pt x="351" y="205"/>
                </a:lnTo>
                <a:lnTo>
                  <a:pt x="353" y="205"/>
                </a:lnTo>
                <a:lnTo>
                  <a:pt x="351" y="205"/>
                </a:lnTo>
                <a:lnTo>
                  <a:pt x="351" y="203"/>
                </a:lnTo>
                <a:lnTo>
                  <a:pt x="349" y="203"/>
                </a:lnTo>
                <a:lnTo>
                  <a:pt x="351" y="200"/>
                </a:lnTo>
                <a:lnTo>
                  <a:pt x="349" y="200"/>
                </a:lnTo>
                <a:lnTo>
                  <a:pt x="349" y="198"/>
                </a:lnTo>
                <a:lnTo>
                  <a:pt x="349" y="196"/>
                </a:lnTo>
                <a:lnTo>
                  <a:pt x="349" y="193"/>
                </a:lnTo>
                <a:lnTo>
                  <a:pt x="349" y="191"/>
                </a:lnTo>
                <a:lnTo>
                  <a:pt x="346" y="191"/>
                </a:lnTo>
                <a:lnTo>
                  <a:pt x="346" y="193"/>
                </a:lnTo>
                <a:lnTo>
                  <a:pt x="346" y="196"/>
                </a:lnTo>
                <a:lnTo>
                  <a:pt x="346" y="198"/>
                </a:lnTo>
                <a:lnTo>
                  <a:pt x="346" y="200"/>
                </a:lnTo>
                <a:lnTo>
                  <a:pt x="344" y="200"/>
                </a:lnTo>
                <a:lnTo>
                  <a:pt x="344" y="203"/>
                </a:lnTo>
                <a:lnTo>
                  <a:pt x="344" y="205"/>
                </a:lnTo>
                <a:lnTo>
                  <a:pt x="346" y="205"/>
                </a:lnTo>
                <a:lnTo>
                  <a:pt x="346" y="207"/>
                </a:lnTo>
                <a:lnTo>
                  <a:pt x="346" y="210"/>
                </a:lnTo>
                <a:lnTo>
                  <a:pt x="349" y="210"/>
                </a:lnTo>
                <a:lnTo>
                  <a:pt x="349" y="212"/>
                </a:lnTo>
                <a:lnTo>
                  <a:pt x="349" y="210"/>
                </a:lnTo>
                <a:lnTo>
                  <a:pt x="351" y="210"/>
                </a:lnTo>
                <a:lnTo>
                  <a:pt x="351" y="212"/>
                </a:lnTo>
                <a:lnTo>
                  <a:pt x="351" y="214"/>
                </a:lnTo>
                <a:lnTo>
                  <a:pt x="356" y="214"/>
                </a:lnTo>
                <a:lnTo>
                  <a:pt x="356" y="217"/>
                </a:lnTo>
                <a:lnTo>
                  <a:pt x="353" y="217"/>
                </a:lnTo>
                <a:lnTo>
                  <a:pt x="351" y="217"/>
                </a:lnTo>
                <a:lnTo>
                  <a:pt x="349" y="219"/>
                </a:lnTo>
                <a:lnTo>
                  <a:pt x="346" y="221"/>
                </a:lnTo>
                <a:lnTo>
                  <a:pt x="344" y="226"/>
                </a:lnTo>
                <a:lnTo>
                  <a:pt x="344" y="228"/>
                </a:lnTo>
                <a:lnTo>
                  <a:pt x="344" y="231"/>
                </a:lnTo>
                <a:lnTo>
                  <a:pt x="344" y="233"/>
                </a:lnTo>
                <a:lnTo>
                  <a:pt x="344" y="238"/>
                </a:lnTo>
                <a:lnTo>
                  <a:pt x="344" y="240"/>
                </a:lnTo>
                <a:lnTo>
                  <a:pt x="344" y="242"/>
                </a:lnTo>
                <a:lnTo>
                  <a:pt x="342" y="240"/>
                </a:lnTo>
                <a:lnTo>
                  <a:pt x="344" y="240"/>
                </a:lnTo>
                <a:lnTo>
                  <a:pt x="344" y="238"/>
                </a:lnTo>
                <a:lnTo>
                  <a:pt x="342" y="235"/>
                </a:lnTo>
                <a:lnTo>
                  <a:pt x="342" y="231"/>
                </a:lnTo>
                <a:lnTo>
                  <a:pt x="339" y="231"/>
                </a:lnTo>
                <a:lnTo>
                  <a:pt x="339" y="233"/>
                </a:lnTo>
                <a:lnTo>
                  <a:pt x="339" y="240"/>
                </a:lnTo>
                <a:lnTo>
                  <a:pt x="339" y="245"/>
                </a:lnTo>
                <a:lnTo>
                  <a:pt x="339" y="247"/>
                </a:lnTo>
                <a:lnTo>
                  <a:pt x="337" y="247"/>
                </a:lnTo>
                <a:lnTo>
                  <a:pt x="335" y="247"/>
                </a:lnTo>
                <a:lnTo>
                  <a:pt x="332" y="247"/>
                </a:lnTo>
                <a:lnTo>
                  <a:pt x="332" y="249"/>
                </a:lnTo>
                <a:lnTo>
                  <a:pt x="332" y="252"/>
                </a:lnTo>
                <a:lnTo>
                  <a:pt x="332" y="254"/>
                </a:lnTo>
                <a:lnTo>
                  <a:pt x="332" y="256"/>
                </a:lnTo>
                <a:lnTo>
                  <a:pt x="335" y="259"/>
                </a:lnTo>
                <a:lnTo>
                  <a:pt x="328" y="261"/>
                </a:lnTo>
                <a:lnTo>
                  <a:pt x="325" y="261"/>
                </a:lnTo>
                <a:lnTo>
                  <a:pt x="323" y="261"/>
                </a:lnTo>
                <a:lnTo>
                  <a:pt x="323" y="263"/>
                </a:lnTo>
                <a:lnTo>
                  <a:pt x="323" y="265"/>
                </a:lnTo>
                <a:lnTo>
                  <a:pt x="323" y="268"/>
                </a:lnTo>
                <a:lnTo>
                  <a:pt x="323" y="270"/>
                </a:lnTo>
                <a:lnTo>
                  <a:pt x="321" y="270"/>
                </a:lnTo>
                <a:lnTo>
                  <a:pt x="321" y="268"/>
                </a:lnTo>
                <a:lnTo>
                  <a:pt x="321" y="270"/>
                </a:lnTo>
                <a:lnTo>
                  <a:pt x="318" y="270"/>
                </a:lnTo>
                <a:lnTo>
                  <a:pt x="316" y="270"/>
                </a:lnTo>
                <a:lnTo>
                  <a:pt x="314" y="270"/>
                </a:lnTo>
                <a:lnTo>
                  <a:pt x="311" y="270"/>
                </a:lnTo>
                <a:lnTo>
                  <a:pt x="311" y="272"/>
                </a:lnTo>
                <a:lnTo>
                  <a:pt x="309" y="272"/>
                </a:lnTo>
                <a:lnTo>
                  <a:pt x="307" y="272"/>
                </a:lnTo>
                <a:lnTo>
                  <a:pt x="304" y="272"/>
                </a:lnTo>
                <a:lnTo>
                  <a:pt x="304" y="275"/>
                </a:lnTo>
                <a:lnTo>
                  <a:pt x="307" y="275"/>
                </a:lnTo>
                <a:lnTo>
                  <a:pt x="304" y="275"/>
                </a:lnTo>
                <a:lnTo>
                  <a:pt x="302" y="277"/>
                </a:lnTo>
                <a:lnTo>
                  <a:pt x="302" y="279"/>
                </a:lnTo>
                <a:lnTo>
                  <a:pt x="302" y="284"/>
                </a:lnTo>
                <a:lnTo>
                  <a:pt x="302" y="286"/>
                </a:lnTo>
                <a:lnTo>
                  <a:pt x="302" y="289"/>
                </a:lnTo>
                <a:lnTo>
                  <a:pt x="302" y="291"/>
                </a:lnTo>
                <a:lnTo>
                  <a:pt x="302" y="293"/>
                </a:lnTo>
                <a:lnTo>
                  <a:pt x="300" y="291"/>
                </a:lnTo>
                <a:lnTo>
                  <a:pt x="300" y="289"/>
                </a:lnTo>
                <a:lnTo>
                  <a:pt x="300" y="286"/>
                </a:lnTo>
                <a:lnTo>
                  <a:pt x="297" y="286"/>
                </a:lnTo>
                <a:lnTo>
                  <a:pt x="297" y="289"/>
                </a:lnTo>
                <a:lnTo>
                  <a:pt x="297" y="291"/>
                </a:lnTo>
                <a:lnTo>
                  <a:pt x="300" y="291"/>
                </a:lnTo>
                <a:lnTo>
                  <a:pt x="300" y="293"/>
                </a:lnTo>
                <a:lnTo>
                  <a:pt x="297" y="293"/>
                </a:lnTo>
                <a:lnTo>
                  <a:pt x="297" y="296"/>
                </a:lnTo>
                <a:lnTo>
                  <a:pt x="290" y="298"/>
                </a:lnTo>
                <a:lnTo>
                  <a:pt x="288" y="300"/>
                </a:lnTo>
                <a:lnTo>
                  <a:pt x="290" y="303"/>
                </a:lnTo>
                <a:lnTo>
                  <a:pt x="288" y="303"/>
                </a:lnTo>
                <a:lnTo>
                  <a:pt x="288" y="305"/>
                </a:lnTo>
                <a:lnTo>
                  <a:pt x="288" y="307"/>
                </a:lnTo>
                <a:lnTo>
                  <a:pt x="290" y="307"/>
                </a:lnTo>
                <a:lnTo>
                  <a:pt x="290" y="310"/>
                </a:lnTo>
                <a:lnTo>
                  <a:pt x="293" y="310"/>
                </a:lnTo>
                <a:lnTo>
                  <a:pt x="293" y="312"/>
                </a:lnTo>
                <a:lnTo>
                  <a:pt x="290" y="310"/>
                </a:lnTo>
                <a:lnTo>
                  <a:pt x="290" y="312"/>
                </a:lnTo>
                <a:lnTo>
                  <a:pt x="288" y="312"/>
                </a:lnTo>
                <a:lnTo>
                  <a:pt x="288" y="314"/>
                </a:lnTo>
                <a:lnTo>
                  <a:pt x="286" y="317"/>
                </a:lnTo>
                <a:lnTo>
                  <a:pt x="286" y="319"/>
                </a:lnTo>
                <a:lnTo>
                  <a:pt x="288" y="317"/>
                </a:lnTo>
                <a:lnTo>
                  <a:pt x="288" y="319"/>
                </a:lnTo>
                <a:lnTo>
                  <a:pt x="290" y="319"/>
                </a:lnTo>
                <a:lnTo>
                  <a:pt x="293" y="319"/>
                </a:lnTo>
                <a:lnTo>
                  <a:pt x="293" y="317"/>
                </a:lnTo>
                <a:lnTo>
                  <a:pt x="295" y="317"/>
                </a:lnTo>
                <a:lnTo>
                  <a:pt x="295" y="319"/>
                </a:lnTo>
                <a:lnTo>
                  <a:pt x="293" y="319"/>
                </a:lnTo>
                <a:lnTo>
                  <a:pt x="290" y="321"/>
                </a:lnTo>
                <a:lnTo>
                  <a:pt x="290" y="324"/>
                </a:lnTo>
                <a:lnTo>
                  <a:pt x="293" y="321"/>
                </a:lnTo>
                <a:lnTo>
                  <a:pt x="295" y="319"/>
                </a:lnTo>
                <a:lnTo>
                  <a:pt x="295" y="321"/>
                </a:lnTo>
                <a:lnTo>
                  <a:pt x="295" y="324"/>
                </a:lnTo>
                <a:lnTo>
                  <a:pt x="295" y="326"/>
                </a:lnTo>
                <a:lnTo>
                  <a:pt x="293" y="326"/>
                </a:lnTo>
                <a:lnTo>
                  <a:pt x="288" y="331"/>
                </a:lnTo>
                <a:lnTo>
                  <a:pt x="286" y="333"/>
                </a:lnTo>
                <a:lnTo>
                  <a:pt x="279" y="345"/>
                </a:lnTo>
                <a:lnTo>
                  <a:pt x="274" y="359"/>
                </a:lnTo>
                <a:lnTo>
                  <a:pt x="272" y="366"/>
                </a:lnTo>
                <a:lnTo>
                  <a:pt x="263" y="384"/>
                </a:lnTo>
                <a:lnTo>
                  <a:pt x="263" y="387"/>
                </a:lnTo>
                <a:lnTo>
                  <a:pt x="256" y="394"/>
                </a:lnTo>
                <a:lnTo>
                  <a:pt x="251" y="396"/>
                </a:lnTo>
                <a:lnTo>
                  <a:pt x="246" y="403"/>
                </a:lnTo>
                <a:lnTo>
                  <a:pt x="237" y="410"/>
                </a:lnTo>
                <a:lnTo>
                  <a:pt x="230" y="414"/>
                </a:lnTo>
                <a:lnTo>
                  <a:pt x="228" y="419"/>
                </a:lnTo>
                <a:lnTo>
                  <a:pt x="221" y="421"/>
                </a:lnTo>
                <a:lnTo>
                  <a:pt x="218" y="421"/>
                </a:lnTo>
                <a:lnTo>
                  <a:pt x="218" y="419"/>
                </a:lnTo>
                <a:lnTo>
                  <a:pt x="216" y="419"/>
                </a:lnTo>
                <a:lnTo>
                  <a:pt x="214" y="419"/>
                </a:lnTo>
                <a:lnTo>
                  <a:pt x="211" y="417"/>
                </a:lnTo>
                <a:lnTo>
                  <a:pt x="214" y="410"/>
                </a:lnTo>
                <a:lnTo>
                  <a:pt x="214" y="412"/>
                </a:lnTo>
                <a:lnTo>
                  <a:pt x="214" y="410"/>
                </a:lnTo>
                <a:lnTo>
                  <a:pt x="216" y="408"/>
                </a:lnTo>
                <a:lnTo>
                  <a:pt x="216" y="410"/>
                </a:lnTo>
                <a:lnTo>
                  <a:pt x="218" y="408"/>
                </a:lnTo>
                <a:lnTo>
                  <a:pt x="218" y="403"/>
                </a:lnTo>
                <a:lnTo>
                  <a:pt x="218" y="401"/>
                </a:lnTo>
                <a:lnTo>
                  <a:pt x="218" y="398"/>
                </a:lnTo>
                <a:lnTo>
                  <a:pt x="218" y="394"/>
                </a:lnTo>
                <a:lnTo>
                  <a:pt x="218" y="391"/>
                </a:lnTo>
                <a:lnTo>
                  <a:pt x="218" y="389"/>
                </a:lnTo>
                <a:lnTo>
                  <a:pt x="221" y="387"/>
                </a:lnTo>
                <a:lnTo>
                  <a:pt x="221" y="384"/>
                </a:lnTo>
                <a:lnTo>
                  <a:pt x="223" y="384"/>
                </a:lnTo>
                <a:lnTo>
                  <a:pt x="223" y="382"/>
                </a:lnTo>
                <a:lnTo>
                  <a:pt x="225" y="380"/>
                </a:lnTo>
                <a:lnTo>
                  <a:pt x="225" y="382"/>
                </a:lnTo>
                <a:lnTo>
                  <a:pt x="228" y="382"/>
                </a:lnTo>
                <a:lnTo>
                  <a:pt x="230" y="382"/>
                </a:lnTo>
                <a:lnTo>
                  <a:pt x="230" y="380"/>
                </a:lnTo>
                <a:lnTo>
                  <a:pt x="232" y="380"/>
                </a:lnTo>
                <a:lnTo>
                  <a:pt x="232" y="377"/>
                </a:lnTo>
                <a:lnTo>
                  <a:pt x="235" y="375"/>
                </a:lnTo>
                <a:lnTo>
                  <a:pt x="235" y="373"/>
                </a:lnTo>
                <a:lnTo>
                  <a:pt x="235" y="370"/>
                </a:lnTo>
                <a:lnTo>
                  <a:pt x="235" y="368"/>
                </a:lnTo>
                <a:lnTo>
                  <a:pt x="237" y="366"/>
                </a:lnTo>
                <a:lnTo>
                  <a:pt x="237" y="363"/>
                </a:lnTo>
                <a:lnTo>
                  <a:pt x="239" y="363"/>
                </a:lnTo>
                <a:lnTo>
                  <a:pt x="242" y="363"/>
                </a:lnTo>
                <a:lnTo>
                  <a:pt x="244" y="361"/>
                </a:lnTo>
                <a:lnTo>
                  <a:pt x="244" y="363"/>
                </a:lnTo>
                <a:lnTo>
                  <a:pt x="244" y="366"/>
                </a:lnTo>
                <a:lnTo>
                  <a:pt x="249" y="370"/>
                </a:lnTo>
                <a:lnTo>
                  <a:pt x="251" y="370"/>
                </a:lnTo>
                <a:lnTo>
                  <a:pt x="251" y="373"/>
                </a:lnTo>
                <a:lnTo>
                  <a:pt x="253" y="373"/>
                </a:lnTo>
                <a:lnTo>
                  <a:pt x="253" y="370"/>
                </a:lnTo>
                <a:lnTo>
                  <a:pt x="256" y="370"/>
                </a:lnTo>
                <a:lnTo>
                  <a:pt x="258" y="368"/>
                </a:lnTo>
                <a:lnTo>
                  <a:pt x="258" y="366"/>
                </a:lnTo>
                <a:lnTo>
                  <a:pt x="260" y="363"/>
                </a:lnTo>
                <a:lnTo>
                  <a:pt x="260" y="361"/>
                </a:lnTo>
                <a:lnTo>
                  <a:pt x="265" y="354"/>
                </a:lnTo>
                <a:lnTo>
                  <a:pt x="265" y="352"/>
                </a:lnTo>
                <a:lnTo>
                  <a:pt x="267" y="349"/>
                </a:lnTo>
                <a:lnTo>
                  <a:pt x="267" y="347"/>
                </a:lnTo>
                <a:lnTo>
                  <a:pt x="267" y="345"/>
                </a:lnTo>
                <a:lnTo>
                  <a:pt x="267" y="342"/>
                </a:lnTo>
                <a:lnTo>
                  <a:pt x="265" y="340"/>
                </a:lnTo>
                <a:lnTo>
                  <a:pt x="263" y="335"/>
                </a:lnTo>
                <a:lnTo>
                  <a:pt x="260" y="333"/>
                </a:lnTo>
                <a:lnTo>
                  <a:pt x="260" y="331"/>
                </a:lnTo>
                <a:lnTo>
                  <a:pt x="263" y="328"/>
                </a:lnTo>
                <a:lnTo>
                  <a:pt x="265" y="324"/>
                </a:lnTo>
                <a:lnTo>
                  <a:pt x="263" y="324"/>
                </a:lnTo>
                <a:lnTo>
                  <a:pt x="263" y="326"/>
                </a:lnTo>
                <a:lnTo>
                  <a:pt x="260" y="326"/>
                </a:lnTo>
                <a:lnTo>
                  <a:pt x="260" y="328"/>
                </a:lnTo>
                <a:lnTo>
                  <a:pt x="258" y="328"/>
                </a:lnTo>
                <a:lnTo>
                  <a:pt x="256" y="333"/>
                </a:lnTo>
                <a:lnTo>
                  <a:pt x="256" y="335"/>
                </a:lnTo>
                <a:lnTo>
                  <a:pt x="258" y="335"/>
                </a:lnTo>
                <a:lnTo>
                  <a:pt x="258" y="338"/>
                </a:lnTo>
                <a:lnTo>
                  <a:pt x="256" y="340"/>
                </a:lnTo>
                <a:lnTo>
                  <a:pt x="249" y="342"/>
                </a:lnTo>
                <a:lnTo>
                  <a:pt x="246" y="342"/>
                </a:lnTo>
                <a:lnTo>
                  <a:pt x="246" y="345"/>
                </a:lnTo>
                <a:lnTo>
                  <a:pt x="244" y="347"/>
                </a:lnTo>
                <a:lnTo>
                  <a:pt x="244" y="349"/>
                </a:lnTo>
                <a:lnTo>
                  <a:pt x="244" y="352"/>
                </a:lnTo>
                <a:lnTo>
                  <a:pt x="242" y="352"/>
                </a:lnTo>
                <a:lnTo>
                  <a:pt x="239" y="352"/>
                </a:lnTo>
                <a:lnTo>
                  <a:pt x="237" y="354"/>
                </a:lnTo>
                <a:lnTo>
                  <a:pt x="235" y="354"/>
                </a:lnTo>
                <a:lnTo>
                  <a:pt x="235" y="352"/>
                </a:lnTo>
                <a:lnTo>
                  <a:pt x="232" y="352"/>
                </a:lnTo>
                <a:lnTo>
                  <a:pt x="230" y="349"/>
                </a:lnTo>
                <a:lnTo>
                  <a:pt x="228" y="349"/>
                </a:lnTo>
                <a:lnTo>
                  <a:pt x="225" y="349"/>
                </a:lnTo>
                <a:lnTo>
                  <a:pt x="223" y="347"/>
                </a:lnTo>
                <a:lnTo>
                  <a:pt x="218" y="342"/>
                </a:lnTo>
                <a:lnTo>
                  <a:pt x="216" y="340"/>
                </a:lnTo>
                <a:lnTo>
                  <a:pt x="214" y="340"/>
                </a:lnTo>
                <a:lnTo>
                  <a:pt x="214" y="338"/>
                </a:lnTo>
                <a:lnTo>
                  <a:pt x="214" y="335"/>
                </a:lnTo>
                <a:lnTo>
                  <a:pt x="211" y="335"/>
                </a:lnTo>
                <a:lnTo>
                  <a:pt x="211" y="333"/>
                </a:lnTo>
                <a:lnTo>
                  <a:pt x="211" y="328"/>
                </a:lnTo>
                <a:lnTo>
                  <a:pt x="209" y="326"/>
                </a:lnTo>
                <a:lnTo>
                  <a:pt x="207" y="321"/>
                </a:lnTo>
                <a:lnTo>
                  <a:pt x="207" y="317"/>
                </a:lnTo>
                <a:lnTo>
                  <a:pt x="207" y="314"/>
                </a:lnTo>
                <a:lnTo>
                  <a:pt x="204" y="314"/>
                </a:lnTo>
                <a:lnTo>
                  <a:pt x="202" y="312"/>
                </a:lnTo>
                <a:lnTo>
                  <a:pt x="200" y="312"/>
                </a:lnTo>
                <a:lnTo>
                  <a:pt x="200" y="310"/>
                </a:lnTo>
                <a:lnTo>
                  <a:pt x="197" y="310"/>
                </a:lnTo>
                <a:lnTo>
                  <a:pt x="197" y="307"/>
                </a:lnTo>
                <a:lnTo>
                  <a:pt x="195" y="307"/>
                </a:lnTo>
                <a:lnTo>
                  <a:pt x="195" y="305"/>
                </a:lnTo>
                <a:lnTo>
                  <a:pt x="193" y="305"/>
                </a:lnTo>
                <a:lnTo>
                  <a:pt x="190" y="303"/>
                </a:lnTo>
                <a:lnTo>
                  <a:pt x="188" y="303"/>
                </a:lnTo>
                <a:lnTo>
                  <a:pt x="186" y="303"/>
                </a:lnTo>
                <a:lnTo>
                  <a:pt x="183" y="303"/>
                </a:lnTo>
                <a:lnTo>
                  <a:pt x="181" y="300"/>
                </a:lnTo>
                <a:lnTo>
                  <a:pt x="179" y="298"/>
                </a:lnTo>
                <a:lnTo>
                  <a:pt x="174" y="293"/>
                </a:lnTo>
                <a:lnTo>
                  <a:pt x="172" y="293"/>
                </a:lnTo>
                <a:lnTo>
                  <a:pt x="172" y="291"/>
                </a:lnTo>
                <a:lnTo>
                  <a:pt x="169" y="289"/>
                </a:lnTo>
                <a:lnTo>
                  <a:pt x="167" y="289"/>
                </a:lnTo>
                <a:lnTo>
                  <a:pt x="167" y="286"/>
                </a:lnTo>
                <a:lnTo>
                  <a:pt x="167" y="284"/>
                </a:lnTo>
                <a:lnTo>
                  <a:pt x="167" y="282"/>
                </a:lnTo>
                <a:lnTo>
                  <a:pt x="165" y="279"/>
                </a:lnTo>
                <a:lnTo>
                  <a:pt x="162" y="277"/>
                </a:lnTo>
                <a:lnTo>
                  <a:pt x="162" y="275"/>
                </a:lnTo>
                <a:lnTo>
                  <a:pt x="160" y="275"/>
                </a:lnTo>
                <a:lnTo>
                  <a:pt x="158" y="275"/>
                </a:lnTo>
                <a:lnTo>
                  <a:pt x="149" y="272"/>
                </a:lnTo>
                <a:lnTo>
                  <a:pt x="146" y="270"/>
                </a:lnTo>
                <a:lnTo>
                  <a:pt x="146" y="268"/>
                </a:lnTo>
                <a:lnTo>
                  <a:pt x="144" y="268"/>
                </a:lnTo>
                <a:lnTo>
                  <a:pt x="142" y="265"/>
                </a:lnTo>
                <a:lnTo>
                  <a:pt x="139" y="263"/>
                </a:lnTo>
                <a:lnTo>
                  <a:pt x="139" y="261"/>
                </a:lnTo>
                <a:lnTo>
                  <a:pt x="137" y="261"/>
                </a:lnTo>
                <a:lnTo>
                  <a:pt x="137" y="263"/>
                </a:lnTo>
                <a:lnTo>
                  <a:pt x="137" y="265"/>
                </a:lnTo>
                <a:lnTo>
                  <a:pt x="135" y="265"/>
                </a:lnTo>
                <a:lnTo>
                  <a:pt x="132" y="263"/>
                </a:lnTo>
                <a:lnTo>
                  <a:pt x="130" y="261"/>
                </a:lnTo>
                <a:lnTo>
                  <a:pt x="128" y="261"/>
                </a:lnTo>
                <a:lnTo>
                  <a:pt x="128" y="259"/>
                </a:lnTo>
                <a:lnTo>
                  <a:pt x="125" y="259"/>
                </a:lnTo>
                <a:lnTo>
                  <a:pt x="125" y="256"/>
                </a:lnTo>
                <a:lnTo>
                  <a:pt x="125" y="254"/>
                </a:lnTo>
                <a:lnTo>
                  <a:pt x="123" y="252"/>
                </a:lnTo>
                <a:lnTo>
                  <a:pt x="121" y="252"/>
                </a:lnTo>
                <a:lnTo>
                  <a:pt x="121" y="249"/>
                </a:lnTo>
                <a:lnTo>
                  <a:pt x="121" y="247"/>
                </a:lnTo>
                <a:lnTo>
                  <a:pt x="116" y="242"/>
                </a:lnTo>
                <a:lnTo>
                  <a:pt x="114" y="240"/>
                </a:lnTo>
                <a:lnTo>
                  <a:pt x="114" y="238"/>
                </a:lnTo>
                <a:lnTo>
                  <a:pt x="111" y="238"/>
                </a:lnTo>
                <a:lnTo>
                  <a:pt x="109" y="235"/>
                </a:lnTo>
                <a:lnTo>
                  <a:pt x="109" y="233"/>
                </a:lnTo>
                <a:lnTo>
                  <a:pt x="107" y="233"/>
                </a:lnTo>
                <a:lnTo>
                  <a:pt x="104" y="235"/>
                </a:lnTo>
                <a:lnTo>
                  <a:pt x="104" y="238"/>
                </a:lnTo>
                <a:lnTo>
                  <a:pt x="104" y="240"/>
                </a:lnTo>
                <a:lnTo>
                  <a:pt x="102" y="240"/>
                </a:lnTo>
                <a:lnTo>
                  <a:pt x="100" y="240"/>
                </a:lnTo>
                <a:lnTo>
                  <a:pt x="100" y="242"/>
                </a:lnTo>
                <a:lnTo>
                  <a:pt x="100" y="245"/>
                </a:lnTo>
                <a:lnTo>
                  <a:pt x="97" y="245"/>
                </a:lnTo>
                <a:lnTo>
                  <a:pt x="95" y="247"/>
                </a:lnTo>
                <a:lnTo>
                  <a:pt x="93" y="247"/>
                </a:lnTo>
                <a:lnTo>
                  <a:pt x="90" y="247"/>
                </a:lnTo>
                <a:lnTo>
                  <a:pt x="86" y="247"/>
                </a:lnTo>
                <a:lnTo>
                  <a:pt x="86" y="245"/>
                </a:lnTo>
                <a:lnTo>
                  <a:pt x="86" y="242"/>
                </a:lnTo>
                <a:lnTo>
                  <a:pt x="86" y="238"/>
                </a:lnTo>
                <a:lnTo>
                  <a:pt x="86" y="235"/>
                </a:lnTo>
                <a:lnTo>
                  <a:pt x="88" y="233"/>
                </a:lnTo>
                <a:lnTo>
                  <a:pt x="86" y="231"/>
                </a:lnTo>
                <a:lnTo>
                  <a:pt x="83" y="226"/>
                </a:lnTo>
                <a:lnTo>
                  <a:pt x="81" y="226"/>
                </a:lnTo>
                <a:lnTo>
                  <a:pt x="79" y="221"/>
                </a:lnTo>
                <a:lnTo>
                  <a:pt x="76" y="219"/>
                </a:lnTo>
                <a:lnTo>
                  <a:pt x="74" y="217"/>
                </a:lnTo>
                <a:lnTo>
                  <a:pt x="74" y="214"/>
                </a:lnTo>
                <a:lnTo>
                  <a:pt x="72" y="214"/>
                </a:lnTo>
                <a:lnTo>
                  <a:pt x="69" y="212"/>
                </a:lnTo>
                <a:lnTo>
                  <a:pt x="67" y="210"/>
                </a:lnTo>
                <a:lnTo>
                  <a:pt x="65" y="210"/>
                </a:lnTo>
                <a:lnTo>
                  <a:pt x="65" y="207"/>
                </a:lnTo>
                <a:lnTo>
                  <a:pt x="65" y="205"/>
                </a:lnTo>
                <a:lnTo>
                  <a:pt x="62" y="205"/>
                </a:lnTo>
                <a:lnTo>
                  <a:pt x="60" y="203"/>
                </a:lnTo>
                <a:lnTo>
                  <a:pt x="58" y="200"/>
                </a:lnTo>
                <a:lnTo>
                  <a:pt x="55" y="198"/>
                </a:lnTo>
                <a:lnTo>
                  <a:pt x="53" y="198"/>
                </a:lnTo>
                <a:lnTo>
                  <a:pt x="53" y="196"/>
                </a:lnTo>
                <a:lnTo>
                  <a:pt x="53" y="193"/>
                </a:lnTo>
                <a:lnTo>
                  <a:pt x="51" y="193"/>
                </a:lnTo>
                <a:lnTo>
                  <a:pt x="51" y="191"/>
                </a:lnTo>
                <a:lnTo>
                  <a:pt x="48" y="191"/>
                </a:lnTo>
                <a:lnTo>
                  <a:pt x="46" y="189"/>
                </a:lnTo>
                <a:lnTo>
                  <a:pt x="44" y="189"/>
                </a:lnTo>
                <a:lnTo>
                  <a:pt x="44" y="186"/>
                </a:lnTo>
                <a:lnTo>
                  <a:pt x="41" y="184"/>
                </a:lnTo>
                <a:lnTo>
                  <a:pt x="39" y="184"/>
                </a:lnTo>
                <a:lnTo>
                  <a:pt x="37" y="184"/>
                </a:lnTo>
                <a:lnTo>
                  <a:pt x="34" y="184"/>
                </a:lnTo>
                <a:lnTo>
                  <a:pt x="32" y="184"/>
                </a:lnTo>
                <a:lnTo>
                  <a:pt x="30" y="186"/>
                </a:lnTo>
                <a:lnTo>
                  <a:pt x="30" y="184"/>
                </a:lnTo>
                <a:lnTo>
                  <a:pt x="28" y="184"/>
                </a:lnTo>
                <a:lnTo>
                  <a:pt x="28" y="186"/>
                </a:lnTo>
                <a:lnTo>
                  <a:pt x="25" y="186"/>
                </a:lnTo>
                <a:lnTo>
                  <a:pt x="25" y="189"/>
                </a:lnTo>
                <a:lnTo>
                  <a:pt x="23" y="191"/>
                </a:lnTo>
                <a:lnTo>
                  <a:pt x="23" y="193"/>
                </a:lnTo>
                <a:lnTo>
                  <a:pt x="23" y="196"/>
                </a:lnTo>
                <a:lnTo>
                  <a:pt x="21" y="196"/>
                </a:lnTo>
                <a:lnTo>
                  <a:pt x="18" y="196"/>
                </a:lnTo>
                <a:lnTo>
                  <a:pt x="16" y="196"/>
                </a:lnTo>
                <a:lnTo>
                  <a:pt x="14" y="196"/>
                </a:lnTo>
                <a:lnTo>
                  <a:pt x="11" y="196"/>
                </a:lnTo>
                <a:lnTo>
                  <a:pt x="9" y="196"/>
                </a:lnTo>
                <a:lnTo>
                  <a:pt x="7" y="196"/>
                </a:lnTo>
                <a:lnTo>
                  <a:pt x="4" y="196"/>
                </a:lnTo>
                <a:lnTo>
                  <a:pt x="2" y="196"/>
                </a:lnTo>
                <a:lnTo>
                  <a:pt x="2" y="193"/>
                </a:lnTo>
                <a:lnTo>
                  <a:pt x="0" y="191"/>
                </a:lnTo>
                <a:lnTo>
                  <a:pt x="0" y="189"/>
                </a:lnTo>
                <a:lnTo>
                  <a:pt x="2" y="189"/>
                </a:lnTo>
                <a:lnTo>
                  <a:pt x="4" y="186"/>
                </a:lnTo>
                <a:lnTo>
                  <a:pt x="11" y="179"/>
                </a:lnTo>
                <a:lnTo>
                  <a:pt x="16" y="177"/>
                </a:lnTo>
                <a:lnTo>
                  <a:pt x="16" y="175"/>
                </a:lnTo>
                <a:lnTo>
                  <a:pt x="16" y="168"/>
                </a:lnTo>
                <a:lnTo>
                  <a:pt x="16" y="165"/>
                </a:lnTo>
                <a:lnTo>
                  <a:pt x="18" y="165"/>
                </a:lnTo>
                <a:lnTo>
                  <a:pt x="21" y="163"/>
                </a:lnTo>
                <a:lnTo>
                  <a:pt x="23" y="163"/>
                </a:lnTo>
                <a:lnTo>
                  <a:pt x="25" y="163"/>
                </a:lnTo>
                <a:lnTo>
                  <a:pt x="28" y="163"/>
                </a:lnTo>
                <a:lnTo>
                  <a:pt x="32" y="158"/>
                </a:lnTo>
                <a:lnTo>
                  <a:pt x="32" y="156"/>
                </a:lnTo>
                <a:lnTo>
                  <a:pt x="34" y="156"/>
                </a:lnTo>
                <a:lnTo>
                  <a:pt x="34" y="154"/>
                </a:lnTo>
                <a:lnTo>
                  <a:pt x="37" y="151"/>
                </a:lnTo>
                <a:lnTo>
                  <a:pt x="39" y="151"/>
                </a:lnTo>
                <a:lnTo>
                  <a:pt x="39" y="149"/>
                </a:lnTo>
                <a:lnTo>
                  <a:pt x="44" y="144"/>
                </a:lnTo>
                <a:lnTo>
                  <a:pt x="44" y="142"/>
                </a:lnTo>
                <a:lnTo>
                  <a:pt x="46" y="142"/>
                </a:lnTo>
                <a:lnTo>
                  <a:pt x="46" y="140"/>
                </a:lnTo>
                <a:lnTo>
                  <a:pt x="48" y="137"/>
                </a:lnTo>
                <a:lnTo>
                  <a:pt x="51" y="137"/>
                </a:lnTo>
                <a:lnTo>
                  <a:pt x="51" y="135"/>
                </a:lnTo>
                <a:lnTo>
                  <a:pt x="53" y="133"/>
                </a:lnTo>
                <a:lnTo>
                  <a:pt x="53" y="130"/>
                </a:lnTo>
                <a:lnTo>
                  <a:pt x="53" y="128"/>
                </a:lnTo>
                <a:lnTo>
                  <a:pt x="55" y="126"/>
                </a:lnTo>
                <a:lnTo>
                  <a:pt x="58" y="123"/>
                </a:lnTo>
                <a:lnTo>
                  <a:pt x="60" y="123"/>
                </a:lnTo>
                <a:lnTo>
                  <a:pt x="60" y="121"/>
                </a:lnTo>
                <a:lnTo>
                  <a:pt x="65" y="121"/>
                </a:lnTo>
                <a:lnTo>
                  <a:pt x="67" y="119"/>
                </a:lnTo>
                <a:lnTo>
                  <a:pt x="67" y="114"/>
                </a:lnTo>
                <a:lnTo>
                  <a:pt x="67" y="112"/>
                </a:lnTo>
                <a:lnTo>
                  <a:pt x="72" y="110"/>
                </a:lnTo>
                <a:lnTo>
                  <a:pt x="74" y="110"/>
                </a:lnTo>
                <a:lnTo>
                  <a:pt x="74" y="103"/>
                </a:lnTo>
                <a:lnTo>
                  <a:pt x="76" y="103"/>
                </a:lnTo>
                <a:lnTo>
                  <a:pt x="79" y="100"/>
                </a:lnTo>
                <a:lnTo>
                  <a:pt x="83" y="93"/>
                </a:lnTo>
                <a:lnTo>
                  <a:pt x="88" y="91"/>
                </a:lnTo>
                <a:lnTo>
                  <a:pt x="90" y="89"/>
                </a:lnTo>
                <a:lnTo>
                  <a:pt x="88" y="86"/>
                </a:lnTo>
                <a:lnTo>
                  <a:pt x="90" y="86"/>
                </a:lnTo>
                <a:lnTo>
                  <a:pt x="90" y="84"/>
                </a:lnTo>
                <a:lnTo>
                  <a:pt x="93" y="84"/>
                </a:lnTo>
                <a:lnTo>
                  <a:pt x="95" y="84"/>
                </a:lnTo>
                <a:lnTo>
                  <a:pt x="97" y="82"/>
                </a:lnTo>
                <a:lnTo>
                  <a:pt x="97" y="79"/>
                </a:lnTo>
                <a:lnTo>
                  <a:pt x="95" y="77"/>
                </a:lnTo>
                <a:lnTo>
                  <a:pt x="97" y="77"/>
                </a:lnTo>
                <a:lnTo>
                  <a:pt x="100" y="75"/>
                </a:lnTo>
                <a:lnTo>
                  <a:pt x="102" y="77"/>
                </a:lnTo>
                <a:lnTo>
                  <a:pt x="104" y="77"/>
                </a:lnTo>
                <a:lnTo>
                  <a:pt x="107" y="77"/>
                </a:lnTo>
                <a:lnTo>
                  <a:pt x="107" y="79"/>
                </a:lnTo>
                <a:lnTo>
                  <a:pt x="109" y="79"/>
                </a:lnTo>
                <a:lnTo>
                  <a:pt x="109" y="77"/>
                </a:lnTo>
                <a:lnTo>
                  <a:pt x="109" y="75"/>
                </a:lnTo>
                <a:lnTo>
                  <a:pt x="109" y="72"/>
                </a:lnTo>
                <a:lnTo>
                  <a:pt x="107" y="72"/>
                </a:lnTo>
                <a:lnTo>
                  <a:pt x="104" y="70"/>
                </a:lnTo>
                <a:lnTo>
                  <a:pt x="104" y="68"/>
                </a:lnTo>
                <a:lnTo>
                  <a:pt x="109" y="65"/>
                </a:lnTo>
                <a:lnTo>
                  <a:pt x="111" y="63"/>
                </a:lnTo>
                <a:lnTo>
                  <a:pt x="114" y="63"/>
                </a:lnTo>
                <a:lnTo>
                  <a:pt x="114" y="61"/>
                </a:lnTo>
                <a:lnTo>
                  <a:pt x="114" y="63"/>
                </a:lnTo>
                <a:lnTo>
                  <a:pt x="116" y="63"/>
                </a:lnTo>
                <a:lnTo>
                  <a:pt x="116" y="61"/>
                </a:lnTo>
                <a:lnTo>
                  <a:pt x="118" y="61"/>
                </a:lnTo>
                <a:lnTo>
                  <a:pt x="118" y="58"/>
                </a:lnTo>
                <a:lnTo>
                  <a:pt x="121" y="58"/>
                </a:lnTo>
                <a:lnTo>
                  <a:pt x="121" y="61"/>
                </a:lnTo>
                <a:lnTo>
                  <a:pt x="123" y="58"/>
                </a:lnTo>
                <a:lnTo>
                  <a:pt x="125" y="56"/>
                </a:lnTo>
                <a:lnTo>
                  <a:pt x="125" y="54"/>
                </a:lnTo>
                <a:lnTo>
                  <a:pt x="128" y="54"/>
                </a:lnTo>
                <a:lnTo>
                  <a:pt x="128" y="51"/>
                </a:lnTo>
                <a:lnTo>
                  <a:pt x="130" y="51"/>
                </a:lnTo>
                <a:lnTo>
                  <a:pt x="130" y="49"/>
                </a:lnTo>
                <a:lnTo>
                  <a:pt x="132" y="49"/>
                </a:lnTo>
                <a:lnTo>
                  <a:pt x="135" y="49"/>
                </a:lnTo>
                <a:lnTo>
                  <a:pt x="135" y="47"/>
                </a:lnTo>
                <a:lnTo>
                  <a:pt x="137" y="47"/>
                </a:lnTo>
                <a:lnTo>
                  <a:pt x="139" y="47"/>
                </a:lnTo>
                <a:lnTo>
                  <a:pt x="142" y="47"/>
                </a:lnTo>
                <a:lnTo>
                  <a:pt x="142" y="44"/>
                </a:lnTo>
                <a:lnTo>
                  <a:pt x="144" y="44"/>
                </a:lnTo>
                <a:lnTo>
                  <a:pt x="144" y="47"/>
                </a:lnTo>
                <a:lnTo>
                  <a:pt x="146" y="47"/>
                </a:lnTo>
                <a:lnTo>
                  <a:pt x="146" y="44"/>
                </a:lnTo>
                <a:lnTo>
                  <a:pt x="144" y="42"/>
                </a:lnTo>
                <a:lnTo>
                  <a:pt x="144" y="40"/>
                </a:lnTo>
                <a:lnTo>
                  <a:pt x="146" y="42"/>
                </a:lnTo>
                <a:lnTo>
                  <a:pt x="149" y="42"/>
                </a:lnTo>
                <a:lnTo>
                  <a:pt x="151" y="40"/>
                </a:lnTo>
                <a:lnTo>
                  <a:pt x="153" y="40"/>
                </a:lnTo>
                <a:lnTo>
                  <a:pt x="153" y="37"/>
                </a:lnTo>
                <a:lnTo>
                  <a:pt x="153" y="35"/>
                </a:lnTo>
                <a:lnTo>
                  <a:pt x="153" y="33"/>
                </a:lnTo>
                <a:lnTo>
                  <a:pt x="153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28"/>
                </a:lnTo>
                <a:lnTo>
                  <a:pt x="158" y="26"/>
                </a:lnTo>
                <a:lnTo>
                  <a:pt x="160" y="26"/>
                </a:lnTo>
                <a:lnTo>
                  <a:pt x="160" y="28"/>
                </a:lnTo>
                <a:lnTo>
                  <a:pt x="162" y="28"/>
                </a:lnTo>
                <a:lnTo>
                  <a:pt x="165" y="28"/>
                </a:lnTo>
                <a:lnTo>
                  <a:pt x="167" y="28"/>
                </a:lnTo>
                <a:lnTo>
                  <a:pt x="167" y="26"/>
                </a:lnTo>
                <a:lnTo>
                  <a:pt x="167" y="23"/>
                </a:lnTo>
                <a:lnTo>
                  <a:pt x="167" y="26"/>
                </a:lnTo>
                <a:lnTo>
                  <a:pt x="169" y="26"/>
                </a:lnTo>
                <a:lnTo>
                  <a:pt x="169" y="23"/>
                </a:lnTo>
                <a:lnTo>
                  <a:pt x="172" y="21"/>
                </a:lnTo>
                <a:lnTo>
                  <a:pt x="174" y="23"/>
                </a:lnTo>
                <a:lnTo>
                  <a:pt x="179" y="23"/>
                </a:lnTo>
                <a:lnTo>
                  <a:pt x="179" y="21"/>
                </a:lnTo>
                <a:lnTo>
                  <a:pt x="179" y="19"/>
                </a:lnTo>
                <a:lnTo>
                  <a:pt x="181" y="19"/>
                </a:lnTo>
                <a:lnTo>
                  <a:pt x="183" y="19"/>
                </a:lnTo>
                <a:lnTo>
                  <a:pt x="183" y="21"/>
                </a:lnTo>
                <a:lnTo>
                  <a:pt x="186" y="21"/>
                </a:lnTo>
                <a:lnTo>
                  <a:pt x="186" y="19"/>
                </a:lnTo>
                <a:lnTo>
                  <a:pt x="186" y="21"/>
                </a:lnTo>
                <a:lnTo>
                  <a:pt x="188" y="21"/>
                </a:lnTo>
                <a:lnTo>
                  <a:pt x="190" y="19"/>
                </a:lnTo>
                <a:lnTo>
                  <a:pt x="193" y="19"/>
                </a:lnTo>
                <a:lnTo>
                  <a:pt x="193" y="16"/>
                </a:lnTo>
                <a:lnTo>
                  <a:pt x="193" y="14"/>
                </a:lnTo>
                <a:lnTo>
                  <a:pt x="195" y="9"/>
                </a:lnTo>
                <a:lnTo>
                  <a:pt x="197" y="9"/>
                </a:lnTo>
                <a:lnTo>
                  <a:pt x="195" y="12"/>
                </a:lnTo>
                <a:lnTo>
                  <a:pt x="197" y="12"/>
                </a:lnTo>
                <a:lnTo>
                  <a:pt x="200" y="12"/>
                </a:lnTo>
                <a:lnTo>
                  <a:pt x="204" y="7"/>
                </a:lnTo>
                <a:lnTo>
                  <a:pt x="207" y="7"/>
                </a:lnTo>
                <a:lnTo>
                  <a:pt x="207" y="5"/>
                </a:lnTo>
                <a:lnTo>
                  <a:pt x="209" y="5"/>
                </a:lnTo>
                <a:lnTo>
                  <a:pt x="211" y="5"/>
                </a:lnTo>
                <a:lnTo>
                  <a:pt x="211" y="2"/>
                </a:lnTo>
                <a:lnTo>
                  <a:pt x="214" y="2"/>
                </a:lnTo>
                <a:lnTo>
                  <a:pt x="214" y="5"/>
                </a:lnTo>
                <a:lnTo>
                  <a:pt x="216" y="5"/>
                </a:lnTo>
                <a:lnTo>
                  <a:pt x="218" y="5"/>
                </a:lnTo>
                <a:lnTo>
                  <a:pt x="218" y="7"/>
                </a:lnTo>
                <a:lnTo>
                  <a:pt x="221" y="7"/>
                </a:lnTo>
                <a:lnTo>
                  <a:pt x="223" y="5"/>
                </a:lnTo>
                <a:lnTo>
                  <a:pt x="225" y="5"/>
                </a:lnTo>
                <a:lnTo>
                  <a:pt x="225" y="7"/>
                </a:lnTo>
                <a:lnTo>
                  <a:pt x="225" y="9"/>
                </a:lnTo>
                <a:lnTo>
                  <a:pt x="228" y="7"/>
                </a:lnTo>
                <a:lnTo>
                  <a:pt x="230" y="7"/>
                </a:lnTo>
                <a:lnTo>
                  <a:pt x="232" y="7"/>
                </a:lnTo>
                <a:lnTo>
                  <a:pt x="235" y="7"/>
                </a:lnTo>
                <a:lnTo>
                  <a:pt x="232" y="5"/>
                </a:lnTo>
                <a:lnTo>
                  <a:pt x="235" y="5"/>
                </a:lnTo>
                <a:lnTo>
                  <a:pt x="235" y="2"/>
                </a:lnTo>
                <a:lnTo>
                  <a:pt x="235" y="5"/>
                </a:lnTo>
                <a:lnTo>
                  <a:pt x="237" y="5"/>
                </a:lnTo>
                <a:lnTo>
                  <a:pt x="239" y="2"/>
                </a:lnTo>
                <a:lnTo>
                  <a:pt x="242" y="0"/>
                </a:lnTo>
                <a:lnTo>
                  <a:pt x="244" y="2"/>
                </a:lnTo>
                <a:lnTo>
                  <a:pt x="246" y="2"/>
                </a:lnTo>
                <a:lnTo>
                  <a:pt x="246" y="5"/>
                </a:lnTo>
                <a:lnTo>
                  <a:pt x="244" y="9"/>
                </a:lnTo>
                <a:lnTo>
                  <a:pt x="246" y="9"/>
                </a:lnTo>
                <a:lnTo>
                  <a:pt x="249" y="7"/>
                </a:lnTo>
                <a:lnTo>
                  <a:pt x="251" y="7"/>
                </a:lnTo>
                <a:lnTo>
                  <a:pt x="253" y="7"/>
                </a:lnTo>
                <a:lnTo>
                  <a:pt x="253" y="5"/>
                </a:lnTo>
                <a:lnTo>
                  <a:pt x="256" y="7"/>
                </a:lnTo>
                <a:lnTo>
                  <a:pt x="258" y="7"/>
                </a:lnTo>
                <a:lnTo>
                  <a:pt x="258" y="5"/>
                </a:lnTo>
                <a:lnTo>
                  <a:pt x="258" y="2"/>
                </a:lnTo>
                <a:lnTo>
                  <a:pt x="260" y="2"/>
                </a:lnTo>
                <a:lnTo>
                  <a:pt x="263" y="2"/>
                </a:lnTo>
                <a:lnTo>
                  <a:pt x="260" y="5"/>
                </a:lnTo>
                <a:lnTo>
                  <a:pt x="260" y="7"/>
                </a:lnTo>
                <a:lnTo>
                  <a:pt x="263" y="7"/>
                </a:lnTo>
                <a:lnTo>
                  <a:pt x="263" y="5"/>
                </a:lnTo>
                <a:lnTo>
                  <a:pt x="263" y="7"/>
                </a:lnTo>
                <a:lnTo>
                  <a:pt x="263" y="9"/>
                </a:lnTo>
                <a:lnTo>
                  <a:pt x="260" y="9"/>
                </a:lnTo>
                <a:lnTo>
                  <a:pt x="263" y="12"/>
                </a:lnTo>
                <a:lnTo>
                  <a:pt x="263" y="9"/>
                </a:lnTo>
                <a:lnTo>
                  <a:pt x="265" y="7"/>
                </a:lnTo>
                <a:lnTo>
                  <a:pt x="265" y="9"/>
                </a:lnTo>
                <a:lnTo>
                  <a:pt x="267" y="9"/>
                </a:lnTo>
                <a:lnTo>
                  <a:pt x="267" y="7"/>
                </a:lnTo>
                <a:lnTo>
                  <a:pt x="270" y="7"/>
                </a:lnTo>
                <a:lnTo>
                  <a:pt x="272" y="9"/>
                </a:lnTo>
                <a:lnTo>
                  <a:pt x="272" y="12"/>
                </a:lnTo>
                <a:lnTo>
                  <a:pt x="274" y="12"/>
                </a:lnTo>
                <a:lnTo>
                  <a:pt x="277" y="14"/>
                </a:lnTo>
                <a:lnTo>
                  <a:pt x="277" y="12"/>
                </a:lnTo>
                <a:lnTo>
                  <a:pt x="277" y="14"/>
                </a:lnTo>
                <a:lnTo>
                  <a:pt x="279" y="14"/>
                </a:lnTo>
                <a:lnTo>
                  <a:pt x="281" y="14"/>
                </a:lnTo>
                <a:lnTo>
                  <a:pt x="284" y="14"/>
                </a:lnTo>
                <a:lnTo>
                  <a:pt x="286" y="14"/>
                </a:lnTo>
                <a:lnTo>
                  <a:pt x="288" y="14"/>
                </a:lnTo>
                <a:lnTo>
                  <a:pt x="290" y="14"/>
                </a:lnTo>
                <a:lnTo>
                  <a:pt x="290" y="12"/>
                </a:lnTo>
                <a:lnTo>
                  <a:pt x="293" y="12"/>
                </a:lnTo>
                <a:lnTo>
                  <a:pt x="293" y="14"/>
                </a:lnTo>
                <a:lnTo>
                  <a:pt x="293" y="16"/>
                </a:lnTo>
                <a:lnTo>
                  <a:pt x="295" y="14"/>
                </a:lnTo>
                <a:lnTo>
                  <a:pt x="295" y="16"/>
                </a:lnTo>
                <a:lnTo>
                  <a:pt x="297" y="16"/>
                </a:lnTo>
                <a:lnTo>
                  <a:pt x="300" y="16"/>
                </a:lnTo>
                <a:lnTo>
                  <a:pt x="300" y="19"/>
                </a:lnTo>
                <a:lnTo>
                  <a:pt x="300" y="16"/>
                </a:lnTo>
                <a:lnTo>
                  <a:pt x="300" y="14"/>
                </a:lnTo>
                <a:lnTo>
                  <a:pt x="302" y="14"/>
                </a:lnTo>
                <a:lnTo>
                  <a:pt x="304" y="14"/>
                </a:lnTo>
                <a:lnTo>
                  <a:pt x="304" y="16"/>
                </a:lnTo>
                <a:lnTo>
                  <a:pt x="302" y="16"/>
                </a:lnTo>
                <a:lnTo>
                  <a:pt x="302" y="19"/>
                </a:lnTo>
                <a:lnTo>
                  <a:pt x="304" y="19"/>
                </a:lnTo>
                <a:lnTo>
                  <a:pt x="307" y="16"/>
                </a:lnTo>
                <a:lnTo>
                  <a:pt x="309" y="19"/>
                </a:lnTo>
                <a:lnTo>
                  <a:pt x="311" y="19"/>
                </a:lnTo>
                <a:lnTo>
                  <a:pt x="311" y="21"/>
                </a:lnTo>
                <a:lnTo>
                  <a:pt x="316" y="21"/>
                </a:lnTo>
                <a:lnTo>
                  <a:pt x="316" y="23"/>
                </a:lnTo>
                <a:lnTo>
                  <a:pt x="318" y="23"/>
                </a:lnTo>
                <a:lnTo>
                  <a:pt x="321" y="23"/>
                </a:lnTo>
                <a:lnTo>
                  <a:pt x="318" y="23"/>
                </a:lnTo>
                <a:lnTo>
                  <a:pt x="316" y="23"/>
                </a:lnTo>
                <a:lnTo>
                  <a:pt x="316" y="26"/>
                </a:lnTo>
                <a:lnTo>
                  <a:pt x="318" y="26"/>
                </a:lnTo>
                <a:lnTo>
                  <a:pt x="321" y="28"/>
                </a:lnTo>
                <a:lnTo>
                  <a:pt x="318" y="28"/>
                </a:lnTo>
                <a:lnTo>
                  <a:pt x="321" y="30"/>
                </a:lnTo>
                <a:lnTo>
                  <a:pt x="321" y="28"/>
                </a:lnTo>
                <a:lnTo>
                  <a:pt x="321" y="30"/>
                </a:lnTo>
                <a:lnTo>
                  <a:pt x="323" y="33"/>
                </a:lnTo>
                <a:lnTo>
                  <a:pt x="325" y="30"/>
                </a:lnTo>
                <a:lnTo>
                  <a:pt x="325" y="33"/>
                </a:lnTo>
                <a:lnTo>
                  <a:pt x="328" y="33"/>
                </a:lnTo>
                <a:lnTo>
                  <a:pt x="330" y="30"/>
                </a:lnTo>
                <a:lnTo>
                  <a:pt x="330" y="33"/>
                </a:lnTo>
                <a:lnTo>
                  <a:pt x="332" y="33"/>
                </a:lnTo>
                <a:lnTo>
                  <a:pt x="335" y="33"/>
                </a:lnTo>
                <a:lnTo>
                  <a:pt x="335" y="30"/>
                </a:lnTo>
                <a:lnTo>
                  <a:pt x="335" y="33"/>
                </a:lnTo>
                <a:lnTo>
                  <a:pt x="337" y="33"/>
                </a:lnTo>
                <a:lnTo>
                  <a:pt x="339" y="33"/>
                </a:lnTo>
                <a:lnTo>
                  <a:pt x="339" y="35"/>
                </a:lnTo>
                <a:lnTo>
                  <a:pt x="342" y="35"/>
                </a:lnTo>
                <a:lnTo>
                  <a:pt x="342" y="37"/>
                </a:lnTo>
                <a:lnTo>
                  <a:pt x="344" y="37"/>
                </a:lnTo>
                <a:lnTo>
                  <a:pt x="346" y="37"/>
                </a:lnTo>
                <a:lnTo>
                  <a:pt x="346" y="40"/>
                </a:lnTo>
                <a:lnTo>
                  <a:pt x="349" y="40"/>
                </a:lnTo>
                <a:lnTo>
                  <a:pt x="349" y="42"/>
                </a:lnTo>
                <a:lnTo>
                  <a:pt x="351" y="42"/>
                </a:lnTo>
                <a:lnTo>
                  <a:pt x="353" y="42"/>
                </a:lnTo>
                <a:lnTo>
                  <a:pt x="353" y="44"/>
                </a:lnTo>
                <a:lnTo>
                  <a:pt x="356" y="44"/>
                </a:lnTo>
                <a:lnTo>
                  <a:pt x="356" y="47"/>
                </a:lnTo>
                <a:lnTo>
                  <a:pt x="356" y="49"/>
                </a:lnTo>
                <a:lnTo>
                  <a:pt x="358" y="49"/>
                </a:lnTo>
                <a:lnTo>
                  <a:pt x="358" y="51"/>
                </a:lnTo>
                <a:lnTo>
                  <a:pt x="360" y="51"/>
                </a:lnTo>
                <a:lnTo>
                  <a:pt x="363" y="51"/>
                </a:lnTo>
                <a:lnTo>
                  <a:pt x="363" y="54"/>
                </a:lnTo>
                <a:lnTo>
                  <a:pt x="365" y="54"/>
                </a:lnTo>
                <a:lnTo>
                  <a:pt x="367" y="54"/>
                </a:lnTo>
                <a:lnTo>
                  <a:pt x="367" y="56"/>
                </a:lnTo>
                <a:lnTo>
                  <a:pt x="367" y="58"/>
                </a:lnTo>
                <a:lnTo>
                  <a:pt x="370" y="63"/>
                </a:lnTo>
                <a:lnTo>
                  <a:pt x="372" y="63"/>
                </a:lnTo>
                <a:lnTo>
                  <a:pt x="374" y="63"/>
                </a:lnTo>
                <a:lnTo>
                  <a:pt x="374" y="65"/>
                </a:lnTo>
                <a:lnTo>
                  <a:pt x="377" y="68"/>
                </a:lnTo>
                <a:lnTo>
                  <a:pt x="377" y="70"/>
                </a:lnTo>
                <a:lnTo>
                  <a:pt x="377" y="72"/>
                </a:lnTo>
                <a:lnTo>
                  <a:pt x="377" y="75"/>
                </a:lnTo>
                <a:lnTo>
                  <a:pt x="379" y="75"/>
                </a:lnTo>
                <a:lnTo>
                  <a:pt x="381" y="75"/>
                </a:lnTo>
                <a:lnTo>
                  <a:pt x="384" y="77"/>
                </a:lnTo>
                <a:lnTo>
                  <a:pt x="384" y="82"/>
                </a:lnTo>
                <a:lnTo>
                  <a:pt x="386" y="84"/>
                </a:lnTo>
                <a:lnTo>
                  <a:pt x="388" y="86"/>
                </a:lnTo>
                <a:lnTo>
                  <a:pt x="388" y="89"/>
                </a:lnTo>
                <a:lnTo>
                  <a:pt x="391" y="91"/>
                </a:lnTo>
                <a:lnTo>
                  <a:pt x="393" y="93"/>
                </a:lnTo>
                <a:lnTo>
                  <a:pt x="395" y="93"/>
                </a:lnTo>
                <a:lnTo>
                  <a:pt x="398" y="93"/>
                </a:lnTo>
                <a:lnTo>
                  <a:pt x="400" y="96"/>
                </a:lnTo>
                <a:lnTo>
                  <a:pt x="402" y="96"/>
                </a:lnTo>
                <a:lnTo>
                  <a:pt x="405" y="96"/>
                </a:lnTo>
                <a:lnTo>
                  <a:pt x="405" y="98"/>
                </a:lnTo>
                <a:lnTo>
                  <a:pt x="407" y="96"/>
                </a:lnTo>
                <a:lnTo>
                  <a:pt x="412" y="98"/>
                </a:lnTo>
                <a:lnTo>
                  <a:pt x="414" y="98"/>
                </a:lnTo>
                <a:lnTo>
                  <a:pt x="414" y="100"/>
                </a:lnTo>
                <a:lnTo>
                  <a:pt x="416" y="100"/>
                </a:lnTo>
                <a:lnTo>
                  <a:pt x="416" y="98"/>
                </a:lnTo>
                <a:lnTo>
                  <a:pt x="418" y="98"/>
                </a:lnTo>
                <a:lnTo>
                  <a:pt x="418" y="100"/>
                </a:lnTo>
                <a:lnTo>
                  <a:pt x="421" y="100"/>
                </a:lnTo>
                <a:lnTo>
                  <a:pt x="423" y="100"/>
                </a:lnTo>
                <a:lnTo>
                  <a:pt x="423" y="98"/>
                </a:lnTo>
                <a:lnTo>
                  <a:pt x="425" y="98"/>
                </a:lnTo>
                <a:lnTo>
                  <a:pt x="428" y="100"/>
                </a:lnTo>
                <a:lnTo>
                  <a:pt x="430" y="98"/>
                </a:lnTo>
                <a:lnTo>
                  <a:pt x="432" y="98"/>
                </a:lnTo>
                <a:lnTo>
                  <a:pt x="432" y="100"/>
                </a:lnTo>
                <a:lnTo>
                  <a:pt x="432" y="103"/>
                </a:lnTo>
                <a:lnTo>
                  <a:pt x="435" y="103"/>
                </a:lnTo>
                <a:lnTo>
                  <a:pt x="437" y="103"/>
                </a:lnTo>
                <a:lnTo>
                  <a:pt x="437" y="100"/>
                </a:lnTo>
                <a:lnTo>
                  <a:pt x="439" y="103"/>
                </a:lnTo>
                <a:lnTo>
                  <a:pt x="439" y="105"/>
                </a:lnTo>
                <a:lnTo>
                  <a:pt x="439" y="107"/>
                </a:lnTo>
                <a:lnTo>
                  <a:pt x="439" y="110"/>
                </a:lnTo>
                <a:lnTo>
                  <a:pt x="437" y="110"/>
                </a:lnTo>
                <a:lnTo>
                  <a:pt x="435" y="110"/>
                </a:lnTo>
                <a:lnTo>
                  <a:pt x="432" y="114"/>
                </a:lnTo>
                <a:lnTo>
                  <a:pt x="430" y="114"/>
                </a:lnTo>
                <a:lnTo>
                  <a:pt x="428" y="117"/>
                </a:lnTo>
                <a:lnTo>
                  <a:pt x="428" y="114"/>
                </a:lnTo>
                <a:lnTo>
                  <a:pt x="428" y="117"/>
                </a:lnTo>
                <a:lnTo>
                  <a:pt x="428" y="119"/>
                </a:lnTo>
                <a:lnTo>
                  <a:pt x="425" y="119"/>
                </a:lnTo>
                <a:lnTo>
                  <a:pt x="425" y="121"/>
                </a:lnTo>
                <a:lnTo>
                  <a:pt x="425" y="123"/>
                </a:lnTo>
                <a:lnTo>
                  <a:pt x="425" y="130"/>
                </a:lnTo>
                <a:lnTo>
                  <a:pt x="423" y="133"/>
                </a:lnTo>
                <a:lnTo>
                  <a:pt x="423" y="135"/>
                </a:lnTo>
                <a:lnTo>
                  <a:pt x="421" y="137"/>
                </a:lnTo>
                <a:lnTo>
                  <a:pt x="421" y="140"/>
                </a:lnTo>
                <a:lnTo>
                  <a:pt x="418" y="140"/>
                </a:lnTo>
                <a:lnTo>
                  <a:pt x="418" y="137"/>
                </a:lnTo>
                <a:lnTo>
                  <a:pt x="416" y="140"/>
                </a:lnTo>
                <a:lnTo>
                  <a:pt x="416" y="142"/>
                </a:lnTo>
                <a:lnTo>
                  <a:pt x="414" y="144"/>
                </a:lnTo>
                <a:lnTo>
                  <a:pt x="412" y="144"/>
                </a:lnTo>
                <a:lnTo>
                  <a:pt x="412" y="147"/>
                </a:lnTo>
                <a:lnTo>
                  <a:pt x="412" y="149"/>
                </a:lnTo>
                <a:lnTo>
                  <a:pt x="412" y="151"/>
                </a:lnTo>
                <a:lnTo>
                  <a:pt x="416" y="154"/>
                </a:lnTo>
                <a:lnTo>
                  <a:pt x="418" y="156"/>
                </a:lnTo>
                <a:lnTo>
                  <a:pt x="418" y="154"/>
                </a:lnTo>
                <a:lnTo>
                  <a:pt x="418" y="151"/>
                </a:lnTo>
                <a:lnTo>
                  <a:pt x="416" y="149"/>
                </a:lnTo>
                <a:lnTo>
                  <a:pt x="416" y="147"/>
                </a:lnTo>
                <a:lnTo>
                  <a:pt x="418" y="147"/>
                </a:lnTo>
                <a:lnTo>
                  <a:pt x="421" y="147"/>
                </a:lnTo>
                <a:lnTo>
                  <a:pt x="423" y="147"/>
                </a:lnTo>
                <a:lnTo>
                  <a:pt x="423" y="144"/>
                </a:lnTo>
                <a:lnTo>
                  <a:pt x="425" y="144"/>
                </a:lnTo>
                <a:lnTo>
                  <a:pt x="428" y="147"/>
                </a:lnTo>
                <a:lnTo>
                  <a:pt x="430" y="151"/>
                </a:lnTo>
                <a:lnTo>
                  <a:pt x="432" y="151"/>
                </a:lnTo>
                <a:lnTo>
                  <a:pt x="435" y="151"/>
                </a:lnTo>
                <a:lnTo>
                  <a:pt x="435" y="154"/>
                </a:lnTo>
                <a:lnTo>
                  <a:pt x="437" y="154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2" name="Freeform 19">
            <a:extLst>
              <a:ext uri="{FF2B5EF4-FFF2-40B4-BE49-F238E27FC236}">
                <a16:creationId xmlns:a16="http://schemas.microsoft.com/office/drawing/2014/main" id="{6089ABE8-A869-3014-8740-00A3DB1EAB16}"/>
              </a:ext>
            </a:extLst>
          </p:cNvPr>
          <p:cNvSpPr>
            <a:spLocks noEditPoints="1"/>
          </p:cNvSpPr>
          <p:nvPr/>
        </p:nvSpPr>
        <p:spPr bwMode="auto">
          <a:xfrm>
            <a:off x="2945816" y="4735377"/>
            <a:ext cx="444201" cy="299162"/>
          </a:xfrm>
          <a:custGeom>
            <a:avLst/>
            <a:gdLst>
              <a:gd name="T0" fmla="*/ 363 w 377"/>
              <a:gd name="T1" fmla="*/ 201 h 266"/>
              <a:gd name="T2" fmla="*/ 182 w 377"/>
              <a:gd name="T3" fmla="*/ 10 h 266"/>
              <a:gd name="T4" fmla="*/ 200 w 377"/>
              <a:gd name="T5" fmla="*/ 14 h 266"/>
              <a:gd name="T6" fmla="*/ 231 w 377"/>
              <a:gd name="T7" fmla="*/ 33 h 266"/>
              <a:gd name="T8" fmla="*/ 251 w 377"/>
              <a:gd name="T9" fmla="*/ 31 h 266"/>
              <a:gd name="T10" fmla="*/ 268 w 377"/>
              <a:gd name="T11" fmla="*/ 33 h 266"/>
              <a:gd name="T12" fmla="*/ 284 w 377"/>
              <a:gd name="T13" fmla="*/ 42 h 266"/>
              <a:gd name="T14" fmla="*/ 293 w 377"/>
              <a:gd name="T15" fmla="*/ 70 h 266"/>
              <a:gd name="T16" fmla="*/ 296 w 377"/>
              <a:gd name="T17" fmla="*/ 94 h 266"/>
              <a:gd name="T18" fmla="*/ 300 w 377"/>
              <a:gd name="T19" fmla="*/ 108 h 266"/>
              <a:gd name="T20" fmla="*/ 310 w 377"/>
              <a:gd name="T21" fmla="*/ 124 h 266"/>
              <a:gd name="T22" fmla="*/ 310 w 377"/>
              <a:gd name="T23" fmla="*/ 138 h 266"/>
              <a:gd name="T24" fmla="*/ 321 w 377"/>
              <a:gd name="T25" fmla="*/ 147 h 266"/>
              <a:gd name="T26" fmla="*/ 342 w 377"/>
              <a:gd name="T27" fmla="*/ 149 h 266"/>
              <a:gd name="T28" fmla="*/ 349 w 377"/>
              <a:gd name="T29" fmla="*/ 161 h 266"/>
              <a:gd name="T30" fmla="*/ 354 w 377"/>
              <a:gd name="T31" fmla="*/ 170 h 266"/>
              <a:gd name="T32" fmla="*/ 368 w 377"/>
              <a:gd name="T33" fmla="*/ 184 h 266"/>
              <a:gd name="T34" fmla="*/ 368 w 377"/>
              <a:gd name="T35" fmla="*/ 196 h 266"/>
              <a:gd name="T36" fmla="*/ 368 w 377"/>
              <a:gd name="T37" fmla="*/ 189 h 266"/>
              <a:gd name="T38" fmla="*/ 359 w 377"/>
              <a:gd name="T39" fmla="*/ 191 h 266"/>
              <a:gd name="T40" fmla="*/ 354 w 377"/>
              <a:gd name="T41" fmla="*/ 187 h 266"/>
              <a:gd name="T42" fmla="*/ 354 w 377"/>
              <a:gd name="T43" fmla="*/ 198 h 266"/>
              <a:gd name="T44" fmla="*/ 338 w 377"/>
              <a:gd name="T45" fmla="*/ 196 h 266"/>
              <a:gd name="T46" fmla="*/ 347 w 377"/>
              <a:gd name="T47" fmla="*/ 203 h 266"/>
              <a:gd name="T48" fmla="*/ 347 w 377"/>
              <a:gd name="T49" fmla="*/ 219 h 266"/>
              <a:gd name="T50" fmla="*/ 338 w 377"/>
              <a:gd name="T51" fmla="*/ 222 h 266"/>
              <a:gd name="T52" fmla="*/ 338 w 377"/>
              <a:gd name="T53" fmla="*/ 231 h 266"/>
              <a:gd name="T54" fmla="*/ 307 w 377"/>
              <a:gd name="T55" fmla="*/ 231 h 266"/>
              <a:gd name="T56" fmla="*/ 284 w 377"/>
              <a:gd name="T57" fmla="*/ 243 h 266"/>
              <a:gd name="T58" fmla="*/ 263 w 377"/>
              <a:gd name="T59" fmla="*/ 229 h 266"/>
              <a:gd name="T60" fmla="*/ 242 w 377"/>
              <a:gd name="T61" fmla="*/ 231 h 266"/>
              <a:gd name="T62" fmla="*/ 228 w 377"/>
              <a:gd name="T63" fmla="*/ 226 h 266"/>
              <a:gd name="T64" fmla="*/ 219 w 377"/>
              <a:gd name="T65" fmla="*/ 238 h 266"/>
              <a:gd name="T66" fmla="*/ 203 w 377"/>
              <a:gd name="T67" fmla="*/ 238 h 266"/>
              <a:gd name="T68" fmla="*/ 189 w 377"/>
              <a:gd name="T69" fmla="*/ 247 h 266"/>
              <a:gd name="T70" fmla="*/ 184 w 377"/>
              <a:gd name="T71" fmla="*/ 263 h 266"/>
              <a:gd name="T72" fmla="*/ 163 w 377"/>
              <a:gd name="T73" fmla="*/ 259 h 266"/>
              <a:gd name="T74" fmla="*/ 130 w 377"/>
              <a:gd name="T75" fmla="*/ 247 h 266"/>
              <a:gd name="T76" fmla="*/ 110 w 377"/>
              <a:gd name="T77" fmla="*/ 243 h 266"/>
              <a:gd name="T78" fmla="*/ 82 w 377"/>
              <a:gd name="T79" fmla="*/ 238 h 266"/>
              <a:gd name="T80" fmla="*/ 56 w 377"/>
              <a:gd name="T81" fmla="*/ 231 h 266"/>
              <a:gd name="T82" fmla="*/ 44 w 377"/>
              <a:gd name="T83" fmla="*/ 210 h 266"/>
              <a:gd name="T84" fmla="*/ 37 w 377"/>
              <a:gd name="T85" fmla="*/ 189 h 266"/>
              <a:gd name="T86" fmla="*/ 28 w 377"/>
              <a:gd name="T87" fmla="*/ 182 h 266"/>
              <a:gd name="T88" fmla="*/ 16 w 377"/>
              <a:gd name="T89" fmla="*/ 187 h 266"/>
              <a:gd name="T90" fmla="*/ 7 w 377"/>
              <a:gd name="T91" fmla="*/ 187 h 266"/>
              <a:gd name="T92" fmla="*/ 5 w 377"/>
              <a:gd name="T93" fmla="*/ 177 h 266"/>
              <a:gd name="T94" fmla="*/ 9 w 377"/>
              <a:gd name="T95" fmla="*/ 168 h 266"/>
              <a:gd name="T96" fmla="*/ 23 w 377"/>
              <a:gd name="T97" fmla="*/ 166 h 266"/>
              <a:gd name="T98" fmla="*/ 19 w 377"/>
              <a:gd name="T99" fmla="*/ 159 h 266"/>
              <a:gd name="T100" fmla="*/ 14 w 377"/>
              <a:gd name="T101" fmla="*/ 152 h 266"/>
              <a:gd name="T102" fmla="*/ 26 w 377"/>
              <a:gd name="T103" fmla="*/ 145 h 266"/>
              <a:gd name="T104" fmla="*/ 28 w 377"/>
              <a:gd name="T105" fmla="*/ 133 h 266"/>
              <a:gd name="T106" fmla="*/ 23 w 377"/>
              <a:gd name="T107" fmla="*/ 115 h 266"/>
              <a:gd name="T108" fmla="*/ 23 w 377"/>
              <a:gd name="T109" fmla="*/ 94 h 266"/>
              <a:gd name="T110" fmla="*/ 40 w 377"/>
              <a:gd name="T111" fmla="*/ 68 h 266"/>
              <a:gd name="T112" fmla="*/ 63 w 377"/>
              <a:gd name="T113" fmla="*/ 35 h 266"/>
              <a:gd name="T114" fmla="*/ 96 w 377"/>
              <a:gd name="T115" fmla="*/ 7 h 266"/>
              <a:gd name="T116" fmla="*/ 119 w 377"/>
              <a:gd name="T117" fmla="*/ 5 h 266"/>
              <a:gd name="T118" fmla="*/ 142 w 377"/>
              <a:gd name="T119" fmla="*/ 5 h 266"/>
              <a:gd name="T120" fmla="*/ 161 w 377"/>
              <a:gd name="T121" fmla="*/ 3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7" h="266">
                <a:moveTo>
                  <a:pt x="361" y="201"/>
                </a:moveTo>
                <a:lnTo>
                  <a:pt x="361" y="203"/>
                </a:lnTo>
                <a:lnTo>
                  <a:pt x="359" y="201"/>
                </a:lnTo>
                <a:lnTo>
                  <a:pt x="359" y="198"/>
                </a:lnTo>
                <a:lnTo>
                  <a:pt x="359" y="196"/>
                </a:lnTo>
                <a:lnTo>
                  <a:pt x="361" y="194"/>
                </a:lnTo>
                <a:lnTo>
                  <a:pt x="363" y="194"/>
                </a:lnTo>
                <a:lnTo>
                  <a:pt x="363" y="196"/>
                </a:lnTo>
                <a:lnTo>
                  <a:pt x="363" y="198"/>
                </a:lnTo>
                <a:lnTo>
                  <a:pt x="363" y="201"/>
                </a:lnTo>
                <a:lnTo>
                  <a:pt x="361" y="201"/>
                </a:lnTo>
                <a:close/>
                <a:moveTo>
                  <a:pt x="168" y="7"/>
                </a:moveTo>
                <a:lnTo>
                  <a:pt x="170" y="7"/>
                </a:lnTo>
                <a:lnTo>
                  <a:pt x="172" y="7"/>
                </a:lnTo>
                <a:lnTo>
                  <a:pt x="175" y="7"/>
                </a:lnTo>
                <a:lnTo>
                  <a:pt x="177" y="10"/>
                </a:lnTo>
                <a:lnTo>
                  <a:pt x="177" y="12"/>
                </a:lnTo>
                <a:lnTo>
                  <a:pt x="179" y="12"/>
                </a:lnTo>
                <a:lnTo>
                  <a:pt x="179" y="10"/>
                </a:lnTo>
                <a:lnTo>
                  <a:pt x="182" y="10"/>
                </a:lnTo>
                <a:lnTo>
                  <a:pt x="182" y="12"/>
                </a:lnTo>
                <a:lnTo>
                  <a:pt x="184" y="12"/>
                </a:lnTo>
                <a:lnTo>
                  <a:pt x="186" y="12"/>
                </a:lnTo>
                <a:lnTo>
                  <a:pt x="189" y="12"/>
                </a:lnTo>
                <a:lnTo>
                  <a:pt x="191" y="12"/>
                </a:lnTo>
                <a:lnTo>
                  <a:pt x="193" y="12"/>
                </a:lnTo>
                <a:lnTo>
                  <a:pt x="196" y="12"/>
                </a:lnTo>
                <a:lnTo>
                  <a:pt x="198" y="12"/>
                </a:lnTo>
                <a:lnTo>
                  <a:pt x="200" y="12"/>
                </a:lnTo>
                <a:lnTo>
                  <a:pt x="200" y="14"/>
                </a:lnTo>
                <a:lnTo>
                  <a:pt x="203" y="14"/>
                </a:lnTo>
                <a:lnTo>
                  <a:pt x="207" y="17"/>
                </a:lnTo>
                <a:lnTo>
                  <a:pt x="212" y="19"/>
                </a:lnTo>
                <a:lnTo>
                  <a:pt x="217" y="21"/>
                </a:lnTo>
                <a:lnTo>
                  <a:pt x="224" y="24"/>
                </a:lnTo>
                <a:lnTo>
                  <a:pt x="226" y="24"/>
                </a:lnTo>
                <a:lnTo>
                  <a:pt x="228" y="28"/>
                </a:lnTo>
                <a:lnTo>
                  <a:pt x="228" y="31"/>
                </a:lnTo>
                <a:lnTo>
                  <a:pt x="228" y="33"/>
                </a:lnTo>
                <a:lnTo>
                  <a:pt x="231" y="33"/>
                </a:lnTo>
                <a:lnTo>
                  <a:pt x="233" y="33"/>
                </a:lnTo>
                <a:lnTo>
                  <a:pt x="235" y="33"/>
                </a:lnTo>
                <a:lnTo>
                  <a:pt x="235" y="31"/>
                </a:lnTo>
                <a:lnTo>
                  <a:pt x="238" y="31"/>
                </a:lnTo>
                <a:lnTo>
                  <a:pt x="242" y="33"/>
                </a:lnTo>
                <a:lnTo>
                  <a:pt x="244" y="33"/>
                </a:lnTo>
                <a:lnTo>
                  <a:pt x="247" y="33"/>
                </a:lnTo>
                <a:lnTo>
                  <a:pt x="249" y="33"/>
                </a:lnTo>
                <a:lnTo>
                  <a:pt x="251" y="33"/>
                </a:lnTo>
                <a:lnTo>
                  <a:pt x="251" y="31"/>
                </a:lnTo>
                <a:lnTo>
                  <a:pt x="254" y="31"/>
                </a:lnTo>
                <a:lnTo>
                  <a:pt x="254" y="33"/>
                </a:lnTo>
                <a:lnTo>
                  <a:pt x="256" y="33"/>
                </a:lnTo>
                <a:lnTo>
                  <a:pt x="256" y="35"/>
                </a:lnTo>
                <a:lnTo>
                  <a:pt x="258" y="35"/>
                </a:lnTo>
                <a:lnTo>
                  <a:pt x="258" y="33"/>
                </a:lnTo>
                <a:lnTo>
                  <a:pt x="261" y="33"/>
                </a:lnTo>
                <a:lnTo>
                  <a:pt x="263" y="35"/>
                </a:lnTo>
                <a:lnTo>
                  <a:pt x="268" y="35"/>
                </a:lnTo>
                <a:lnTo>
                  <a:pt x="268" y="33"/>
                </a:lnTo>
                <a:lnTo>
                  <a:pt x="270" y="33"/>
                </a:lnTo>
                <a:lnTo>
                  <a:pt x="272" y="33"/>
                </a:lnTo>
                <a:lnTo>
                  <a:pt x="275" y="33"/>
                </a:lnTo>
                <a:lnTo>
                  <a:pt x="277" y="33"/>
                </a:lnTo>
                <a:lnTo>
                  <a:pt x="277" y="35"/>
                </a:lnTo>
                <a:lnTo>
                  <a:pt x="279" y="38"/>
                </a:lnTo>
                <a:lnTo>
                  <a:pt x="279" y="40"/>
                </a:lnTo>
                <a:lnTo>
                  <a:pt x="279" y="42"/>
                </a:lnTo>
                <a:lnTo>
                  <a:pt x="282" y="42"/>
                </a:lnTo>
                <a:lnTo>
                  <a:pt x="284" y="42"/>
                </a:lnTo>
                <a:lnTo>
                  <a:pt x="286" y="45"/>
                </a:lnTo>
                <a:lnTo>
                  <a:pt x="289" y="45"/>
                </a:lnTo>
                <a:lnTo>
                  <a:pt x="289" y="47"/>
                </a:lnTo>
                <a:lnTo>
                  <a:pt x="291" y="47"/>
                </a:lnTo>
                <a:lnTo>
                  <a:pt x="291" y="49"/>
                </a:lnTo>
                <a:lnTo>
                  <a:pt x="293" y="52"/>
                </a:lnTo>
                <a:lnTo>
                  <a:pt x="293" y="56"/>
                </a:lnTo>
                <a:lnTo>
                  <a:pt x="296" y="61"/>
                </a:lnTo>
                <a:lnTo>
                  <a:pt x="296" y="66"/>
                </a:lnTo>
                <a:lnTo>
                  <a:pt x="293" y="70"/>
                </a:lnTo>
                <a:lnTo>
                  <a:pt x="293" y="73"/>
                </a:lnTo>
                <a:lnTo>
                  <a:pt x="293" y="75"/>
                </a:lnTo>
                <a:lnTo>
                  <a:pt x="293" y="77"/>
                </a:lnTo>
                <a:lnTo>
                  <a:pt x="293" y="80"/>
                </a:lnTo>
                <a:lnTo>
                  <a:pt x="296" y="82"/>
                </a:lnTo>
                <a:lnTo>
                  <a:pt x="296" y="84"/>
                </a:lnTo>
                <a:lnTo>
                  <a:pt x="298" y="84"/>
                </a:lnTo>
                <a:lnTo>
                  <a:pt x="296" y="89"/>
                </a:lnTo>
                <a:lnTo>
                  <a:pt x="296" y="91"/>
                </a:lnTo>
                <a:lnTo>
                  <a:pt x="296" y="94"/>
                </a:lnTo>
                <a:lnTo>
                  <a:pt x="293" y="94"/>
                </a:lnTo>
                <a:lnTo>
                  <a:pt x="293" y="96"/>
                </a:lnTo>
                <a:lnTo>
                  <a:pt x="296" y="96"/>
                </a:lnTo>
                <a:lnTo>
                  <a:pt x="296" y="98"/>
                </a:lnTo>
                <a:lnTo>
                  <a:pt x="298" y="98"/>
                </a:lnTo>
                <a:lnTo>
                  <a:pt x="298" y="101"/>
                </a:lnTo>
                <a:lnTo>
                  <a:pt x="298" y="103"/>
                </a:lnTo>
                <a:lnTo>
                  <a:pt x="300" y="103"/>
                </a:lnTo>
                <a:lnTo>
                  <a:pt x="300" y="105"/>
                </a:lnTo>
                <a:lnTo>
                  <a:pt x="300" y="108"/>
                </a:lnTo>
                <a:lnTo>
                  <a:pt x="303" y="108"/>
                </a:lnTo>
                <a:lnTo>
                  <a:pt x="303" y="110"/>
                </a:lnTo>
                <a:lnTo>
                  <a:pt x="305" y="110"/>
                </a:lnTo>
                <a:lnTo>
                  <a:pt x="307" y="110"/>
                </a:lnTo>
                <a:lnTo>
                  <a:pt x="307" y="112"/>
                </a:lnTo>
                <a:lnTo>
                  <a:pt x="307" y="115"/>
                </a:lnTo>
                <a:lnTo>
                  <a:pt x="307" y="117"/>
                </a:lnTo>
                <a:lnTo>
                  <a:pt x="307" y="119"/>
                </a:lnTo>
                <a:lnTo>
                  <a:pt x="310" y="119"/>
                </a:lnTo>
                <a:lnTo>
                  <a:pt x="310" y="124"/>
                </a:lnTo>
                <a:lnTo>
                  <a:pt x="312" y="124"/>
                </a:lnTo>
                <a:lnTo>
                  <a:pt x="312" y="126"/>
                </a:lnTo>
                <a:lnTo>
                  <a:pt x="312" y="128"/>
                </a:lnTo>
                <a:lnTo>
                  <a:pt x="312" y="131"/>
                </a:lnTo>
                <a:lnTo>
                  <a:pt x="310" y="131"/>
                </a:lnTo>
                <a:lnTo>
                  <a:pt x="310" y="133"/>
                </a:lnTo>
                <a:lnTo>
                  <a:pt x="307" y="133"/>
                </a:lnTo>
                <a:lnTo>
                  <a:pt x="310" y="133"/>
                </a:lnTo>
                <a:lnTo>
                  <a:pt x="310" y="135"/>
                </a:lnTo>
                <a:lnTo>
                  <a:pt x="310" y="138"/>
                </a:lnTo>
                <a:lnTo>
                  <a:pt x="307" y="138"/>
                </a:lnTo>
                <a:lnTo>
                  <a:pt x="307" y="140"/>
                </a:lnTo>
                <a:lnTo>
                  <a:pt x="307" y="142"/>
                </a:lnTo>
                <a:lnTo>
                  <a:pt x="307" y="145"/>
                </a:lnTo>
                <a:lnTo>
                  <a:pt x="307" y="147"/>
                </a:lnTo>
                <a:lnTo>
                  <a:pt x="312" y="147"/>
                </a:lnTo>
                <a:lnTo>
                  <a:pt x="314" y="147"/>
                </a:lnTo>
                <a:lnTo>
                  <a:pt x="317" y="147"/>
                </a:lnTo>
                <a:lnTo>
                  <a:pt x="319" y="147"/>
                </a:lnTo>
                <a:lnTo>
                  <a:pt x="321" y="147"/>
                </a:lnTo>
                <a:lnTo>
                  <a:pt x="324" y="147"/>
                </a:lnTo>
                <a:lnTo>
                  <a:pt x="324" y="145"/>
                </a:lnTo>
                <a:lnTo>
                  <a:pt x="326" y="147"/>
                </a:lnTo>
                <a:lnTo>
                  <a:pt x="331" y="147"/>
                </a:lnTo>
                <a:lnTo>
                  <a:pt x="333" y="147"/>
                </a:lnTo>
                <a:lnTo>
                  <a:pt x="335" y="147"/>
                </a:lnTo>
                <a:lnTo>
                  <a:pt x="335" y="149"/>
                </a:lnTo>
                <a:lnTo>
                  <a:pt x="338" y="149"/>
                </a:lnTo>
                <a:lnTo>
                  <a:pt x="340" y="149"/>
                </a:lnTo>
                <a:lnTo>
                  <a:pt x="342" y="149"/>
                </a:lnTo>
                <a:lnTo>
                  <a:pt x="342" y="152"/>
                </a:lnTo>
                <a:lnTo>
                  <a:pt x="345" y="152"/>
                </a:lnTo>
                <a:lnTo>
                  <a:pt x="345" y="149"/>
                </a:lnTo>
                <a:lnTo>
                  <a:pt x="347" y="149"/>
                </a:lnTo>
                <a:lnTo>
                  <a:pt x="349" y="149"/>
                </a:lnTo>
                <a:lnTo>
                  <a:pt x="349" y="152"/>
                </a:lnTo>
                <a:lnTo>
                  <a:pt x="354" y="154"/>
                </a:lnTo>
                <a:lnTo>
                  <a:pt x="352" y="156"/>
                </a:lnTo>
                <a:lnTo>
                  <a:pt x="349" y="159"/>
                </a:lnTo>
                <a:lnTo>
                  <a:pt x="349" y="161"/>
                </a:lnTo>
                <a:lnTo>
                  <a:pt x="349" y="163"/>
                </a:lnTo>
                <a:lnTo>
                  <a:pt x="349" y="166"/>
                </a:lnTo>
                <a:lnTo>
                  <a:pt x="347" y="168"/>
                </a:lnTo>
                <a:lnTo>
                  <a:pt x="347" y="170"/>
                </a:lnTo>
                <a:lnTo>
                  <a:pt x="347" y="173"/>
                </a:lnTo>
                <a:lnTo>
                  <a:pt x="349" y="175"/>
                </a:lnTo>
                <a:lnTo>
                  <a:pt x="352" y="175"/>
                </a:lnTo>
                <a:lnTo>
                  <a:pt x="352" y="173"/>
                </a:lnTo>
                <a:lnTo>
                  <a:pt x="354" y="173"/>
                </a:lnTo>
                <a:lnTo>
                  <a:pt x="354" y="170"/>
                </a:lnTo>
                <a:lnTo>
                  <a:pt x="356" y="168"/>
                </a:lnTo>
                <a:lnTo>
                  <a:pt x="359" y="170"/>
                </a:lnTo>
                <a:lnTo>
                  <a:pt x="361" y="170"/>
                </a:lnTo>
                <a:lnTo>
                  <a:pt x="361" y="173"/>
                </a:lnTo>
                <a:lnTo>
                  <a:pt x="363" y="173"/>
                </a:lnTo>
                <a:lnTo>
                  <a:pt x="366" y="173"/>
                </a:lnTo>
                <a:lnTo>
                  <a:pt x="368" y="175"/>
                </a:lnTo>
                <a:lnTo>
                  <a:pt x="368" y="177"/>
                </a:lnTo>
                <a:lnTo>
                  <a:pt x="368" y="182"/>
                </a:lnTo>
                <a:lnTo>
                  <a:pt x="368" y="184"/>
                </a:lnTo>
                <a:lnTo>
                  <a:pt x="370" y="184"/>
                </a:lnTo>
                <a:lnTo>
                  <a:pt x="370" y="187"/>
                </a:lnTo>
                <a:lnTo>
                  <a:pt x="372" y="187"/>
                </a:lnTo>
                <a:lnTo>
                  <a:pt x="375" y="187"/>
                </a:lnTo>
                <a:lnTo>
                  <a:pt x="377" y="187"/>
                </a:lnTo>
                <a:lnTo>
                  <a:pt x="375" y="189"/>
                </a:lnTo>
                <a:lnTo>
                  <a:pt x="375" y="191"/>
                </a:lnTo>
                <a:lnTo>
                  <a:pt x="372" y="191"/>
                </a:lnTo>
                <a:lnTo>
                  <a:pt x="372" y="194"/>
                </a:lnTo>
                <a:lnTo>
                  <a:pt x="368" y="196"/>
                </a:lnTo>
                <a:lnTo>
                  <a:pt x="366" y="198"/>
                </a:lnTo>
                <a:lnTo>
                  <a:pt x="366" y="201"/>
                </a:lnTo>
                <a:lnTo>
                  <a:pt x="363" y="201"/>
                </a:lnTo>
                <a:lnTo>
                  <a:pt x="363" y="198"/>
                </a:lnTo>
                <a:lnTo>
                  <a:pt x="366" y="194"/>
                </a:lnTo>
                <a:lnTo>
                  <a:pt x="366" y="191"/>
                </a:lnTo>
                <a:lnTo>
                  <a:pt x="368" y="191"/>
                </a:lnTo>
                <a:lnTo>
                  <a:pt x="370" y="191"/>
                </a:lnTo>
                <a:lnTo>
                  <a:pt x="370" y="189"/>
                </a:lnTo>
                <a:lnTo>
                  <a:pt x="368" y="189"/>
                </a:lnTo>
                <a:lnTo>
                  <a:pt x="368" y="191"/>
                </a:lnTo>
                <a:lnTo>
                  <a:pt x="366" y="191"/>
                </a:lnTo>
                <a:lnTo>
                  <a:pt x="363" y="191"/>
                </a:lnTo>
                <a:lnTo>
                  <a:pt x="363" y="189"/>
                </a:lnTo>
                <a:lnTo>
                  <a:pt x="361" y="189"/>
                </a:lnTo>
                <a:lnTo>
                  <a:pt x="361" y="191"/>
                </a:lnTo>
                <a:lnTo>
                  <a:pt x="361" y="194"/>
                </a:lnTo>
                <a:lnTo>
                  <a:pt x="359" y="194"/>
                </a:lnTo>
                <a:lnTo>
                  <a:pt x="361" y="191"/>
                </a:lnTo>
                <a:lnTo>
                  <a:pt x="359" y="191"/>
                </a:lnTo>
                <a:lnTo>
                  <a:pt x="359" y="189"/>
                </a:lnTo>
                <a:lnTo>
                  <a:pt x="361" y="187"/>
                </a:lnTo>
                <a:lnTo>
                  <a:pt x="361" y="184"/>
                </a:lnTo>
                <a:lnTo>
                  <a:pt x="359" y="187"/>
                </a:lnTo>
                <a:lnTo>
                  <a:pt x="359" y="189"/>
                </a:lnTo>
                <a:lnTo>
                  <a:pt x="356" y="189"/>
                </a:lnTo>
                <a:lnTo>
                  <a:pt x="359" y="189"/>
                </a:lnTo>
                <a:lnTo>
                  <a:pt x="356" y="189"/>
                </a:lnTo>
                <a:lnTo>
                  <a:pt x="354" y="189"/>
                </a:lnTo>
                <a:lnTo>
                  <a:pt x="354" y="187"/>
                </a:lnTo>
                <a:lnTo>
                  <a:pt x="352" y="187"/>
                </a:lnTo>
                <a:lnTo>
                  <a:pt x="354" y="191"/>
                </a:lnTo>
                <a:lnTo>
                  <a:pt x="352" y="191"/>
                </a:lnTo>
                <a:lnTo>
                  <a:pt x="349" y="191"/>
                </a:lnTo>
                <a:lnTo>
                  <a:pt x="352" y="191"/>
                </a:lnTo>
                <a:lnTo>
                  <a:pt x="354" y="194"/>
                </a:lnTo>
                <a:lnTo>
                  <a:pt x="352" y="194"/>
                </a:lnTo>
                <a:lnTo>
                  <a:pt x="354" y="194"/>
                </a:lnTo>
                <a:lnTo>
                  <a:pt x="354" y="196"/>
                </a:lnTo>
                <a:lnTo>
                  <a:pt x="354" y="198"/>
                </a:lnTo>
                <a:lnTo>
                  <a:pt x="352" y="198"/>
                </a:lnTo>
                <a:lnTo>
                  <a:pt x="352" y="201"/>
                </a:lnTo>
                <a:lnTo>
                  <a:pt x="349" y="201"/>
                </a:lnTo>
                <a:lnTo>
                  <a:pt x="347" y="198"/>
                </a:lnTo>
                <a:lnTo>
                  <a:pt x="345" y="198"/>
                </a:lnTo>
                <a:lnTo>
                  <a:pt x="342" y="198"/>
                </a:lnTo>
                <a:lnTo>
                  <a:pt x="338" y="196"/>
                </a:lnTo>
                <a:lnTo>
                  <a:pt x="335" y="191"/>
                </a:lnTo>
                <a:lnTo>
                  <a:pt x="338" y="194"/>
                </a:lnTo>
                <a:lnTo>
                  <a:pt x="338" y="196"/>
                </a:lnTo>
                <a:lnTo>
                  <a:pt x="338" y="198"/>
                </a:lnTo>
                <a:lnTo>
                  <a:pt x="335" y="198"/>
                </a:lnTo>
                <a:lnTo>
                  <a:pt x="338" y="201"/>
                </a:lnTo>
                <a:lnTo>
                  <a:pt x="340" y="201"/>
                </a:lnTo>
                <a:lnTo>
                  <a:pt x="342" y="201"/>
                </a:lnTo>
                <a:lnTo>
                  <a:pt x="340" y="201"/>
                </a:lnTo>
                <a:lnTo>
                  <a:pt x="340" y="203"/>
                </a:lnTo>
                <a:lnTo>
                  <a:pt x="342" y="203"/>
                </a:lnTo>
                <a:lnTo>
                  <a:pt x="345" y="203"/>
                </a:lnTo>
                <a:lnTo>
                  <a:pt x="347" y="203"/>
                </a:lnTo>
                <a:lnTo>
                  <a:pt x="349" y="203"/>
                </a:lnTo>
                <a:lnTo>
                  <a:pt x="349" y="205"/>
                </a:lnTo>
                <a:lnTo>
                  <a:pt x="349" y="208"/>
                </a:lnTo>
                <a:lnTo>
                  <a:pt x="349" y="205"/>
                </a:lnTo>
                <a:lnTo>
                  <a:pt x="352" y="205"/>
                </a:lnTo>
                <a:lnTo>
                  <a:pt x="354" y="205"/>
                </a:lnTo>
                <a:lnTo>
                  <a:pt x="356" y="208"/>
                </a:lnTo>
                <a:lnTo>
                  <a:pt x="354" y="208"/>
                </a:lnTo>
                <a:lnTo>
                  <a:pt x="352" y="210"/>
                </a:lnTo>
                <a:lnTo>
                  <a:pt x="347" y="219"/>
                </a:lnTo>
                <a:lnTo>
                  <a:pt x="345" y="222"/>
                </a:lnTo>
                <a:lnTo>
                  <a:pt x="345" y="224"/>
                </a:lnTo>
                <a:lnTo>
                  <a:pt x="345" y="222"/>
                </a:lnTo>
                <a:lnTo>
                  <a:pt x="342" y="222"/>
                </a:lnTo>
                <a:lnTo>
                  <a:pt x="342" y="219"/>
                </a:lnTo>
                <a:lnTo>
                  <a:pt x="340" y="219"/>
                </a:lnTo>
                <a:lnTo>
                  <a:pt x="340" y="222"/>
                </a:lnTo>
                <a:lnTo>
                  <a:pt x="342" y="222"/>
                </a:lnTo>
                <a:lnTo>
                  <a:pt x="342" y="224"/>
                </a:lnTo>
                <a:lnTo>
                  <a:pt x="338" y="222"/>
                </a:lnTo>
                <a:lnTo>
                  <a:pt x="333" y="222"/>
                </a:lnTo>
                <a:lnTo>
                  <a:pt x="333" y="224"/>
                </a:lnTo>
                <a:lnTo>
                  <a:pt x="331" y="224"/>
                </a:lnTo>
                <a:lnTo>
                  <a:pt x="333" y="224"/>
                </a:lnTo>
                <a:lnTo>
                  <a:pt x="342" y="224"/>
                </a:lnTo>
                <a:lnTo>
                  <a:pt x="345" y="226"/>
                </a:lnTo>
                <a:lnTo>
                  <a:pt x="342" y="226"/>
                </a:lnTo>
                <a:lnTo>
                  <a:pt x="342" y="231"/>
                </a:lnTo>
                <a:lnTo>
                  <a:pt x="340" y="231"/>
                </a:lnTo>
                <a:lnTo>
                  <a:pt x="338" y="231"/>
                </a:lnTo>
                <a:lnTo>
                  <a:pt x="324" y="229"/>
                </a:lnTo>
                <a:lnTo>
                  <a:pt x="321" y="231"/>
                </a:lnTo>
                <a:lnTo>
                  <a:pt x="319" y="231"/>
                </a:lnTo>
                <a:lnTo>
                  <a:pt x="317" y="231"/>
                </a:lnTo>
                <a:lnTo>
                  <a:pt x="314" y="231"/>
                </a:lnTo>
                <a:lnTo>
                  <a:pt x="312" y="231"/>
                </a:lnTo>
                <a:lnTo>
                  <a:pt x="312" y="229"/>
                </a:lnTo>
                <a:lnTo>
                  <a:pt x="312" y="231"/>
                </a:lnTo>
                <a:lnTo>
                  <a:pt x="310" y="231"/>
                </a:lnTo>
                <a:lnTo>
                  <a:pt x="307" y="231"/>
                </a:lnTo>
                <a:lnTo>
                  <a:pt x="305" y="231"/>
                </a:lnTo>
                <a:lnTo>
                  <a:pt x="305" y="233"/>
                </a:lnTo>
                <a:lnTo>
                  <a:pt x="303" y="233"/>
                </a:lnTo>
                <a:lnTo>
                  <a:pt x="300" y="236"/>
                </a:lnTo>
                <a:lnTo>
                  <a:pt x="296" y="238"/>
                </a:lnTo>
                <a:lnTo>
                  <a:pt x="293" y="238"/>
                </a:lnTo>
                <a:lnTo>
                  <a:pt x="291" y="240"/>
                </a:lnTo>
                <a:lnTo>
                  <a:pt x="289" y="243"/>
                </a:lnTo>
                <a:lnTo>
                  <a:pt x="286" y="243"/>
                </a:lnTo>
                <a:lnTo>
                  <a:pt x="284" y="243"/>
                </a:lnTo>
                <a:lnTo>
                  <a:pt x="279" y="240"/>
                </a:lnTo>
                <a:lnTo>
                  <a:pt x="277" y="238"/>
                </a:lnTo>
                <a:lnTo>
                  <a:pt x="275" y="238"/>
                </a:lnTo>
                <a:lnTo>
                  <a:pt x="275" y="236"/>
                </a:lnTo>
                <a:lnTo>
                  <a:pt x="270" y="233"/>
                </a:lnTo>
                <a:lnTo>
                  <a:pt x="270" y="231"/>
                </a:lnTo>
                <a:lnTo>
                  <a:pt x="268" y="231"/>
                </a:lnTo>
                <a:lnTo>
                  <a:pt x="268" y="229"/>
                </a:lnTo>
                <a:lnTo>
                  <a:pt x="265" y="229"/>
                </a:lnTo>
                <a:lnTo>
                  <a:pt x="263" y="229"/>
                </a:lnTo>
                <a:lnTo>
                  <a:pt x="261" y="226"/>
                </a:lnTo>
                <a:lnTo>
                  <a:pt x="261" y="229"/>
                </a:lnTo>
                <a:lnTo>
                  <a:pt x="258" y="229"/>
                </a:lnTo>
                <a:lnTo>
                  <a:pt x="254" y="229"/>
                </a:lnTo>
                <a:lnTo>
                  <a:pt x="251" y="229"/>
                </a:lnTo>
                <a:lnTo>
                  <a:pt x="249" y="229"/>
                </a:lnTo>
                <a:lnTo>
                  <a:pt x="247" y="229"/>
                </a:lnTo>
                <a:lnTo>
                  <a:pt x="244" y="229"/>
                </a:lnTo>
                <a:lnTo>
                  <a:pt x="242" y="229"/>
                </a:lnTo>
                <a:lnTo>
                  <a:pt x="242" y="231"/>
                </a:lnTo>
                <a:lnTo>
                  <a:pt x="242" y="233"/>
                </a:lnTo>
                <a:lnTo>
                  <a:pt x="240" y="231"/>
                </a:lnTo>
                <a:lnTo>
                  <a:pt x="240" y="229"/>
                </a:lnTo>
                <a:lnTo>
                  <a:pt x="238" y="229"/>
                </a:lnTo>
                <a:lnTo>
                  <a:pt x="235" y="229"/>
                </a:lnTo>
                <a:lnTo>
                  <a:pt x="235" y="226"/>
                </a:lnTo>
                <a:lnTo>
                  <a:pt x="231" y="226"/>
                </a:lnTo>
                <a:lnTo>
                  <a:pt x="228" y="226"/>
                </a:lnTo>
                <a:lnTo>
                  <a:pt x="228" y="224"/>
                </a:lnTo>
                <a:lnTo>
                  <a:pt x="228" y="226"/>
                </a:lnTo>
                <a:lnTo>
                  <a:pt x="231" y="226"/>
                </a:lnTo>
                <a:lnTo>
                  <a:pt x="228" y="226"/>
                </a:lnTo>
                <a:lnTo>
                  <a:pt x="228" y="229"/>
                </a:lnTo>
                <a:lnTo>
                  <a:pt x="226" y="229"/>
                </a:lnTo>
                <a:lnTo>
                  <a:pt x="224" y="229"/>
                </a:lnTo>
                <a:lnTo>
                  <a:pt x="224" y="231"/>
                </a:lnTo>
                <a:lnTo>
                  <a:pt x="221" y="233"/>
                </a:lnTo>
                <a:lnTo>
                  <a:pt x="221" y="236"/>
                </a:lnTo>
                <a:lnTo>
                  <a:pt x="219" y="236"/>
                </a:lnTo>
                <a:lnTo>
                  <a:pt x="219" y="238"/>
                </a:lnTo>
                <a:lnTo>
                  <a:pt x="217" y="238"/>
                </a:lnTo>
                <a:lnTo>
                  <a:pt x="214" y="238"/>
                </a:lnTo>
                <a:lnTo>
                  <a:pt x="212" y="240"/>
                </a:lnTo>
                <a:lnTo>
                  <a:pt x="210" y="238"/>
                </a:lnTo>
                <a:lnTo>
                  <a:pt x="210" y="240"/>
                </a:lnTo>
                <a:lnTo>
                  <a:pt x="207" y="240"/>
                </a:lnTo>
                <a:lnTo>
                  <a:pt x="207" y="238"/>
                </a:lnTo>
                <a:lnTo>
                  <a:pt x="205" y="240"/>
                </a:lnTo>
                <a:lnTo>
                  <a:pt x="205" y="238"/>
                </a:lnTo>
                <a:lnTo>
                  <a:pt x="203" y="238"/>
                </a:lnTo>
                <a:lnTo>
                  <a:pt x="200" y="238"/>
                </a:lnTo>
                <a:lnTo>
                  <a:pt x="198" y="238"/>
                </a:lnTo>
                <a:lnTo>
                  <a:pt x="198" y="240"/>
                </a:lnTo>
                <a:lnTo>
                  <a:pt x="196" y="240"/>
                </a:lnTo>
                <a:lnTo>
                  <a:pt x="193" y="240"/>
                </a:lnTo>
                <a:lnTo>
                  <a:pt x="191" y="240"/>
                </a:lnTo>
                <a:lnTo>
                  <a:pt x="191" y="243"/>
                </a:lnTo>
                <a:lnTo>
                  <a:pt x="189" y="243"/>
                </a:lnTo>
                <a:lnTo>
                  <a:pt x="189" y="245"/>
                </a:lnTo>
                <a:lnTo>
                  <a:pt x="189" y="247"/>
                </a:lnTo>
                <a:lnTo>
                  <a:pt x="186" y="247"/>
                </a:lnTo>
                <a:lnTo>
                  <a:pt x="186" y="250"/>
                </a:lnTo>
                <a:lnTo>
                  <a:pt x="186" y="252"/>
                </a:lnTo>
                <a:lnTo>
                  <a:pt x="189" y="252"/>
                </a:lnTo>
                <a:lnTo>
                  <a:pt x="186" y="252"/>
                </a:lnTo>
                <a:lnTo>
                  <a:pt x="189" y="257"/>
                </a:lnTo>
                <a:lnTo>
                  <a:pt x="189" y="259"/>
                </a:lnTo>
                <a:lnTo>
                  <a:pt x="189" y="261"/>
                </a:lnTo>
                <a:lnTo>
                  <a:pt x="186" y="263"/>
                </a:lnTo>
                <a:lnTo>
                  <a:pt x="184" y="263"/>
                </a:lnTo>
                <a:lnTo>
                  <a:pt x="179" y="263"/>
                </a:lnTo>
                <a:lnTo>
                  <a:pt x="179" y="266"/>
                </a:lnTo>
                <a:lnTo>
                  <a:pt x="177" y="266"/>
                </a:lnTo>
                <a:lnTo>
                  <a:pt x="177" y="263"/>
                </a:lnTo>
                <a:lnTo>
                  <a:pt x="177" y="261"/>
                </a:lnTo>
                <a:lnTo>
                  <a:pt x="175" y="261"/>
                </a:lnTo>
                <a:lnTo>
                  <a:pt x="175" y="259"/>
                </a:lnTo>
                <a:lnTo>
                  <a:pt x="168" y="259"/>
                </a:lnTo>
                <a:lnTo>
                  <a:pt x="165" y="257"/>
                </a:lnTo>
                <a:lnTo>
                  <a:pt x="163" y="259"/>
                </a:lnTo>
                <a:lnTo>
                  <a:pt x="154" y="257"/>
                </a:lnTo>
                <a:lnTo>
                  <a:pt x="149" y="257"/>
                </a:lnTo>
                <a:lnTo>
                  <a:pt x="147" y="257"/>
                </a:lnTo>
                <a:lnTo>
                  <a:pt x="144" y="257"/>
                </a:lnTo>
                <a:lnTo>
                  <a:pt x="144" y="254"/>
                </a:lnTo>
                <a:lnTo>
                  <a:pt x="140" y="252"/>
                </a:lnTo>
                <a:lnTo>
                  <a:pt x="140" y="250"/>
                </a:lnTo>
                <a:lnTo>
                  <a:pt x="135" y="247"/>
                </a:lnTo>
                <a:lnTo>
                  <a:pt x="133" y="247"/>
                </a:lnTo>
                <a:lnTo>
                  <a:pt x="130" y="247"/>
                </a:lnTo>
                <a:lnTo>
                  <a:pt x="128" y="245"/>
                </a:lnTo>
                <a:lnTo>
                  <a:pt x="128" y="247"/>
                </a:lnTo>
                <a:lnTo>
                  <a:pt x="126" y="245"/>
                </a:lnTo>
                <a:lnTo>
                  <a:pt x="123" y="245"/>
                </a:lnTo>
                <a:lnTo>
                  <a:pt x="121" y="245"/>
                </a:lnTo>
                <a:lnTo>
                  <a:pt x="119" y="245"/>
                </a:lnTo>
                <a:lnTo>
                  <a:pt x="119" y="243"/>
                </a:lnTo>
                <a:lnTo>
                  <a:pt x="116" y="243"/>
                </a:lnTo>
                <a:lnTo>
                  <a:pt x="112" y="243"/>
                </a:lnTo>
                <a:lnTo>
                  <a:pt x="110" y="243"/>
                </a:lnTo>
                <a:lnTo>
                  <a:pt x="110" y="240"/>
                </a:lnTo>
                <a:lnTo>
                  <a:pt x="100" y="238"/>
                </a:lnTo>
                <a:lnTo>
                  <a:pt x="98" y="238"/>
                </a:lnTo>
                <a:lnTo>
                  <a:pt x="96" y="240"/>
                </a:lnTo>
                <a:lnTo>
                  <a:pt x="93" y="240"/>
                </a:lnTo>
                <a:lnTo>
                  <a:pt x="91" y="238"/>
                </a:lnTo>
                <a:lnTo>
                  <a:pt x="89" y="240"/>
                </a:lnTo>
                <a:lnTo>
                  <a:pt x="84" y="240"/>
                </a:lnTo>
                <a:lnTo>
                  <a:pt x="84" y="238"/>
                </a:lnTo>
                <a:lnTo>
                  <a:pt x="82" y="238"/>
                </a:lnTo>
                <a:lnTo>
                  <a:pt x="79" y="236"/>
                </a:lnTo>
                <a:lnTo>
                  <a:pt x="77" y="233"/>
                </a:lnTo>
                <a:lnTo>
                  <a:pt x="75" y="233"/>
                </a:lnTo>
                <a:lnTo>
                  <a:pt x="75" y="231"/>
                </a:lnTo>
                <a:lnTo>
                  <a:pt x="70" y="231"/>
                </a:lnTo>
                <a:lnTo>
                  <a:pt x="65" y="233"/>
                </a:lnTo>
                <a:lnTo>
                  <a:pt x="63" y="233"/>
                </a:lnTo>
                <a:lnTo>
                  <a:pt x="61" y="233"/>
                </a:lnTo>
                <a:lnTo>
                  <a:pt x="58" y="231"/>
                </a:lnTo>
                <a:lnTo>
                  <a:pt x="56" y="231"/>
                </a:lnTo>
                <a:lnTo>
                  <a:pt x="54" y="231"/>
                </a:lnTo>
                <a:lnTo>
                  <a:pt x="54" y="229"/>
                </a:lnTo>
                <a:lnTo>
                  <a:pt x="51" y="226"/>
                </a:lnTo>
                <a:lnTo>
                  <a:pt x="49" y="222"/>
                </a:lnTo>
                <a:lnTo>
                  <a:pt x="49" y="219"/>
                </a:lnTo>
                <a:lnTo>
                  <a:pt x="49" y="217"/>
                </a:lnTo>
                <a:lnTo>
                  <a:pt x="47" y="217"/>
                </a:lnTo>
                <a:lnTo>
                  <a:pt x="47" y="215"/>
                </a:lnTo>
                <a:lnTo>
                  <a:pt x="44" y="212"/>
                </a:lnTo>
                <a:lnTo>
                  <a:pt x="44" y="210"/>
                </a:lnTo>
                <a:lnTo>
                  <a:pt x="44" y="205"/>
                </a:lnTo>
                <a:lnTo>
                  <a:pt x="44" y="203"/>
                </a:lnTo>
                <a:lnTo>
                  <a:pt x="44" y="201"/>
                </a:lnTo>
                <a:lnTo>
                  <a:pt x="42" y="198"/>
                </a:lnTo>
                <a:lnTo>
                  <a:pt x="42" y="196"/>
                </a:lnTo>
                <a:lnTo>
                  <a:pt x="42" y="194"/>
                </a:lnTo>
                <a:lnTo>
                  <a:pt x="42" y="191"/>
                </a:lnTo>
                <a:lnTo>
                  <a:pt x="40" y="191"/>
                </a:lnTo>
                <a:lnTo>
                  <a:pt x="37" y="191"/>
                </a:lnTo>
                <a:lnTo>
                  <a:pt x="37" y="189"/>
                </a:lnTo>
                <a:lnTo>
                  <a:pt x="35" y="187"/>
                </a:lnTo>
                <a:lnTo>
                  <a:pt x="33" y="187"/>
                </a:lnTo>
                <a:lnTo>
                  <a:pt x="30" y="184"/>
                </a:lnTo>
                <a:lnTo>
                  <a:pt x="30" y="187"/>
                </a:lnTo>
                <a:lnTo>
                  <a:pt x="30" y="189"/>
                </a:lnTo>
                <a:lnTo>
                  <a:pt x="30" y="187"/>
                </a:lnTo>
                <a:lnTo>
                  <a:pt x="28" y="187"/>
                </a:lnTo>
                <a:lnTo>
                  <a:pt x="28" y="184"/>
                </a:lnTo>
                <a:lnTo>
                  <a:pt x="30" y="182"/>
                </a:lnTo>
                <a:lnTo>
                  <a:pt x="28" y="182"/>
                </a:lnTo>
                <a:lnTo>
                  <a:pt x="28" y="184"/>
                </a:lnTo>
                <a:lnTo>
                  <a:pt x="26" y="184"/>
                </a:lnTo>
                <a:lnTo>
                  <a:pt x="23" y="184"/>
                </a:lnTo>
                <a:lnTo>
                  <a:pt x="23" y="187"/>
                </a:lnTo>
                <a:lnTo>
                  <a:pt x="26" y="187"/>
                </a:lnTo>
                <a:lnTo>
                  <a:pt x="23" y="187"/>
                </a:lnTo>
                <a:lnTo>
                  <a:pt x="21" y="187"/>
                </a:lnTo>
                <a:lnTo>
                  <a:pt x="19" y="184"/>
                </a:lnTo>
                <a:lnTo>
                  <a:pt x="16" y="184"/>
                </a:lnTo>
                <a:lnTo>
                  <a:pt x="16" y="187"/>
                </a:lnTo>
                <a:lnTo>
                  <a:pt x="14" y="187"/>
                </a:lnTo>
                <a:lnTo>
                  <a:pt x="12" y="187"/>
                </a:lnTo>
                <a:lnTo>
                  <a:pt x="12" y="189"/>
                </a:lnTo>
                <a:lnTo>
                  <a:pt x="9" y="191"/>
                </a:lnTo>
                <a:lnTo>
                  <a:pt x="12" y="191"/>
                </a:lnTo>
                <a:lnTo>
                  <a:pt x="9" y="194"/>
                </a:lnTo>
                <a:lnTo>
                  <a:pt x="9" y="191"/>
                </a:lnTo>
                <a:lnTo>
                  <a:pt x="9" y="189"/>
                </a:lnTo>
                <a:lnTo>
                  <a:pt x="7" y="189"/>
                </a:lnTo>
                <a:lnTo>
                  <a:pt x="7" y="187"/>
                </a:lnTo>
                <a:lnTo>
                  <a:pt x="5" y="189"/>
                </a:lnTo>
                <a:lnTo>
                  <a:pt x="5" y="187"/>
                </a:lnTo>
                <a:lnTo>
                  <a:pt x="5" y="184"/>
                </a:lnTo>
                <a:lnTo>
                  <a:pt x="2" y="187"/>
                </a:lnTo>
                <a:lnTo>
                  <a:pt x="2" y="184"/>
                </a:lnTo>
                <a:lnTo>
                  <a:pt x="2" y="182"/>
                </a:lnTo>
                <a:lnTo>
                  <a:pt x="0" y="180"/>
                </a:lnTo>
                <a:lnTo>
                  <a:pt x="0" y="177"/>
                </a:lnTo>
                <a:lnTo>
                  <a:pt x="2" y="177"/>
                </a:lnTo>
                <a:lnTo>
                  <a:pt x="5" y="177"/>
                </a:lnTo>
                <a:lnTo>
                  <a:pt x="5" y="175"/>
                </a:lnTo>
                <a:lnTo>
                  <a:pt x="7" y="175"/>
                </a:lnTo>
                <a:lnTo>
                  <a:pt x="7" y="173"/>
                </a:lnTo>
                <a:lnTo>
                  <a:pt x="9" y="173"/>
                </a:lnTo>
                <a:lnTo>
                  <a:pt x="12" y="175"/>
                </a:lnTo>
                <a:lnTo>
                  <a:pt x="16" y="175"/>
                </a:lnTo>
                <a:lnTo>
                  <a:pt x="14" y="175"/>
                </a:lnTo>
                <a:lnTo>
                  <a:pt x="12" y="173"/>
                </a:lnTo>
                <a:lnTo>
                  <a:pt x="12" y="170"/>
                </a:lnTo>
                <a:lnTo>
                  <a:pt x="9" y="168"/>
                </a:lnTo>
                <a:lnTo>
                  <a:pt x="12" y="168"/>
                </a:lnTo>
                <a:lnTo>
                  <a:pt x="16" y="170"/>
                </a:lnTo>
                <a:lnTo>
                  <a:pt x="19" y="170"/>
                </a:lnTo>
                <a:lnTo>
                  <a:pt x="16" y="168"/>
                </a:lnTo>
                <a:lnTo>
                  <a:pt x="14" y="168"/>
                </a:lnTo>
                <a:lnTo>
                  <a:pt x="16" y="166"/>
                </a:lnTo>
                <a:lnTo>
                  <a:pt x="21" y="166"/>
                </a:lnTo>
                <a:lnTo>
                  <a:pt x="23" y="166"/>
                </a:lnTo>
                <a:lnTo>
                  <a:pt x="23" y="168"/>
                </a:lnTo>
                <a:lnTo>
                  <a:pt x="23" y="166"/>
                </a:lnTo>
                <a:lnTo>
                  <a:pt x="28" y="166"/>
                </a:lnTo>
                <a:lnTo>
                  <a:pt x="23" y="166"/>
                </a:lnTo>
                <a:lnTo>
                  <a:pt x="21" y="163"/>
                </a:lnTo>
                <a:lnTo>
                  <a:pt x="19" y="163"/>
                </a:lnTo>
                <a:lnTo>
                  <a:pt x="16" y="163"/>
                </a:lnTo>
                <a:lnTo>
                  <a:pt x="14" y="163"/>
                </a:lnTo>
                <a:lnTo>
                  <a:pt x="14" y="161"/>
                </a:lnTo>
                <a:lnTo>
                  <a:pt x="14" y="159"/>
                </a:lnTo>
                <a:lnTo>
                  <a:pt x="16" y="159"/>
                </a:lnTo>
                <a:lnTo>
                  <a:pt x="19" y="159"/>
                </a:lnTo>
                <a:lnTo>
                  <a:pt x="16" y="159"/>
                </a:lnTo>
                <a:lnTo>
                  <a:pt x="16" y="156"/>
                </a:lnTo>
                <a:lnTo>
                  <a:pt x="16" y="154"/>
                </a:lnTo>
                <a:lnTo>
                  <a:pt x="19" y="154"/>
                </a:lnTo>
                <a:lnTo>
                  <a:pt x="21" y="154"/>
                </a:lnTo>
                <a:lnTo>
                  <a:pt x="21" y="156"/>
                </a:lnTo>
                <a:lnTo>
                  <a:pt x="21" y="154"/>
                </a:lnTo>
                <a:lnTo>
                  <a:pt x="19" y="152"/>
                </a:lnTo>
                <a:lnTo>
                  <a:pt x="16" y="152"/>
                </a:lnTo>
                <a:lnTo>
                  <a:pt x="14" y="152"/>
                </a:lnTo>
                <a:lnTo>
                  <a:pt x="14" y="149"/>
                </a:lnTo>
                <a:lnTo>
                  <a:pt x="14" y="147"/>
                </a:lnTo>
                <a:lnTo>
                  <a:pt x="14" y="145"/>
                </a:lnTo>
                <a:lnTo>
                  <a:pt x="16" y="145"/>
                </a:lnTo>
                <a:lnTo>
                  <a:pt x="16" y="142"/>
                </a:lnTo>
                <a:lnTo>
                  <a:pt x="16" y="140"/>
                </a:lnTo>
                <a:lnTo>
                  <a:pt x="19" y="142"/>
                </a:lnTo>
                <a:lnTo>
                  <a:pt x="21" y="145"/>
                </a:lnTo>
                <a:lnTo>
                  <a:pt x="23" y="145"/>
                </a:lnTo>
                <a:lnTo>
                  <a:pt x="26" y="145"/>
                </a:lnTo>
                <a:lnTo>
                  <a:pt x="23" y="145"/>
                </a:lnTo>
                <a:lnTo>
                  <a:pt x="23" y="142"/>
                </a:lnTo>
                <a:lnTo>
                  <a:pt x="21" y="142"/>
                </a:lnTo>
                <a:lnTo>
                  <a:pt x="21" y="140"/>
                </a:lnTo>
                <a:lnTo>
                  <a:pt x="19" y="138"/>
                </a:lnTo>
                <a:lnTo>
                  <a:pt x="19" y="135"/>
                </a:lnTo>
                <a:lnTo>
                  <a:pt x="21" y="133"/>
                </a:lnTo>
                <a:lnTo>
                  <a:pt x="23" y="133"/>
                </a:lnTo>
                <a:lnTo>
                  <a:pt x="26" y="133"/>
                </a:lnTo>
                <a:lnTo>
                  <a:pt x="28" y="133"/>
                </a:lnTo>
                <a:lnTo>
                  <a:pt x="30" y="133"/>
                </a:lnTo>
                <a:lnTo>
                  <a:pt x="28" y="133"/>
                </a:lnTo>
                <a:lnTo>
                  <a:pt x="26" y="131"/>
                </a:lnTo>
                <a:lnTo>
                  <a:pt x="23" y="131"/>
                </a:lnTo>
                <a:lnTo>
                  <a:pt x="23" y="128"/>
                </a:lnTo>
                <a:lnTo>
                  <a:pt x="23" y="126"/>
                </a:lnTo>
                <a:lnTo>
                  <a:pt x="21" y="124"/>
                </a:lnTo>
                <a:lnTo>
                  <a:pt x="23" y="119"/>
                </a:lnTo>
                <a:lnTo>
                  <a:pt x="23" y="117"/>
                </a:lnTo>
                <a:lnTo>
                  <a:pt x="23" y="115"/>
                </a:lnTo>
                <a:lnTo>
                  <a:pt x="23" y="112"/>
                </a:lnTo>
                <a:lnTo>
                  <a:pt x="26" y="112"/>
                </a:lnTo>
                <a:lnTo>
                  <a:pt x="26" y="110"/>
                </a:lnTo>
                <a:lnTo>
                  <a:pt x="26" y="108"/>
                </a:lnTo>
                <a:lnTo>
                  <a:pt x="26" y="105"/>
                </a:lnTo>
                <a:lnTo>
                  <a:pt x="23" y="103"/>
                </a:lnTo>
                <a:lnTo>
                  <a:pt x="23" y="101"/>
                </a:lnTo>
                <a:lnTo>
                  <a:pt x="21" y="98"/>
                </a:lnTo>
                <a:lnTo>
                  <a:pt x="23" y="98"/>
                </a:lnTo>
                <a:lnTo>
                  <a:pt x="23" y="94"/>
                </a:lnTo>
                <a:lnTo>
                  <a:pt x="23" y="91"/>
                </a:lnTo>
                <a:lnTo>
                  <a:pt x="26" y="91"/>
                </a:lnTo>
                <a:lnTo>
                  <a:pt x="28" y="89"/>
                </a:lnTo>
                <a:lnTo>
                  <a:pt x="30" y="89"/>
                </a:lnTo>
                <a:lnTo>
                  <a:pt x="35" y="87"/>
                </a:lnTo>
                <a:lnTo>
                  <a:pt x="35" y="84"/>
                </a:lnTo>
                <a:lnTo>
                  <a:pt x="35" y="82"/>
                </a:lnTo>
                <a:lnTo>
                  <a:pt x="37" y="77"/>
                </a:lnTo>
                <a:lnTo>
                  <a:pt x="37" y="75"/>
                </a:lnTo>
                <a:lnTo>
                  <a:pt x="40" y="68"/>
                </a:lnTo>
                <a:lnTo>
                  <a:pt x="40" y="66"/>
                </a:lnTo>
                <a:lnTo>
                  <a:pt x="42" y="56"/>
                </a:lnTo>
                <a:lnTo>
                  <a:pt x="42" y="54"/>
                </a:lnTo>
                <a:lnTo>
                  <a:pt x="44" y="52"/>
                </a:lnTo>
                <a:lnTo>
                  <a:pt x="49" y="49"/>
                </a:lnTo>
                <a:lnTo>
                  <a:pt x="56" y="47"/>
                </a:lnTo>
                <a:lnTo>
                  <a:pt x="58" y="45"/>
                </a:lnTo>
                <a:lnTo>
                  <a:pt x="58" y="42"/>
                </a:lnTo>
                <a:lnTo>
                  <a:pt x="61" y="38"/>
                </a:lnTo>
                <a:lnTo>
                  <a:pt x="63" y="35"/>
                </a:lnTo>
                <a:lnTo>
                  <a:pt x="63" y="33"/>
                </a:lnTo>
                <a:lnTo>
                  <a:pt x="63" y="28"/>
                </a:lnTo>
                <a:lnTo>
                  <a:pt x="65" y="26"/>
                </a:lnTo>
                <a:lnTo>
                  <a:pt x="65" y="21"/>
                </a:lnTo>
                <a:lnTo>
                  <a:pt x="68" y="21"/>
                </a:lnTo>
                <a:lnTo>
                  <a:pt x="70" y="19"/>
                </a:lnTo>
                <a:lnTo>
                  <a:pt x="72" y="17"/>
                </a:lnTo>
                <a:lnTo>
                  <a:pt x="91" y="10"/>
                </a:lnTo>
                <a:lnTo>
                  <a:pt x="93" y="10"/>
                </a:lnTo>
                <a:lnTo>
                  <a:pt x="96" y="7"/>
                </a:lnTo>
                <a:lnTo>
                  <a:pt x="98" y="5"/>
                </a:lnTo>
                <a:lnTo>
                  <a:pt x="100" y="3"/>
                </a:lnTo>
                <a:lnTo>
                  <a:pt x="103" y="3"/>
                </a:lnTo>
                <a:lnTo>
                  <a:pt x="105" y="0"/>
                </a:lnTo>
                <a:lnTo>
                  <a:pt x="107" y="0"/>
                </a:lnTo>
                <a:lnTo>
                  <a:pt x="110" y="0"/>
                </a:lnTo>
                <a:lnTo>
                  <a:pt x="110" y="3"/>
                </a:lnTo>
                <a:lnTo>
                  <a:pt x="112" y="3"/>
                </a:lnTo>
                <a:lnTo>
                  <a:pt x="114" y="3"/>
                </a:lnTo>
                <a:lnTo>
                  <a:pt x="119" y="5"/>
                </a:lnTo>
                <a:lnTo>
                  <a:pt x="121" y="3"/>
                </a:lnTo>
                <a:lnTo>
                  <a:pt x="123" y="3"/>
                </a:lnTo>
                <a:lnTo>
                  <a:pt x="126" y="3"/>
                </a:lnTo>
                <a:lnTo>
                  <a:pt x="128" y="5"/>
                </a:lnTo>
                <a:lnTo>
                  <a:pt x="130" y="5"/>
                </a:lnTo>
                <a:lnTo>
                  <a:pt x="133" y="5"/>
                </a:lnTo>
                <a:lnTo>
                  <a:pt x="135" y="5"/>
                </a:lnTo>
                <a:lnTo>
                  <a:pt x="137" y="5"/>
                </a:lnTo>
                <a:lnTo>
                  <a:pt x="140" y="5"/>
                </a:lnTo>
                <a:lnTo>
                  <a:pt x="142" y="5"/>
                </a:lnTo>
                <a:lnTo>
                  <a:pt x="144" y="5"/>
                </a:lnTo>
                <a:lnTo>
                  <a:pt x="147" y="5"/>
                </a:lnTo>
                <a:lnTo>
                  <a:pt x="147" y="7"/>
                </a:lnTo>
                <a:lnTo>
                  <a:pt x="149" y="7"/>
                </a:lnTo>
                <a:lnTo>
                  <a:pt x="151" y="5"/>
                </a:lnTo>
                <a:lnTo>
                  <a:pt x="151" y="3"/>
                </a:lnTo>
                <a:lnTo>
                  <a:pt x="154" y="0"/>
                </a:lnTo>
                <a:lnTo>
                  <a:pt x="156" y="0"/>
                </a:lnTo>
                <a:lnTo>
                  <a:pt x="158" y="3"/>
                </a:lnTo>
                <a:lnTo>
                  <a:pt x="161" y="3"/>
                </a:lnTo>
                <a:lnTo>
                  <a:pt x="168" y="7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3" name="Freeform 20">
            <a:extLst>
              <a:ext uri="{FF2B5EF4-FFF2-40B4-BE49-F238E27FC236}">
                <a16:creationId xmlns:a16="http://schemas.microsoft.com/office/drawing/2014/main" id="{5EAAF2B9-8FE2-FF28-9FC2-9F7F9813E713}"/>
              </a:ext>
            </a:extLst>
          </p:cNvPr>
          <p:cNvSpPr>
            <a:spLocks noEditPoints="1"/>
          </p:cNvSpPr>
          <p:nvPr/>
        </p:nvSpPr>
        <p:spPr bwMode="auto">
          <a:xfrm>
            <a:off x="2992945" y="4987303"/>
            <a:ext cx="359367" cy="240678"/>
          </a:xfrm>
          <a:custGeom>
            <a:avLst/>
            <a:gdLst>
              <a:gd name="T0" fmla="*/ 298 w 305"/>
              <a:gd name="T1" fmla="*/ 107 h 214"/>
              <a:gd name="T2" fmla="*/ 305 w 305"/>
              <a:gd name="T3" fmla="*/ 100 h 214"/>
              <a:gd name="T4" fmla="*/ 298 w 305"/>
              <a:gd name="T5" fmla="*/ 121 h 214"/>
              <a:gd name="T6" fmla="*/ 298 w 305"/>
              <a:gd name="T7" fmla="*/ 26 h 214"/>
              <a:gd name="T8" fmla="*/ 302 w 305"/>
              <a:gd name="T9" fmla="*/ 28 h 214"/>
              <a:gd name="T10" fmla="*/ 300 w 305"/>
              <a:gd name="T11" fmla="*/ 14 h 214"/>
              <a:gd name="T12" fmla="*/ 291 w 305"/>
              <a:gd name="T13" fmla="*/ 14 h 214"/>
              <a:gd name="T14" fmla="*/ 288 w 305"/>
              <a:gd name="T15" fmla="*/ 23 h 214"/>
              <a:gd name="T16" fmla="*/ 298 w 305"/>
              <a:gd name="T17" fmla="*/ 37 h 214"/>
              <a:gd name="T18" fmla="*/ 295 w 305"/>
              <a:gd name="T19" fmla="*/ 63 h 214"/>
              <a:gd name="T20" fmla="*/ 295 w 305"/>
              <a:gd name="T21" fmla="*/ 81 h 214"/>
              <a:gd name="T22" fmla="*/ 298 w 305"/>
              <a:gd name="T23" fmla="*/ 86 h 214"/>
              <a:gd name="T24" fmla="*/ 295 w 305"/>
              <a:gd name="T25" fmla="*/ 93 h 214"/>
              <a:gd name="T26" fmla="*/ 291 w 305"/>
              <a:gd name="T27" fmla="*/ 112 h 214"/>
              <a:gd name="T28" fmla="*/ 291 w 305"/>
              <a:gd name="T29" fmla="*/ 126 h 214"/>
              <a:gd name="T30" fmla="*/ 288 w 305"/>
              <a:gd name="T31" fmla="*/ 142 h 214"/>
              <a:gd name="T32" fmla="*/ 281 w 305"/>
              <a:gd name="T33" fmla="*/ 161 h 214"/>
              <a:gd name="T34" fmla="*/ 274 w 305"/>
              <a:gd name="T35" fmla="*/ 156 h 214"/>
              <a:gd name="T36" fmla="*/ 274 w 305"/>
              <a:gd name="T37" fmla="*/ 172 h 214"/>
              <a:gd name="T38" fmla="*/ 223 w 305"/>
              <a:gd name="T39" fmla="*/ 212 h 214"/>
              <a:gd name="T40" fmla="*/ 207 w 305"/>
              <a:gd name="T41" fmla="*/ 205 h 214"/>
              <a:gd name="T42" fmla="*/ 198 w 305"/>
              <a:gd name="T43" fmla="*/ 207 h 214"/>
              <a:gd name="T44" fmla="*/ 207 w 305"/>
              <a:gd name="T45" fmla="*/ 195 h 214"/>
              <a:gd name="T46" fmla="*/ 214 w 305"/>
              <a:gd name="T47" fmla="*/ 172 h 214"/>
              <a:gd name="T48" fmla="*/ 225 w 305"/>
              <a:gd name="T49" fmla="*/ 161 h 214"/>
              <a:gd name="T50" fmla="*/ 211 w 305"/>
              <a:gd name="T51" fmla="*/ 156 h 214"/>
              <a:gd name="T52" fmla="*/ 200 w 305"/>
              <a:gd name="T53" fmla="*/ 156 h 214"/>
              <a:gd name="T54" fmla="*/ 179 w 305"/>
              <a:gd name="T55" fmla="*/ 151 h 214"/>
              <a:gd name="T56" fmla="*/ 163 w 305"/>
              <a:gd name="T57" fmla="*/ 133 h 214"/>
              <a:gd name="T58" fmla="*/ 153 w 305"/>
              <a:gd name="T59" fmla="*/ 114 h 214"/>
              <a:gd name="T60" fmla="*/ 142 w 305"/>
              <a:gd name="T61" fmla="*/ 105 h 214"/>
              <a:gd name="T62" fmla="*/ 130 w 305"/>
              <a:gd name="T63" fmla="*/ 95 h 214"/>
              <a:gd name="T64" fmla="*/ 118 w 305"/>
              <a:gd name="T65" fmla="*/ 91 h 214"/>
              <a:gd name="T66" fmla="*/ 107 w 305"/>
              <a:gd name="T67" fmla="*/ 88 h 214"/>
              <a:gd name="T68" fmla="*/ 102 w 305"/>
              <a:gd name="T69" fmla="*/ 81 h 214"/>
              <a:gd name="T70" fmla="*/ 90 w 305"/>
              <a:gd name="T71" fmla="*/ 74 h 214"/>
              <a:gd name="T72" fmla="*/ 81 w 305"/>
              <a:gd name="T73" fmla="*/ 72 h 214"/>
              <a:gd name="T74" fmla="*/ 67 w 305"/>
              <a:gd name="T75" fmla="*/ 72 h 214"/>
              <a:gd name="T76" fmla="*/ 53 w 305"/>
              <a:gd name="T77" fmla="*/ 65 h 214"/>
              <a:gd name="T78" fmla="*/ 49 w 305"/>
              <a:gd name="T79" fmla="*/ 63 h 214"/>
              <a:gd name="T80" fmla="*/ 42 w 305"/>
              <a:gd name="T81" fmla="*/ 65 h 214"/>
              <a:gd name="T82" fmla="*/ 30 w 305"/>
              <a:gd name="T83" fmla="*/ 60 h 214"/>
              <a:gd name="T84" fmla="*/ 18 w 305"/>
              <a:gd name="T85" fmla="*/ 65 h 214"/>
              <a:gd name="T86" fmla="*/ 4 w 305"/>
              <a:gd name="T87" fmla="*/ 63 h 214"/>
              <a:gd name="T88" fmla="*/ 7 w 305"/>
              <a:gd name="T89" fmla="*/ 49 h 214"/>
              <a:gd name="T90" fmla="*/ 7 w 305"/>
              <a:gd name="T91" fmla="*/ 30 h 214"/>
              <a:gd name="T92" fmla="*/ 16 w 305"/>
              <a:gd name="T93" fmla="*/ 7 h 214"/>
              <a:gd name="T94" fmla="*/ 39 w 305"/>
              <a:gd name="T95" fmla="*/ 12 h 214"/>
              <a:gd name="T96" fmla="*/ 60 w 305"/>
              <a:gd name="T97" fmla="*/ 14 h 214"/>
              <a:gd name="T98" fmla="*/ 86 w 305"/>
              <a:gd name="T99" fmla="*/ 21 h 214"/>
              <a:gd name="T100" fmla="*/ 104 w 305"/>
              <a:gd name="T101" fmla="*/ 33 h 214"/>
              <a:gd name="T102" fmla="*/ 137 w 305"/>
              <a:gd name="T103" fmla="*/ 37 h 214"/>
              <a:gd name="T104" fmla="*/ 149 w 305"/>
              <a:gd name="T105" fmla="*/ 33 h 214"/>
              <a:gd name="T106" fmla="*/ 151 w 305"/>
              <a:gd name="T107" fmla="*/ 19 h 214"/>
              <a:gd name="T108" fmla="*/ 165 w 305"/>
              <a:gd name="T109" fmla="*/ 16 h 214"/>
              <a:gd name="T110" fmla="*/ 179 w 305"/>
              <a:gd name="T111" fmla="*/ 12 h 214"/>
              <a:gd name="T112" fmla="*/ 188 w 305"/>
              <a:gd name="T113" fmla="*/ 2 h 214"/>
              <a:gd name="T114" fmla="*/ 202 w 305"/>
              <a:gd name="T115" fmla="*/ 9 h 214"/>
              <a:gd name="T116" fmla="*/ 221 w 305"/>
              <a:gd name="T117" fmla="*/ 5 h 214"/>
              <a:gd name="T118" fmla="*/ 235 w 305"/>
              <a:gd name="T119" fmla="*/ 14 h 214"/>
              <a:gd name="T120" fmla="*/ 260 w 305"/>
              <a:gd name="T121" fmla="*/ 12 h 214"/>
              <a:gd name="T122" fmla="*/ 274 w 305"/>
              <a:gd name="T123" fmla="*/ 7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5" h="214">
                <a:moveTo>
                  <a:pt x="295" y="123"/>
                </a:moveTo>
                <a:lnTo>
                  <a:pt x="293" y="123"/>
                </a:lnTo>
                <a:lnTo>
                  <a:pt x="293" y="119"/>
                </a:lnTo>
                <a:lnTo>
                  <a:pt x="295" y="116"/>
                </a:lnTo>
                <a:lnTo>
                  <a:pt x="295" y="114"/>
                </a:lnTo>
                <a:lnTo>
                  <a:pt x="295" y="112"/>
                </a:lnTo>
                <a:lnTo>
                  <a:pt x="295" y="109"/>
                </a:lnTo>
                <a:lnTo>
                  <a:pt x="295" y="107"/>
                </a:lnTo>
                <a:lnTo>
                  <a:pt x="298" y="107"/>
                </a:lnTo>
                <a:lnTo>
                  <a:pt x="298" y="105"/>
                </a:lnTo>
                <a:lnTo>
                  <a:pt x="298" y="102"/>
                </a:lnTo>
                <a:lnTo>
                  <a:pt x="298" y="100"/>
                </a:lnTo>
                <a:lnTo>
                  <a:pt x="298" y="98"/>
                </a:lnTo>
                <a:lnTo>
                  <a:pt x="300" y="98"/>
                </a:lnTo>
                <a:lnTo>
                  <a:pt x="302" y="98"/>
                </a:lnTo>
                <a:lnTo>
                  <a:pt x="302" y="95"/>
                </a:lnTo>
                <a:lnTo>
                  <a:pt x="305" y="98"/>
                </a:lnTo>
                <a:lnTo>
                  <a:pt x="305" y="100"/>
                </a:lnTo>
                <a:lnTo>
                  <a:pt x="305" y="102"/>
                </a:lnTo>
                <a:lnTo>
                  <a:pt x="305" y="105"/>
                </a:lnTo>
                <a:lnTo>
                  <a:pt x="302" y="105"/>
                </a:lnTo>
                <a:lnTo>
                  <a:pt x="302" y="107"/>
                </a:lnTo>
                <a:lnTo>
                  <a:pt x="302" y="109"/>
                </a:lnTo>
                <a:lnTo>
                  <a:pt x="300" y="112"/>
                </a:lnTo>
                <a:lnTo>
                  <a:pt x="298" y="116"/>
                </a:lnTo>
                <a:lnTo>
                  <a:pt x="298" y="119"/>
                </a:lnTo>
                <a:lnTo>
                  <a:pt x="298" y="121"/>
                </a:lnTo>
                <a:lnTo>
                  <a:pt x="295" y="121"/>
                </a:lnTo>
                <a:lnTo>
                  <a:pt x="295" y="123"/>
                </a:lnTo>
                <a:close/>
                <a:moveTo>
                  <a:pt x="300" y="35"/>
                </a:moveTo>
                <a:lnTo>
                  <a:pt x="298" y="35"/>
                </a:lnTo>
                <a:lnTo>
                  <a:pt x="298" y="33"/>
                </a:lnTo>
                <a:lnTo>
                  <a:pt x="295" y="30"/>
                </a:lnTo>
                <a:lnTo>
                  <a:pt x="293" y="28"/>
                </a:lnTo>
                <a:lnTo>
                  <a:pt x="295" y="26"/>
                </a:lnTo>
                <a:lnTo>
                  <a:pt x="298" y="26"/>
                </a:lnTo>
                <a:lnTo>
                  <a:pt x="298" y="23"/>
                </a:lnTo>
                <a:lnTo>
                  <a:pt x="300" y="23"/>
                </a:lnTo>
                <a:lnTo>
                  <a:pt x="302" y="21"/>
                </a:lnTo>
                <a:lnTo>
                  <a:pt x="302" y="19"/>
                </a:lnTo>
                <a:lnTo>
                  <a:pt x="305" y="19"/>
                </a:lnTo>
                <a:lnTo>
                  <a:pt x="305" y="21"/>
                </a:lnTo>
                <a:lnTo>
                  <a:pt x="305" y="23"/>
                </a:lnTo>
                <a:lnTo>
                  <a:pt x="305" y="26"/>
                </a:lnTo>
                <a:lnTo>
                  <a:pt x="302" y="28"/>
                </a:lnTo>
                <a:lnTo>
                  <a:pt x="302" y="30"/>
                </a:lnTo>
                <a:lnTo>
                  <a:pt x="300" y="33"/>
                </a:lnTo>
                <a:lnTo>
                  <a:pt x="300" y="35"/>
                </a:lnTo>
                <a:close/>
                <a:moveTo>
                  <a:pt x="300" y="7"/>
                </a:moveTo>
                <a:lnTo>
                  <a:pt x="302" y="7"/>
                </a:lnTo>
                <a:lnTo>
                  <a:pt x="302" y="9"/>
                </a:lnTo>
                <a:lnTo>
                  <a:pt x="300" y="9"/>
                </a:lnTo>
                <a:lnTo>
                  <a:pt x="300" y="12"/>
                </a:lnTo>
                <a:lnTo>
                  <a:pt x="300" y="14"/>
                </a:lnTo>
                <a:lnTo>
                  <a:pt x="300" y="19"/>
                </a:lnTo>
                <a:lnTo>
                  <a:pt x="300" y="21"/>
                </a:lnTo>
                <a:lnTo>
                  <a:pt x="298" y="21"/>
                </a:lnTo>
                <a:lnTo>
                  <a:pt x="295" y="23"/>
                </a:lnTo>
                <a:lnTo>
                  <a:pt x="293" y="23"/>
                </a:lnTo>
                <a:lnTo>
                  <a:pt x="291" y="21"/>
                </a:lnTo>
                <a:lnTo>
                  <a:pt x="291" y="19"/>
                </a:lnTo>
                <a:lnTo>
                  <a:pt x="291" y="16"/>
                </a:lnTo>
                <a:lnTo>
                  <a:pt x="291" y="14"/>
                </a:lnTo>
                <a:lnTo>
                  <a:pt x="291" y="12"/>
                </a:lnTo>
                <a:lnTo>
                  <a:pt x="288" y="12"/>
                </a:lnTo>
                <a:lnTo>
                  <a:pt x="288" y="14"/>
                </a:lnTo>
                <a:lnTo>
                  <a:pt x="291" y="14"/>
                </a:lnTo>
                <a:lnTo>
                  <a:pt x="288" y="16"/>
                </a:lnTo>
                <a:lnTo>
                  <a:pt x="291" y="19"/>
                </a:lnTo>
                <a:lnTo>
                  <a:pt x="291" y="21"/>
                </a:lnTo>
                <a:lnTo>
                  <a:pt x="291" y="23"/>
                </a:lnTo>
                <a:lnTo>
                  <a:pt x="288" y="23"/>
                </a:lnTo>
                <a:lnTo>
                  <a:pt x="291" y="26"/>
                </a:lnTo>
                <a:lnTo>
                  <a:pt x="288" y="26"/>
                </a:lnTo>
                <a:lnTo>
                  <a:pt x="288" y="28"/>
                </a:lnTo>
                <a:lnTo>
                  <a:pt x="291" y="28"/>
                </a:lnTo>
                <a:lnTo>
                  <a:pt x="293" y="30"/>
                </a:lnTo>
                <a:lnTo>
                  <a:pt x="295" y="33"/>
                </a:lnTo>
                <a:lnTo>
                  <a:pt x="295" y="35"/>
                </a:lnTo>
                <a:lnTo>
                  <a:pt x="298" y="35"/>
                </a:lnTo>
                <a:lnTo>
                  <a:pt x="298" y="37"/>
                </a:lnTo>
                <a:lnTo>
                  <a:pt x="293" y="44"/>
                </a:lnTo>
                <a:lnTo>
                  <a:pt x="293" y="46"/>
                </a:lnTo>
                <a:lnTo>
                  <a:pt x="293" y="49"/>
                </a:lnTo>
                <a:lnTo>
                  <a:pt x="293" y="53"/>
                </a:lnTo>
                <a:lnTo>
                  <a:pt x="295" y="56"/>
                </a:lnTo>
                <a:lnTo>
                  <a:pt x="298" y="56"/>
                </a:lnTo>
                <a:lnTo>
                  <a:pt x="298" y="58"/>
                </a:lnTo>
                <a:lnTo>
                  <a:pt x="295" y="60"/>
                </a:lnTo>
                <a:lnTo>
                  <a:pt x="295" y="63"/>
                </a:lnTo>
                <a:lnTo>
                  <a:pt x="295" y="65"/>
                </a:lnTo>
                <a:lnTo>
                  <a:pt x="295" y="67"/>
                </a:lnTo>
                <a:lnTo>
                  <a:pt x="295" y="70"/>
                </a:lnTo>
                <a:lnTo>
                  <a:pt x="295" y="72"/>
                </a:lnTo>
                <a:lnTo>
                  <a:pt x="298" y="72"/>
                </a:lnTo>
                <a:lnTo>
                  <a:pt x="298" y="74"/>
                </a:lnTo>
                <a:lnTo>
                  <a:pt x="295" y="74"/>
                </a:lnTo>
                <a:lnTo>
                  <a:pt x="295" y="77"/>
                </a:lnTo>
                <a:lnTo>
                  <a:pt x="295" y="81"/>
                </a:lnTo>
                <a:lnTo>
                  <a:pt x="298" y="81"/>
                </a:lnTo>
                <a:lnTo>
                  <a:pt x="298" y="79"/>
                </a:lnTo>
                <a:lnTo>
                  <a:pt x="300" y="79"/>
                </a:lnTo>
                <a:lnTo>
                  <a:pt x="300" y="81"/>
                </a:lnTo>
                <a:lnTo>
                  <a:pt x="302" y="81"/>
                </a:lnTo>
                <a:lnTo>
                  <a:pt x="300" y="81"/>
                </a:lnTo>
                <a:lnTo>
                  <a:pt x="300" y="84"/>
                </a:lnTo>
                <a:lnTo>
                  <a:pt x="300" y="86"/>
                </a:lnTo>
                <a:lnTo>
                  <a:pt x="298" y="86"/>
                </a:lnTo>
                <a:lnTo>
                  <a:pt x="298" y="84"/>
                </a:lnTo>
                <a:lnTo>
                  <a:pt x="300" y="84"/>
                </a:lnTo>
                <a:lnTo>
                  <a:pt x="298" y="84"/>
                </a:lnTo>
                <a:lnTo>
                  <a:pt x="295" y="84"/>
                </a:lnTo>
                <a:lnTo>
                  <a:pt x="293" y="86"/>
                </a:lnTo>
                <a:lnTo>
                  <a:pt x="293" y="88"/>
                </a:lnTo>
                <a:lnTo>
                  <a:pt x="293" y="91"/>
                </a:lnTo>
                <a:lnTo>
                  <a:pt x="295" y="91"/>
                </a:lnTo>
                <a:lnTo>
                  <a:pt x="295" y="93"/>
                </a:lnTo>
                <a:lnTo>
                  <a:pt x="295" y="95"/>
                </a:lnTo>
                <a:lnTo>
                  <a:pt x="295" y="98"/>
                </a:lnTo>
                <a:lnTo>
                  <a:pt x="293" y="98"/>
                </a:lnTo>
                <a:lnTo>
                  <a:pt x="291" y="98"/>
                </a:lnTo>
                <a:lnTo>
                  <a:pt x="291" y="100"/>
                </a:lnTo>
                <a:lnTo>
                  <a:pt x="293" y="107"/>
                </a:lnTo>
                <a:lnTo>
                  <a:pt x="293" y="109"/>
                </a:lnTo>
                <a:lnTo>
                  <a:pt x="291" y="109"/>
                </a:lnTo>
                <a:lnTo>
                  <a:pt x="291" y="112"/>
                </a:lnTo>
                <a:lnTo>
                  <a:pt x="288" y="112"/>
                </a:lnTo>
                <a:lnTo>
                  <a:pt x="291" y="112"/>
                </a:lnTo>
                <a:lnTo>
                  <a:pt x="291" y="114"/>
                </a:lnTo>
                <a:lnTo>
                  <a:pt x="291" y="116"/>
                </a:lnTo>
                <a:lnTo>
                  <a:pt x="291" y="119"/>
                </a:lnTo>
                <a:lnTo>
                  <a:pt x="291" y="121"/>
                </a:lnTo>
                <a:lnTo>
                  <a:pt x="293" y="123"/>
                </a:lnTo>
                <a:lnTo>
                  <a:pt x="291" y="123"/>
                </a:lnTo>
                <a:lnTo>
                  <a:pt x="291" y="126"/>
                </a:lnTo>
                <a:lnTo>
                  <a:pt x="293" y="126"/>
                </a:lnTo>
                <a:lnTo>
                  <a:pt x="291" y="128"/>
                </a:lnTo>
                <a:lnTo>
                  <a:pt x="291" y="130"/>
                </a:lnTo>
                <a:lnTo>
                  <a:pt x="288" y="133"/>
                </a:lnTo>
                <a:lnTo>
                  <a:pt x="291" y="135"/>
                </a:lnTo>
                <a:lnTo>
                  <a:pt x="291" y="137"/>
                </a:lnTo>
                <a:lnTo>
                  <a:pt x="288" y="137"/>
                </a:lnTo>
                <a:lnTo>
                  <a:pt x="288" y="140"/>
                </a:lnTo>
                <a:lnTo>
                  <a:pt x="288" y="142"/>
                </a:lnTo>
                <a:lnTo>
                  <a:pt x="286" y="147"/>
                </a:lnTo>
                <a:lnTo>
                  <a:pt x="288" y="149"/>
                </a:lnTo>
                <a:lnTo>
                  <a:pt x="286" y="149"/>
                </a:lnTo>
                <a:lnTo>
                  <a:pt x="284" y="151"/>
                </a:lnTo>
                <a:lnTo>
                  <a:pt x="284" y="154"/>
                </a:lnTo>
                <a:lnTo>
                  <a:pt x="284" y="156"/>
                </a:lnTo>
                <a:lnTo>
                  <a:pt x="281" y="156"/>
                </a:lnTo>
                <a:lnTo>
                  <a:pt x="281" y="158"/>
                </a:lnTo>
                <a:lnTo>
                  <a:pt x="281" y="161"/>
                </a:lnTo>
                <a:lnTo>
                  <a:pt x="279" y="161"/>
                </a:lnTo>
                <a:lnTo>
                  <a:pt x="279" y="163"/>
                </a:lnTo>
                <a:lnTo>
                  <a:pt x="277" y="163"/>
                </a:lnTo>
                <a:lnTo>
                  <a:pt x="277" y="161"/>
                </a:lnTo>
                <a:lnTo>
                  <a:pt x="277" y="158"/>
                </a:lnTo>
                <a:lnTo>
                  <a:pt x="277" y="156"/>
                </a:lnTo>
                <a:lnTo>
                  <a:pt x="277" y="154"/>
                </a:lnTo>
                <a:lnTo>
                  <a:pt x="274" y="154"/>
                </a:lnTo>
                <a:lnTo>
                  <a:pt x="274" y="156"/>
                </a:lnTo>
                <a:lnTo>
                  <a:pt x="274" y="158"/>
                </a:lnTo>
                <a:lnTo>
                  <a:pt x="272" y="158"/>
                </a:lnTo>
                <a:lnTo>
                  <a:pt x="274" y="161"/>
                </a:lnTo>
                <a:lnTo>
                  <a:pt x="274" y="163"/>
                </a:lnTo>
                <a:lnTo>
                  <a:pt x="277" y="165"/>
                </a:lnTo>
                <a:lnTo>
                  <a:pt x="279" y="165"/>
                </a:lnTo>
                <a:lnTo>
                  <a:pt x="279" y="168"/>
                </a:lnTo>
                <a:lnTo>
                  <a:pt x="277" y="170"/>
                </a:lnTo>
                <a:lnTo>
                  <a:pt x="274" y="172"/>
                </a:lnTo>
                <a:lnTo>
                  <a:pt x="272" y="172"/>
                </a:lnTo>
                <a:lnTo>
                  <a:pt x="270" y="172"/>
                </a:lnTo>
                <a:lnTo>
                  <a:pt x="267" y="172"/>
                </a:lnTo>
                <a:lnTo>
                  <a:pt x="267" y="175"/>
                </a:lnTo>
                <a:lnTo>
                  <a:pt x="265" y="175"/>
                </a:lnTo>
                <a:lnTo>
                  <a:pt x="260" y="177"/>
                </a:lnTo>
                <a:lnTo>
                  <a:pt x="244" y="188"/>
                </a:lnTo>
                <a:lnTo>
                  <a:pt x="232" y="200"/>
                </a:lnTo>
                <a:lnTo>
                  <a:pt x="223" y="212"/>
                </a:lnTo>
                <a:lnTo>
                  <a:pt x="221" y="212"/>
                </a:lnTo>
                <a:lnTo>
                  <a:pt x="221" y="209"/>
                </a:lnTo>
                <a:lnTo>
                  <a:pt x="218" y="209"/>
                </a:lnTo>
                <a:lnTo>
                  <a:pt x="216" y="209"/>
                </a:lnTo>
                <a:lnTo>
                  <a:pt x="214" y="205"/>
                </a:lnTo>
                <a:lnTo>
                  <a:pt x="211" y="202"/>
                </a:lnTo>
                <a:lnTo>
                  <a:pt x="209" y="202"/>
                </a:lnTo>
                <a:lnTo>
                  <a:pt x="209" y="205"/>
                </a:lnTo>
                <a:lnTo>
                  <a:pt x="207" y="205"/>
                </a:lnTo>
                <a:lnTo>
                  <a:pt x="204" y="205"/>
                </a:lnTo>
                <a:lnTo>
                  <a:pt x="202" y="205"/>
                </a:lnTo>
                <a:lnTo>
                  <a:pt x="202" y="207"/>
                </a:lnTo>
                <a:lnTo>
                  <a:pt x="204" y="209"/>
                </a:lnTo>
                <a:lnTo>
                  <a:pt x="204" y="212"/>
                </a:lnTo>
                <a:lnTo>
                  <a:pt x="204" y="214"/>
                </a:lnTo>
                <a:lnTo>
                  <a:pt x="202" y="212"/>
                </a:lnTo>
                <a:lnTo>
                  <a:pt x="198" y="209"/>
                </a:lnTo>
                <a:lnTo>
                  <a:pt x="198" y="207"/>
                </a:lnTo>
                <a:lnTo>
                  <a:pt x="198" y="205"/>
                </a:lnTo>
                <a:lnTo>
                  <a:pt x="198" y="202"/>
                </a:lnTo>
                <a:lnTo>
                  <a:pt x="200" y="202"/>
                </a:lnTo>
                <a:lnTo>
                  <a:pt x="202" y="200"/>
                </a:lnTo>
                <a:lnTo>
                  <a:pt x="202" y="198"/>
                </a:lnTo>
                <a:lnTo>
                  <a:pt x="204" y="195"/>
                </a:lnTo>
                <a:lnTo>
                  <a:pt x="204" y="198"/>
                </a:lnTo>
                <a:lnTo>
                  <a:pt x="207" y="198"/>
                </a:lnTo>
                <a:lnTo>
                  <a:pt x="207" y="195"/>
                </a:lnTo>
                <a:lnTo>
                  <a:pt x="209" y="193"/>
                </a:lnTo>
                <a:lnTo>
                  <a:pt x="209" y="191"/>
                </a:lnTo>
                <a:lnTo>
                  <a:pt x="211" y="188"/>
                </a:lnTo>
                <a:lnTo>
                  <a:pt x="211" y="181"/>
                </a:lnTo>
                <a:lnTo>
                  <a:pt x="211" y="179"/>
                </a:lnTo>
                <a:lnTo>
                  <a:pt x="211" y="177"/>
                </a:lnTo>
                <a:lnTo>
                  <a:pt x="214" y="177"/>
                </a:lnTo>
                <a:lnTo>
                  <a:pt x="214" y="175"/>
                </a:lnTo>
                <a:lnTo>
                  <a:pt x="214" y="172"/>
                </a:lnTo>
                <a:lnTo>
                  <a:pt x="214" y="175"/>
                </a:lnTo>
                <a:lnTo>
                  <a:pt x="216" y="172"/>
                </a:lnTo>
                <a:lnTo>
                  <a:pt x="218" y="172"/>
                </a:lnTo>
                <a:lnTo>
                  <a:pt x="221" y="168"/>
                </a:lnTo>
                <a:lnTo>
                  <a:pt x="223" y="168"/>
                </a:lnTo>
                <a:lnTo>
                  <a:pt x="225" y="168"/>
                </a:lnTo>
                <a:lnTo>
                  <a:pt x="225" y="165"/>
                </a:lnTo>
                <a:lnTo>
                  <a:pt x="225" y="163"/>
                </a:lnTo>
                <a:lnTo>
                  <a:pt x="225" y="161"/>
                </a:lnTo>
                <a:lnTo>
                  <a:pt x="223" y="158"/>
                </a:lnTo>
                <a:lnTo>
                  <a:pt x="223" y="161"/>
                </a:lnTo>
                <a:lnTo>
                  <a:pt x="221" y="161"/>
                </a:lnTo>
                <a:lnTo>
                  <a:pt x="218" y="161"/>
                </a:lnTo>
                <a:lnTo>
                  <a:pt x="218" y="158"/>
                </a:lnTo>
                <a:lnTo>
                  <a:pt x="218" y="156"/>
                </a:lnTo>
                <a:lnTo>
                  <a:pt x="216" y="156"/>
                </a:lnTo>
                <a:lnTo>
                  <a:pt x="214" y="158"/>
                </a:lnTo>
                <a:lnTo>
                  <a:pt x="211" y="156"/>
                </a:lnTo>
                <a:lnTo>
                  <a:pt x="209" y="156"/>
                </a:lnTo>
                <a:lnTo>
                  <a:pt x="209" y="158"/>
                </a:lnTo>
                <a:lnTo>
                  <a:pt x="207" y="158"/>
                </a:lnTo>
                <a:lnTo>
                  <a:pt x="204" y="158"/>
                </a:lnTo>
                <a:lnTo>
                  <a:pt x="204" y="156"/>
                </a:lnTo>
                <a:lnTo>
                  <a:pt x="202" y="156"/>
                </a:lnTo>
                <a:lnTo>
                  <a:pt x="202" y="158"/>
                </a:lnTo>
                <a:lnTo>
                  <a:pt x="200" y="158"/>
                </a:lnTo>
                <a:lnTo>
                  <a:pt x="200" y="156"/>
                </a:lnTo>
                <a:lnTo>
                  <a:pt x="198" y="156"/>
                </a:lnTo>
                <a:lnTo>
                  <a:pt x="193" y="154"/>
                </a:lnTo>
                <a:lnTo>
                  <a:pt x="191" y="156"/>
                </a:lnTo>
                <a:lnTo>
                  <a:pt x="191" y="154"/>
                </a:lnTo>
                <a:lnTo>
                  <a:pt x="188" y="154"/>
                </a:lnTo>
                <a:lnTo>
                  <a:pt x="186" y="154"/>
                </a:lnTo>
                <a:lnTo>
                  <a:pt x="184" y="151"/>
                </a:lnTo>
                <a:lnTo>
                  <a:pt x="181" y="151"/>
                </a:lnTo>
                <a:lnTo>
                  <a:pt x="179" y="151"/>
                </a:lnTo>
                <a:lnTo>
                  <a:pt x="177" y="149"/>
                </a:lnTo>
                <a:lnTo>
                  <a:pt x="174" y="147"/>
                </a:lnTo>
                <a:lnTo>
                  <a:pt x="174" y="144"/>
                </a:lnTo>
                <a:lnTo>
                  <a:pt x="172" y="142"/>
                </a:lnTo>
                <a:lnTo>
                  <a:pt x="170" y="140"/>
                </a:lnTo>
                <a:lnTo>
                  <a:pt x="170" y="135"/>
                </a:lnTo>
                <a:lnTo>
                  <a:pt x="167" y="133"/>
                </a:lnTo>
                <a:lnTo>
                  <a:pt x="165" y="133"/>
                </a:lnTo>
                <a:lnTo>
                  <a:pt x="163" y="133"/>
                </a:lnTo>
                <a:lnTo>
                  <a:pt x="163" y="130"/>
                </a:lnTo>
                <a:lnTo>
                  <a:pt x="163" y="128"/>
                </a:lnTo>
                <a:lnTo>
                  <a:pt x="163" y="126"/>
                </a:lnTo>
                <a:lnTo>
                  <a:pt x="160" y="123"/>
                </a:lnTo>
                <a:lnTo>
                  <a:pt x="160" y="121"/>
                </a:lnTo>
                <a:lnTo>
                  <a:pt x="158" y="121"/>
                </a:lnTo>
                <a:lnTo>
                  <a:pt x="156" y="121"/>
                </a:lnTo>
                <a:lnTo>
                  <a:pt x="153" y="116"/>
                </a:lnTo>
                <a:lnTo>
                  <a:pt x="153" y="114"/>
                </a:lnTo>
                <a:lnTo>
                  <a:pt x="153" y="112"/>
                </a:lnTo>
                <a:lnTo>
                  <a:pt x="151" y="112"/>
                </a:lnTo>
                <a:lnTo>
                  <a:pt x="149" y="112"/>
                </a:lnTo>
                <a:lnTo>
                  <a:pt x="149" y="109"/>
                </a:lnTo>
                <a:lnTo>
                  <a:pt x="146" y="109"/>
                </a:lnTo>
                <a:lnTo>
                  <a:pt x="144" y="109"/>
                </a:lnTo>
                <a:lnTo>
                  <a:pt x="144" y="107"/>
                </a:lnTo>
                <a:lnTo>
                  <a:pt x="142" y="107"/>
                </a:lnTo>
                <a:lnTo>
                  <a:pt x="142" y="105"/>
                </a:lnTo>
                <a:lnTo>
                  <a:pt x="142" y="102"/>
                </a:lnTo>
                <a:lnTo>
                  <a:pt x="139" y="102"/>
                </a:lnTo>
                <a:lnTo>
                  <a:pt x="139" y="100"/>
                </a:lnTo>
                <a:lnTo>
                  <a:pt x="137" y="100"/>
                </a:lnTo>
                <a:lnTo>
                  <a:pt x="135" y="100"/>
                </a:lnTo>
                <a:lnTo>
                  <a:pt x="135" y="98"/>
                </a:lnTo>
                <a:lnTo>
                  <a:pt x="132" y="98"/>
                </a:lnTo>
                <a:lnTo>
                  <a:pt x="132" y="95"/>
                </a:lnTo>
                <a:lnTo>
                  <a:pt x="130" y="95"/>
                </a:lnTo>
                <a:lnTo>
                  <a:pt x="128" y="95"/>
                </a:lnTo>
                <a:lnTo>
                  <a:pt x="128" y="93"/>
                </a:lnTo>
                <a:lnTo>
                  <a:pt x="125" y="93"/>
                </a:lnTo>
                <a:lnTo>
                  <a:pt x="125" y="91"/>
                </a:lnTo>
                <a:lnTo>
                  <a:pt x="123" y="91"/>
                </a:lnTo>
                <a:lnTo>
                  <a:pt x="121" y="91"/>
                </a:lnTo>
                <a:lnTo>
                  <a:pt x="121" y="88"/>
                </a:lnTo>
                <a:lnTo>
                  <a:pt x="121" y="91"/>
                </a:lnTo>
                <a:lnTo>
                  <a:pt x="118" y="91"/>
                </a:lnTo>
                <a:lnTo>
                  <a:pt x="116" y="91"/>
                </a:lnTo>
                <a:lnTo>
                  <a:pt x="116" y="88"/>
                </a:lnTo>
                <a:lnTo>
                  <a:pt x="114" y="91"/>
                </a:lnTo>
                <a:lnTo>
                  <a:pt x="111" y="91"/>
                </a:lnTo>
                <a:lnTo>
                  <a:pt x="111" y="88"/>
                </a:lnTo>
                <a:lnTo>
                  <a:pt x="109" y="91"/>
                </a:lnTo>
                <a:lnTo>
                  <a:pt x="107" y="88"/>
                </a:lnTo>
                <a:lnTo>
                  <a:pt x="107" y="86"/>
                </a:lnTo>
                <a:lnTo>
                  <a:pt x="107" y="88"/>
                </a:lnTo>
                <a:lnTo>
                  <a:pt x="104" y="86"/>
                </a:lnTo>
                <a:lnTo>
                  <a:pt x="107" y="86"/>
                </a:lnTo>
                <a:lnTo>
                  <a:pt x="104" y="84"/>
                </a:lnTo>
                <a:lnTo>
                  <a:pt x="102" y="84"/>
                </a:lnTo>
                <a:lnTo>
                  <a:pt x="102" y="81"/>
                </a:lnTo>
                <a:lnTo>
                  <a:pt x="104" y="81"/>
                </a:lnTo>
                <a:lnTo>
                  <a:pt x="107" y="81"/>
                </a:lnTo>
                <a:lnTo>
                  <a:pt x="104" y="81"/>
                </a:lnTo>
                <a:lnTo>
                  <a:pt x="102" y="81"/>
                </a:lnTo>
                <a:lnTo>
                  <a:pt x="102" y="79"/>
                </a:lnTo>
                <a:lnTo>
                  <a:pt x="97" y="79"/>
                </a:lnTo>
                <a:lnTo>
                  <a:pt x="97" y="77"/>
                </a:lnTo>
                <a:lnTo>
                  <a:pt x="95" y="77"/>
                </a:lnTo>
                <a:lnTo>
                  <a:pt x="93" y="74"/>
                </a:lnTo>
                <a:lnTo>
                  <a:pt x="90" y="77"/>
                </a:lnTo>
                <a:lnTo>
                  <a:pt x="88" y="77"/>
                </a:lnTo>
                <a:lnTo>
                  <a:pt x="88" y="74"/>
                </a:lnTo>
                <a:lnTo>
                  <a:pt x="90" y="74"/>
                </a:lnTo>
                <a:lnTo>
                  <a:pt x="90" y="72"/>
                </a:lnTo>
                <a:lnTo>
                  <a:pt x="88" y="72"/>
                </a:lnTo>
                <a:lnTo>
                  <a:pt x="86" y="72"/>
                </a:lnTo>
                <a:lnTo>
                  <a:pt x="86" y="74"/>
                </a:lnTo>
                <a:lnTo>
                  <a:pt x="86" y="77"/>
                </a:lnTo>
                <a:lnTo>
                  <a:pt x="86" y="74"/>
                </a:lnTo>
                <a:lnTo>
                  <a:pt x="83" y="74"/>
                </a:lnTo>
                <a:lnTo>
                  <a:pt x="81" y="74"/>
                </a:lnTo>
                <a:lnTo>
                  <a:pt x="81" y="72"/>
                </a:lnTo>
                <a:lnTo>
                  <a:pt x="79" y="74"/>
                </a:lnTo>
                <a:lnTo>
                  <a:pt x="79" y="72"/>
                </a:lnTo>
                <a:lnTo>
                  <a:pt x="79" y="70"/>
                </a:lnTo>
                <a:lnTo>
                  <a:pt x="76" y="70"/>
                </a:lnTo>
                <a:lnTo>
                  <a:pt x="76" y="72"/>
                </a:lnTo>
                <a:lnTo>
                  <a:pt x="74" y="72"/>
                </a:lnTo>
                <a:lnTo>
                  <a:pt x="72" y="72"/>
                </a:lnTo>
                <a:lnTo>
                  <a:pt x="70" y="72"/>
                </a:lnTo>
                <a:lnTo>
                  <a:pt x="67" y="72"/>
                </a:lnTo>
                <a:lnTo>
                  <a:pt x="65" y="72"/>
                </a:lnTo>
                <a:lnTo>
                  <a:pt x="63" y="72"/>
                </a:lnTo>
                <a:lnTo>
                  <a:pt x="63" y="70"/>
                </a:lnTo>
                <a:lnTo>
                  <a:pt x="63" y="72"/>
                </a:lnTo>
                <a:lnTo>
                  <a:pt x="60" y="70"/>
                </a:lnTo>
                <a:lnTo>
                  <a:pt x="58" y="70"/>
                </a:lnTo>
                <a:lnTo>
                  <a:pt x="58" y="67"/>
                </a:lnTo>
                <a:lnTo>
                  <a:pt x="56" y="65"/>
                </a:lnTo>
                <a:lnTo>
                  <a:pt x="53" y="65"/>
                </a:lnTo>
                <a:lnTo>
                  <a:pt x="53" y="67"/>
                </a:lnTo>
                <a:lnTo>
                  <a:pt x="51" y="67"/>
                </a:lnTo>
                <a:lnTo>
                  <a:pt x="51" y="65"/>
                </a:lnTo>
                <a:lnTo>
                  <a:pt x="49" y="67"/>
                </a:lnTo>
                <a:lnTo>
                  <a:pt x="49" y="70"/>
                </a:lnTo>
                <a:lnTo>
                  <a:pt x="46" y="67"/>
                </a:lnTo>
                <a:lnTo>
                  <a:pt x="49" y="67"/>
                </a:lnTo>
                <a:lnTo>
                  <a:pt x="49" y="65"/>
                </a:lnTo>
                <a:lnTo>
                  <a:pt x="49" y="63"/>
                </a:lnTo>
                <a:lnTo>
                  <a:pt x="49" y="65"/>
                </a:lnTo>
                <a:lnTo>
                  <a:pt x="46" y="65"/>
                </a:lnTo>
                <a:lnTo>
                  <a:pt x="46" y="63"/>
                </a:lnTo>
                <a:lnTo>
                  <a:pt x="49" y="60"/>
                </a:lnTo>
                <a:lnTo>
                  <a:pt x="46" y="60"/>
                </a:lnTo>
                <a:lnTo>
                  <a:pt x="44" y="60"/>
                </a:lnTo>
                <a:lnTo>
                  <a:pt x="44" y="63"/>
                </a:lnTo>
                <a:lnTo>
                  <a:pt x="44" y="65"/>
                </a:lnTo>
                <a:lnTo>
                  <a:pt x="42" y="65"/>
                </a:lnTo>
                <a:lnTo>
                  <a:pt x="39" y="63"/>
                </a:lnTo>
                <a:lnTo>
                  <a:pt x="39" y="65"/>
                </a:lnTo>
                <a:lnTo>
                  <a:pt x="37" y="65"/>
                </a:lnTo>
                <a:lnTo>
                  <a:pt x="35" y="65"/>
                </a:lnTo>
                <a:lnTo>
                  <a:pt x="32" y="67"/>
                </a:lnTo>
                <a:lnTo>
                  <a:pt x="30" y="67"/>
                </a:lnTo>
                <a:lnTo>
                  <a:pt x="32" y="63"/>
                </a:lnTo>
                <a:lnTo>
                  <a:pt x="32" y="60"/>
                </a:lnTo>
                <a:lnTo>
                  <a:pt x="30" y="60"/>
                </a:lnTo>
                <a:lnTo>
                  <a:pt x="28" y="58"/>
                </a:lnTo>
                <a:lnTo>
                  <a:pt x="25" y="60"/>
                </a:lnTo>
                <a:lnTo>
                  <a:pt x="23" y="63"/>
                </a:lnTo>
                <a:lnTo>
                  <a:pt x="21" y="63"/>
                </a:lnTo>
                <a:lnTo>
                  <a:pt x="21" y="60"/>
                </a:lnTo>
                <a:lnTo>
                  <a:pt x="21" y="63"/>
                </a:lnTo>
                <a:lnTo>
                  <a:pt x="18" y="63"/>
                </a:lnTo>
                <a:lnTo>
                  <a:pt x="21" y="65"/>
                </a:lnTo>
                <a:lnTo>
                  <a:pt x="18" y="65"/>
                </a:lnTo>
                <a:lnTo>
                  <a:pt x="16" y="65"/>
                </a:lnTo>
                <a:lnTo>
                  <a:pt x="14" y="65"/>
                </a:lnTo>
                <a:lnTo>
                  <a:pt x="11" y="67"/>
                </a:lnTo>
                <a:lnTo>
                  <a:pt x="11" y="65"/>
                </a:lnTo>
                <a:lnTo>
                  <a:pt x="11" y="63"/>
                </a:lnTo>
                <a:lnTo>
                  <a:pt x="9" y="63"/>
                </a:lnTo>
                <a:lnTo>
                  <a:pt x="7" y="65"/>
                </a:lnTo>
                <a:lnTo>
                  <a:pt x="4" y="65"/>
                </a:lnTo>
                <a:lnTo>
                  <a:pt x="4" y="63"/>
                </a:lnTo>
                <a:lnTo>
                  <a:pt x="2" y="63"/>
                </a:lnTo>
                <a:lnTo>
                  <a:pt x="0" y="63"/>
                </a:lnTo>
                <a:lnTo>
                  <a:pt x="2" y="63"/>
                </a:lnTo>
                <a:lnTo>
                  <a:pt x="2" y="60"/>
                </a:lnTo>
                <a:lnTo>
                  <a:pt x="2" y="58"/>
                </a:lnTo>
                <a:lnTo>
                  <a:pt x="2" y="56"/>
                </a:lnTo>
                <a:lnTo>
                  <a:pt x="4" y="56"/>
                </a:lnTo>
                <a:lnTo>
                  <a:pt x="4" y="53"/>
                </a:lnTo>
                <a:lnTo>
                  <a:pt x="7" y="49"/>
                </a:lnTo>
                <a:lnTo>
                  <a:pt x="9" y="46"/>
                </a:lnTo>
                <a:lnTo>
                  <a:pt x="9" y="44"/>
                </a:lnTo>
                <a:lnTo>
                  <a:pt x="9" y="42"/>
                </a:lnTo>
                <a:lnTo>
                  <a:pt x="7" y="39"/>
                </a:lnTo>
                <a:lnTo>
                  <a:pt x="7" y="37"/>
                </a:lnTo>
                <a:lnTo>
                  <a:pt x="4" y="35"/>
                </a:lnTo>
                <a:lnTo>
                  <a:pt x="7" y="35"/>
                </a:lnTo>
                <a:lnTo>
                  <a:pt x="7" y="33"/>
                </a:lnTo>
                <a:lnTo>
                  <a:pt x="7" y="30"/>
                </a:lnTo>
                <a:lnTo>
                  <a:pt x="7" y="28"/>
                </a:lnTo>
                <a:lnTo>
                  <a:pt x="9" y="26"/>
                </a:lnTo>
                <a:lnTo>
                  <a:pt x="9" y="23"/>
                </a:lnTo>
                <a:lnTo>
                  <a:pt x="9" y="21"/>
                </a:lnTo>
                <a:lnTo>
                  <a:pt x="9" y="14"/>
                </a:lnTo>
                <a:lnTo>
                  <a:pt x="9" y="12"/>
                </a:lnTo>
                <a:lnTo>
                  <a:pt x="11" y="9"/>
                </a:lnTo>
                <a:lnTo>
                  <a:pt x="14" y="7"/>
                </a:lnTo>
                <a:lnTo>
                  <a:pt x="16" y="7"/>
                </a:lnTo>
                <a:lnTo>
                  <a:pt x="18" y="7"/>
                </a:lnTo>
                <a:lnTo>
                  <a:pt x="21" y="9"/>
                </a:lnTo>
                <a:lnTo>
                  <a:pt x="23" y="9"/>
                </a:lnTo>
                <a:lnTo>
                  <a:pt x="25" y="9"/>
                </a:lnTo>
                <a:lnTo>
                  <a:pt x="30" y="7"/>
                </a:lnTo>
                <a:lnTo>
                  <a:pt x="35" y="7"/>
                </a:lnTo>
                <a:lnTo>
                  <a:pt x="35" y="9"/>
                </a:lnTo>
                <a:lnTo>
                  <a:pt x="37" y="9"/>
                </a:lnTo>
                <a:lnTo>
                  <a:pt x="39" y="12"/>
                </a:lnTo>
                <a:lnTo>
                  <a:pt x="42" y="14"/>
                </a:lnTo>
                <a:lnTo>
                  <a:pt x="44" y="14"/>
                </a:lnTo>
                <a:lnTo>
                  <a:pt x="44" y="16"/>
                </a:lnTo>
                <a:lnTo>
                  <a:pt x="49" y="16"/>
                </a:lnTo>
                <a:lnTo>
                  <a:pt x="51" y="14"/>
                </a:lnTo>
                <a:lnTo>
                  <a:pt x="53" y="16"/>
                </a:lnTo>
                <a:lnTo>
                  <a:pt x="56" y="16"/>
                </a:lnTo>
                <a:lnTo>
                  <a:pt x="58" y="14"/>
                </a:lnTo>
                <a:lnTo>
                  <a:pt x="60" y="14"/>
                </a:lnTo>
                <a:lnTo>
                  <a:pt x="70" y="16"/>
                </a:lnTo>
                <a:lnTo>
                  <a:pt x="70" y="19"/>
                </a:lnTo>
                <a:lnTo>
                  <a:pt x="72" y="19"/>
                </a:lnTo>
                <a:lnTo>
                  <a:pt x="76" y="19"/>
                </a:lnTo>
                <a:lnTo>
                  <a:pt x="79" y="19"/>
                </a:lnTo>
                <a:lnTo>
                  <a:pt x="79" y="21"/>
                </a:lnTo>
                <a:lnTo>
                  <a:pt x="81" y="21"/>
                </a:lnTo>
                <a:lnTo>
                  <a:pt x="83" y="21"/>
                </a:lnTo>
                <a:lnTo>
                  <a:pt x="86" y="21"/>
                </a:lnTo>
                <a:lnTo>
                  <a:pt x="88" y="23"/>
                </a:lnTo>
                <a:lnTo>
                  <a:pt x="88" y="21"/>
                </a:lnTo>
                <a:lnTo>
                  <a:pt x="90" y="23"/>
                </a:lnTo>
                <a:lnTo>
                  <a:pt x="93" y="23"/>
                </a:lnTo>
                <a:lnTo>
                  <a:pt x="95" y="23"/>
                </a:lnTo>
                <a:lnTo>
                  <a:pt x="100" y="26"/>
                </a:lnTo>
                <a:lnTo>
                  <a:pt x="100" y="28"/>
                </a:lnTo>
                <a:lnTo>
                  <a:pt x="104" y="30"/>
                </a:lnTo>
                <a:lnTo>
                  <a:pt x="104" y="33"/>
                </a:lnTo>
                <a:lnTo>
                  <a:pt x="107" y="33"/>
                </a:lnTo>
                <a:lnTo>
                  <a:pt x="109" y="33"/>
                </a:lnTo>
                <a:lnTo>
                  <a:pt x="114" y="33"/>
                </a:lnTo>
                <a:lnTo>
                  <a:pt x="123" y="35"/>
                </a:lnTo>
                <a:lnTo>
                  <a:pt x="125" y="33"/>
                </a:lnTo>
                <a:lnTo>
                  <a:pt x="128" y="35"/>
                </a:lnTo>
                <a:lnTo>
                  <a:pt x="135" y="35"/>
                </a:lnTo>
                <a:lnTo>
                  <a:pt x="135" y="37"/>
                </a:lnTo>
                <a:lnTo>
                  <a:pt x="137" y="37"/>
                </a:lnTo>
                <a:lnTo>
                  <a:pt x="137" y="39"/>
                </a:lnTo>
                <a:lnTo>
                  <a:pt x="137" y="42"/>
                </a:lnTo>
                <a:lnTo>
                  <a:pt x="139" y="42"/>
                </a:lnTo>
                <a:lnTo>
                  <a:pt x="139" y="39"/>
                </a:lnTo>
                <a:lnTo>
                  <a:pt x="144" y="39"/>
                </a:lnTo>
                <a:lnTo>
                  <a:pt x="146" y="39"/>
                </a:lnTo>
                <a:lnTo>
                  <a:pt x="149" y="37"/>
                </a:lnTo>
                <a:lnTo>
                  <a:pt x="149" y="35"/>
                </a:lnTo>
                <a:lnTo>
                  <a:pt x="149" y="33"/>
                </a:lnTo>
                <a:lnTo>
                  <a:pt x="146" y="28"/>
                </a:lnTo>
                <a:lnTo>
                  <a:pt x="149" y="28"/>
                </a:lnTo>
                <a:lnTo>
                  <a:pt x="146" y="28"/>
                </a:lnTo>
                <a:lnTo>
                  <a:pt x="146" y="26"/>
                </a:lnTo>
                <a:lnTo>
                  <a:pt x="146" y="23"/>
                </a:lnTo>
                <a:lnTo>
                  <a:pt x="149" y="23"/>
                </a:lnTo>
                <a:lnTo>
                  <a:pt x="149" y="21"/>
                </a:lnTo>
                <a:lnTo>
                  <a:pt x="149" y="19"/>
                </a:lnTo>
                <a:lnTo>
                  <a:pt x="151" y="19"/>
                </a:lnTo>
                <a:lnTo>
                  <a:pt x="151" y="16"/>
                </a:lnTo>
                <a:lnTo>
                  <a:pt x="153" y="16"/>
                </a:lnTo>
                <a:lnTo>
                  <a:pt x="156" y="16"/>
                </a:lnTo>
                <a:lnTo>
                  <a:pt x="158" y="16"/>
                </a:lnTo>
                <a:lnTo>
                  <a:pt x="158" y="14"/>
                </a:lnTo>
                <a:lnTo>
                  <a:pt x="160" y="14"/>
                </a:lnTo>
                <a:lnTo>
                  <a:pt x="163" y="14"/>
                </a:lnTo>
                <a:lnTo>
                  <a:pt x="165" y="14"/>
                </a:lnTo>
                <a:lnTo>
                  <a:pt x="165" y="16"/>
                </a:lnTo>
                <a:lnTo>
                  <a:pt x="167" y="14"/>
                </a:lnTo>
                <a:lnTo>
                  <a:pt x="167" y="16"/>
                </a:lnTo>
                <a:lnTo>
                  <a:pt x="170" y="16"/>
                </a:lnTo>
                <a:lnTo>
                  <a:pt x="170" y="14"/>
                </a:lnTo>
                <a:lnTo>
                  <a:pt x="172" y="16"/>
                </a:lnTo>
                <a:lnTo>
                  <a:pt x="174" y="14"/>
                </a:lnTo>
                <a:lnTo>
                  <a:pt x="177" y="14"/>
                </a:lnTo>
                <a:lnTo>
                  <a:pt x="179" y="14"/>
                </a:lnTo>
                <a:lnTo>
                  <a:pt x="179" y="12"/>
                </a:lnTo>
                <a:lnTo>
                  <a:pt x="181" y="12"/>
                </a:lnTo>
                <a:lnTo>
                  <a:pt x="181" y="9"/>
                </a:lnTo>
                <a:lnTo>
                  <a:pt x="184" y="7"/>
                </a:lnTo>
                <a:lnTo>
                  <a:pt x="184" y="5"/>
                </a:lnTo>
                <a:lnTo>
                  <a:pt x="186" y="5"/>
                </a:lnTo>
                <a:lnTo>
                  <a:pt x="188" y="5"/>
                </a:lnTo>
                <a:lnTo>
                  <a:pt x="188" y="2"/>
                </a:lnTo>
                <a:lnTo>
                  <a:pt x="191" y="2"/>
                </a:lnTo>
                <a:lnTo>
                  <a:pt x="188" y="2"/>
                </a:lnTo>
                <a:lnTo>
                  <a:pt x="188" y="0"/>
                </a:lnTo>
                <a:lnTo>
                  <a:pt x="188" y="2"/>
                </a:lnTo>
                <a:lnTo>
                  <a:pt x="191" y="2"/>
                </a:lnTo>
                <a:lnTo>
                  <a:pt x="195" y="2"/>
                </a:lnTo>
                <a:lnTo>
                  <a:pt x="195" y="5"/>
                </a:lnTo>
                <a:lnTo>
                  <a:pt x="198" y="5"/>
                </a:lnTo>
                <a:lnTo>
                  <a:pt x="200" y="5"/>
                </a:lnTo>
                <a:lnTo>
                  <a:pt x="200" y="7"/>
                </a:lnTo>
                <a:lnTo>
                  <a:pt x="202" y="9"/>
                </a:lnTo>
                <a:lnTo>
                  <a:pt x="202" y="7"/>
                </a:lnTo>
                <a:lnTo>
                  <a:pt x="202" y="5"/>
                </a:lnTo>
                <a:lnTo>
                  <a:pt x="204" y="5"/>
                </a:lnTo>
                <a:lnTo>
                  <a:pt x="207" y="5"/>
                </a:lnTo>
                <a:lnTo>
                  <a:pt x="209" y="5"/>
                </a:lnTo>
                <a:lnTo>
                  <a:pt x="211" y="5"/>
                </a:lnTo>
                <a:lnTo>
                  <a:pt x="214" y="5"/>
                </a:lnTo>
                <a:lnTo>
                  <a:pt x="218" y="5"/>
                </a:lnTo>
                <a:lnTo>
                  <a:pt x="221" y="5"/>
                </a:lnTo>
                <a:lnTo>
                  <a:pt x="221" y="2"/>
                </a:lnTo>
                <a:lnTo>
                  <a:pt x="223" y="5"/>
                </a:lnTo>
                <a:lnTo>
                  <a:pt x="225" y="5"/>
                </a:lnTo>
                <a:lnTo>
                  <a:pt x="228" y="5"/>
                </a:lnTo>
                <a:lnTo>
                  <a:pt x="228" y="7"/>
                </a:lnTo>
                <a:lnTo>
                  <a:pt x="230" y="7"/>
                </a:lnTo>
                <a:lnTo>
                  <a:pt x="230" y="9"/>
                </a:lnTo>
                <a:lnTo>
                  <a:pt x="235" y="12"/>
                </a:lnTo>
                <a:lnTo>
                  <a:pt x="235" y="14"/>
                </a:lnTo>
                <a:lnTo>
                  <a:pt x="237" y="14"/>
                </a:lnTo>
                <a:lnTo>
                  <a:pt x="239" y="16"/>
                </a:lnTo>
                <a:lnTo>
                  <a:pt x="244" y="19"/>
                </a:lnTo>
                <a:lnTo>
                  <a:pt x="246" y="19"/>
                </a:lnTo>
                <a:lnTo>
                  <a:pt x="249" y="19"/>
                </a:lnTo>
                <a:lnTo>
                  <a:pt x="251" y="16"/>
                </a:lnTo>
                <a:lnTo>
                  <a:pt x="253" y="14"/>
                </a:lnTo>
                <a:lnTo>
                  <a:pt x="256" y="14"/>
                </a:lnTo>
                <a:lnTo>
                  <a:pt x="260" y="12"/>
                </a:lnTo>
                <a:lnTo>
                  <a:pt x="263" y="9"/>
                </a:lnTo>
                <a:lnTo>
                  <a:pt x="265" y="9"/>
                </a:lnTo>
                <a:lnTo>
                  <a:pt x="265" y="7"/>
                </a:lnTo>
                <a:lnTo>
                  <a:pt x="267" y="7"/>
                </a:lnTo>
                <a:lnTo>
                  <a:pt x="270" y="7"/>
                </a:lnTo>
                <a:lnTo>
                  <a:pt x="272" y="7"/>
                </a:lnTo>
                <a:lnTo>
                  <a:pt x="272" y="5"/>
                </a:lnTo>
                <a:lnTo>
                  <a:pt x="272" y="7"/>
                </a:lnTo>
                <a:lnTo>
                  <a:pt x="274" y="7"/>
                </a:lnTo>
                <a:lnTo>
                  <a:pt x="277" y="7"/>
                </a:lnTo>
                <a:lnTo>
                  <a:pt x="279" y="7"/>
                </a:lnTo>
                <a:lnTo>
                  <a:pt x="281" y="7"/>
                </a:lnTo>
                <a:lnTo>
                  <a:pt x="284" y="5"/>
                </a:lnTo>
                <a:lnTo>
                  <a:pt x="298" y="7"/>
                </a:lnTo>
                <a:lnTo>
                  <a:pt x="300" y="7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4" name="Freeform 21">
            <a:extLst>
              <a:ext uri="{FF2B5EF4-FFF2-40B4-BE49-F238E27FC236}">
                <a16:creationId xmlns:a16="http://schemas.microsoft.com/office/drawing/2014/main" id="{C335EEC2-81B0-4629-E916-9C32F9DDF9B5}"/>
              </a:ext>
            </a:extLst>
          </p:cNvPr>
          <p:cNvSpPr>
            <a:spLocks/>
          </p:cNvSpPr>
          <p:nvPr/>
        </p:nvSpPr>
        <p:spPr bwMode="auto">
          <a:xfrm>
            <a:off x="4045123" y="3398148"/>
            <a:ext cx="313415" cy="386886"/>
          </a:xfrm>
          <a:custGeom>
            <a:avLst/>
            <a:gdLst>
              <a:gd name="T0" fmla="*/ 224 w 266"/>
              <a:gd name="T1" fmla="*/ 186 h 344"/>
              <a:gd name="T2" fmla="*/ 201 w 266"/>
              <a:gd name="T3" fmla="*/ 214 h 344"/>
              <a:gd name="T4" fmla="*/ 194 w 266"/>
              <a:gd name="T5" fmla="*/ 226 h 344"/>
              <a:gd name="T6" fmla="*/ 177 w 266"/>
              <a:gd name="T7" fmla="*/ 237 h 344"/>
              <a:gd name="T8" fmla="*/ 168 w 266"/>
              <a:gd name="T9" fmla="*/ 242 h 344"/>
              <a:gd name="T10" fmla="*/ 161 w 266"/>
              <a:gd name="T11" fmla="*/ 249 h 344"/>
              <a:gd name="T12" fmla="*/ 163 w 266"/>
              <a:gd name="T13" fmla="*/ 256 h 344"/>
              <a:gd name="T14" fmla="*/ 154 w 266"/>
              <a:gd name="T15" fmla="*/ 272 h 344"/>
              <a:gd name="T16" fmla="*/ 149 w 266"/>
              <a:gd name="T17" fmla="*/ 284 h 344"/>
              <a:gd name="T18" fmla="*/ 145 w 266"/>
              <a:gd name="T19" fmla="*/ 293 h 344"/>
              <a:gd name="T20" fmla="*/ 147 w 266"/>
              <a:gd name="T21" fmla="*/ 305 h 344"/>
              <a:gd name="T22" fmla="*/ 154 w 266"/>
              <a:gd name="T23" fmla="*/ 312 h 344"/>
              <a:gd name="T24" fmla="*/ 149 w 266"/>
              <a:gd name="T25" fmla="*/ 323 h 344"/>
              <a:gd name="T26" fmla="*/ 142 w 266"/>
              <a:gd name="T27" fmla="*/ 330 h 344"/>
              <a:gd name="T28" fmla="*/ 138 w 266"/>
              <a:gd name="T29" fmla="*/ 335 h 344"/>
              <a:gd name="T30" fmla="*/ 124 w 266"/>
              <a:gd name="T31" fmla="*/ 342 h 344"/>
              <a:gd name="T32" fmla="*/ 117 w 266"/>
              <a:gd name="T33" fmla="*/ 344 h 344"/>
              <a:gd name="T34" fmla="*/ 110 w 266"/>
              <a:gd name="T35" fmla="*/ 335 h 344"/>
              <a:gd name="T36" fmla="*/ 100 w 266"/>
              <a:gd name="T37" fmla="*/ 321 h 344"/>
              <a:gd name="T38" fmla="*/ 89 w 266"/>
              <a:gd name="T39" fmla="*/ 316 h 344"/>
              <a:gd name="T40" fmla="*/ 66 w 266"/>
              <a:gd name="T41" fmla="*/ 305 h 344"/>
              <a:gd name="T42" fmla="*/ 49 w 266"/>
              <a:gd name="T43" fmla="*/ 305 h 344"/>
              <a:gd name="T44" fmla="*/ 26 w 266"/>
              <a:gd name="T45" fmla="*/ 293 h 344"/>
              <a:gd name="T46" fmla="*/ 35 w 266"/>
              <a:gd name="T47" fmla="*/ 270 h 344"/>
              <a:gd name="T48" fmla="*/ 35 w 266"/>
              <a:gd name="T49" fmla="*/ 258 h 344"/>
              <a:gd name="T50" fmla="*/ 21 w 266"/>
              <a:gd name="T51" fmla="*/ 247 h 344"/>
              <a:gd name="T52" fmla="*/ 19 w 266"/>
              <a:gd name="T53" fmla="*/ 228 h 344"/>
              <a:gd name="T54" fmla="*/ 17 w 266"/>
              <a:gd name="T55" fmla="*/ 205 h 344"/>
              <a:gd name="T56" fmla="*/ 17 w 266"/>
              <a:gd name="T57" fmla="*/ 174 h 344"/>
              <a:gd name="T58" fmla="*/ 10 w 266"/>
              <a:gd name="T59" fmla="*/ 160 h 344"/>
              <a:gd name="T60" fmla="*/ 10 w 266"/>
              <a:gd name="T61" fmla="*/ 147 h 344"/>
              <a:gd name="T62" fmla="*/ 5 w 266"/>
              <a:gd name="T63" fmla="*/ 133 h 344"/>
              <a:gd name="T64" fmla="*/ 5 w 266"/>
              <a:gd name="T65" fmla="*/ 116 h 344"/>
              <a:gd name="T66" fmla="*/ 7 w 266"/>
              <a:gd name="T67" fmla="*/ 105 h 344"/>
              <a:gd name="T68" fmla="*/ 17 w 266"/>
              <a:gd name="T69" fmla="*/ 91 h 344"/>
              <a:gd name="T70" fmla="*/ 10 w 266"/>
              <a:gd name="T71" fmla="*/ 77 h 344"/>
              <a:gd name="T72" fmla="*/ 7 w 266"/>
              <a:gd name="T73" fmla="*/ 58 h 344"/>
              <a:gd name="T74" fmla="*/ 3 w 266"/>
              <a:gd name="T75" fmla="*/ 39 h 344"/>
              <a:gd name="T76" fmla="*/ 5 w 266"/>
              <a:gd name="T77" fmla="*/ 25 h 344"/>
              <a:gd name="T78" fmla="*/ 19 w 266"/>
              <a:gd name="T79" fmla="*/ 7 h 344"/>
              <a:gd name="T80" fmla="*/ 17 w 266"/>
              <a:gd name="T81" fmla="*/ 0 h 344"/>
              <a:gd name="T82" fmla="*/ 28 w 266"/>
              <a:gd name="T83" fmla="*/ 0 h 344"/>
              <a:gd name="T84" fmla="*/ 52 w 266"/>
              <a:gd name="T85" fmla="*/ 2 h 344"/>
              <a:gd name="T86" fmla="*/ 89 w 266"/>
              <a:gd name="T87" fmla="*/ 5 h 344"/>
              <a:gd name="T88" fmla="*/ 98 w 266"/>
              <a:gd name="T89" fmla="*/ 9 h 344"/>
              <a:gd name="T90" fmla="*/ 119 w 266"/>
              <a:gd name="T91" fmla="*/ 23 h 344"/>
              <a:gd name="T92" fmla="*/ 140 w 266"/>
              <a:gd name="T93" fmla="*/ 37 h 344"/>
              <a:gd name="T94" fmla="*/ 154 w 266"/>
              <a:gd name="T95" fmla="*/ 49 h 344"/>
              <a:gd name="T96" fmla="*/ 166 w 266"/>
              <a:gd name="T97" fmla="*/ 56 h 344"/>
              <a:gd name="T98" fmla="*/ 177 w 266"/>
              <a:gd name="T99" fmla="*/ 70 h 344"/>
              <a:gd name="T100" fmla="*/ 194 w 266"/>
              <a:gd name="T101" fmla="*/ 81 h 344"/>
              <a:gd name="T102" fmla="*/ 198 w 266"/>
              <a:gd name="T103" fmla="*/ 91 h 344"/>
              <a:gd name="T104" fmla="*/ 210 w 266"/>
              <a:gd name="T105" fmla="*/ 107 h 344"/>
              <a:gd name="T106" fmla="*/ 231 w 266"/>
              <a:gd name="T107" fmla="*/ 130 h 344"/>
              <a:gd name="T108" fmla="*/ 240 w 266"/>
              <a:gd name="T109" fmla="*/ 147 h 344"/>
              <a:gd name="T110" fmla="*/ 261 w 266"/>
              <a:gd name="T111" fmla="*/ 158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66" h="344">
                <a:moveTo>
                  <a:pt x="266" y="167"/>
                </a:moveTo>
                <a:lnTo>
                  <a:pt x="245" y="170"/>
                </a:lnTo>
                <a:lnTo>
                  <a:pt x="240" y="170"/>
                </a:lnTo>
                <a:lnTo>
                  <a:pt x="240" y="172"/>
                </a:lnTo>
                <a:lnTo>
                  <a:pt x="231" y="177"/>
                </a:lnTo>
                <a:lnTo>
                  <a:pt x="224" y="186"/>
                </a:lnTo>
                <a:lnTo>
                  <a:pt x="214" y="200"/>
                </a:lnTo>
                <a:lnTo>
                  <a:pt x="212" y="202"/>
                </a:lnTo>
                <a:lnTo>
                  <a:pt x="208" y="207"/>
                </a:lnTo>
                <a:lnTo>
                  <a:pt x="205" y="207"/>
                </a:lnTo>
                <a:lnTo>
                  <a:pt x="203" y="209"/>
                </a:lnTo>
                <a:lnTo>
                  <a:pt x="201" y="214"/>
                </a:lnTo>
                <a:lnTo>
                  <a:pt x="201" y="216"/>
                </a:lnTo>
                <a:lnTo>
                  <a:pt x="201" y="219"/>
                </a:lnTo>
                <a:lnTo>
                  <a:pt x="198" y="221"/>
                </a:lnTo>
                <a:lnTo>
                  <a:pt x="196" y="223"/>
                </a:lnTo>
                <a:lnTo>
                  <a:pt x="196" y="226"/>
                </a:lnTo>
                <a:lnTo>
                  <a:pt x="194" y="226"/>
                </a:lnTo>
                <a:lnTo>
                  <a:pt x="187" y="233"/>
                </a:lnTo>
                <a:lnTo>
                  <a:pt x="184" y="235"/>
                </a:lnTo>
                <a:lnTo>
                  <a:pt x="184" y="237"/>
                </a:lnTo>
                <a:lnTo>
                  <a:pt x="182" y="237"/>
                </a:lnTo>
                <a:lnTo>
                  <a:pt x="180" y="237"/>
                </a:lnTo>
                <a:lnTo>
                  <a:pt x="177" y="237"/>
                </a:lnTo>
                <a:lnTo>
                  <a:pt x="177" y="235"/>
                </a:lnTo>
                <a:lnTo>
                  <a:pt x="175" y="235"/>
                </a:lnTo>
                <a:lnTo>
                  <a:pt x="173" y="235"/>
                </a:lnTo>
                <a:lnTo>
                  <a:pt x="170" y="237"/>
                </a:lnTo>
                <a:lnTo>
                  <a:pt x="168" y="240"/>
                </a:lnTo>
                <a:lnTo>
                  <a:pt x="168" y="242"/>
                </a:lnTo>
                <a:lnTo>
                  <a:pt x="166" y="242"/>
                </a:lnTo>
                <a:lnTo>
                  <a:pt x="166" y="244"/>
                </a:lnTo>
                <a:lnTo>
                  <a:pt x="163" y="244"/>
                </a:lnTo>
                <a:lnTo>
                  <a:pt x="163" y="247"/>
                </a:lnTo>
                <a:lnTo>
                  <a:pt x="161" y="247"/>
                </a:lnTo>
                <a:lnTo>
                  <a:pt x="161" y="249"/>
                </a:lnTo>
                <a:lnTo>
                  <a:pt x="161" y="251"/>
                </a:lnTo>
                <a:lnTo>
                  <a:pt x="161" y="254"/>
                </a:lnTo>
                <a:lnTo>
                  <a:pt x="159" y="254"/>
                </a:lnTo>
                <a:lnTo>
                  <a:pt x="159" y="256"/>
                </a:lnTo>
                <a:lnTo>
                  <a:pt x="161" y="256"/>
                </a:lnTo>
                <a:lnTo>
                  <a:pt x="163" y="256"/>
                </a:lnTo>
                <a:lnTo>
                  <a:pt x="166" y="254"/>
                </a:lnTo>
                <a:lnTo>
                  <a:pt x="163" y="256"/>
                </a:lnTo>
                <a:lnTo>
                  <a:pt x="163" y="258"/>
                </a:lnTo>
                <a:lnTo>
                  <a:pt x="161" y="258"/>
                </a:lnTo>
                <a:lnTo>
                  <a:pt x="161" y="261"/>
                </a:lnTo>
                <a:lnTo>
                  <a:pt x="154" y="272"/>
                </a:lnTo>
                <a:lnTo>
                  <a:pt x="154" y="275"/>
                </a:lnTo>
                <a:lnTo>
                  <a:pt x="154" y="277"/>
                </a:lnTo>
                <a:lnTo>
                  <a:pt x="154" y="279"/>
                </a:lnTo>
                <a:lnTo>
                  <a:pt x="152" y="282"/>
                </a:lnTo>
                <a:lnTo>
                  <a:pt x="152" y="284"/>
                </a:lnTo>
                <a:lnTo>
                  <a:pt x="149" y="284"/>
                </a:lnTo>
                <a:lnTo>
                  <a:pt x="147" y="284"/>
                </a:lnTo>
                <a:lnTo>
                  <a:pt x="147" y="286"/>
                </a:lnTo>
                <a:lnTo>
                  <a:pt x="145" y="286"/>
                </a:lnTo>
                <a:lnTo>
                  <a:pt x="145" y="289"/>
                </a:lnTo>
                <a:lnTo>
                  <a:pt x="145" y="291"/>
                </a:lnTo>
                <a:lnTo>
                  <a:pt x="145" y="293"/>
                </a:lnTo>
                <a:lnTo>
                  <a:pt x="147" y="293"/>
                </a:lnTo>
                <a:lnTo>
                  <a:pt x="147" y="296"/>
                </a:lnTo>
                <a:lnTo>
                  <a:pt x="149" y="298"/>
                </a:lnTo>
                <a:lnTo>
                  <a:pt x="149" y="300"/>
                </a:lnTo>
                <a:lnTo>
                  <a:pt x="147" y="302"/>
                </a:lnTo>
                <a:lnTo>
                  <a:pt x="147" y="305"/>
                </a:lnTo>
                <a:lnTo>
                  <a:pt x="149" y="305"/>
                </a:lnTo>
                <a:lnTo>
                  <a:pt x="152" y="305"/>
                </a:lnTo>
                <a:lnTo>
                  <a:pt x="152" y="307"/>
                </a:lnTo>
                <a:lnTo>
                  <a:pt x="152" y="309"/>
                </a:lnTo>
                <a:lnTo>
                  <a:pt x="154" y="309"/>
                </a:lnTo>
                <a:lnTo>
                  <a:pt x="154" y="312"/>
                </a:lnTo>
                <a:lnTo>
                  <a:pt x="156" y="314"/>
                </a:lnTo>
                <a:lnTo>
                  <a:pt x="154" y="314"/>
                </a:lnTo>
                <a:lnTo>
                  <a:pt x="154" y="316"/>
                </a:lnTo>
                <a:lnTo>
                  <a:pt x="152" y="319"/>
                </a:lnTo>
                <a:lnTo>
                  <a:pt x="152" y="321"/>
                </a:lnTo>
                <a:lnTo>
                  <a:pt x="149" y="323"/>
                </a:lnTo>
                <a:lnTo>
                  <a:pt x="147" y="323"/>
                </a:lnTo>
                <a:lnTo>
                  <a:pt x="147" y="326"/>
                </a:lnTo>
                <a:lnTo>
                  <a:pt x="147" y="328"/>
                </a:lnTo>
                <a:lnTo>
                  <a:pt x="145" y="328"/>
                </a:lnTo>
                <a:lnTo>
                  <a:pt x="145" y="330"/>
                </a:lnTo>
                <a:lnTo>
                  <a:pt x="142" y="330"/>
                </a:lnTo>
                <a:lnTo>
                  <a:pt x="140" y="330"/>
                </a:lnTo>
                <a:lnTo>
                  <a:pt x="140" y="333"/>
                </a:lnTo>
                <a:lnTo>
                  <a:pt x="142" y="333"/>
                </a:lnTo>
                <a:lnTo>
                  <a:pt x="140" y="333"/>
                </a:lnTo>
                <a:lnTo>
                  <a:pt x="138" y="333"/>
                </a:lnTo>
                <a:lnTo>
                  <a:pt x="138" y="335"/>
                </a:lnTo>
                <a:lnTo>
                  <a:pt x="135" y="335"/>
                </a:lnTo>
                <a:lnTo>
                  <a:pt x="133" y="335"/>
                </a:lnTo>
                <a:lnTo>
                  <a:pt x="131" y="337"/>
                </a:lnTo>
                <a:lnTo>
                  <a:pt x="128" y="337"/>
                </a:lnTo>
                <a:lnTo>
                  <a:pt x="126" y="340"/>
                </a:lnTo>
                <a:lnTo>
                  <a:pt x="124" y="342"/>
                </a:lnTo>
                <a:lnTo>
                  <a:pt x="124" y="344"/>
                </a:lnTo>
                <a:lnTo>
                  <a:pt x="121" y="344"/>
                </a:lnTo>
                <a:lnTo>
                  <a:pt x="121" y="342"/>
                </a:lnTo>
                <a:lnTo>
                  <a:pt x="119" y="342"/>
                </a:lnTo>
                <a:lnTo>
                  <a:pt x="119" y="344"/>
                </a:lnTo>
                <a:lnTo>
                  <a:pt x="117" y="344"/>
                </a:lnTo>
                <a:lnTo>
                  <a:pt x="114" y="344"/>
                </a:lnTo>
                <a:lnTo>
                  <a:pt x="114" y="342"/>
                </a:lnTo>
                <a:lnTo>
                  <a:pt x="114" y="337"/>
                </a:lnTo>
                <a:lnTo>
                  <a:pt x="112" y="337"/>
                </a:lnTo>
                <a:lnTo>
                  <a:pt x="112" y="335"/>
                </a:lnTo>
                <a:lnTo>
                  <a:pt x="110" y="335"/>
                </a:lnTo>
                <a:lnTo>
                  <a:pt x="110" y="333"/>
                </a:lnTo>
                <a:lnTo>
                  <a:pt x="105" y="330"/>
                </a:lnTo>
                <a:lnTo>
                  <a:pt x="103" y="328"/>
                </a:lnTo>
                <a:lnTo>
                  <a:pt x="103" y="326"/>
                </a:lnTo>
                <a:lnTo>
                  <a:pt x="100" y="323"/>
                </a:lnTo>
                <a:lnTo>
                  <a:pt x="100" y="321"/>
                </a:lnTo>
                <a:lnTo>
                  <a:pt x="98" y="321"/>
                </a:lnTo>
                <a:lnTo>
                  <a:pt x="96" y="319"/>
                </a:lnTo>
                <a:lnTo>
                  <a:pt x="93" y="319"/>
                </a:lnTo>
                <a:lnTo>
                  <a:pt x="93" y="316"/>
                </a:lnTo>
                <a:lnTo>
                  <a:pt x="91" y="316"/>
                </a:lnTo>
                <a:lnTo>
                  <a:pt x="89" y="316"/>
                </a:lnTo>
                <a:lnTo>
                  <a:pt x="89" y="314"/>
                </a:lnTo>
                <a:lnTo>
                  <a:pt x="86" y="312"/>
                </a:lnTo>
                <a:lnTo>
                  <a:pt x="84" y="309"/>
                </a:lnTo>
                <a:lnTo>
                  <a:pt x="82" y="307"/>
                </a:lnTo>
                <a:lnTo>
                  <a:pt x="70" y="305"/>
                </a:lnTo>
                <a:lnTo>
                  <a:pt x="66" y="305"/>
                </a:lnTo>
                <a:lnTo>
                  <a:pt x="63" y="305"/>
                </a:lnTo>
                <a:lnTo>
                  <a:pt x="59" y="305"/>
                </a:lnTo>
                <a:lnTo>
                  <a:pt x="56" y="305"/>
                </a:lnTo>
                <a:lnTo>
                  <a:pt x="56" y="307"/>
                </a:lnTo>
                <a:lnTo>
                  <a:pt x="49" y="307"/>
                </a:lnTo>
                <a:lnTo>
                  <a:pt x="49" y="305"/>
                </a:lnTo>
                <a:lnTo>
                  <a:pt x="42" y="302"/>
                </a:lnTo>
                <a:lnTo>
                  <a:pt x="40" y="302"/>
                </a:lnTo>
                <a:lnTo>
                  <a:pt x="26" y="300"/>
                </a:lnTo>
                <a:lnTo>
                  <a:pt x="26" y="298"/>
                </a:lnTo>
                <a:lnTo>
                  <a:pt x="26" y="296"/>
                </a:lnTo>
                <a:lnTo>
                  <a:pt x="26" y="293"/>
                </a:lnTo>
                <a:lnTo>
                  <a:pt x="24" y="293"/>
                </a:lnTo>
                <a:lnTo>
                  <a:pt x="24" y="291"/>
                </a:lnTo>
                <a:lnTo>
                  <a:pt x="24" y="289"/>
                </a:lnTo>
                <a:lnTo>
                  <a:pt x="31" y="277"/>
                </a:lnTo>
                <a:lnTo>
                  <a:pt x="31" y="275"/>
                </a:lnTo>
                <a:lnTo>
                  <a:pt x="35" y="270"/>
                </a:lnTo>
                <a:lnTo>
                  <a:pt x="38" y="268"/>
                </a:lnTo>
                <a:lnTo>
                  <a:pt x="38" y="265"/>
                </a:lnTo>
                <a:lnTo>
                  <a:pt x="38" y="263"/>
                </a:lnTo>
                <a:lnTo>
                  <a:pt x="35" y="263"/>
                </a:lnTo>
                <a:lnTo>
                  <a:pt x="35" y="261"/>
                </a:lnTo>
                <a:lnTo>
                  <a:pt x="35" y="258"/>
                </a:lnTo>
                <a:lnTo>
                  <a:pt x="26" y="256"/>
                </a:lnTo>
                <a:lnTo>
                  <a:pt x="24" y="254"/>
                </a:lnTo>
                <a:lnTo>
                  <a:pt x="21" y="254"/>
                </a:lnTo>
                <a:lnTo>
                  <a:pt x="21" y="251"/>
                </a:lnTo>
                <a:lnTo>
                  <a:pt x="19" y="251"/>
                </a:lnTo>
                <a:lnTo>
                  <a:pt x="21" y="247"/>
                </a:lnTo>
                <a:lnTo>
                  <a:pt x="19" y="244"/>
                </a:lnTo>
                <a:lnTo>
                  <a:pt x="17" y="240"/>
                </a:lnTo>
                <a:lnTo>
                  <a:pt x="17" y="235"/>
                </a:lnTo>
                <a:lnTo>
                  <a:pt x="17" y="233"/>
                </a:lnTo>
                <a:lnTo>
                  <a:pt x="19" y="230"/>
                </a:lnTo>
                <a:lnTo>
                  <a:pt x="19" y="228"/>
                </a:lnTo>
                <a:lnTo>
                  <a:pt x="19" y="226"/>
                </a:lnTo>
                <a:lnTo>
                  <a:pt x="17" y="226"/>
                </a:lnTo>
                <a:lnTo>
                  <a:pt x="14" y="212"/>
                </a:lnTo>
                <a:lnTo>
                  <a:pt x="14" y="207"/>
                </a:lnTo>
                <a:lnTo>
                  <a:pt x="14" y="205"/>
                </a:lnTo>
                <a:lnTo>
                  <a:pt x="17" y="205"/>
                </a:lnTo>
                <a:lnTo>
                  <a:pt x="14" y="200"/>
                </a:lnTo>
                <a:lnTo>
                  <a:pt x="14" y="193"/>
                </a:lnTo>
                <a:lnTo>
                  <a:pt x="14" y="188"/>
                </a:lnTo>
                <a:lnTo>
                  <a:pt x="14" y="186"/>
                </a:lnTo>
                <a:lnTo>
                  <a:pt x="17" y="181"/>
                </a:lnTo>
                <a:lnTo>
                  <a:pt x="17" y="174"/>
                </a:lnTo>
                <a:lnTo>
                  <a:pt x="17" y="172"/>
                </a:lnTo>
                <a:lnTo>
                  <a:pt x="17" y="170"/>
                </a:lnTo>
                <a:lnTo>
                  <a:pt x="14" y="167"/>
                </a:lnTo>
                <a:lnTo>
                  <a:pt x="12" y="165"/>
                </a:lnTo>
                <a:lnTo>
                  <a:pt x="10" y="163"/>
                </a:lnTo>
                <a:lnTo>
                  <a:pt x="10" y="160"/>
                </a:lnTo>
                <a:lnTo>
                  <a:pt x="10" y="158"/>
                </a:lnTo>
                <a:lnTo>
                  <a:pt x="10" y="156"/>
                </a:lnTo>
                <a:lnTo>
                  <a:pt x="10" y="154"/>
                </a:lnTo>
                <a:lnTo>
                  <a:pt x="10" y="151"/>
                </a:lnTo>
                <a:lnTo>
                  <a:pt x="10" y="149"/>
                </a:lnTo>
                <a:lnTo>
                  <a:pt x="10" y="147"/>
                </a:lnTo>
                <a:lnTo>
                  <a:pt x="7" y="144"/>
                </a:lnTo>
                <a:lnTo>
                  <a:pt x="7" y="142"/>
                </a:lnTo>
                <a:lnTo>
                  <a:pt x="7" y="140"/>
                </a:lnTo>
                <a:lnTo>
                  <a:pt x="5" y="137"/>
                </a:lnTo>
                <a:lnTo>
                  <a:pt x="5" y="135"/>
                </a:lnTo>
                <a:lnTo>
                  <a:pt x="5" y="133"/>
                </a:lnTo>
                <a:lnTo>
                  <a:pt x="5" y="128"/>
                </a:lnTo>
                <a:lnTo>
                  <a:pt x="5" y="126"/>
                </a:lnTo>
                <a:lnTo>
                  <a:pt x="5" y="123"/>
                </a:lnTo>
                <a:lnTo>
                  <a:pt x="3" y="121"/>
                </a:lnTo>
                <a:lnTo>
                  <a:pt x="3" y="119"/>
                </a:lnTo>
                <a:lnTo>
                  <a:pt x="5" y="116"/>
                </a:lnTo>
                <a:lnTo>
                  <a:pt x="5" y="114"/>
                </a:lnTo>
                <a:lnTo>
                  <a:pt x="3" y="114"/>
                </a:lnTo>
                <a:lnTo>
                  <a:pt x="5" y="112"/>
                </a:lnTo>
                <a:lnTo>
                  <a:pt x="5" y="109"/>
                </a:lnTo>
                <a:lnTo>
                  <a:pt x="5" y="107"/>
                </a:lnTo>
                <a:lnTo>
                  <a:pt x="7" y="105"/>
                </a:lnTo>
                <a:lnTo>
                  <a:pt x="10" y="105"/>
                </a:lnTo>
                <a:lnTo>
                  <a:pt x="12" y="102"/>
                </a:lnTo>
                <a:lnTo>
                  <a:pt x="14" y="100"/>
                </a:lnTo>
                <a:lnTo>
                  <a:pt x="17" y="98"/>
                </a:lnTo>
                <a:lnTo>
                  <a:pt x="17" y="95"/>
                </a:lnTo>
                <a:lnTo>
                  <a:pt x="17" y="91"/>
                </a:lnTo>
                <a:lnTo>
                  <a:pt x="17" y="86"/>
                </a:lnTo>
                <a:lnTo>
                  <a:pt x="14" y="86"/>
                </a:lnTo>
                <a:lnTo>
                  <a:pt x="14" y="84"/>
                </a:lnTo>
                <a:lnTo>
                  <a:pt x="12" y="81"/>
                </a:lnTo>
                <a:lnTo>
                  <a:pt x="12" y="79"/>
                </a:lnTo>
                <a:lnTo>
                  <a:pt x="10" y="77"/>
                </a:lnTo>
                <a:lnTo>
                  <a:pt x="10" y="72"/>
                </a:lnTo>
                <a:lnTo>
                  <a:pt x="10" y="70"/>
                </a:lnTo>
                <a:lnTo>
                  <a:pt x="7" y="65"/>
                </a:lnTo>
                <a:lnTo>
                  <a:pt x="7" y="63"/>
                </a:lnTo>
                <a:lnTo>
                  <a:pt x="7" y="60"/>
                </a:lnTo>
                <a:lnTo>
                  <a:pt x="7" y="58"/>
                </a:lnTo>
                <a:lnTo>
                  <a:pt x="5" y="56"/>
                </a:lnTo>
                <a:lnTo>
                  <a:pt x="5" y="53"/>
                </a:lnTo>
                <a:lnTo>
                  <a:pt x="3" y="51"/>
                </a:lnTo>
                <a:lnTo>
                  <a:pt x="3" y="49"/>
                </a:lnTo>
                <a:lnTo>
                  <a:pt x="3" y="44"/>
                </a:lnTo>
                <a:lnTo>
                  <a:pt x="3" y="39"/>
                </a:lnTo>
                <a:lnTo>
                  <a:pt x="0" y="37"/>
                </a:lnTo>
                <a:lnTo>
                  <a:pt x="0" y="35"/>
                </a:lnTo>
                <a:lnTo>
                  <a:pt x="0" y="32"/>
                </a:lnTo>
                <a:lnTo>
                  <a:pt x="0" y="30"/>
                </a:lnTo>
                <a:lnTo>
                  <a:pt x="3" y="28"/>
                </a:lnTo>
                <a:lnTo>
                  <a:pt x="5" y="25"/>
                </a:lnTo>
                <a:lnTo>
                  <a:pt x="7" y="23"/>
                </a:lnTo>
                <a:lnTo>
                  <a:pt x="17" y="11"/>
                </a:lnTo>
                <a:lnTo>
                  <a:pt x="17" y="9"/>
                </a:lnTo>
                <a:lnTo>
                  <a:pt x="17" y="7"/>
                </a:lnTo>
                <a:lnTo>
                  <a:pt x="17" y="9"/>
                </a:lnTo>
                <a:lnTo>
                  <a:pt x="19" y="7"/>
                </a:lnTo>
                <a:lnTo>
                  <a:pt x="19" y="5"/>
                </a:lnTo>
                <a:lnTo>
                  <a:pt x="17" y="5"/>
                </a:lnTo>
                <a:lnTo>
                  <a:pt x="17" y="2"/>
                </a:lnTo>
                <a:lnTo>
                  <a:pt x="17" y="0"/>
                </a:lnTo>
                <a:lnTo>
                  <a:pt x="14" y="0"/>
                </a:lnTo>
                <a:lnTo>
                  <a:pt x="17" y="0"/>
                </a:lnTo>
                <a:lnTo>
                  <a:pt x="19" y="0"/>
                </a:lnTo>
                <a:lnTo>
                  <a:pt x="21" y="0"/>
                </a:lnTo>
                <a:lnTo>
                  <a:pt x="24" y="0"/>
                </a:lnTo>
                <a:lnTo>
                  <a:pt x="26" y="0"/>
                </a:lnTo>
                <a:lnTo>
                  <a:pt x="28" y="2"/>
                </a:lnTo>
                <a:lnTo>
                  <a:pt x="28" y="0"/>
                </a:lnTo>
                <a:lnTo>
                  <a:pt x="31" y="0"/>
                </a:lnTo>
                <a:lnTo>
                  <a:pt x="40" y="2"/>
                </a:lnTo>
                <a:lnTo>
                  <a:pt x="42" y="2"/>
                </a:lnTo>
                <a:lnTo>
                  <a:pt x="45" y="2"/>
                </a:lnTo>
                <a:lnTo>
                  <a:pt x="47" y="2"/>
                </a:lnTo>
                <a:lnTo>
                  <a:pt x="52" y="2"/>
                </a:lnTo>
                <a:lnTo>
                  <a:pt x="63" y="2"/>
                </a:lnTo>
                <a:lnTo>
                  <a:pt x="68" y="0"/>
                </a:lnTo>
                <a:lnTo>
                  <a:pt x="70" y="0"/>
                </a:lnTo>
                <a:lnTo>
                  <a:pt x="75" y="2"/>
                </a:lnTo>
                <a:lnTo>
                  <a:pt x="84" y="2"/>
                </a:lnTo>
                <a:lnTo>
                  <a:pt x="89" y="5"/>
                </a:lnTo>
                <a:lnTo>
                  <a:pt x="91" y="5"/>
                </a:lnTo>
                <a:lnTo>
                  <a:pt x="91" y="7"/>
                </a:lnTo>
                <a:lnTo>
                  <a:pt x="93" y="7"/>
                </a:lnTo>
                <a:lnTo>
                  <a:pt x="96" y="7"/>
                </a:lnTo>
                <a:lnTo>
                  <a:pt x="98" y="7"/>
                </a:lnTo>
                <a:lnTo>
                  <a:pt x="98" y="9"/>
                </a:lnTo>
                <a:lnTo>
                  <a:pt x="103" y="9"/>
                </a:lnTo>
                <a:lnTo>
                  <a:pt x="107" y="14"/>
                </a:lnTo>
                <a:lnTo>
                  <a:pt x="110" y="14"/>
                </a:lnTo>
                <a:lnTo>
                  <a:pt x="114" y="18"/>
                </a:lnTo>
                <a:lnTo>
                  <a:pt x="117" y="21"/>
                </a:lnTo>
                <a:lnTo>
                  <a:pt x="119" y="23"/>
                </a:lnTo>
                <a:lnTo>
                  <a:pt x="121" y="23"/>
                </a:lnTo>
                <a:lnTo>
                  <a:pt x="124" y="25"/>
                </a:lnTo>
                <a:lnTo>
                  <a:pt x="126" y="25"/>
                </a:lnTo>
                <a:lnTo>
                  <a:pt x="128" y="28"/>
                </a:lnTo>
                <a:lnTo>
                  <a:pt x="133" y="32"/>
                </a:lnTo>
                <a:lnTo>
                  <a:pt x="140" y="37"/>
                </a:lnTo>
                <a:lnTo>
                  <a:pt x="142" y="37"/>
                </a:lnTo>
                <a:lnTo>
                  <a:pt x="145" y="39"/>
                </a:lnTo>
                <a:lnTo>
                  <a:pt x="145" y="42"/>
                </a:lnTo>
                <a:lnTo>
                  <a:pt x="147" y="42"/>
                </a:lnTo>
                <a:lnTo>
                  <a:pt x="152" y="46"/>
                </a:lnTo>
                <a:lnTo>
                  <a:pt x="154" y="49"/>
                </a:lnTo>
                <a:lnTo>
                  <a:pt x="156" y="49"/>
                </a:lnTo>
                <a:lnTo>
                  <a:pt x="156" y="51"/>
                </a:lnTo>
                <a:lnTo>
                  <a:pt x="159" y="53"/>
                </a:lnTo>
                <a:lnTo>
                  <a:pt x="163" y="53"/>
                </a:lnTo>
                <a:lnTo>
                  <a:pt x="163" y="56"/>
                </a:lnTo>
                <a:lnTo>
                  <a:pt x="166" y="56"/>
                </a:lnTo>
                <a:lnTo>
                  <a:pt x="166" y="58"/>
                </a:lnTo>
                <a:lnTo>
                  <a:pt x="168" y="63"/>
                </a:lnTo>
                <a:lnTo>
                  <a:pt x="170" y="63"/>
                </a:lnTo>
                <a:lnTo>
                  <a:pt x="170" y="65"/>
                </a:lnTo>
                <a:lnTo>
                  <a:pt x="175" y="67"/>
                </a:lnTo>
                <a:lnTo>
                  <a:pt x="177" y="70"/>
                </a:lnTo>
                <a:lnTo>
                  <a:pt x="180" y="72"/>
                </a:lnTo>
                <a:lnTo>
                  <a:pt x="182" y="74"/>
                </a:lnTo>
                <a:lnTo>
                  <a:pt x="182" y="77"/>
                </a:lnTo>
                <a:lnTo>
                  <a:pt x="187" y="79"/>
                </a:lnTo>
                <a:lnTo>
                  <a:pt x="191" y="81"/>
                </a:lnTo>
                <a:lnTo>
                  <a:pt x="194" y="81"/>
                </a:lnTo>
                <a:lnTo>
                  <a:pt x="196" y="79"/>
                </a:lnTo>
                <a:lnTo>
                  <a:pt x="196" y="81"/>
                </a:lnTo>
                <a:lnTo>
                  <a:pt x="196" y="84"/>
                </a:lnTo>
                <a:lnTo>
                  <a:pt x="198" y="86"/>
                </a:lnTo>
                <a:lnTo>
                  <a:pt x="198" y="88"/>
                </a:lnTo>
                <a:lnTo>
                  <a:pt x="198" y="91"/>
                </a:lnTo>
                <a:lnTo>
                  <a:pt x="201" y="93"/>
                </a:lnTo>
                <a:lnTo>
                  <a:pt x="203" y="95"/>
                </a:lnTo>
                <a:lnTo>
                  <a:pt x="203" y="98"/>
                </a:lnTo>
                <a:lnTo>
                  <a:pt x="205" y="98"/>
                </a:lnTo>
                <a:lnTo>
                  <a:pt x="208" y="100"/>
                </a:lnTo>
                <a:lnTo>
                  <a:pt x="210" y="107"/>
                </a:lnTo>
                <a:lnTo>
                  <a:pt x="214" y="114"/>
                </a:lnTo>
                <a:lnTo>
                  <a:pt x="219" y="119"/>
                </a:lnTo>
                <a:lnTo>
                  <a:pt x="224" y="126"/>
                </a:lnTo>
                <a:lnTo>
                  <a:pt x="226" y="126"/>
                </a:lnTo>
                <a:lnTo>
                  <a:pt x="228" y="130"/>
                </a:lnTo>
                <a:lnTo>
                  <a:pt x="231" y="130"/>
                </a:lnTo>
                <a:lnTo>
                  <a:pt x="231" y="133"/>
                </a:lnTo>
                <a:lnTo>
                  <a:pt x="233" y="133"/>
                </a:lnTo>
                <a:lnTo>
                  <a:pt x="235" y="133"/>
                </a:lnTo>
                <a:lnTo>
                  <a:pt x="238" y="142"/>
                </a:lnTo>
                <a:lnTo>
                  <a:pt x="238" y="144"/>
                </a:lnTo>
                <a:lnTo>
                  <a:pt x="240" y="147"/>
                </a:lnTo>
                <a:lnTo>
                  <a:pt x="242" y="149"/>
                </a:lnTo>
                <a:lnTo>
                  <a:pt x="245" y="151"/>
                </a:lnTo>
                <a:lnTo>
                  <a:pt x="247" y="151"/>
                </a:lnTo>
                <a:lnTo>
                  <a:pt x="249" y="151"/>
                </a:lnTo>
                <a:lnTo>
                  <a:pt x="254" y="154"/>
                </a:lnTo>
                <a:lnTo>
                  <a:pt x="261" y="158"/>
                </a:lnTo>
                <a:lnTo>
                  <a:pt x="263" y="160"/>
                </a:lnTo>
                <a:lnTo>
                  <a:pt x="266" y="167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5" name="Freeform 22">
            <a:extLst>
              <a:ext uri="{FF2B5EF4-FFF2-40B4-BE49-F238E27FC236}">
                <a16:creationId xmlns:a16="http://schemas.microsoft.com/office/drawing/2014/main" id="{116741D9-0AFA-6E33-AE63-CDF58DE73790}"/>
              </a:ext>
            </a:extLst>
          </p:cNvPr>
          <p:cNvSpPr>
            <a:spLocks/>
          </p:cNvSpPr>
          <p:nvPr/>
        </p:nvSpPr>
        <p:spPr bwMode="auto">
          <a:xfrm>
            <a:off x="3639804" y="3382402"/>
            <a:ext cx="450092" cy="567957"/>
          </a:xfrm>
          <a:custGeom>
            <a:avLst/>
            <a:gdLst>
              <a:gd name="T0" fmla="*/ 347 w 382"/>
              <a:gd name="T1" fmla="*/ 53 h 505"/>
              <a:gd name="T2" fmla="*/ 354 w 382"/>
              <a:gd name="T3" fmla="*/ 86 h 505"/>
              <a:gd name="T4" fmla="*/ 356 w 382"/>
              <a:gd name="T5" fmla="*/ 116 h 505"/>
              <a:gd name="T6" fmla="*/ 349 w 382"/>
              <a:gd name="T7" fmla="*/ 137 h 505"/>
              <a:gd name="T8" fmla="*/ 354 w 382"/>
              <a:gd name="T9" fmla="*/ 165 h 505"/>
              <a:gd name="T10" fmla="*/ 361 w 382"/>
              <a:gd name="T11" fmla="*/ 195 h 505"/>
              <a:gd name="T12" fmla="*/ 363 w 382"/>
              <a:gd name="T13" fmla="*/ 242 h 505"/>
              <a:gd name="T14" fmla="*/ 370 w 382"/>
              <a:gd name="T15" fmla="*/ 270 h 505"/>
              <a:gd name="T16" fmla="*/ 368 w 382"/>
              <a:gd name="T17" fmla="*/ 305 h 505"/>
              <a:gd name="T18" fmla="*/ 361 w 382"/>
              <a:gd name="T19" fmla="*/ 326 h 505"/>
              <a:gd name="T20" fmla="*/ 363 w 382"/>
              <a:gd name="T21" fmla="*/ 354 h 505"/>
              <a:gd name="T22" fmla="*/ 344 w 382"/>
              <a:gd name="T23" fmla="*/ 372 h 505"/>
              <a:gd name="T24" fmla="*/ 328 w 382"/>
              <a:gd name="T25" fmla="*/ 377 h 505"/>
              <a:gd name="T26" fmla="*/ 314 w 382"/>
              <a:gd name="T27" fmla="*/ 389 h 505"/>
              <a:gd name="T28" fmla="*/ 291 w 382"/>
              <a:gd name="T29" fmla="*/ 407 h 505"/>
              <a:gd name="T30" fmla="*/ 272 w 382"/>
              <a:gd name="T31" fmla="*/ 419 h 505"/>
              <a:gd name="T32" fmla="*/ 258 w 382"/>
              <a:gd name="T33" fmla="*/ 419 h 505"/>
              <a:gd name="T34" fmla="*/ 235 w 382"/>
              <a:gd name="T35" fmla="*/ 428 h 505"/>
              <a:gd name="T36" fmla="*/ 219 w 382"/>
              <a:gd name="T37" fmla="*/ 435 h 505"/>
              <a:gd name="T38" fmla="*/ 198 w 382"/>
              <a:gd name="T39" fmla="*/ 433 h 505"/>
              <a:gd name="T40" fmla="*/ 181 w 382"/>
              <a:gd name="T41" fmla="*/ 424 h 505"/>
              <a:gd name="T42" fmla="*/ 163 w 382"/>
              <a:gd name="T43" fmla="*/ 417 h 505"/>
              <a:gd name="T44" fmla="*/ 144 w 382"/>
              <a:gd name="T45" fmla="*/ 419 h 505"/>
              <a:gd name="T46" fmla="*/ 147 w 382"/>
              <a:gd name="T47" fmla="*/ 445 h 505"/>
              <a:gd name="T48" fmla="*/ 140 w 382"/>
              <a:gd name="T49" fmla="*/ 468 h 505"/>
              <a:gd name="T50" fmla="*/ 126 w 382"/>
              <a:gd name="T51" fmla="*/ 484 h 505"/>
              <a:gd name="T52" fmla="*/ 88 w 382"/>
              <a:gd name="T53" fmla="*/ 491 h 505"/>
              <a:gd name="T54" fmla="*/ 70 w 382"/>
              <a:gd name="T55" fmla="*/ 505 h 505"/>
              <a:gd name="T56" fmla="*/ 44 w 382"/>
              <a:gd name="T57" fmla="*/ 498 h 505"/>
              <a:gd name="T58" fmla="*/ 28 w 382"/>
              <a:gd name="T59" fmla="*/ 475 h 505"/>
              <a:gd name="T60" fmla="*/ 0 w 382"/>
              <a:gd name="T61" fmla="*/ 452 h 505"/>
              <a:gd name="T62" fmla="*/ 12 w 382"/>
              <a:gd name="T63" fmla="*/ 421 h 505"/>
              <a:gd name="T64" fmla="*/ 9 w 382"/>
              <a:gd name="T65" fmla="*/ 398 h 505"/>
              <a:gd name="T66" fmla="*/ 9 w 382"/>
              <a:gd name="T67" fmla="*/ 368 h 505"/>
              <a:gd name="T68" fmla="*/ 23 w 382"/>
              <a:gd name="T69" fmla="*/ 349 h 505"/>
              <a:gd name="T70" fmla="*/ 40 w 382"/>
              <a:gd name="T71" fmla="*/ 319 h 505"/>
              <a:gd name="T72" fmla="*/ 44 w 382"/>
              <a:gd name="T73" fmla="*/ 305 h 505"/>
              <a:gd name="T74" fmla="*/ 84 w 382"/>
              <a:gd name="T75" fmla="*/ 284 h 505"/>
              <a:gd name="T76" fmla="*/ 105 w 382"/>
              <a:gd name="T77" fmla="*/ 277 h 505"/>
              <a:gd name="T78" fmla="*/ 128 w 382"/>
              <a:gd name="T79" fmla="*/ 265 h 505"/>
              <a:gd name="T80" fmla="*/ 142 w 382"/>
              <a:gd name="T81" fmla="*/ 249 h 505"/>
              <a:gd name="T82" fmla="*/ 161 w 382"/>
              <a:gd name="T83" fmla="*/ 244 h 505"/>
              <a:gd name="T84" fmla="*/ 184 w 382"/>
              <a:gd name="T85" fmla="*/ 256 h 505"/>
              <a:gd name="T86" fmla="*/ 207 w 382"/>
              <a:gd name="T87" fmla="*/ 254 h 505"/>
              <a:gd name="T88" fmla="*/ 226 w 382"/>
              <a:gd name="T89" fmla="*/ 233 h 505"/>
              <a:gd name="T90" fmla="*/ 219 w 382"/>
              <a:gd name="T91" fmla="*/ 212 h 505"/>
              <a:gd name="T92" fmla="*/ 216 w 382"/>
              <a:gd name="T93" fmla="*/ 186 h 505"/>
              <a:gd name="T94" fmla="*/ 228 w 382"/>
              <a:gd name="T95" fmla="*/ 168 h 505"/>
              <a:gd name="T96" fmla="*/ 240 w 382"/>
              <a:gd name="T97" fmla="*/ 140 h 505"/>
              <a:gd name="T98" fmla="*/ 235 w 382"/>
              <a:gd name="T99" fmla="*/ 123 h 505"/>
              <a:gd name="T100" fmla="*/ 240 w 382"/>
              <a:gd name="T101" fmla="*/ 98 h 505"/>
              <a:gd name="T102" fmla="*/ 247 w 382"/>
              <a:gd name="T103" fmla="*/ 79 h 505"/>
              <a:gd name="T104" fmla="*/ 261 w 382"/>
              <a:gd name="T105" fmla="*/ 60 h 505"/>
              <a:gd name="T106" fmla="*/ 279 w 382"/>
              <a:gd name="T107" fmla="*/ 42 h 505"/>
              <a:gd name="T108" fmla="*/ 302 w 382"/>
              <a:gd name="T109" fmla="*/ 30 h 505"/>
              <a:gd name="T110" fmla="*/ 323 w 382"/>
              <a:gd name="T111" fmla="*/ 14 h 505"/>
              <a:gd name="T112" fmla="*/ 335 w 382"/>
              <a:gd name="T113" fmla="*/ 7 h 505"/>
              <a:gd name="T114" fmla="*/ 340 w 382"/>
              <a:gd name="T115" fmla="*/ 12 h 505"/>
              <a:gd name="T116" fmla="*/ 358 w 382"/>
              <a:gd name="T117" fmla="*/ 19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82" h="505">
                <a:moveTo>
                  <a:pt x="361" y="21"/>
                </a:moveTo>
                <a:lnTo>
                  <a:pt x="361" y="23"/>
                </a:lnTo>
                <a:lnTo>
                  <a:pt x="361" y="25"/>
                </a:lnTo>
                <a:lnTo>
                  <a:pt x="351" y="37"/>
                </a:lnTo>
                <a:lnTo>
                  <a:pt x="349" y="39"/>
                </a:lnTo>
                <a:lnTo>
                  <a:pt x="347" y="42"/>
                </a:lnTo>
                <a:lnTo>
                  <a:pt x="344" y="44"/>
                </a:lnTo>
                <a:lnTo>
                  <a:pt x="344" y="46"/>
                </a:lnTo>
                <a:lnTo>
                  <a:pt x="344" y="49"/>
                </a:lnTo>
                <a:lnTo>
                  <a:pt x="344" y="51"/>
                </a:lnTo>
                <a:lnTo>
                  <a:pt x="347" y="53"/>
                </a:lnTo>
                <a:lnTo>
                  <a:pt x="347" y="58"/>
                </a:lnTo>
                <a:lnTo>
                  <a:pt x="347" y="63"/>
                </a:lnTo>
                <a:lnTo>
                  <a:pt x="347" y="65"/>
                </a:lnTo>
                <a:lnTo>
                  <a:pt x="349" y="67"/>
                </a:lnTo>
                <a:lnTo>
                  <a:pt x="349" y="70"/>
                </a:lnTo>
                <a:lnTo>
                  <a:pt x="351" y="72"/>
                </a:lnTo>
                <a:lnTo>
                  <a:pt x="351" y="74"/>
                </a:lnTo>
                <a:lnTo>
                  <a:pt x="351" y="77"/>
                </a:lnTo>
                <a:lnTo>
                  <a:pt x="351" y="79"/>
                </a:lnTo>
                <a:lnTo>
                  <a:pt x="354" y="84"/>
                </a:lnTo>
                <a:lnTo>
                  <a:pt x="354" y="86"/>
                </a:lnTo>
                <a:lnTo>
                  <a:pt x="354" y="91"/>
                </a:lnTo>
                <a:lnTo>
                  <a:pt x="356" y="93"/>
                </a:lnTo>
                <a:lnTo>
                  <a:pt x="356" y="95"/>
                </a:lnTo>
                <a:lnTo>
                  <a:pt x="358" y="98"/>
                </a:lnTo>
                <a:lnTo>
                  <a:pt x="358" y="100"/>
                </a:lnTo>
                <a:lnTo>
                  <a:pt x="361" y="100"/>
                </a:lnTo>
                <a:lnTo>
                  <a:pt x="361" y="105"/>
                </a:lnTo>
                <a:lnTo>
                  <a:pt x="361" y="109"/>
                </a:lnTo>
                <a:lnTo>
                  <a:pt x="361" y="112"/>
                </a:lnTo>
                <a:lnTo>
                  <a:pt x="358" y="114"/>
                </a:lnTo>
                <a:lnTo>
                  <a:pt x="356" y="116"/>
                </a:lnTo>
                <a:lnTo>
                  <a:pt x="354" y="119"/>
                </a:lnTo>
                <a:lnTo>
                  <a:pt x="351" y="119"/>
                </a:lnTo>
                <a:lnTo>
                  <a:pt x="349" y="121"/>
                </a:lnTo>
                <a:lnTo>
                  <a:pt x="349" y="123"/>
                </a:lnTo>
                <a:lnTo>
                  <a:pt x="349" y="126"/>
                </a:lnTo>
                <a:lnTo>
                  <a:pt x="347" y="128"/>
                </a:lnTo>
                <a:lnTo>
                  <a:pt x="349" y="128"/>
                </a:lnTo>
                <a:lnTo>
                  <a:pt x="349" y="130"/>
                </a:lnTo>
                <a:lnTo>
                  <a:pt x="347" y="133"/>
                </a:lnTo>
                <a:lnTo>
                  <a:pt x="347" y="135"/>
                </a:lnTo>
                <a:lnTo>
                  <a:pt x="349" y="137"/>
                </a:lnTo>
                <a:lnTo>
                  <a:pt x="349" y="140"/>
                </a:lnTo>
                <a:lnTo>
                  <a:pt x="349" y="142"/>
                </a:lnTo>
                <a:lnTo>
                  <a:pt x="349" y="147"/>
                </a:lnTo>
                <a:lnTo>
                  <a:pt x="349" y="149"/>
                </a:lnTo>
                <a:lnTo>
                  <a:pt x="349" y="151"/>
                </a:lnTo>
                <a:lnTo>
                  <a:pt x="351" y="154"/>
                </a:lnTo>
                <a:lnTo>
                  <a:pt x="351" y="156"/>
                </a:lnTo>
                <a:lnTo>
                  <a:pt x="351" y="158"/>
                </a:lnTo>
                <a:lnTo>
                  <a:pt x="354" y="161"/>
                </a:lnTo>
                <a:lnTo>
                  <a:pt x="354" y="163"/>
                </a:lnTo>
                <a:lnTo>
                  <a:pt x="354" y="165"/>
                </a:lnTo>
                <a:lnTo>
                  <a:pt x="354" y="168"/>
                </a:lnTo>
                <a:lnTo>
                  <a:pt x="354" y="170"/>
                </a:lnTo>
                <a:lnTo>
                  <a:pt x="354" y="172"/>
                </a:lnTo>
                <a:lnTo>
                  <a:pt x="354" y="174"/>
                </a:lnTo>
                <a:lnTo>
                  <a:pt x="354" y="177"/>
                </a:lnTo>
                <a:lnTo>
                  <a:pt x="356" y="179"/>
                </a:lnTo>
                <a:lnTo>
                  <a:pt x="358" y="181"/>
                </a:lnTo>
                <a:lnTo>
                  <a:pt x="361" y="184"/>
                </a:lnTo>
                <a:lnTo>
                  <a:pt x="361" y="186"/>
                </a:lnTo>
                <a:lnTo>
                  <a:pt x="361" y="188"/>
                </a:lnTo>
                <a:lnTo>
                  <a:pt x="361" y="195"/>
                </a:lnTo>
                <a:lnTo>
                  <a:pt x="358" y="200"/>
                </a:lnTo>
                <a:lnTo>
                  <a:pt x="358" y="202"/>
                </a:lnTo>
                <a:lnTo>
                  <a:pt x="358" y="207"/>
                </a:lnTo>
                <a:lnTo>
                  <a:pt x="358" y="214"/>
                </a:lnTo>
                <a:lnTo>
                  <a:pt x="361" y="219"/>
                </a:lnTo>
                <a:lnTo>
                  <a:pt x="358" y="219"/>
                </a:lnTo>
                <a:lnTo>
                  <a:pt x="358" y="221"/>
                </a:lnTo>
                <a:lnTo>
                  <a:pt x="358" y="226"/>
                </a:lnTo>
                <a:lnTo>
                  <a:pt x="361" y="240"/>
                </a:lnTo>
                <a:lnTo>
                  <a:pt x="363" y="240"/>
                </a:lnTo>
                <a:lnTo>
                  <a:pt x="363" y="242"/>
                </a:lnTo>
                <a:lnTo>
                  <a:pt x="363" y="244"/>
                </a:lnTo>
                <a:lnTo>
                  <a:pt x="361" y="247"/>
                </a:lnTo>
                <a:lnTo>
                  <a:pt x="361" y="249"/>
                </a:lnTo>
                <a:lnTo>
                  <a:pt x="361" y="254"/>
                </a:lnTo>
                <a:lnTo>
                  <a:pt x="363" y="258"/>
                </a:lnTo>
                <a:lnTo>
                  <a:pt x="365" y="261"/>
                </a:lnTo>
                <a:lnTo>
                  <a:pt x="363" y="265"/>
                </a:lnTo>
                <a:lnTo>
                  <a:pt x="365" y="265"/>
                </a:lnTo>
                <a:lnTo>
                  <a:pt x="365" y="268"/>
                </a:lnTo>
                <a:lnTo>
                  <a:pt x="368" y="268"/>
                </a:lnTo>
                <a:lnTo>
                  <a:pt x="370" y="270"/>
                </a:lnTo>
                <a:lnTo>
                  <a:pt x="379" y="272"/>
                </a:lnTo>
                <a:lnTo>
                  <a:pt x="379" y="275"/>
                </a:lnTo>
                <a:lnTo>
                  <a:pt x="379" y="277"/>
                </a:lnTo>
                <a:lnTo>
                  <a:pt x="382" y="277"/>
                </a:lnTo>
                <a:lnTo>
                  <a:pt x="382" y="279"/>
                </a:lnTo>
                <a:lnTo>
                  <a:pt x="382" y="282"/>
                </a:lnTo>
                <a:lnTo>
                  <a:pt x="379" y="284"/>
                </a:lnTo>
                <a:lnTo>
                  <a:pt x="375" y="289"/>
                </a:lnTo>
                <a:lnTo>
                  <a:pt x="375" y="291"/>
                </a:lnTo>
                <a:lnTo>
                  <a:pt x="368" y="303"/>
                </a:lnTo>
                <a:lnTo>
                  <a:pt x="368" y="305"/>
                </a:lnTo>
                <a:lnTo>
                  <a:pt x="368" y="307"/>
                </a:lnTo>
                <a:lnTo>
                  <a:pt x="370" y="307"/>
                </a:lnTo>
                <a:lnTo>
                  <a:pt x="370" y="310"/>
                </a:lnTo>
                <a:lnTo>
                  <a:pt x="370" y="312"/>
                </a:lnTo>
                <a:lnTo>
                  <a:pt x="370" y="314"/>
                </a:lnTo>
                <a:lnTo>
                  <a:pt x="361" y="314"/>
                </a:lnTo>
                <a:lnTo>
                  <a:pt x="358" y="314"/>
                </a:lnTo>
                <a:lnTo>
                  <a:pt x="358" y="316"/>
                </a:lnTo>
                <a:lnTo>
                  <a:pt x="358" y="319"/>
                </a:lnTo>
                <a:lnTo>
                  <a:pt x="358" y="321"/>
                </a:lnTo>
                <a:lnTo>
                  <a:pt x="361" y="326"/>
                </a:lnTo>
                <a:lnTo>
                  <a:pt x="361" y="328"/>
                </a:lnTo>
                <a:lnTo>
                  <a:pt x="361" y="330"/>
                </a:lnTo>
                <a:lnTo>
                  <a:pt x="361" y="333"/>
                </a:lnTo>
                <a:lnTo>
                  <a:pt x="358" y="335"/>
                </a:lnTo>
                <a:lnTo>
                  <a:pt x="358" y="337"/>
                </a:lnTo>
                <a:lnTo>
                  <a:pt x="363" y="340"/>
                </a:lnTo>
                <a:lnTo>
                  <a:pt x="363" y="342"/>
                </a:lnTo>
                <a:lnTo>
                  <a:pt x="365" y="342"/>
                </a:lnTo>
                <a:lnTo>
                  <a:pt x="365" y="344"/>
                </a:lnTo>
                <a:lnTo>
                  <a:pt x="365" y="349"/>
                </a:lnTo>
                <a:lnTo>
                  <a:pt x="363" y="354"/>
                </a:lnTo>
                <a:lnTo>
                  <a:pt x="363" y="356"/>
                </a:lnTo>
                <a:lnTo>
                  <a:pt x="361" y="361"/>
                </a:lnTo>
                <a:lnTo>
                  <a:pt x="358" y="361"/>
                </a:lnTo>
                <a:lnTo>
                  <a:pt x="358" y="363"/>
                </a:lnTo>
                <a:lnTo>
                  <a:pt x="356" y="363"/>
                </a:lnTo>
                <a:lnTo>
                  <a:pt x="354" y="365"/>
                </a:lnTo>
                <a:lnTo>
                  <a:pt x="351" y="365"/>
                </a:lnTo>
                <a:lnTo>
                  <a:pt x="347" y="368"/>
                </a:lnTo>
                <a:lnTo>
                  <a:pt x="347" y="370"/>
                </a:lnTo>
                <a:lnTo>
                  <a:pt x="347" y="372"/>
                </a:lnTo>
                <a:lnTo>
                  <a:pt x="344" y="372"/>
                </a:lnTo>
                <a:lnTo>
                  <a:pt x="342" y="372"/>
                </a:lnTo>
                <a:lnTo>
                  <a:pt x="342" y="375"/>
                </a:lnTo>
                <a:lnTo>
                  <a:pt x="340" y="375"/>
                </a:lnTo>
                <a:lnTo>
                  <a:pt x="340" y="372"/>
                </a:lnTo>
                <a:lnTo>
                  <a:pt x="337" y="372"/>
                </a:lnTo>
                <a:lnTo>
                  <a:pt x="337" y="375"/>
                </a:lnTo>
                <a:lnTo>
                  <a:pt x="337" y="377"/>
                </a:lnTo>
                <a:lnTo>
                  <a:pt x="335" y="379"/>
                </a:lnTo>
                <a:lnTo>
                  <a:pt x="333" y="377"/>
                </a:lnTo>
                <a:lnTo>
                  <a:pt x="330" y="377"/>
                </a:lnTo>
                <a:lnTo>
                  <a:pt x="328" y="377"/>
                </a:lnTo>
                <a:lnTo>
                  <a:pt x="328" y="379"/>
                </a:lnTo>
                <a:lnTo>
                  <a:pt x="326" y="379"/>
                </a:lnTo>
                <a:lnTo>
                  <a:pt x="326" y="382"/>
                </a:lnTo>
                <a:lnTo>
                  <a:pt x="323" y="382"/>
                </a:lnTo>
                <a:lnTo>
                  <a:pt x="323" y="384"/>
                </a:lnTo>
                <a:lnTo>
                  <a:pt x="321" y="384"/>
                </a:lnTo>
                <a:lnTo>
                  <a:pt x="319" y="384"/>
                </a:lnTo>
                <a:lnTo>
                  <a:pt x="319" y="386"/>
                </a:lnTo>
                <a:lnTo>
                  <a:pt x="316" y="386"/>
                </a:lnTo>
                <a:lnTo>
                  <a:pt x="316" y="389"/>
                </a:lnTo>
                <a:lnTo>
                  <a:pt x="314" y="389"/>
                </a:lnTo>
                <a:lnTo>
                  <a:pt x="309" y="391"/>
                </a:lnTo>
                <a:lnTo>
                  <a:pt x="305" y="393"/>
                </a:lnTo>
                <a:lnTo>
                  <a:pt x="302" y="393"/>
                </a:lnTo>
                <a:lnTo>
                  <a:pt x="302" y="398"/>
                </a:lnTo>
                <a:lnTo>
                  <a:pt x="300" y="398"/>
                </a:lnTo>
                <a:lnTo>
                  <a:pt x="300" y="400"/>
                </a:lnTo>
                <a:lnTo>
                  <a:pt x="298" y="400"/>
                </a:lnTo>
                <a:lnTo>
                  <a:pt x="296" y="403"/>
                </a:lnTo>
                <a:lnTo>
                  <a:pt x="296" y="405"/>
                </a:lnTo>
                <a:lnTo>
                  <a:pt x="293" y="405"/>
                </a:lnTo>
                <a:lnTo>
                  <a:pt x="291" y="407"/>
                </a:lnTo>
                <a:lnTo>
                  <a:pt x="289" y="407"/>
                </a:lnTo>
                <a:lnTo>
                  <a:pt x="286" y="407"/>
                </a:lnTo>
                <a:lnTo>
                  <a:pt x="284" y="407"/>
                </a:lnTo>
                <a:lnTo>
                  <a:pt x="282" y="407"/>
                </a:lnTo>
                <a:lnTo>
                  <a:pt x="279" y="407"/>
                </a:lnTo>
                <a:lnTo>
                  <a:pt x="277" y="407"/>
                </a:lnTo>
                <a:lnTo>
                  <a:pt x="277" y="412"/>
                </a:lnTo>
                <a:lnTo>
                  <a:pt x="277" y="414"/>
                </a:lnTo>
                <a:lnTo>
                  <a:pt x="277" y="417"/>
                </a:lnTo>
                <a:lnTo>
                  <a:pt x="277" y="419"/>
                </a:lnTo>
                <a:lnTo>
                  <a:pt x="272" y="419"/>
                </a:lnTo>
                <a:lnTo>
                  <a:pt x="270" y="421"/>
                </a:lnTo>
                <a:lnTo>
                  <a:pt x="270" y="424"/>
                </a:lnTo>
                <a:lnTo>
                  <a:pt x="268" y="424"/>
                </a:lnTo>
                <a:lnTo>
                  <a:pt x="268" y="421"/>
                </a:lnTo>
                <a:lnTo>
                  <a:pt x="265" y="421"/>
                </a:lnTo>
                <a:lnTo>
                  <a:pt x="263" y="421"/>
                </a:lnTo>
                <a:lnTo>
                  <a:pt x="261" y="421"/>
                </a:lnTo>
                <a:lnTo>
                  <a:pt x="261" y="419"/>
                </a:lnTo>
                <a:lnTo>
                  <a:pt x="258" y="419"/>
                </a:lnTo>
                <a:lnTo>
                  <a:pt x="258" y="421"/>
                </a:lnTo>
                <a:lnTo>
                  <a:pt x="258" y="419"/>
                </a:lnTo>
                <a:lnTo>
                  <a:pt x="256" y="419"/>
                </a:lnTo>
                <a:lnTo>
                  <a:pt x="254" y="421"/>
                </a:lnTo>
                <a:lnTo>
                  <a:pt x="254" y="424"/>
                </a:lnTo>
                <a:lnTo>
                  <a:pt x="251" y="424"/>
                </a:lnTo>
                <a:lnTo>
                  <a:pt x="249" y="424"/>
                </a:lnTo>
                <a:lnTo>
                  <a:pt x="242" y="424"/>
                </a:lnTo>
                <a:lnTo>
                  <a:pt x="240" y="424"/>
                </a:lnTo>
                <a:lnTo>
                  <a:pt x="237" y="424"/>
                </a:lnTo>
                <a:lnTo>
                  <a:pt x="237" y="426"/>
                </a:lnTo>
                <a:lnTo>
                  <a:pt x="235" y="426"/>
                </a:lnTo>
                <a:lnTo>
                  <a:pt x="235" y="428"/>
                </a:lnTo>
                <a:lnTo>
                  <a:pt x="233" y="428"/>
                </a:lnTo>
                <a:lnTo>
                  <a:pt x="230" y="428"/>
                </a:lnTo>
                <a:lnTo>
                  <a:pt x="230" y="431"/>
                </a:lnTo>
                <a:lnTo>
                  <a:pt x="228" y="431"/>
                </a:lnTo>
                <a:lnTo>
                  <a:pt x="228" y="433"/>
                </a:lnTo>
                <a:lnTo>
                  <a:pt x="226" y="433"/>
                </a:lnTo>
                <a:lnTo>
                  <a:pt x="226" y="435"/>
                </a:lnTo>
                <a:lnTo>
                  <a:pt x="226" y="433"/>
                </a:lnTo>
                <a:lnTo>
                  <a:pt x="221" y="433"/>
                </a:lnTo>
                <a:lnTo>
                  <a:pt x="219" y="433"/>
                </a:lnTo>
                <a:lnTo>
                  <a:pt x="219" y="435"/>
                </a:lnTo>
                <a:lnTo>
                  <a:pt x="219" y="438"/>
                </a:lnTo>
                <a:lnTo>
                  <a:pt x="216" y="438"/>
                </a:lnTo>
                <a:lnTo>
                  <a:pt x="214" y="435"/>
                </a:lnTo>
                <a:lnTo>
                  <a:pt x="212" y="433"/>
                </a:lnTo>
                <a:lnTo>
                  <a:pt x="209" y="433"/>
                </a:lnTo>
                <a:lnTo>
                  <a:pt x="207" y="433"/>
                </a:lnTo>
                <a:lnTo>
                  <a:pt x="205" y="433"/>
                </a:lnTo>
                <a:lnTo>
                  <a:pt x="205" y="435"/>
                </a:lnTo>
                <a:lnTo>
                  <a:pt x="202" y="435"/>
                </a:lnTo>
                <a:lnTo>
                  <a:pt x="200" y="433"/>
                </a:lnTo>
                <a:lnTo>
                  <a:pt x="198" y="433"/>
                </a:lnTo>
                <a:lnTo>
                  <a:pt x="198" y="431"/>
                </a:lnTo>
                <a:lnTo>
                  <a:pt x="198" y="428"/>
                </a:lnTo>
                <a:lnTo>
                  <a:pt x="195" y="426"/>
                </a:lnTo>
                <a:lnTo>
                  <a:pt x="193" y="426"/>
                </a:lnTo>
                <a:lnTo>
                  <a:pt x="191" y="426"/>
                </a:lnTo>
                <a:lnTo>
                  <a:pt x="191" y="424"/>
                </a:lnTo>
                <a:lnTo>
                  <a:pt x="188" y="421"/>
                </a:lnTo>
                <a:lnTo>
                  <a:pt x="186" y="421"/>
                </a:lnTo>
                <a:lnTo>
                  <a:pt x="184" y="421"/>
                </a:lnTo>
                <a:lnTo>
                  <a:pt x="184" y="424"/>
                </a:lnTo>
                <a:lnTo>
                  <a:pt x="181" y="424"/>
                </a:lnTo>
                <a:lnTo>
                  <a:pt x="179" y="421"/>
                </a:lnTo>
                <a:lnTo>
                  <a:pt x="177" y="421"/>
                </a:lnTo>
                <a:lnTo>
                  <a:pt x="174" y="421"/>
                </a:lnTo>
                <a:lnTo>
                  <a:pt x="172" y="424"/>
                </a:lnTo>
                <a:lnTo>
                  <a:pt x="170" y="424"/>
                </a:lnTo>
                <a:lnTo>
                  <a:pt x="170" y="421"/>
                </a:lnTo>
                <a:lnTo>
                  <a:pt x="170" y="417"/>
                </a:lnTo>
                <a:lnTo>
                  <a:pt x="168" y="417"/>
                </a:lnTo>
                <a:lnTo>
                  <a:pt x="165" y="414"/>
                </a:lnTo>
                <a:lnTo>
                  <a:pt x="163" y="414"/>
                </a:lnTo>
                <a:lnTo>
                  <a:pt x="163" y="417"/>
                </a:lnTo>
                <a:lnTo>
                  <a:pt x="161" y="417"/>
                </a:lnTo>
                <a:lnTo>
                  <a:pt x="158" y="417"/>
                </a:lnTo>
                <a:lnTo>
                  <a:pt x="156" y="414"/>
                </a:lnTo>
                <a:lnTo>
                  <a:pt x="154" y="414"/>
                </a:lnTo>
                <a:lnTo>
                  <a:pt x="154" y="417"/>
                </a:lnTo>
                <a:lnTo>
                  <a:pt x="151" y="417"/>
                </a:lnTo>
                <a:lnTo>
                  <a:pt x="151" y="419"/>
                </a:lnTo>
                <a:lnTo>
                  <a:pt x="151" y="421"/>
                </a:lnTo>
                <a:lnTo>
                  <a:pt x="149" y="421"/>
                </a:lnTo>
                <a:lnTo>
                  <a:pt x="147" y="421"/>
                </a:lnTo>
                <a:lnTo>
                  <a:pt x="144" y="419"/>
                </a:lnTo>
                <a:lnTo>
                  <a:pt x="142" y="419"/>
                </a:lnTo>
                <a:lnTo>
                  <a:pt x="142" y="421"/>
                </a:lnTo>
                <a:lnTo>
                  <a:pt x="140" y="424"/>
                </a:lnTo>
                <a:lnTo>
                  <a:pt x="142" y="426"/>
                </a:lnTo>
                <a:lnTo>
                  <a:pt x="142" y="428"/>
                </a:lnTo>
                <a:lnTo>
                  <a:pt x="144" y="428"/>
                </a:lnTo>
                <a:lnTo>
                  <a:pt x="144" y="435"/>
                </a:lnTo>
                <a:lnTo>
                  <a:pt x="144" y="438"/>
                </a:lnTo>
                <a:lnTo>
                  <a:pt x="144" y="440"/>
                </a:lnTo>
                <a:lnTo>
                  <a:pt x="147" y="442"/>
                </a:lnTo>
                <a:lnTo>
                  <a:pt x="147" y="445"/>
                </a:lnTo>
                <a:lnTo>
                  <a:pt x="147" y="447"/>
                </a:lnTo>
                <a:lnTo>
                  <a:pt x="147" y="449"/>
                </a:lnTo>
                <a:lnTo>
                  <a:pt x="144" y="452"/>
                </a:lnTo>
                <a:lnTo>
                  <a:pt x="144" y="454"/>
                </a:lnTo>
                <a:lnTo>
                  <a:pt x="144" y="456"/>
                </a:lnTo>
                <a:lnTo>
                  <a:pt x="144" y="458"/>
                </a:lnTo>
                <a:lnTo>
                  <a:pt x="144" y="461"/>
                </a:lnTo>
                <a:lnTo>
                  <a:pt x="142" y="463"/>
                </a:lnTo>
                <a:lnTo>
                  <a:pt x="140" y="463"/>
                </a:lnTo>
                <a:lnTo>
                  <a:pt x="140" y="465"/>
                </a:lnTo>
                <a:lnTo>
                  <a:pt x="140" y="468"/>
                </a:lnTo>
                <a:lnTo>
                  <a:pt x="137" y="468"/>
                </a:lnTo>
                <a:lnTo>
                  <a:pt x="137" y="470"/>
                </a:lnTo>
                <a:lnTo>
                  <a:pt x="137" y="472"/>
                </a:lnTo>
                <a:lnTo>
                  <a:pt x="133" y="475"/>
                </a:lnTo>
                <a:lnTo>
                  <a:pt x="133" y="477"/>
                </a:lnTo>
                <a:lnTo>
                  <a:pt x="133" y="479"/>
                </a:lnTo>
                <a:lnTo>
                  <a:pt x="130" y="479"/>
                </a:lnTo>
                <a:lnTo>
                  <a:pt x="128" y="479"/>
                </a:lnTo>
                <a:lnTo>
                  <a:pt x="128" y="482"/>
                </a:lnTo>
                <a:lnTo>
                  <a:pt x="128" y="484"/>
                </a:lnTo>
                <a:lnTo>
                  <a:pt x="126" y="484"/>
                </a:lnTo>
                <a:lnTo>
                  <a:pt x="123" y="484"/>
                </a:lnTo>
                <a:lnTo>
                  <a:pt x="116" y="491"/>
                </a:lnTo>
                <a:lnTo>
                  <a:pt x="114" y="491"/>
                </a:lnTo>
                <a:lnTo>
                  <a:pt x="114" y="493"/>
                </a:lnTo>
                <a:lnTo>
                  <a:pt x="112" y="493"/>
                </a:lnTo>
                <a:lnTo>
                  <a:pt x="107" y="493"/>
                </a:lnTo>
                <a:lnTo>
                  <a:pt x="102" y="491"/>
                </a:lnTo>
                <a:lnTo>
                  <a:pt x="95" y="489"/>
                </a:lnTo>
                <a:lnTo>
                  <a:pt x="93" y="491"/>
                </a:lnTo>
                <a:lnTo>
                  <a:pt x="91" y="491"/>
                </a:lnTo>
                <a:lnTo>
                  <a:pt x="88" y="491"/>
                </a:lnTo>
                <a:lnTo>
                  <a:pt x="86" y="491"/>
                </a:lnTo>
                <a:lnTo>
                  <a:pt x="86" y="493"/>
                </a:lnTo>
                <a:lnTo>
                  <a:pt x="84" y="493"/>
                </a:lnTo>
                <a:lnTo>
                  <a:pt x="81" y="493"/>
                </a:lnTo>
                <a:lnTo>
                  <a:pt x="81" y="496"/>
                </a:lnTo>
                <a:lnTo>
                  <a:pt x="79" y="496"/>
                </a:lnTo>
                <a:lnTo>
                  <a:pt x="79" y="498"/>
                </a:lnTo>
                <a:lnTo>
                  <a:pt x="77" y="498"/>
                </a:lnTo>
                <a:lnTo>
                  <a:pt x="74" y="498"/>
                </a:lnTo>
                <a:lnTo>
                  <a:pt x="72" y="500"/>
                </a:lnTo>
                <a:lnTo>
                  <a:pt x="70" y="505"/>
                </a:lnTo>
                <a:lnTo>
                  <a:pt x="67" y="505"/>
                </a:lnTo>
                <a:lnTo>
                  <a:pt x="65" y="505"/>
                </a:lnTo>
                <a:lnTo>
                  <a:pt x="60" y="503"/>
                </a:lnTo>
                <a:lnTo>
                  <a:pt x="58" y="503"/>
                </a:lnTo>
                <a:lnTo>
                  <a:pt x="56" y="505"/>
                </a:lnTo>
                <a:lnTo>
                  <a:pt x="53" y="505"/>
                </a:lnTo>
                <a:lnTo>
                  <a:pt x="51" y="505"/>
                </a:lnTo>
                <a:lnTo>
                  <a:pt x="49" y="503"/>
                </a:lnTo>
                <a:lnTo>
                  <a:pt x="46" y="503"/>
                </a:lnTo>
                <a:lnTo>
                  <a:pt x="44" y="500"/>
                </a:lnTo>
                <a:lnTo>
                  <a:pt x="44" y="498"/>
                </a:lnTo>
                <a:lnTo>
                  <a:pt x="42" y="498"/>
                </a:lnTo>
                <a:lnTo>
                  <a:pt x="40" y="496"/>
                </a:lnTo>
                <a:lnTo>
                  <a:pt x="37" y="496"/>
                </a:lnTo>
                <a:lnTo>
                  <a:pt x="35" y="493"/>
                </a:lnTo>
                <a:lnTo>
                  <a:pt x="35" y="489"/>
                </a:lnTo>
                <a:lnTo>
                  <a:pt x="30" y="484"/>
                </a:lnTo>
                <a:lnTo>
                  <a:pt x="30" y="482"/>
                </a:lnTo>
                <a:lnTo>
                  <a:pt x="30" y="479"/>
                </a:lnTo>
                <a:lnTo>
                  <a:pt x="30" y="477"/>
                </a:lnTo>
                <a:lnTo>
                  <a:pt x="30" y="475"/>
                </a:lnTo>
                <a:lnTo>
                  <a:pt x="28" y="475"/>
                </a:lnTo>
                <a:lnTo>
                  <a:pt x="28" y="470"/>
                </a:lnTo>
                <a:lnTo>
                  <a:pt x="23" y="465"/>
                </a:lnTo>
                <a:lnTo>
                  <a:pt x="21" y="465"/>
                </a:lnTo>
                <a:lnTo>
                  <a:pt x="12" y="463"/>
                </a:lnTo>
                <a:lnTo>
                  <a:pt x="7" y="463"/>
                </a:lnTo>
                <a:lnTo>
                  <a:pt x="0" y="461"/>
                </a:lnTo>
                <a:lnTo>
                  <a:pt x="0" y="458"/>
                </a:lnTo>
                <a:lnTo>
                  <a:pt x="2" y="456"/>
                </a:lnTo>
                <a:lnTo>
                  <a:pt x="2" y="454"/>
                </a:lnTo>
                <a:lnTo>
                  <a:pt x="0" y="454"/>
                </a:lnTo>
                <a:lnTo>
                  <a:pt x="0" y="452"/>
                </a:lnTo>
                <a:lnTo>
                  <a:pt x="5" y="447"/>
                </a:lnTo>
                <a:lnTo>
                  <a:pt x="5" y="445"/>
                </a:lnTo>
                <a:lnTo>
                  <a:pt x="5" y="442"/>
                </a:lnTo>
                <a:lnTo>
                  <a:pt x="7" y="442"/>
                </a:lnTo>
                <a:lnTo>
                  <a:pt x="9" y="440"/>
                </a:lnTo>
                <a:lnTo>
                  <a:pt x="7" y="435"/>
                </a:lnTo>
                <a:lnTo>
                  <a:pt x="9" y="431"/>
                </a:lnTo>
                <a:lnTo>
                  <a:pt x="9" y="428"/>
                </a:lnTo>
                <a:lnTo>
                  <a:pt x="12" y="428"/>
                </a:lnTo>
                <a:lnTo>
                  <a:pt x="9" y="426"/>
                </a:lnTo>
                <a:lnTo>
                  <a:pt x="12" y="421"/>
                </a:lnTo>
                <a:lnTo>
                  <a:pt x="12" y="417"/>
                </a:lnTo>
                <a:lnTo>
                  <a:pt x="12" y="414"/>
                </a:lnTo>
                <a:lnTo>
                  <a:pt x="12" y="412"/>
                </a:lnTo>
                <a:lnTo>
                  <a:pt x="14" y="412"/>
                </a:lnTo>
                <a:lnTo>
                  <a:pt x="14" y="410"/>
                </a:lnTo>
                <a:lnTo>
                  <a:pt x="16" y="407"/>
                </a:lnTo>
                <a:lnTo>
                  <a:pt x="16" y="405"/>
                </a:lnTo>
                <a:lnTo>
                  <a:pt x="14" y="405"/>
                </a:lnTo>
                <a:lnTo>
                  <a:pt x="14" y="403"/>
                </a:lnTo>
                <a:lnTo>
                  <a:pt x="12" y="400"/>
                </a:lnTo>
                <a:lnTo>
                  <a:pt x="9" y="398"/>
                </a:lnTo>
                <a:lnTo>
                  <a:pt x="9" y="396"/>
                </a:lnTo>
                <a:lnTo>
                  <a:pt x="9" y="391"/>
                </a:lnTo>
                <a:lnTo>
                  <a:pt x="9" y="389"/>
                </a:lnTo>
                <a:lnTo>
                  <a:pt x="9" y="386"/>
                </a:lnTo>
                <a:lnTo>
                  <a:pt x="9" y="384"/>
                </a:lnTo>
                <a:lnTo>
                  <a:pt x="9" y="379"/>
                </a:lnTo>
                <a:lnTo>
                  <a:pt x="9" y="377"/>
                </a:lnTo>
                <a:lnTo>
                  <a:pt x="7" y="375"/>
                </a:lnTo>
                <a:lnTo>
                  <a:pt x="7" y="372"/>
                </a:lnTo>
                <a:lnTo>
                  <a:pt x="7" y="370"/>
                </a:lnTo>
                <a:lnTo>
                  <a:pt x="9" y="368"/>
                </a:lnTo>
                <a:lnTo>
                  <a:pt x="9" y="365"/>
                </a:lnTo>
                <a:lnTo>
                  <a:pt x="12" y="363"/>
                </a:lnTo>
                <a:lnTo>
                  <a:pt x="14" y="363"/>
                </a:lnTo>
                <a:lnTo>
                  <a:pt x="14" y="361"/>
                </a:lnTo>
                <a:lnTo>
                  <a:pt x="16" y="361"/>
                </a:lnTo>
                <a:lnTo>
                  <a:pt x="19" y="358"/>
                </a:lnTo>
                <a:lnTo>
                  <a:pt x="21" y="354"/>
                </a:lnTo>
                <a:lnTo>
                  <a:pt x="23" y="354"/>
                </a:lnTo>
                <a:lnTo>
                  <a:pt x="23" y="351"/>
                </a:lnTo>
                <a:lnTo>
                  <a:pt x="21" y="351"/>
                </a:lnTo>
                <a:lnTo>
                  <a:pt x="23" y="349"/>
                </a:lnTo>
                <a:lnTo>
                  <a:pt x="26" y="347"/>
                </a:lnTo>
                <a:lnTo>
                  <a:pt x="26" y="342"/>
                </a:lnTo>
                <a:lnTo>
                  <a:pt x="28" y="340"/>
                </a:lnTo>
                <a:lnTo>
                  <a:pt x="30" y="337"/>
                </a:lnTo>
                <a:lnTo>
                  <a:pt x="33" y="335"/>
                </a:lnTo>
                <a:lnTo>
                  <a:pt x="33" y="333"/>
                </a:lnTo>
                <a:lnTo>
                  <a:pt x="33" y="330"/>
                </a:lnTo>
                <a:lnTo>
                  <a:pt x="35" y="330"/>
                </a:lnTo>
                <a:lnTo>
                  <a:pt x="35" y="328"/>
                </a:lnTo>
                <a:lnTo>
                  <a:pt x="37" y="326"/>
                </a:lnTo>
                <a:lnTo>
                  <a:pt x="40" y="319"/>
                </a:lnTo>
                <a:lnTo>
                  <a:pt x="40" y="316"/>
                </a:lnTo>
                <a:lnTo>
                  <a:pt x="42" y="316"/>
                </a:lnTo>
                <a:lnTo>
                  <a:pt x="42" y="314"/>
                </a:lnTo>
                <a:lnTo>
                  <a:pt x="40" y="314"/>
                </a:lnTo>
                <a:lnTo>
                  <a:pt x="42" y="314"/>
                </a:lnTo>
                <a:lnTo>
                  <a:pt x="40" y="312"/>
                </a:lnTo>
                <a:lnTo>
                  <a:pt x="42" y="312"/>
                </a:lnTo>
                <a:lnTo>
                  <a:pt x="42" y="310"/>
                </a:lnTo>
                <a:lnTo>
                  <a:pt x="42" y="307"/>
                </a:lnTo>
                <a:lnTo>
                  <a:pt x="42" y="305"/>
                </a:lnTo>
                <a:lnTo>
                  <a:pt x="44" y="305"/>
                </a:lnTo>
                <a:lnTo>
                  <a:pt x="44" y="303"/>
                </a:lnTo>
                <a:lnTo>
                  <a:pt x="46" y="298"/>
                </a:lnTo>
                <a:lnTo>
                  <a:pt x="49" y="296"/>
                </a:lnTo>
                <a:lnTo>
                  <a:pt x="51" y="293"/>
                </a:lnTo>
                <a:lnTo>
                  <a:pt x="56" y="291"/>
                </a:lnTo>
                <a:lnTo>
                  <a:pt x="60" y="289"/>
                </a:lnTo>
                <a:lnTo>
                  <a:pt x="65" y="289"/>
                </a:lnTo>
                <a:lnTo>
                  <a:pt x="67" y="289"/>
                </a:lnTo>
                <a:lnTo>
                  <a:pt x="72" y="286"/>
                </a:lnTo>
                <a:lnTo>
                  <a:pt x="79" y="286"/>
                </a:lnTo>
                <a:lnTo>
                  <a:pt x="84" y="284"/>
                </a:lnTo>
                <a:lnTo>
                  <a:pt x="86" y="284"/>
                </a:lnTo>
                <a:lnTo>
                  <a:pt x="86" y="282"/>
                </a:lnTo>
                <a:lnTo>
                  <a:pt x="88" y="282"/>
                </a:lnTo>
                <a:lnTo>
                  <a:pt x="93" y="279"/>
                </a:lnTo>
                <a:lnTo>
                  <a:pt x="95" y="279"/>
                </a:lnTo>
                <a:lnTo>
                  <a:pt x="98" y="279"/>
                </a:lnTo>
                <a:lnTo>
                  <a:pt x="98" y="282"/>
                </a:lnTo>
                <a:lnTo>
                  <a:pt x="100" y="282"/>
                </a:lnTo>
                <a:lnTo>
                  <a:pt x="102" y="279"/>
                </a:lnTo>
                <a:lnTo>
                  <a:pt x="102" y="277"/>
                </a:lnTo>
                <a:lnTo>
                  <a:pt x="105" y="277"/>
                </a:lnTo>
                <a:lnTo>
                  <a:pt x="107" y="277"/>
                </a:lnTo>
                <a:lnTo>
                  <a:pt x="109" y="272"/>
                </a:lnTo>
                <a:lnTo>
                  <a:pt x="112" y="272"/>
                </a:lnTo>
                <a:lnTo>
                  <a:pt x="112" y="270"/>
                </a:lnTo>
                <a:lnTo>
                  <a:pt x="114" y="270"/>
                </a:lnTo>
                <a:lnTo>
                  <a:pt x="119" y="268"/>
                </a:lnTo>
                <a:lnTo>
                  <a:pt x="121" y="265"/>
                </a:lnTo>
                <a:lnTo>
                  <a:pt x="123" y="268"/>
                </a:lnTo>
                <a:lnTo>
                  <a:pt x="123" y="265"/>
                </a:lnTo>
                <a:lnTo>
                  <a:pt x="126" y="265"/>
                </a:lnTo>
                <a:lnTo>
                  <a:pt x="128" y="265"/>
                </a:lnTo>
                <a:lnTo>
                  <a:pt x="130" y="261"/>
                </a:lnTo>
                <a:lnTo>
                  <a:pt x="133" y="261"/>
                </a:lnTo>
                <a:lnTo>
                  <a:pt x="133" y="258"/>
                </a:lnTo>
                <a:lnTo>
                  <a:pt x="135" y="258"/>
                </a:lnTo>
                <a:lnTo>
                  <a:pt x="137" y="256"/>
                </a:lnTo>
                <a:lnTo>
                  <a:pt x="137" y="254"/>
                </a:lnTo>
                <a:lnTo>
                  <a:pt x="140" y="251"/>
                </a:lnTo>
                <a:lnTo>
                  <a:pt x="142" y="251"/>
                </a:lnTo>
                <a:lnTo>
                  <a:pt x="144" y="251"/>
                </a:lnTo>
                <a:lnTo>
                  <a:pt x="142" y="251"/>
                </a:lnTo>
                <a:lnTo>
                  <a:pt x="142" y="249"/>
                </a:lnTo>
                <a:lnTo>
                  <a:pt x="144" y="249"/>
                </a:lnTo>
                <a:lnTo>
                  <a:pt x="147" y="249"/>
                </a:lnTo>
                <a:lnTo>
                  <a:pt x="147" y="247"/>
                </a:lnTo>
                <a:lnTo>
                  <a:pt x="149" y="247"/>
                </a:lnTo>
                <a:lnTo>
                  <a:pt x="151" y="247"/>
                </a:lnTo>
                <a:lnTo>
                  <a:pt x="151" y="244"/>
                </a:lnTo>
                <a:lnTo>
                  <a:pt x="154" y="244"/>
                </a:lnTo>
                <a:lnTo>
                  <a:pt x="154" y="247"/>
                </a:lnTo>
                <a:lnTo>
                  <a:pt x="156" y="247"/>
                </a:lnTo>
                <a:lnTo>
                  <a:pt x="158" y="244"/>
                </a:lnTo>
                <a:lnTo>
                  <a:pt x="161" y="244"/>
                </a:lnTo>
                <a:lnTo>
                  <a:pt x="163" y="244"/>
                </a:lnTo>
                <a:lnTo>
                  <a:pt x="170" y="244"/>
                </a:lnTo>
                <a:lnTo>
                  <a:pt x="172" y="244"/>
                </a:lnTo>
                <a:lnTo>
                  <a:pt x="177" y="247"/>
                </a:lnTo>
                <a:lnTo>
                  <a:pt x="177" y="249"/>
                </a:lnTo>
                <a:lnTo>
                  <a:pt x="179" y="249"/>
                </a:lnTo>
                <a:lnTo>
                  <a:pt x="179" y="251"/>
                </a:lnTo>
                <a:lnTo>
                  <a:pt x="181" y="251"/>
                </a:lnTo>
                <a:lnTo>
                  <a:pt x="181" y="254"/>
                </a:lnTo>
                <a:lnTo>
                  <a:pt x="184" y="254"/>
                </a:lnTo>
                <a:lnTo>
                  <a:pt x="184" y="256"/>
                </a:lnTo>
                <a:lnTo>
                  <a:pt x="186" y="256"/>
                </a:lnTo>
                <a:lnTo>
                  <a:pt x="188" y="256"/>
                </a:lnTo>
                <a:lnTo>
                  <a:pt x="188" y="254"/>
                </a:lnTo>
                <a:lnTo>
                  <a:pt x="191" y="254"/>
                </a:lnTo>
                <a:lnTo>
                  <a:pt x="193" y="254"/>
                </a:lnTo>
                <a:lnTo>
                  <a:pt x="195" y="254"/>
                </a:lnTo>
                <a:lnTo>
                  <a:pt x="198" y="254"/>
                </a:lnTo>
                <a:lnTo>
                  <a:pt x="200" y="251"/>
                </a:lnTo>
                <a:lnTo>
                  <a:pt x="202" y="251"/>
                </a:lnTo>
                <a:lnTo>
                  <a:pt x="205" y="254"/>
                </a:lnTo>
                <a:lnTo>
                  <a:pt x="207" y="254"/>
                </a:lnTo>
                <a:lnTo>
                  <a:pt x="209" y="254"/>
                </a:lnTo>
                <a:lnTo>
                  <a:pt x="212" y="254"/>
                </a:lnTo>
                <a:lnTo>
                  <a:pt x="214" y="254"/>
                </a:lnTo>
                <a:lnTo>
                  <a:pt x="216" y="251"/>
                </a:lnTo>
                <a:lnTo>
                  <a:pt x="221" y="249"/>
                </a:lnTo>
                <a:lnTo>
                  <a:pt x="221" y="247"/>
                </a:lnTo>
                <a:lnTo>
                  <a:pt x="221" y="244"/>
                </a:lnTo>
                <a:lnTo>
                  <a:pt x="223" y="242"/>
                </a:lnTo>
                <a:lnTo>
                  <a:pt x="226" y="237"/>
                </a:lnTo>
                <a:lnTo>
                  <a:pt x="226" y="235"/>
                </a:lnTo>
                <a:lnTo>
                  <a:pt x="226" y="233"/>
                </a:lnTo>
                <a:lnTo>
                  <a:pt x="228" y="230"/>
                </a:lnTo>
                <a:lnTo>
                  <a:pt x="228" y="228"/>
                </a:lnTo>
                <a:lnTo>
                  <a:pt x="228" y="226"/>
                </a:lnTo>
                <a:lnTo>
                  <a:pt x="228" y="221"/>
                </a:lnTo>
                <a:lnTo>
                  <a:pt x="226" y="219"/>
                </a:lnTo>
                <a:lnTo>
                  <a:pt x="223" y="219"/>
                </a:lnTo>
                <a:lnTo>
                  <a:pt x="223" y="216"/>
                </a:lnTo>
                <a:lnTo>
                  <a:pt x="221" y="216"/>
                </a:lnTo>
                <a:lnTo>
                  <a:pt x="221" y="214"/>
                </a:lnTo>
                <a:lnTo>
                  <a:pt x="221" y="212"/>
                </a:lnTo>
                <a:lnTo>
                  <a:pt x="219" y="212"/>
                </a:lnTo>
                <a:lnTo>
                  <a:pt x="216" y="209"/>
                </a:lnTo>
                <a:lnTo>
                  <a:pt x="216" y="207"/>
                </a:lnTo>
                <a:lnTo>
                  <a:pt x="216" y="205"/>
                </a:lnTo>
                <a:lnTo>
                  <a:pt x="216" y="202"/>
                </a:lnTo>
                <a:lnTo>
                  <a:pt x="214" y="200"/>
                </a:lnTo>
                <a:lnTo>
                  <a:pt x="214" y="198"/>
                </a:lnTo>
                <a:lnTo>
                  <a:pt x="214" y="195"/>
                </a:lnTo>
                <a:lnTo>
                  <a:pt x="216" y="195"/>
                </a:lnTo>
                <a:lnTo>
                  <a:pt x="216" y="193"/>
                </a:lnTo>
                <a:lnTo>
                  <a:pt x="216" y="188"/>
                </a:lnTo>
                <a:lnTo>
                  <a:pt x="216" y="186"/>
                </a:lnTo>
                <a:lnTo>
                  <a:pt x="219" y="184"/>
                </a:lnTo>
                <a:lnTo>
                  <a:pt x="216" y="184"/>
                </a:lnTo>
                <a:lnTo>
                  <a:pt x="216" y="181"/>
                </a:lnTo>
                <a:lnTo>
                  <a:pt x="219" y="181"/>
                </a:lnTo>
                <a:lnTo>
                  <a:pt x="216" y="179"/>
                </a:lnTo>
                <a:lnTo>
                  <a:pt x="219" y="177"/>
                </a:lnTo>
                <a:lnTo>
                  <a:pt x="221" y="177"/>
                </a:lnTo>
                <a:lnTo>
                  <a:pt x="221" y="174"/>
                </a:lnTo>
                <a:lnTo>
                  <a:pt x="223" y="174"/>
                </a:lnTo>
                <a:lnTo>
                  <a:pt x="226" y="170"/>
                </a:lnTo>
                <a:lnTo>
                  <a:pt x="228" y="168"/>
                </a:lnTo>
                <a:lnTo>
                  <a:pt x="230" y="165"/>
                </a:lnTo>
                <a:lnTo>
                  <a:pt x="235" y="163"/>
                </a:lnTo>
                <a:lnTo>
                  <a:pt x="237" y="161"/>
                </a:lnTo>
                <a:lnTo>
                  <a:pt x="237" y="158"/>
                </a:lnTo>
                <a:lnTo>
                  <a:pt x="237" y="156"/>
                </a:lnTo>
                <a:lnTo>
                  <a:pt x="237" y="154"/>
                </a:lnTo>
                <a:lnTo>
                  <a:pt x="240" y="154"/>
                </a:lnTo>
                <a:lnTo>
                  <a:pt x="240" y="151"/>
                </a:lnTo>
                <a:lnTo>
                  <a:pt x="240" y="147"/>
                </a:lnTo>
                <a:lnTo>
                  <a:pt x="240" y="142"/>
                </a:lnTo>
                <a:lnTo>
                  <a:pt x="240" y="140"/>
                </a:lnTo>
                <a:lnTo>
                  <a:pt x="240" y="137"/>
                </a:lnTo>
                <a:lnTo>
                  <a:pt x="237" y="137"/>
                </a:lnTo>
                <a:lnTo>
                  <a:pt x="240" y="137"/>
                </a:lnTo>
                <a:lnTo>
                  <a:pt x="240" y="135"/>
                </a:lnTo>
                <a:lnTo>
                  <a:pt x="237" y="135"/>
                </a:lnTo>
                <a:lnTo>
                  <a:pt x="237" y="133"/>
                </a:lnTo>
                <a:lnTo>
                  <a:pt x="237" y="130"/>
                </a:lnTo>
                <a:lnTo>
                  <a:pt x="237" y="128"/>
                </a:lnTo>
                <a:lnTo>
                  <a:pt x="235" y="126"/>
                </a:lnTo>
                <a:lnTo>
                  <a:pt x="233" y="123"/>
                </a:lnTo>
                <a:lnTo>
                  <a:pt x="235" y="123"/>
                </a:lnTo>
                <a:lnTo>
                  <a:pt x="235" y="121"/>
                </a:lnTo>
                <a:lnTo>
                  <a:pt x="235" y="119"/>
                </a:lnTo>
                <a:lnTo>
                  <a:pt x="235" y="116"/>
                </a:lnTo>
                <a:lnTo>
                  <a:pt x="237" y="116"/>
                </a:lnTo>
                <a:lnTo>
                  <a:pt x="237" y="114"/>
                </a:lnTo>
                <a:lnTo>
                  <a:pt x="240" y="114"/>
                </a:lnTo>
                <a:lnTo>
                  <a:pt x="240" y="112"/>
                </a:lnTo>
                <a:lnTo>
                  <a:pt x="242" y="107"/>
                </a:lnTo>
                <a:lnTo>
                  <a:pt x="242" y="105"/>
                </a:lnTo>
                <a:lnTo>
                  <a:pt x="240" y="100"/>
                </a:lnTo>
                <a:lnTo>
                  <a:pt x="240" y="98"/>
                </a:lnTo>
                <a:lnTo>
                  <a:pt x="237" y="98"/>
                </a:lnTo>
                <a:lnTo>
                  <a:pt x="235" y="98"/>
                </a:lnTo>
                <a:lnTo>
                  <a:pt x="235" y="93"/>
                </a:lnTo>
                <a:lnTo>
                  <a:pt x="235" y="91"/>
                </a:lnTo>
                <a:lnTo>
                  <a:pt x="235" y="88"/>
                </a:lnTo>
                <a:lnTo>
                  <a:pt x="235" y="86"/>
                </a:lnTo>
                <a:lnTo>
                  <a:pt x="240" y="84"/>
                </a:lnTo>
                <a:lnTo>
                  <a:pt x="242" y="84"/>
                </a:lnTo>
                <a:lnTo>
                  <a:pt x="244" y="81"/>
                </a:lnTo>
                <a:lnTo>
                  <a:pt x="244" y="79"/>
                </a:lnTo>
                <a:lnTo>
                  <a:pt x="247" y="79"/>
                </a:lnTo>
                <a:lnTo>
                  <a:pt x="247" y="77"/>
                </a:lnTo>
                <a:lnTo>
                  <a:pt x="247" y="74"/>
                </a:lnTo>
                <a:lnTo>
                  <a:pt x="251" y="72"/>
                </a:lnTo>
                <a:lnTo>
                  <a:pt x="251" y="70"/>
                </a:lnTo>
                <a:lnTo>
                  <a:pt x="254" y="70"/>
                </a:lnTo>
                <a:lnTo>
                  <a:pt x="256" y="70"/>
                </a:lnTo>
                <a:lnTo>
                  <a:pt x="256" y="67"/>
                </a:lnTo>
                <a:lnTo>
                  <a:pt x="258" y="65"/>
                </a:lnTo>
                <a:lnTo>
                  <a:pt x="258" y="63"/>
                </a:lnTo>
                <a:lnTo>
                  <a:pt x="261" y="63"/>
                </a:lnTo>
                <a:lnTo>
                  <a:pt x="261" y="60"/>
                </a:lnTo>
                <a:lnTo>
                  <a:pt x="261" y="56"/>
                </a:lnTo>
                <a:lnTo>
                  <a:pt x="261" y="53"/>
                </a:lnTo>
                <a:lnTo>
                  <a:pt x="265" y="51"/>
                </a:lnTo>
                <a:lnTo>
                  <a:pt x="268" y="46"/>
                </a:lnTo>
                <a:lnTo>
                  <a:pt x="270" y="46"/>
                </a:lnTo>
                <a:lnTo>
                  <a:pt x="272" y="44"/>
                </a:lnTo>
                <a:lnTo>
                  <a:pt x="272" y="42"/>
                </a:lnTo>
                <a:lnTo>
                  <a:pt x="275" y="39"/>
                </a:lnTo>
                <a:lnTo>
                  <a:pt x="275" y="42"/>
                </a:lnTo>
                <a:lnTo>
                  <a:pt x="277" y="42"/>
                </a:lnTo>
                <a:lnTo>
                  <a:pt x="279" y="42"/>
                </a:lnTo>
                <a:lnTo>
                  <a:pt x="282" y="42"/>
                </a:lnTo>
                <a:lnTo>
                  <a:pt x="284" y="42"/>
                </a:lnTo>
                <a:lnTo>
                  <a:pt x="286" y="42"/>
                </a:lnTo>
                <a:lnTo>
                  <a:pt x="289" y="42"/>
                </a:lnTo>
                <a:lnTo>
                  <a:pt x="291" y="42"/>
                </a:lnTo>
                <a:lnTo>
                  <a:pt x="293" y="42"/>
                </a:lnTo>
                <a:lnTo>
                  <a:pt x="296" y="39"/>
                </a:lnTo>
                <a:lnTo>
                  <a:pt x="302" y="35"/>
                </a:lnTo>
                <a:lnTo>
                  <a:pt x="302" y="32"/>
                </a:lnTo>
                <a:lnTo>
                  <a:pt x="300" y="32"/>
                </a:lnTo>
                <a:lnTo>
                  <a:pt x="302" y="30"/>
                </a:lnTo>
                <a:lnTo>
                  <a:pt x="309" y="30"/>
                </a:lnTo>
                <a:lnTo>
                  <a:pt x="309" y="28"/>
                </a:lnTo>
                <a:lnTo>
                  <a:pt x="312" y="28"/>
                </a:lnTo>
                <a:lnTo>
                  <a:pt x="314" y="28"/>
                </a:lnTo>
                <a:lnTo>
                  <a:pt x="314" y="25"/>
                </a:lnTo>
                <a:lnTo>
                  <a:pt x="314" y="23"/>
                </a:lnTo>
                <a:lnTo>
                  <a:pt x="316" y="23"/>
                </a:lnTo>
                <a:lnTo>
                  <a:pt x="319" y="21"/>
                </a:lnTo>
                <a:lnTo>
                  <a:pt x="321" y="19"/>
                </a:lnTo>
                <a:lnTo>
                  <a:pt x="323" y="16"/>
                </a:lnTo>
                <a:lnTo>
                  <a:pt x="323" y="14"/>
                </a:lnTo>
                <a:lnTo>
                  <a:pt x="323" y="12"/>
                </a:lnTo>
                <a:lnTo>
                  <a:pt x="321" y="9"/>
                </a:lnTo>
                <a:lnTo>
                  <a:pt x="321" y="7"/>
                </a:lnTo>
                <a:lnTo>
                  <a:pt x="321" y="5"/>
                </a:lnTo>
                <a:lnTo>
                  <a:pt x="323" y="5"/>
                </a:lnTo>
                <a:lnTo>
                  <a:pt x="323" y="2"/>
                </a:lnTo>
                <a:lnTo>
                  <a:pt x="323" y="0"/>
                </a:lnTo>
                <a:lnTo>
                  <a:pt x="326" y="0"/>
                </a:lnTo>
                <a:lnTo>
                  <a:pt x="328" y="2"/>
                </a:lnTo>
                <a:lnTo>
                  <a:pt x="333" y="7"/>
                </a:lnTo>
                <a:lnTo>
                  <a:pt x="335" y="7"/>
                </a:lnTo>
                <a:lnTo>
                  <a:pt x="335" y="9"/>
                </a:lnTo>
                <a:lnTo>
                  <a:pt x="335" y="7"/>
                </a:lnTo>
                <a:lnTo>
                  <a:pt x="333" y="7"/>
                </a:lnTo>
                <a:lnTo>
                  <a:pt x="335" y="9"/>
                </a:lnTo>
                <a:lnTo>
                  <a:pt x="333" y="9"/>
                </a:lnTo>
                <a:lnTo>
                  <a:pt x="333" y="7"/>
                </a:lnTo>
                <a:lnTo>
                  <a:pt x="333" y="9"/>
                </a:lnTo>
                <a:lnTo>
                  <a:pt x="335" y="9"/>
                </a:lnTo>
                <a:lnTo>
                  <a:pt x="337" y="9"/>
                </a:lnTo>
                <a:lnTo>
                  <a:pt x="337" y="12"/>
                </a:lnTo>
                <a:lnTo>
                  <a:pt x="340" y="12"/>
                </a:lnTo>
                <a:lnTo>
                  <a:pt x="344" y="12"/>
                </a:lnTo>
                <a:lnTo>
                  <a:pt x="347" y="12"/>
                </a:lnTo>
                <a:lnTo>
                  <a:pt x="349" y="12"/>
                </a:lnTo>
                <a:lnTo>
                  <a:pt x="349" y="14"/>
                </a:lnTo>
                <a:lnTo>
                  <a:pt x="349" y="16"/>
                </a:lnTo>
                <a:lnTo>
                  <a:pt x="349" y="14"/>
                </a:lnTo>
                <a:lnTo>
                  <a:pt x="351" y="14"/>
                </a:lnTo>
                <a:lnTo>
                  <a:pt x="356" y="14"/>
                </a:lnTo>
                <a:lnTo>
                  <a:pt x="356" y="16"/>
                </a:lnTo>
                <a:lnTo>
                  <a:pt x="356" y="19"/>
                </a:lnTo>
                <a:lnTo>
                  <a:pt x="358" y="19"/>
                </a:lnTo>
                <a:lnTo>
                  <a:pt x="361" y="19"/>
                </a:lnTo>
                <a:lnTo>
                  <a:pt x="361" y="21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6" name="Freeform 23">
            <a:extLst>
              <a:ext uri="{FF2B5EF4-FFF2-40B4-BE49-F238E27FC236}">
                <a16:creationId xmlns:a16="http://schemas.microsoft.com/office/drawing/2014/main" id="{A90A95AE-BE1B-3787-5DE4-1CF620BCC059}"/>
              </a:ext>
            </a:extLst>
          </p:cNvPr>
          <p:cNvSpPr>
            <a:spLocks/>
          </p:cNvSpPr>
          <p:nvPr/>
        </p:nvSpPr>
        <p:spPr bwMode="auto">
          <a:xfrm>
            <a:off x="4226573" y="3871633"/>
            <a:ext cx="235650" cy="133835"/>
          </a:xfrm>
          <a:custGeom>
            <a:avLst/>
            <a:gdLst>
              <a:gd name="T0" fmla="*/ 188 w 200"/>
              <a:gd name="T1" fmla="*/ 47 h 119"/>
              <a:gd name="T2" fmla="*/ 177 w 200"/>
              <a:gd name="T3" fmla="*/ 56 h 119"/>
              <a:gd name="T4" fmla="*/ 168 w 200"/>
              <a:gd name="T5" fmla="*/ 65 h 119"/>
              <a:gd name="T6" fmla="*/ 158 w 200"/>
              <a:gd name="T7" fmla="*/ 75 h 119"/>
              <a:gd name="T8" fmla="*/ 154 w 200"/>
              <a:gd name="T9" fmla="*/ 75 h 119"/>
              <a:gd name="T10" fmla="*/ 154 w 200"/>
              <a:gd name="T11" fmla="*/ 70 h 119"/>
              <a:gd name="T12" fmla="*/ 151 w 200"/>
              <a:gd name="T13" fmla="*/ 70 h 119"/>
              <a:gd name="T14" fmla="*/ 151 w 200"/>
              <a:gd name="T15" fmla="*/ 75 h 119"/>
              <a:gd name="T16" fmla="*/ 147 w 200"/>
              <a:gd name="T17" fmla="*/ 75 h 119"/>
              <a:gd name="T18" fmla="*/ 142 w 200"/>
              <a:gd name="T19" fmla="*/ 68 h 119"/>
              <a:gd name="T20" fmla="*/ 144 w 200"/>
              <a:gd name="T21" fmla="*/ 72 h 119"/>
              <a:gd name="T22" fmla="*/ 147 w 200"/>
              <a:gd name="T23" fmla="*/ 77 h 119"/>
              <a:gd name="T24" fmla="*/ 149 w 200"/>
              <a:gd name="T25" fmla="*/ 77 h 119"/>
              <a:gd name="T26" fmla="*/ 137 w 200"/>
              <a:gd name="T27" fmla="*/ 91 h 119"/>
              <a:gd name="T28" fmla="*/ 130 w 200"/>
              <a:gd name="T29" fmla="*/ 96 h 119"/>
              <a:gd name="T30" fmla="*/ 114 w 200"/>
              <a:gd name="T31" fmla="*/ 107 h 119"/>
              <a:gd name="T32" fmla="*/ 112 w 200"/>
              <a:gd name="T33" fmla="*/ 112 h 119"/>
              <a:gd name="T34" fmla="*/ 102 w 200"/>
              <a:gd name="T35" fmla="*/ 114 h 119"/>
              <a:gd name="T36" fmla="*/ 95 w 200"/>
              <a:gd name="T37" fmla="*/ 110 h 119"/>
              <a:gd name="T38" fmla="*/ 93 w 200"/>
              <a:gd name="T39" fmla="*/ 103 h 119"/>
              <a:gd name="T40" fmla="*/ 88 w 200"/>
              <a:gd name="T41" fmla="*/ 103 h 119"/>
              <a:gd name="T42" fmla="*/ 79 w 200"/>
              <a:gd name="T43" fmla="*/ 98 h 119"/>
              <a:gd name="T44" fmla="*/ 77 w 200"/>
              <a:gd name="T45" fmla="*/ 91 h 119"/>
              <a:gd name="T46" fmla="*/ 74 w 200"/>
              <a:gd name="T47" fmla="*/ 82 h 119"/>
              <a:gd name="T48" fmla="*/ 70 w 200"/>
              <a:gd name="T49" fmla="*/ 79 h 119"/>
              <a:gd name="T50" fmla="*/ 60 w 200"/>
              <a:gd name="T51" fmla="*/ 72 h 119"/>
              <a:gd name="T52" fmla="*/ 58 w 200"/>
              <a:gd name="T53" fmla="*/ 70 h 119"/>
              <a:gd name="T54" fmla="*/ 47 w 200"/>
              <a:gd name="T55" fmla="*/ 61 h 119"/>
              <a:gd name="T56" fmla="*/ 40 w 200"/>
              <a:gd name="T57" fmla="*/ 58 h 119"/>
              <a:gd name="T58" fmla="*/ 26 w 200"/>
              <a:gd name="T59" fmla="*/ 49 h 119"/>
              <a:gd name="T60" fmla="*/ 21 w 200"/>
              <a:gd name="T61" fmla="*/ 44 h 119"/>
              <a:gd name="T62" fmla="*/ 12 w 200"/>
              <a:gd name="T63" fmla="*/ 40 h 119"/>
              <a:gd name="T64" fmla="*/ 7 w 200"/>
              <a:gd name="T65" fmla="*/ 35 h 119"/>
              <a:gd name="T66" fmla="*/ 2 w 200"/>
              <a:gd name="T67" fmla="*/ 33 h 119"/>
              <a:gd name="T68" fmla="*/ 0 w 200"/>
              <a:gd name="T69" fmla="*/ 26 h 119"/>
              <a:gd name="T70" fmla="*/ 9 w 200"/>
              <a:gd name="T71" fmla="*/ 19 h 119"/>
              <a:gd name="T72" fmla="*/ 21 w 200"/>
              <a:gd name="T73" fmla="*/ 14 h 119"/>
              <a:gd name="T74" fmla="*/ 30 w 200"/>
              <a:gd name="T75" fmla="*/ 7 h 119"/>
              <a:gd name="T76" fmla="*/ 30 w 200"/>
              <a:gd name="T77" fmla="*/ 3 h 119"/>
              <a:gd name="T78" fmla="*/ 35 w 200"/>
              <a:gd name="T79" fmla="*/ 0 h 119"/>
              <a:gd name="T80" fmla="*/ 37 w 200"/>
              <a:gd name="T81" fmla="*/ 5 h 119"/>
              <a:gd name="T82" fmla="*/ 40 w 200"/>
              <a:gd name="T83" fmla="*/ 10 h 119"/>
              <a:gd name="T84" fmla="*/ 44 w 200"/>
              <a:gd name="T85" fmla="*/ 10 h 119"/>
              <a:gd name="T86" fmla="*/ 51 w 200"/>
              <a:gd name="T87" fmla="*/ 10 h 119"/>
              <a:gd name="T88" fmla="*/ 54 w 200"/>
              <a:gd name="T89" fmla="*/ 14 h 119"/>
              <a:gd name="T90" fmla="*/ 74 w 200"/>
              <a:gd name="T91" fmla="*/ 35 h 119"/>
              <a:gd name="T92" fmla="*/ 81 w 200"/>
              <a:gd name="T93" fmla="*/ 42 h 119"/>
              <a:gd name="T94" fmla="*/ 100 w 200"/>
              <a:gd name="T95" fmla="*/ 40 h 119"/>
              <a:gd name="T96" fmla="*/ 105 w 200"/>
              <a:gd name="T97" fmla="*/ 40 h 119"/>
              <a:gd name="T98" fmla="*/ 114 w 200"/>
              <a:gd name="T99" fmla="*/ 37 h 119"/>
              <a:gd name="T100" fmla="*/ 128 w 200"/>
              <a:gd name="T101" fmla="*/ 33 h 119"/>
              <a:gd name="T102" fmla="*/ 137 w 200"/>
              <a:gd name="T103" fmla="*/ 28 h 119"/>
              <a:gd name="T104" fmla="*/ 137 w 200"/>
              <a:gd name="T105" fmla="*/ 26 h 119"/>
              <a:gd name="T106" fmla="*/ 147 w 200"/>
              <a:gd name="T107" fmla="*/ 21 h 119"/>
              <a:gd name="T108" fmla="*/ 149 w 200"/>
              <a:gd name="T109" fmla="*/ 23 h 119"/>
              <a:gd name="T110" fmla="*/ 161 w 200"/>
              <a:gd name="T111" fmla="*/ 21 h 119"/>
              <a:gd name="T112" fmla="*/ 161 w 200"/>
              <a:gd name="T113" fmla="*/ 26 h 119"/>
              <a:gd name="T114" fmla="*/ 170 w 200"/>
              <a:gd name="T115" fmla="*/ 23 h 119"/>
              <a:gd name="T116" fmla="*/ 182 w 200"/>
              <a:gd name="T117" fmla="*/ 23 h 119"/>
              <a:gd name="T118" fmla="*/ 184 w 200"/>
              <a:gd name="T119" fmla="*/ 26 h 119"/>
              <a:gd name="T120" fmla="*/ 200 w 200"/>
              <a:gd name="T121" fmla="*/ 30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0" h="119">
                <a:moveTo>
                  <a:pt x="200" y="33"/>
                </a:moveTo>
                <a:lnTo>
                  <a:pt x="198" y="37"/>
                </a:lnTo>
                <a:lnTo>
                  <a:pt x="193" y="40"/>
                </a:lnTo>
                <a:lnTo>
                  <a:pt x="191" y="44"/>
                </a:lnTo>
                <a:lnTo>
                  <a:pt x="188" y="47"/>
                </a:lnTo>
                <a:lnTo>
                  <a:pt x="186" y="49"/>
                </a:lnTo>
                <a:lnTo>
                  <a:pt x="182" y="54"/>
                </a:lnTo>
                <a:lnTo>
                  <a:pt x="179" y="56"/>
                </a:lnTo>
                <a:lnTo>
                  <a:pt x="179" y="56"/>
                </a:lnTo>
                <a:lnTo>
                  <a:pt x="177" y="56"/>
                </a:lnTo>
                <a:lnTo>
                  <a:pt x="175" y="56"/>
                </a:lnTo>
                <a:lnTo>
                  <a:pt x="175" y="58"/>
                </a:lnTo>
                <a:lnTo>
                  <a:pt x="175" y="58"/>
                </a:lnTo>
                <a:lnTo>
                  <a:pt x="172" y="61"/>
                </a:lnTo>
                <a:lnTo>
                  <a:pt x="168" y="65"/>
                </a:lnTo>
                <a:lnTo>
                  <a:pt x="165" y="68"/>
                </a:lnTo>
                <a:lnTo>
                  <a:pt x="163" y="68"/>
                </a:lnTo>
                <a:lnTo>
                  <a:pt x="161" y="70"/>
                </a:lnTo>
                <a:lnTo>
                  <a:pt x="158" y="70"/>
                </a:lnTo>
                <a:lnTo>
                  <a:pt x="158" y="75"/>
                </a:lnTo>
                <a:lnTo>
                  <a:pt x="156" y="75"/>
                </a:lnTo>
                <a:lnTo>
                  <a:pt x="156" y="75"/>
                </a:lnTo>
                <a:lnTo>
                  <a:pt x="154" y="75"/>
                </a:lnTo>
                <a:lnTo>
                  <a:pt x="154" y="75"/>
                </a:lnTo>
                <a:lnTo>
                  <a:pt x="154" y="75"/>
                </a:lnTo>
                <a:lnTo>
                  <a:pt x="151" y="75"/>
                </a:lnTo>
                <a:lnTo>
                  <a:pt x="154" y="75"/>
                </a:lnTo>
                <a:lnTo>
                  <a:pt x="154" y="72"/>
                </a:lnTo>
                <a:lnTo>
                  <a:pt x="154" y="72"/>
                </a:lnTo>
                <a:lnTo>
                  <a:pt x="154" y="70"/>
                </a:lnTo>
                <a:lnTo>
                  <a:pt x="154" y="70"/>
                </a:lnTo>
                <a:lnTo>
                  <a:pt x="154" y="68"/>
                </a:lnTo>
                <a:lnTo>
                  <a:pt x="151" y="68"/>
                </a:lnTo>
                <a:lnTo>
                  <a:pt x="151" y="68"/>
                </a:lnTo>
                <a:lnTo>
                  <a:pt x="151" y="70"/>
                </a:lnTo>
                <a:lnTo>
                  <a:pt x="151" y="70"/>
                </a:lnTo>
                <a:lnTo>
                  <a:pt x="151" y="72"/>
                </a:lnTo>
                <a:lnTo>
                  <a:pt x="151" y="72"/>
                </a:lnTo>
                <a:lnTo>
                  <a:pt x="151" y="75"/>
                </a:lnTo>
                <a:lnTo>
                  <a:pt x="151" y="75"/>
                </a:lnTo>
                <a:lnTo>
                  <a:pt x="149" y="75"/>
                </a:lnTo>
                <a:lnTo>
                  <a:pt x="147" y="77"/>
                </a:lnTo>
                <a:lnTo>
                  <a:pt x="147" y="77"/>
                </a:lnTo>
                <a:lnTo>
                  <a:pt x="147" y="75"/>
                </a:lnTo>
                <a:lnTo>
                  <a:pt x="147" y="75"/>
                </a:lnTo>
                <a:lnTo>
                  <a:pt x="147" y="72"/>
                </a:lnTo>
                <a:lnTo>
                  <a:pt x="144" y="70"/>
                </a:lnTo>
                <a:lnTo>
                  <a:pt x="144" y="70"/>
                </a:lnTo>
                <a:lnTo>
                  <a:pt x="144" y="68"/>
                </a:lnTo>
                <a:lnTo>
                  <a:pt x="142" y="68"/>
                </a:lnTo>
                <a:lnTo>
                  <a:pt x="142" y="68"/>
                </a:lnTo>
                <a:lnTo>
                  <a:pt x="142" y="70"/>
                </a:lnTo>
                <a:lnTo>
                  <a:pt x="144" y="70"/>
                </a:lnTo>
                <a:lnTo>
                  <a:pt x="144" y="72"/>
                </a:lnTo>
                <a:lnTo>
                  <a:pt x="144" y="72"/>
                </a:lnTo>
                <a:lnTo>
                  <a:pt x="144" y="77"/>
                </a:lnTo>
                <a:lnTo>
                  <a:pt x="144" y="77"/>
                </a:lnTo>
                <a:lnTo>
                  <a:pt x="147" y="79"/>
                </a:lnTo>
                <a:lnTo>
                  <a:pt x="147" y="77"/>
                </a:lnTo>
                <a:lnTo>
                  <a:pt x="147" y="77"/>
                </a:lnTo>
                <a:lnTo>
                  <a:pt x="147" y="77"/>
                </a:lnTo>
                <a:lnTo>
                  <a:pt x="149" y="77"/>
                </a:lnTo>
                <a:lnTo>
                  <a:pt x="149" y="77"/>
                </a:lnTo>
                <a:lnTo>
                  <a:pt x="151" y="77"/>
                </a:lnTo>
                <a:lnTo>
                  <a:pt x="149" y="77"/>
                </a:lnTo>
                <a:lnTo>
                  <a:pt x="144" y="79"/>
                </a:lnTo>
                <a:lnTo>
                  <a:pt x="144" y="84"/>
                </a:lnTo>
                <a:lnTo>
                  <a:pt x="142" y="86"/>
                </a:lnTo>
                <a:lnTo>
                  <a:pt x="140" y="86"/>
                </a:lnTo>
                <a:lnTo>
                  <a:pt x="137" y="91"/>
                </a:lnTo>
                <a:lnTo>
                  <a:pt x="135" y="91"/>
                </a:lnTo>
                <a:lnTo>
                  <a:pt x="135" y="91"/>
                </a:lnTo>
                <a:lnTo>
                  <a:pt x="135" y="91"/>
                </a:lnTo>
                <a:lnTo>
                  <a:pt x="130" y="96"/>
                </a:lnTo>
                <a:lnTo>
                  <a:pt x="130" y="96"/>
                </a:lnTo>
                <a:lnTo>
                  <a:pt x="128" y="98"/>
                </a:lnTo>
                <a:lnTo>
                  <a:pt x="123" y="100"/>
                </a:lnTo>
                <a:lnTo>
                  <a:pt x="116" y="105"/>
                </a:lnTo>
                <a:lnTo>
                  <a:pt x="114" y="107"/>
                </a:lnTo>
                <a:lnTo>
                  <a:pt x="114" y="107"/>
                </a:lnTo>
                <a:lnTo>
                  <a:pt x="112" y="110"/>
                </a:lnTo>
                <a:lnTo>
                  <a:pt x="112" y="110"/>
                </a:lnTo>
                <a:lnTo>
                  <a:pt x="112" y="110"/>
                </a:lnTo>
                <a:lnTo>
                  <a:pt x="112" y="112"/>
                </a:lnTo>
                <a:lnTo>
                  <a:pt x="112" y="112"/>
                </a:lnTo>
                <a:lnTo>
                  <a:pt x="102" y="119"/>
                </a:lnTo>
                <a:lnTo>
                  <a:pt x="102" y="119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0" y="112"/>
                </a:lnTo>
                <a:lnTo>
                  <a:pt x="98" y="114"/>
                </a:lnTo>
                <a:lnTo>
                  <a:pt x="95" y="112"/>
                </a:lnTo>
                <a:lnTo>
                  <a:pt x="95" y="112"/>
                </a:lnTo>
                <a:lnTo>
                  <a:pt x="95" y="110"/>
                </a:lnTo>
                <a:lnTo>
                  <a:pt x="95" y="110"/>
                </a:lnTo>
                <a:lnTo>
                  <a:pt x="95" y="107"/>
                </a:lnTo>
                <a:lnTo>
                  <a:pt x="95" y="105"/>
                </a:lnTo>
                <a:lnTo>
                  <a:pt x="95" y="105"/>
                </a:lnTo>
                <a:lnTo>
                  <a:pt x="93" y="103"/>
                </a:lnTo>
                <a:lnTo>
                  <a:pt x="91" y="100"/>
                </a:lnTo>
                <a:lnTo>
                  <a:pt x="91" y="100"/>
                </a:lnTo>
                <a:lnTo>
                  <a:pt x="88" y="103"/>
                </a:lnTo>
                <a:lnTo>
                  <a:pt x="88" y="103"/>
                </a:lnTo>
                <a:lnTo>
                  <a:pt x="88" y="103"/>
                </a:lnTo>
                <a:lnTo>
                  <a:pt x="86" y="100"/>
                </a:lnTo>
                <a:lnTo>
                  <a:pt x="84" y="98"/>
                </a:lnTo>
                <a:lnTo>
                  <a:pt x="84" y="98"/>
                </a:lnTo>
                <a:lnTo>
                  <a:pt x="81" y="98"/>
                </a:lnTo>
                <a:lnTo>
                  <a:pt x="79" y="98"/>
                </a:lnTo>
                <a:lnTo>
                  <a:pt x="79" y="96"/>
                </a:lnTo>
                <a:lnTo>
                  <a:pt x="79" y="96"/>
                </a:lnTo>
                <a:lnTo>
                  <a:pt x="79" y="93"/>
                </a:lnTo>
                <a:lnTo>
                  <a:pt x="79" y="93"/>
                </a:lnTo>
                <a:lnTo>
                  <a:pt x="77" y="91"/>
                </a:lnTo>
                <a:lnTo>
                  <a:pt x="74" y="91"/>
                </a:lnTo>
                <a:lnTo>
                  <a:pt x="74" y="89"/>
                </a:lnTo>
                <a:lnTo>
                  <a:pt x="74" y="89"/>
                </a:lnTo>
                <a:lnTo>
                  <a:pt x="74" y="84"/>
                </a:lnTo>
                <a:lnTo>
                  <a:pt x="74" y="82"/>
                </a:lnTo>
                <a:lnTo>
                  <a:pt x="74" y="79"/>
                </a:lnTo>
                <a:lnTo>
                  <a:pt x="72" y="79"/>
                </a:lnTo>
                <a:lnTo>
                  <a:pt x="72" y="79"/>
                </a:lnTo>
                <a:lnTo>
                  <a:pt x="70" y="79"/>
                </a:lnTo>
                <a:lnTo>
                  <a:pt x="70" y="79"/>
                </a:lnTo>
                <a:lnTo>
                  <a:pt x="67" y="79"/>
                </a:lnTo>
                <a:lnTo>
                  <a:pt x="65" y="75"/>
                </a:lnTo>
                <a:lnTo>
                  <a:pt x="63" y="75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8" y="72"/>
                </a:lnTo>
                <a:lnTo>
                  <a:pt x="58" y="72"/>
                </a:lnTo>
                <a:lnTo>
                  <a:pt x="58" y="72"/>
                </a:lnTo>
                <a:lnTo>
                  <a:pt x="58" y="70"/>
                </a:lnTo>
                <a:lnTo>
                  <a:pt x="58" y="70"/>
                </a:lnTo>
                <a:lnTo>
                  <a:pt x="54" y="65"/>
                </a:lnTo>
                <a:lnTo>
                  <a:pt x="54" y="65"/>
                </a:lnTo>
                <a:lnTo>
                  <a:pt x="51" y="63"/>
                </a:lnTo>
                <a:lnTo>
                  <a:pt x="47" y="61"/>
                </a:lnTo>
                <a:lnTo>
                  <a:pt x="44" y="61"/>
                </a:lnTo>
                <a:lnTo>
                  <a:pt x="42" y="61"/>
                </a:lnTo>
                <a:lnTo>
                  <a:pt x="42" y="61"/>
                </a:lnTo>
                <a:lnTo>
                  <a:pt x="40" y="58"/>
                </a:lnTo>
                <a:lnTo>
                  <a:pt x="40" y="58"/>
                </a:lnTo>
                <a:lnTo>
                  <a:pt x="35" y="56"/>
                </a:lnTo>
                <a:lnTo>
                  <a:pt x="33" y="54"/>
                </a:lnTo>
                <a:lnTo>
                  <a:pt x="33" y="51"/>
                </a:lnTo>
                <a:lnTo>
                  <a:pt x="30" y="51"/>
                </a:lnTo>
                <a:lnTo>
                  <a:pt x="26" y="49"/>
                </a:lnTo>
                <a:lnTo>
                  <a:pt x="26" y="51"/>
                </a:lnTo>
                <a:lnTo>
                  <a:pt x="26" y="49"/>
                </a:lnTo>
                <a:lnTo>
                  <a:pt x="23" y="47"/>
                </a:lnTo>
                <a:lnTo>
                  <a:pt x="21" y="47"/>
                </a:lnTo>
                <a:lnTo>
                  <a:pt x="21" y="44"/>
                </a:lnTo>
                <a:lnTo>
                  <a:pt x="19" y="44"/>
                </a:lnTo>
                <a:lnTo>
                  <a:pt x="14" y="42"/>
                </a:lnTo>
                <a:lnTo>
                  <a:pt x="14" y="42"/>
                </a:lnTo>
                <a:lnTo>
                  <a:pt x="12" y="40"/>
                </a:lnTo>
                <a:lnTo>
                  <a:pt x="12" y="40"/>
                </a:lnTo>
                <a:lnTo>
                  <a:pt x="12" y="37"/>
                </a:lnTo>
                <a:lnTo>
                  <a:pt x="12" y="37"/>
                </a:lnTo>
                <a:lnTo>
                  <a:pt x="9" y="35"/>
                </a:lnTo>
                <a:lnTo>
                  <a:pt x="9" y="35"/>
                </a:lnTo>
                <a:lnTo>
                  <a:pt x="7" y="35"/>
                </a:lnTo>
                <a:lnTo>
                  <a:pt x="7" y="35"/>
                </a:lnTo>
                <a:lnTo>
                  <a:pt x="5" y="33"/>
                </a:lnTo>
                <a:lnTo>
                  <a:pt x="2" y="33"/>
                </a:lnTo>
                <a:lnTo>
                  <a:pt x="2" y="33"/>
                </a:lnTo>
                <a:lnTo>
                  <a:pt x="2" y="33"/>
                </a:lnTo>
                <a:lnTo>
                  <a:pt x="2" y="33"/>
                </a:lnTo>
                <a:lnTo>
                  <a:pt x="2" y="30"/>
                </a:lnTo>
                <a:lnTo>
                  <a:pt x="2" y="30"/>
                </a:lnTo>
                <a:lnTo>
                  <a:pt x="2" y="30"/>
                </a:lnTo>
                <a:lnTo>
                  <a:pt x="0" y="26"/>
                </a:lnTo>
                <a:lnTo>
                  <a:pt x="2" y="26"/>
                </a:lnTo>
                <a:lnTo>
                  <a:pt x="7" y="23"/>
                </a:lnTo>
                <a:lnTo>
                  <a:pt x="7" y="21"/>
                </a:lnTo>
                <a:lnTo>
                  <a:pt x="9" y="19"/>
                </a:lnTo>
                <a:lnTo>
                  <a:pt x="9" y="19"/>
                </a:lnTo>
                <a:lnTo>
                  <a:pt x="12" y="19"/>
                </a:lnTo>
                <a:lnTo>
                  <a:pt x="14" y="19"/>
                </a:lnTo>
                <a:lnTo>
                  <a:pt x="16" y="17"/>
                </a:lnTo>
                <a:lnTo>
                  <a:pt x="19" y="17"/>
                </a:lnTo>
                <a:lnTo>
                  <a:pt x="21" y="14"/>
                </a:lnTo>
                <a:lnTo>
                  <a:pt x="23" y="12"/>
                </a:lnTo>
                <a:lnTo>
                  <a:pt x="28" y="12"/>
                </a:lnTo>
                <a:lnTo>
                  <a:pt x="28" y="10"/>
                </a:lnTo>
                <a:lnTo>
                  <a:pt x="30" y="10"/>
                </a:lnTo>
                <a:lnTo>
                  <a:pt x="30" y="7"/>
                </a:lnTo>
                <a:lnTo>
                  <a:pt x="30" y="7"/>
                </a:lnTo>
                <a:lnTo>
                  <a:pt x="30" y="7"/>
                </a:lnTo>
                <a:lnTo>
                  <a:pt x="30" y="5"/>
                </a:lnTo>
                <a:lnTo>
                  <a:pt x="30" y="5"/>
                </a:lnTo>
                <a:lnTo>
                  <a:pt x="30" y="3"/>
                </a:lnTo>
                <a:lnTo>
                  <a:pt x="33" y="3"/>
                </a:lnTo>
                <a:lnTo>
                  <a:pt x="33" y="3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7" y="3"/>
                </a:lnTo>
                <a:lnTo>
                  <a:pt x="37" y="3"/>
                </a:lnTo>
                <a:lnTo>
                  <a:pt x="37" y="3"/>
                </a:lnTo>
                <a:lnTo>
                  <a:pt x="37" y="5"/>
                </a:lnTo>
                <a:lnTo>
                  <a:pt x="37" y="5"/>
                </a:lnTo>
                <a:lnTo>
                  <a:pt x="37" y="7"/>
                </a:lnTo>
                <a:lnTo>
                  <a:pt x="37" y="7"/>
                </a:lnTo>
                <a:lnTo>
                  <a:pt x="37" y="7"/>
                </a:lnTo>
                <a:lnTo>
                  <a:pt x="40" y="10"/>
                </a:lnTo>
                <a:lnTo>
                  <a:pt x="40" y="10"/>
                </a:lnTo>
                <a:lnTo>
                  <a:pt x="40" y="10"/>
                </a:lnTo>
                <a:lnTo>
                  <a:pt x="40" y="10"/>
                </a:lnTo>
                <a:lnTo>
                  <a:pt x="42" y="10"/>
                </a:lnTo>
                <a:lnTo>
                  <a:pt x="42" y="10"/>
                </a:lnTo>
                <a:lnTo>
                  <a:pt x="44" y="10"/>
                </a:lnTo>
                <a:lnTo>
                  <a:pt x="47" y="7"/>
                </a:lnTo>
                <a:lnTo>
                  <a:pt x="47" y="7"/>
                </a:lnTo>
                <a:lnTo>
                  <a:pt x="49" y="7"/>
                </a:lnTo>
                <a:lnTo>
                  <a:pt x="49" y="10"/>
                </a:lnTo>
                <a:lnTo>
                  <a:pt x="51" y="10"/>
                </a:lnTo>
                <a:lnTo>
                  <a:pt x="51" y="12"/>
                </a:lnTo>
                <a:lnTo>
                  <a:pt x="51" y="12"/>
                </a:lnTo>
                <a:lnTo>
                  <a:pt x="51" y="14"/>
                </a:lnTo>
                <a:lnTo>
                  <a:pt x="54" y="14"/>
                </a:lnTo>
                <a:lnTo>
                  <a:pt x="54" y="14"/>
                </a:lnTo>
                <a:lnTo>
                  <a:pt x="56" y="17"/>
                </a:lnTo>
                <a:lnTo>
                  <a:pt x="67" y="30"/>
                </a:lnTo>
                <a:lnTo>
                  <a:pt x="72" y="33"/>
                </a:lnTo>
                <a:lnTo>
                  <a:pt x="72" y="35"/>
                </a:lnTo>
                <a:lnTo>
                  <a:pt x="74" y="35"/>
                </a:lnTo>
                <a:lnTo>
                  <a:pt x="77" y="35"/>
                </a:lnTo>
                <a:lnTo>
                  <a:pt x="79" y="37"/>
                </a:lnTo>
                <a:lnTo>
                  <a:pt x="81" y="40"/>
                </a:lnTo>
                <a:lnTo>
                  <a:pt x="81" y="40"/>
                </a:lnTo>
                <a:lnTo>
                  <a:pt x="81" y="42"/>
                </a:lnTo>
                <a:lnTo>
                  <a:pt x="86" y="37"/>
                </a:lnTo>
                <a:lnTo>
                  <a:pt x="86" y="35"/>
                </a:lnTo>
                <a:lnTo>
                  <a:pt x="88" y="35"/>
                </a:lnTo>
                <a:lnTo>
                  <a:pt x="91" y="35"/>
                </a:lnTo>
                <a:lnTo>
                  <a:pt x="100" y="40"/>
                </a:lnTo>
                <a:lnTo>
                  <a:pt x="102" y="40"/>
                </a:lnTo>
                <a:lnTo>
                  <a:pt x="102" y="40"/>
                </a:lnTo>
                <a:lnTo>
                  <a:pt x="105" y="40"/>
                </a:lnTo>
                <a:lnTo>
                  <a:pt x="105" y="40"/>
                </a:lnTo>
                <a:lnTo>
                  <a:pt x="105" y="40"/>
                </a:lnTo>
                <a:lnTo>
                  <a:pt x="107" y="40"/>
                </a:lnTo>
                <a:lnTo>
                  <a:pt x="107" y="40"/>
                </a:lnTo>
                <a:lnTo>
                  <a:pt x="109" y="40"/>
                </a:lnTo>
                <a:lnTo>
                  <a:pt x="112" y="37"/>
                </a:lnTo>
                <a:lnTo>
                  <a:pt x="114" y="37"/>
                </a:lnTo>
                <a:lnTo>
                  <a:pt x="114" y="37"/>
                </a:lnTo>
                <a:lnTo>
                  <a:pt x="116" y="37"/>
                </a:lnTo>
                <a:lnTo>
                  <a:pt x="121" y="37"/>
                </a:lnTo>
                <a:lnTo>
                  <a:pt x="128" y="35"/>
                </a:lnTo>
                <a:lnTo>
                  <a:pt x="128" y="33"/>
                </a:lnTo>
                <a:lnTo>
                  <a:pt x="128" y="33"/>
                </a:lnTo>
                <a:lnTo>
                  <a:pt x="128" y="33"/>
                </a:lnTo>
                <a:lnTo>
                  <a:pt x="130" y="30"/>
                </a:lnTo>
                <a:lnTo>
                  <a:pt x="137" y="28"/>
                </a:lnTo>
                <a:lnTo>
                  <a:pt x="137" y="28"/>
                </a:lnTo>
                <a:lnTo>
                  <a:pt x="137" y="28"/>
                </a:lnTo>
                <a:lnTo>
                  <a:pt x="137" y="26"/>
                </a:lnTo>
                <a:lnTo>
                  <a:pt x="137" y="26"/>
                </a:lnTo>
                <a:lnTo>
                  <a:pt x="137" y="26"/>
                </a:lnTo>
                <a:lnTo>
                  <a:pt x="137" y="26"/>
                </a:lnTo>
                <a:lnTo>
                  <a:pt x="137" y="26"/>
                </a:lnTo>
                <a:lnTo>
                  <a:pt x="140" y="26"/>
                </a:lnTo>
                <a:lnTo>
                  <a:pt x="140" y="23"/>
                </a:lnTo>
                <a:lnTo>
                  <a:pt x="142" y="23"/>
                </a:lnTo>
                <a:lnTo>
                  <a:pt x="147" y="21"/>
                </a:lnTo>
                <a:lnTo>
                  <a:pt x="147" y="21"/>
                </a:lnTo>
                <a:lnTo>
                  <a:pt x="147" y="21"/>
                </a:lnTo>
                <a:lnTo>
                  <a:pt x="147" y="23"/>
                </a:lnTo>
                <a:lnTo>
                  <a:pt x="149" y="23"/>
                </a:lnTo>
                <a:lnTo>
                  <a:pt x="149" y="23"/>
                </a:lnTo>
                <a:lnTo>
                  <a:pt x="151" y="21"/>
                </a:lnTo>
                <a:lnTo>
                  <a:pt x="154" y="21"/>
                </a:lnTo>
                <a:lnTo>
                  <a:pt x="158" y="21"/>
                </a:lnTo>
                <a:lnTo>
                  <a:pt x="158" y="21"/>
                </a:lnTo>
                <a:lnTo>
                  <a:pt x="161" y="21"/>
                </a:lnTo>
                <a:lnTo>
                  <a:pt x="161" y="23"/>
                </a:lnTo>
                <a:lnTo>
                  <a:pt x="161" y="23"/>
                </a:lnTo>
                <a:lnTo>
                  <a:pt x="161" y="23"/>
                </a:lnTo>
                <a:lnTo>
                  <a:pt x="161" y="23"/>
                </a:lnTo>
                <a:lnTo>
                  <a:pt x="161" y="26"/>
                </a:lnTo>
                <a:lnTo>
                  <a:pt x="163" y="26"/>
                </a:lnTo>
                <a:lnTo>
                  <a:pt x="163" y="26"/>
                </a:lnTo>
                <a:lnTo>
                  <a:pt x="165" y="26"/>
                </a:lnTo>
                <a:lnTo>
                  <a:pt x="165" y="26"/>
                </a:lnTo>
                <a:lnTo>
                  <a:pt x="170" y="23"/>
                </a:lnTo>
                <a:lnTo>
                  <a:pt x="172" y="23"/>
                </a:lnTo>
                <a:lnTo>
                  <a:pt x="179" y="23"/>
                </a:lnTo>
                <a:lnTo>
                  <a:pt x="179" y="23"/>
                </a:lnTo>
                <a:lnTo>
                  <a:pt x="182" y="23"/>
                </a:lnTo>
                <a:lnTo>
                  <a:pt x="182" y="23"/>
                </a:lnTo>
                <a:lnTo>
                  <a:pt x="182" y="23"/>
                </a:lnTo>
                <a:lnTo>
                  <a:pt x="182" y="26"/>
                </a:lnTo>
                <a:lnTo>
                  <a:pt x="182" y="26"/>
                </a:lnTo>
                <a:lnTo>
                  <a:pt x="182" y="26"/>
                </a:lnTo>
                <a:lnTo>
                  <a:pt x="184" y="26"/>
                </a:lnTo>
                <a:lnTo>
                  <a:pt x="186" y="28"/>
                </a:lnTo>
                <a:lnTo>
                  <a:pt x="191" y="28"/>
                </a:lnTo>
                <a:lnTo>
                  <a:pt x="198" y="30"/>
                </a:lnTo>
                <a:lnTo>
                  <a:pt x="198" y="30"/>
                </a:lnTo>
                <a:lnTo>
                  <a:pt x="200" y="30"/>
                </a:lnTo>
                <a:lnTo>
                  <a:pt x="200" y="33"/>
                </a:lnTo>
                <a:lnTo>
                  <a:pt x="200" y="33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7" name="Freeform 24">
            <a:extLst>
              <a:ext uri="{FF2B5EF4-FFF2-40B4-BE49-F238E27FC236}">
                <a16:creationId xmlns:a16="http://schemas.microsoft.com/office/drawing/2014/main" id="{E9E77ADC-3377-D189-CDC7-3E9705552A1E}"/>
              </a:ext>
            </a:extLst>
          </p:cNvPr>
          <p:cNvSpPr>
            <a:spLocks noEditPoints="1"/>
          </p:cNvSpPr>
          <p:nvPr/>
        </p:nvSpPr>
        <p:spPr bwMode="auto">
          <a:xfrm>
            <a:off x="3584427" y="3824397"/>
            <a:ext cx="681029" cy="699543"/>
          </a:xfrm>
          <a:custGeom>
            <a:avLst/>
            <a:gdLst>
              <a:gd name="T0" fmla="*/ 454 w 578"/>
              <a:gd name="T1" fmla="*/ 319 h 622"/>
              <a:gd name="T2" fmla="*/ 477 w 578"/>
              <a:gd name="T3" fmla="*/ 298 h 622"/>
              <a:gd name="T4" fmla="*/ 508 w 578"/>
              <a:gd name="T5" fmla="*/ 26 h 622"/>
              <a:gd name="T6" fmla="*/ 533 w 578"/>
              <a:gd name="T7" fmla="*/ 35 h 622"/>
              <a:gd name="T8" fmla="*/ 543 w 578"/>
              <a:gd name="T9" fmla="*/ 56 h 622"/>
              <a:gd name="T10" fmla="*/ 557 w 578"/>
              <a:gd name="T11" fmla="*/ 93 h 622"/>
              <a:gd name="T12" fmla="*/ 564 w 578"/>
              <a:gd name="T13" fmla="*/ 135 h 622"/>
              <a:gd name="T14" fmla="*/ 540 w 578"/>
              <a:gd name="T15" fmla="*/ 159 h 622"/>
              <a:gd name="T16" fmla="*/ 538 w 578"/>
              <a:gd name="T17" fmla="*/ 189 h 622"/>
              <a:gd name="T18" fmla="*/ 554 w 578"/>
              <a:gd name="T19" fmla="*/ 214 h 622"/>
              <a:gd name="T20" fmla="*/ 557 w 578"/>
              <a:gd name="T21" fmla="*/ 245 h 622"/>
              <a:gd name="T22" fmla="*/ 494 w 578"/>
              <a:gd name="T23" fmla="*/ 298 h 622"/>
              <a:gd name="T24" fmla="*/ 487 w 578"/>
              <a:gd name="T25" fmla="*/ 277 h 622"/>
              <a:gd name="T26" fmla="*/ 473 w 578"/>
              <a:gd name="T27" fmla="*/ 273 h 622"/>
              <a:gd name="T28" fmla="*/ 477 w 578"/>
              <a:gd name="T29" fmla="*/ 291 h 622"/>
              <a:gd name="T30" fmla="*/ 461 w 578"/>
              <a:gd name="T31" fmla="*/ 315 h 622"/>
              <a:gd name="T32" fmla="*/ 457 w 578"/>
              <a:gd name="T33" fmla="*/ 329 h 622"/>
              <a:gd name="T34" fmla="*/ 447 w 578"/>
              <a:gd name="T35" fmla="*/ 340 h 622"/>
              <a:gd name="T36" fmla="*/ 447 w 578"/>
              <a:gd name="T37" fmla="*/ 361 h 622"/>
              <a:gd name="T38" fmla="*/ 454 w 578"/>
              <a:gd name="T39" fmla="*/ 363 h 622"/>
              <a:gd name="T40" fmla="*/ 443 w 578"/>
              <a:gd name="T41" fmla="*/ 408 h 622"/>
              <a:gd name="T42" fmla="*/ 438 w 578"/>
              <a:gd name="T43" fmla="*/ 485 h 622"/>
              <a:gd name="T44" fmla="*/ 412 w 578"/>
              <a:gd name="T45" fmla="*/ 547 h 622"/>
              <a:gd name="T46" fmla="*/ 389 w 578"/>
              <a:gd name="T47" fmla="*/ 599 h 622"/>
              <a:gd name="T48" fmla="*/ 338 w 578"/>
              <a:gd name="T49" fmla="*/ 575 h 622"/>
              <a:gd name="T50" fmla="*/ 324 w 578"/>
              <a:gd name="T51" fmla="*/ 550 h 622"/>
              <a:gd name="T52" fmla="*/ 349 w 578"/>
              <a:gd name="T53" fmla="*/ 524 h 622"/>
              <a:gd name="T54" fmla="*/ 375 w 578"/>
              <a:gd name="T55" fmla="*/ 492 h 622"/>
              <a:gd name="T56" fmla="*/ 366 w 578"/>
              <a:gd name="T57" fmla="*/ 466 h 622"/>
              <a:gd name="T58" fmla="*/ 331 w 578"/>
              <a:gd name="T59" fmla="*/ 450 h 622"/>
              <a:gd name="T60" fmla="*/ 298 w 578"/>
              <a:gd name="T61" fmla="*/ 447 h 622"/>
              <a:gd name="T62" fmla="*/ 249 w 578"/>
              <a:gd name="T63" fmla="*/ 401 h 622"/>
              <a:gd name="T64" fmla="*/ 215 w 578"/>
              <a:gd name="T65" fmla="*/ 380 h 622"/>
              <a:gd name="T66" fmla="*/ 177 w 578"/>
              <a:gd name="T67" fmla="*/ 366 h 622"/>
              <a:gd name="T68" fmla="*/ 152 w 578"/>
              <a:gd name="T69" fmla="*/ 345 h 622"/>
              <a:gd name="T70" fmla="*/ 128 w 578"/>
              <a:gd name="T71" fmla="*/ 331 h 622"/>
              <a:gd name="T72" fmla="*/ 89 w 578"/>
              <a:gd name="T73" fmla="*/ 345 h 622"/>
              <a:gd name="T74" fmla="*/ 45 w 578"/>
              <a:gd name="T75" fmla="*/ 366 h 622"/>
              <a:gd name="T76" fmla="*/ 14 w 578"/>
              <a:gd name="T77" fmla="*/ 377 h 622"/>
              <a:gd name="T78" fmla="*/ 17 w 578"/>
              <a:gd name="T79" fmla="*/ 354 h 622"/>
              <a:gd name="T80" fmla="*/ 10 w 578"/>
              <a:gd name="T81" fmla="*/ 308 h 622"/>
              <a:gd name="T82" fmla="*/ 21 w 578"/>
              <a:gd name="T83" fmla="*/ 256 h 622"/>
              <a:gd name="T84" fmla="*/ 19 w 578"/>
              <a:gd name="T85" fmla="*/ 214 h 622"/>
              <a:gd name="T86" fmla="*/ 26 w 578"/>
              <a:gd name="T87" fmla="*/ 173 h 622"/>
              <a:gd name="T88" fmla="*/ 31 w 578"/>
              <a:gd name="T89" fmla="*/ 149 h 622"/>
              <a:gd name="T90" fmla="*/ 7 w 578"/>
              <a:gd name="T91" fmla="*/ 121 h 622"/>
              <a:gd name="T92" fmla="*/ 31 w 578"/>
              <a:gd name="T93" fmla="*/ 89 h 622"/>
              <a:gd name="T94" fmla="*/ 59 w 578"/>
              <a:gd name="T95" fmla="*/ 70 h 622"/>
              <a:gd name="T96" fmla="*/ 93 w 578"/>
              <a:gd name="T97" fmla="*/ 110 h 622"/>
              <a:gd name="T98" fmla="*/ 131 w 578"/>
              <a:gd name="T99" fmla="*/ 100 h 622"/>
              <a:gd name="T100" fmla="*/ 175 w 578"/>
              <a:gd name="T101" fmla="*/ 86 h 622"/>
              <a:gd name="T102" fmla="*/ 194 w 578"/>
              <a:gd name="T103" fmla="*/ 56 h 622"/>
              <a:gd name="T104" fmla="*/ 198 w 578"/>
              <a:gd name="T105" fmla="*/ 26 h 622"/>
              <a:gd name="T106" fmla="*/ 226 w 578"/>
              <a:gd name="T107" fmla="*/ 28 h 622"/>
              <a:gd name="T108" fmla="*/ 254 w 578"/>
              <a:gd name="T109" fmla="*/ 40 h 622"/>
              <a:gd name="T110" fmla="*/ 282 w 578"/>
              <a:gd name="T111" fmla="*/ 35 h 622"/>
              <a:gd name="T112" fmla="*/ 312 w 578"/>
              <a:gd name="T113" fmla="*/ 28 h 622"/>
              <a:gd name="T114" fmla="*/ 340 w 578"/>
              <a:gd name="T115" fmla="*/ 12 h 622"/>
              <a:gd name="T116" fmla="*/ 368 w 578"/>
              <a:gd name="T117" fmla="*/ 5 h 622"/>
              <a:gd name="T118" fmla="*/ 380 w 578"/>
              <a:gd name="T119" fmla="*/ 33 h 622"/>
              <a:gd name="T120" fmla="*/ 396 w 578"/>
              <a:gd name="T121" fmla="*/ 56 h 622"/>
              <a:gd name="T122" fmla="*/ 429 w 578"/>
              <a:gd name="T123" fmla="*/ 35 h 622"/>
              <a:gd name="T124" fmla="*/ 459 w 578"/>
              <a:gd name="T125" fmla="*/ 17 h 6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78" h="622">
                <a:moveTo>
                  <a:pt x="464" y="319"/>
                </a:moveTo>
                <a:lnTo>
                  <a:pt x="464" y="324"/>
                </a:lnTo>
                <a:lnTo>
                  <a:pt x="461" y="326"/>
                </a:lnTo>
                <a:lnTo>
                  <a:pt x="461" y="329"/>
                </a:lnTo>
                <a:lnTo>
                  <a:pt x="461" y="331"/>
                </a:lnTo>
                <a:lnTo>
                  <a:pt x="461" y="333"/>
                </a:lnTo>
                <a:lnTo>
                  <a:pt x="461" y="336"/>
                </a:lnTo>
                <a:lnTo>
                  <a:pt x="461" y="338"/>
                </a:lnTo>
                <a:lnTo>
                  <a:pt x="461" y="336"/>
                </a:lnTo>
                <a:lnTo>
                  <a:pt x="459" y="336"/>
                </a:lnTo>
                <a:lnTo>
                  <a:pt x="459" y="333"/>
                </a:lnTo>
                <a:lnTo>
                  <a:pt x="457" y="331"/>
                </a:lnTo>
                <a:lnTo>
                  <a:pt x="457" y="329"/>
                </a:lnTo>
                <a:lnTo>
                  <a:pt x="459" y="326"/>
                </a:lnTo>
                <a:lnTo>
                  <a:pt x="454" y="324"/>
                </a:lnTo>
                <a:lnTo>
                  <a:pt x="454" y="322"/>
                </a:lnTo>
                <a:lnTo>
                  <a:pt x="454" y="319"/>
                </a:lnTo>
                <a:lnTo>
                  <a:pt x="457" y="319"/>
                </a:lnTo>
                <a:lnTo>
                  <a:pt x="459" y="319"/>
                </a:lnTo>
                <a:lnTo>
                  <a:pt x="461" y="319"/>
                </a:lnTo>
                <a:lnTo>
                  <a:pt x="464" y="319"/>
                </a:lnTo>
                <a:close/>
                <a:moveTo>
                  <a:pt x="487" y="294"/>
                </a:moveTo>
                <a:lnTo>
                  <a:pt x="487" y="296"/>
                </a:lnTo>
                <a:lnTo>
                  <a:pt x="487" y="298"/>
                </a:lnTo>
                <a:lnTo>
                  <a:pt x="484" y="298"/>
                </a:lnTo>
                <a:lnTo>
                  <a:pt x="482" y="301"/>
                </a:lnTo>
                <a:lnTo>
                  <a:pt x="477" y="301"/>
                </a:lnTo>
                <a:lnTo>
                  <a:pt x="477" y="303"/>
                </a:lnTo>
                <a:lnTo>
                  <a:pt x="475" y="303"/>
                </a:lnTo>
                <a:lnTo>
                  <a:pt x="473" y="305"/>
                </a:lnTo>
                <a:lnTo>
                  <a:pt x="473" y="303"/>
                </a:lnTo>
                <a:lnTo>
                  <a:pt x="473" y="301"/>
                </a:lnTo>
                <a:lnTo>
                  <a:pt x="475" y="298"/>
                </a:lnTo>
                <a:lnTo>
                  <a:pt x="477" y="298"/>
                </a:lnTo>
                <a:lnTo>
                  <a:pt x="482" y="294"/>
                </a:lnTo>
                <a:lnTo>
                  <a:pt x="482" y="291"/>
                </a:lnTo>
                <a:lnTo>
                  <a:pt x="482" y="289"/>
                </a:lnTo>
                <a:lnTo>
                  <a:pt x="484" y="291"/>
                </a:lnTo>
                <a:lnTo>
                  <a:pt x="487" y="291"/>
                </a:lnTo>
                <a:lnTo>
                  <a:pt x="487" y="294"/>
                </a:lnTo>
                <a:close/>
                <a:moveTo>
                  <a:pt x="489" y="17"/>
                </a:moveTo>
                <a:lnTo>
                  <a:pt x="491" y="17"/>
                </a:lnTo>
                <a:lnTo>
                  <a:pt x="491" y="19"/>
                </a:lnTo>
                <a:lnTo>
                  <a:pt x="494" y="19"/>
                </a:lnTo>
                <a:lnTo>
                  <a:pt x="496" y="19"/>
                </a:lnTo>
                <a:lnTo>
                  <a:pt x="501" y="21"/>
                </a:lnTo>
                <a:lnTo>
                  <a:pt x="501" y="24"/>
                </a:lnTo>
                <a:lnTo>
                  <a:pt x="503" y="24"/>
                </a:lnTo>
                <a:lnTo>
                  <a:pt x="503" y="26"/>
                </a:lnTo>
                <a:lnTo>
                  <a:pt x="505" y="26"/>
                </a:lnTo>
                <a:lnTo>
                  <a:pt x="508" y="26"/>
                </a:lnTo>
                <a:lnTo>
                  <a:pt x="510" y="26"/>
                </a:lnTo>
                <a:lnTo>
                  <a:pt x="512" y="26"/>
                </a:lnTo>
                <a:lnTo>
                  <a:pt x="512" y="28"/>
                </a:lnTo>
                <a:lnTo>
                  <a:pt x="515" y="28"/>
                </a:lnTo>
                <a:lnTo>
                  <a:pt x="517" y="31"/>
                </a:lnTo>
                <a:lnTo>
                  <a:pt x="519" y="31"/>
                </a:lnTo>
                <a:lnTo>
                  <a:pt x="519" y="33"/>
                </a:lnTo>
                <a:lnTo>
                  <a:pt x="519" y="35"/>
                </a:lnTo>
                <a:lnTo>
                  <a:pt x="522" y="40"/>
                </a:lnTo>
                <a:lnTo>
                  <a:pt x="522" y="42"/>
                </a:lnTo>
                <a:lnTo>
                  <a:pt x="524" y="42"/>
                </a:lnTo>
                <a:lnTo>
                  <a:pt x="526" y="40"/>
                </a:lnTo>
                <a:lnTo>
                  <a:pt x="526" y="38"/>
                </a:lnTo>
                <a:lnTo>
                  <a:pt x="526" y="35"/>
                </a:lnTo>
                <a:lnTo>
                  <a:pt x="529" y="33"/>
                </a:lnTo>
                <a:lnTo>
                  <a:pt x="531" y="33"/>
                </a:lnTo>
                <a:lnTo>
                  <a:pt x="533" y="35"/>
                </a:lnTo>
                <a:lnTo>
                  <a:pt x="536" y="35"/>
                </a:lnTo>
                <a:lnTo>
                  <a:pt x="533" y="38"/>
                </a:lnTo>
                <a:lnTo>
                  <a:pt x="531" y="40"/>
                </a:lnTo>
                <a:lnTo>
                  <a:pt x="531" y="42"/>
                </a:lnTo>
                <a:lnTo>
                  <a:pt x="533" y="45"/>
                </a:lnTo>
                <a:lnTo>
                  <a:pt x="536" y="47"/>
                </a:lnTo>
                <a:lnTo>
                  <a:pt x="538" y="47"/>
                </a:lnTo>
                <a:lnTo>
                  <a:pt x="540" y="47"/>
                </a:lnTo>
                <a:lnTo>
                  <a:pt x="543" y="47"/>
                </a:lnTo>
                <a:lnTo>
                  <a:pt x="543" y="45"/>
                </a:lnTo>
                <a:lnTo>
                  <a:pt x="543" y="47"/>
                </a:lnTo>
                <a:lnTo>
                  <a:pt x="545" y="47"/>
                </a:lnTo>
                <a:lnTo>
                  <a:pt x="545" y="49"/>
                </a:lnTo>
                <a:lnTo>
                  <a:pt x="543" y="49"/>
                </a:lnTo>
                <a:lnTo>
                  <a:pt x="543" y="52"/>
                </a:lnTo>
                <a:lnTo>
                  <a:pt x="543" y="54"/>
                </a:lnTo>
                <a:lnTo>
                  <a:pt x="543" y="56"/>
                </a:lnTo>
                <a:lnTo>
                  <a:pt x="543" y="59"/>
                </a:lnTo>
                <a:lnTo>
                  <a:pt x="545" y="65"/>
                </a:lnTo>
                <a:lnTo>
                  <a:pt x="545" y="68"/>
                </a:lnTo>
                <a:lnTo>
                  <a:pt x="547" y="72"/>
                </a:lnTo>
                <a:lnTo>
                  <a:pt x="547" y="75"/>
                </a:lnTo>
                <a:lnTo>
                  <a:pt x="550" y="75"/>
                </a:lnTo>
                <a:lnTo>
                  <a:pt x="552" y="77"/>
                </a:lnTo>
                <a:lnTo>
                  <a:pt x="554" y="77"/>
                </a:lnTo>
                <a:lnTo>
                  <a:pt x="557" y="79"/>
                </a:lnTo>
                <a:lnTo>
                  <a:pt x="557" y="82"/>
                </a:lnTo>
                <a:lnTo>
                  <a:pt x="559" y="84"/>
                </a:lnTo>
                <a:lnTo>
                  <a:pt x="557" y="84"/>
                </a:lnTo>
                <a:lnTo>
                  <a:pt x="557" y="86"/>
                </a:lnTo>
                <a:lnTo>
                  <a:pt x="554" y="86"/>
                </a:lnTo>
                <a:lnTo>
                  <a:pt x="554" y="89"/>
                </a:lnTo>
                <a:lnTo>
                  <a:pt x="557" y="91"/>
                </a:lnTo>
                <a:lnTo>
                  <a:pt x="557" y="93"/>
                </a:lnTo>
                <a:lnTo>
                  <a:pt x="554" y="93"/>
                </a:lnTo>
                <a:lnTo>
                  <a:pt x="554" y="96"/>
                </a:lnTo>
                <a:lnTo>
                  <a:pt x="554" y="98"/>
                </a:lnTo>
                <a:lnTo>
                  <a:pt x="554" y="100"/>
                </a:lnTo>
                <a:lnTo>
                  <a:pt x="557" y="105"/>
                </a:lnTo>
                <a:lnTo>
                  <a:pt x="557" y="107"/>
                </a:lnTo>
                <a:lnTo>
                  <a:pt x="559" y="107"/>
                </a:lnTo>
                <a:lnTo>
                  <a:pt x="561" y="110"/>
                </a:lnTo>
                <a:lnTo>
                  <a:pt x="559" y="110"/>
                </a:lnTo>
                <a:lnTo>
                  <a:pt x="559" y="112"/>
                </a:lnTo>
                <a:lnTo>
                  <a:pt x="564" y="114"/>
                </a:lnTo>
                <a:lnTo>
                  <a:pt x="564" y="117"/>
                </a:lnTo>
                <a:lnTo>
                  <a:pt x="566" y="121"/>
                </a:lnTo>
                <a:lnTo>
                  <a:pt x="566" y="124"/>
                </a:lnTo>
                <a:lnTo>
                  <a:pt x="566" y="126"/>
                </a:lnTo>
                <a:lnTo>
                  <a:pt x="566" y="128"/>
                </a:lnTo>
                <a:lnTo>
                  <a:pt x="564" y="135"/>
                </a:lnTo>
                <a:lnTo>
                  <a:pt x="564" y="138"/>
                </a:lnTo>
                <a:lnTo>
                  <a:pt x="561" y="138"/>
                </a:lnTo>
                <a:lnTo>
                  <a:pt x="561" y="140"/>
                </a:lnTo>
                <a:lnTo>
                  <a:pt x="559" y="140"/>
                </a:lnTo>
                <a:lnTo>
                  <a:pt x="559" y="142"/>
                </a:lnTo>
                <a:lnTo>
                  <a:pt x="559" y="147"/>
                </a:lnTo>
                <a:lnTo>
                  <a:pt x="559" y="149"/>
                </a:lnTo>
                <a:lnTo>
                  <a:pt x="559" y="152"/>
                </a:lnTo>
                <a:lnTo>
                  <a:pt x="561" y="154"/>
                </a:lnTo>
                <a:lnTo>
                  <a:pt x="561" y="156"/>
                </a:lnTo>
                <a:lnTo>
                  <a:pt x="559" y="156"/>
                </a:lnTo>
                <a:lnTo>
                  <a:pt x="559" y="159"/>
                </a:lnTo>
                <a:lnTo>
                  <a:pt x="554" y="161"/>
                </a:lnTo>
                <a:lnTo>
                  <a:pt x="547" y="161"/>
                </a:lnTo>
                <a:lnTo>
                  <a:pt x="545" y="161"/>
                </a:lnTo>
                <a:lnTo>
                  <a:pt x="543" y="159"/>
                </a:lnTo>
                <a:lnTo>
                  <a:pt x="540" y="159"/>
                </a:lnTo>
                <a:lnTo>
                  <a:pt x="540" y="156"/>
                </a:lnTo>
                <a:lnTo>
                  <a:pt x="536" y="156"/>
                </a:lnTo>
                <a:lnTo>
                  <a:pt x="533" y="156"/>
                </a:lnTo>
                <a:lnTo>
                  <a:pt x="533" y="159"/>
                </a:lnTo>
                <a:lnTo>
                  <a:pt x="531" y="161"/>
                </a:lnTo>
                <a:lnTo>
                  <a:pt x="529" y="163"/>
                </a:lnTo>
                <a:lnTo>
                  <a:pt x="529" y="166"/>
                </a:lnTo>
                <a:lnTo>
                  <a:pt x="529" y="168"/>
                </a:lnTo>
                <a:lnTo>
                  <a:pt x="531" y="170"/>
                </a:lnTo>
                <a:lnTo>
                  <a:pt x="531" y="173"/>
                </a:lnTo>
                <a:lnTo>
                  <a:pt x="533" y="175"/>
                </a:lnTo>
                <a:lnTo>
                  <a:pt x="536" y="177"/>
                </a:lnTo>
                <a:lnTo>
                  <a:pt x="536" y="180"/>
                </a:lnTo>
                <a:lnTo>
                  <a:pt x="536" y="182"/>
                </a:lnTo>
                <a:lnTo>
                  <a:pt x="538" y="184"/>
                </a:lnTo>
                <a:lnTo>
                  <a:pt x="538" y="187"/>
                </a:lnTo>
                <a:lnTo>
                  <a:pt x="538" y="189"/>
                </a:lnTo>
                <a:lnTo>
                  <a:pt x="540" y="189"/>
                </a:lnTo>
                <a:lnTo>
                  <a:pt x="543" y="191"/>
                </a:lnTo>
                <a:lnTo>
                  <a:pt x="543" y="194"/>
                </a:lnTo>
                <a:lnTo>
                  <a:pt x="540" y="196"/>
                </a:lnTo>
                <a:lnTo>
                  <a:pt x="540" y="198"/>
                </a:lnTo>
                <a:lnTo>
                  <a:pt x="540" y="201"/>
                </a:lnTo>
                <a:lnTo>
                  <a:pt x="540" y="203"/>
                </a:lnTo>
                <a:lnTo>
                  <a:pt x="543" y="203"/>
                </a:lnTo>
                <a:lnTo>
                  <a:pt x="545" y="205"/>
                </a:lnTo>
                <a:lnTo>
                  <a:pt x="545" y="203"/>
                </a:lnTo>
                <a:lnTo>
                  <a:pt x="547" y="205"/>
                </a:lnTo>
                <a:lnTo>
                  <a:pt x="547" y="207"/>
                </a:lnTo>
                <a:lnTo>
                  <a:pt x="550" y="207"/>
                </a:lnTo>
                <a:lnTo>
                  <a:pt x="550" y="210"/>
                </a:lnTo>
                <a:lnTo>
                  <a:pt x="550" y="212"/>
                </a:lnTo>
                <a:lnTo>
                  <a:pt x="552" y="214"/>
                </a:lnTo>
                <a:lnTo>
                  <a:pt x="554" y="214"/>
                </a:lnTo>
                <a:lnTo>
                  <a:pt x="557" y="214"/>
                </a:lnTo>
                <a:lnTo>
                  <a:pt x="557" y="217"/>
                </a:lnTo>
                <a:lnTo>
                  <a:pt x="559" y="217"/>
                </a:lnTo>
                <a:lnTo>
                  <a:pt x="559" y="214"/>
                </a:lnTo>
                <a:lnTo>
                  <a:pt x="561" y="214"/>
                </a:lnTo>
                <a:lnTo>
                  <a:pt x="564" y="214"/>
                </a:lnTo>
                <a:lnTo>
                  <a:pt x="566" y="217"/>
                </a:lnTo>
                <a:lnTo>
                  <a:pt x="571" y="214"/>
                </a:lnTo>
                <a:lnTo>
                  <a:pt x="573" y="214"/>
                </a:lnTo>
                <a:lnTo>
                  <a:pt x="575" y="214"/>
                </a:lnTo>
                <a:lnTo>
                  <a:pt x="578" y="212"/>
                </a:lnTo>
                <a:lnTo>
                  <a:pt x="573" y="219"/>
                </a:lnTo>
                <a:lnTo>
                  <a:pt x="566" y="228"/>
                </a:lnTo>
                <a:lnTo>
                  <a:pt x="566" y="231"/>
                </a:lnTo>
                <a:lnTo>
                  <a:pt x="564" y="233"/>
                </a:lnTo>
                <a:lnTo>
                  <a:pt x="559" y="240"/>
                </a:lnTo>
                <a:lnTo>
                  <a:pt x="557" y="245"/>
                </a:lnTo>
                <a:lnTo>
                  <a:pt x="554" y="247"/>
                </a:lnTo>
                <a:lnTo>
                  <a:pt x="550" y="252"/>
                </a:lnTo>
                <a:lnTo>
                  <a:pt x="545" y="259"/>
                </a:lnTo>
                <a:lnTo>
                  <a:pt x="538" y="266"/>
                </a:lnTo>
                <a:lnTo>
                  <a:pt x="533" y="270"/>
                </a:lnTo>
                <a:lnTo>
                  <a:pt x="529" y="275"/>
                </a:lnTo>
                <a:lnTo>
                  <a:pt x="524" y="280"/>
                </a:lnTo>
                <a:lnTo>
                  <a:pt x="522" y="280"/>
                </a:lnTo>
                <a:lnTo>
                  <a:pt x="522" y="282"/>
                </a:lnTo>
                <a:lnTo>
                  <a:pt x="517" y="284"/>
                </a:lnTo>
                <a:lnTo>
                  <a:pt x="512" y="289"/>
                </a:lnTo>
                <a:lnTo>
                  <a:pt x="505" y="294"/>
                </a:lnTo>
                <a:lnTo>
                  <a:pt x="503" y="296"/>
                </a:lnTo>
                <a:lnTo>
                  <a:pt x="501" y="298"/>
                </a:lnTo>
                <a:lnTo>
                  <a:pt x="498" y="298"/>
                </a:lnTo>
                <a:lnTo>
                  <a:pt x="496" y="298"/>
                </a:lnTo>
                <a:lnTo>
                  <a:pt x="494" y="298"/>
                </a:lnTo>
                <a:lnTo>
                  <a:pt x="494" y="301"/>
                </a:lnTo>
                <a:lnTo>
                  <a:pt x="491" y="301"/>
                </a:lnTo>
                <a:lnTo>
                  <a:pt x="489" y="298"/>
                </a:lnTo>
                <a:lnTo>
                  <a:pt x="491" y="296"/>
                </a:lnTo>
                <a:lnTo>
                  <a:pt x="491" y="294"/>
                </a:lnTo>
                <a:lnTo>
                  <a:pt x="494" y="294"/>
                </a:lnTo>
                <a:lnTo>
                  <a:pt x="494" y="296"/>
                </a:lnTo>
                <a:lnTo>
                  <a:pt x="494" y="294"/>
                </a:lnTo>
                <a:lnTo>
                  <a:pt x="494" y="291"/>
                </a:lnTo>
                <a:lnTo>
                  <a:pt x="496" y="289"/>
                </a:lnTo>
                <a:lnTo>
                  <a:pt x="494" y="289"/>
                </a:lnTo>
                <a:lnTo>
                  <a:pt x="494" y="287"/>
                </a:lnTo>
                <a:lnTo>
                  <a:pt x="494" y="282"/>
                </a:lnTo>
                <a:lnTo>
                  <a:pt x="491" y="280"/>
                </a:lnTo>
                <a:lnTo>
                  <a:pt x="489" y="280"/>
                </a:lnTo>
                <a:lnTo>
                  <a:pt x="487" y="280"/>
                </a:lnTo>
                <a:lnTo>
                  <a:pt x="487" y="277"/>
                </a:lnTo>
                <a:lnTo>
                  <a:pt x="487" y="275"/>
                </a:lnTo>
                <a:lnTo>
                  <a:pt x="484" y="275"/>
                </a:lnTo>
                <a:lnTo>
                  <a:pt x="484" y="273"/>
                </a:lnTo>
                <a:lnTo>
                  <a:pt x="484" y="270"/>
                </a:lnTo>
                <a:lnTo>
                  <a:pt x="482" y="273"/>
                </a:lnTo>
                <a:lnTo>
                  <a:pt x="482" y="275"/>
                </a:lnTo>
                <a:lnTo>
                  <a:pt x="482" y="277"/>
                </a:lnTo>
                <a:lnTo>
                  <a:pt x="480" y="277"/>
                </a:lnTo>
                <a:lnTo>
                  <a:pt x="480" y="280"/>
                </a:lnTo>
                <a:lnTo>
                  <a:pt x="477" y="284"/>
                </a:lnTo>
                <a:lnTo>
                  <a:pt x="475" y="284"/>
                </a:lnTo>
                <a:lnTo>
                  <a:pt x="475" y="287"/>
                </a:lnTo>
                <a:lnTo>
                  <a:pt x="473" y="284"/>
                </a:lnTo>
                <a:lnTo>
                  <a:pt x="473" y="282"/>
                </a:lnTo>
                <a:lnTo>
                  <a:pt x="471" y="277"/>
                </a:lnTo>
                <a:lnTo>
                  <a:pt x="473" y="275"/>
                </a:lnTo>
                <a:lnTo>
                  <a:pt x="473" y="273"/>
                </a:lnTo>
                <a:lnTo>
                  <a:pt x="473" y="275"/>
                </a:lnTo>
                <a:lnTo>
                  <a:pt x="471" y="275"/>
                </a:lnTo>
                <a:lnTo>
                  <a:pt x="471" y="277"/>
                </a:lnTo>
                <a:lnTo>
                  <a:pt x="468" y="277"/>
                </a:lnTo>
                <a:lnTo>
                  <a:pt x="468" y="280"/>
                </a:lnTo>
                <a:lnTo>
                  <a:pt x="471" y="280"/>
                </a:lnTo>
                <a:lnTo>
                  <a:pt x="471" y="282"/>
                </a:lnTo>
                <a:lnTo>
                  <a:pt x="471" y="284"/>
                </a:lnTo>
                <a:lnTo>
                  <a:pt x="471" y="287"/>
                </a:lnTo>
                <a:lnTo>
                  <a:pt x="473" y="287"/>
                </a:lnTo>
                <a:lnTo>
                  <a:pt x="475" y="287"/>
                </a:lnTo>
                <a:lnTo>
                  <a:pt x="475" y="289"/>
                </a:lnTo>
                <a:lnTo>
                  <a:pt x="477" y="289"/>
                </a:lnTo>
                <a:lnTo>
                  <a:pt x="477" y="287"/>
                </a:lnTo>
                <a:lnTo>
                  <a:pt x="480" y="289"/>
                </a:lnTo>
                <a:lnTo>
                  <a:pt x="477" y="289"/>
                </a:lnTo>
                <a:lnTo>
                  <a:pt x="477" y="291"/>
                </a:lnTo>
                <a:lnTo>
                  <a:pt x="477" y="294"/>
                </a:lnTo>
                <a:lnTo>
                  <a:pt x="475" y="296"/>
                </a:lnTo>
                <a:lnTo>
                  <a:pt x="473" y="298"/>
                </a:lnTo>
                <a:lnTo>
                  <a:pt x="471" y="298"/>
                </a:lnTo>
                <a:lnTo>
                  <a:pt x="468" y="298"/>
                </a:lnTo>
                <a:lnTo>
                  <a:pt x="468" y="301"/>
                </a:lnTo>
                <a:lnTo>
                  <a:pt x="466" y="301"/>
                </a:lnTo>
                <a:lnTo>
                  <a:pt x="466" y="303"/>
                </a:lnTo>
                <a:lnTo>
                  <a:pt x="468" y="303"/>
                </a:lnTo>
                <a:lnTo>
                  <a:pt x="473" y="305"/>
                </a:lnTo>
                <a:lnTo>
                  <a:pt x="471" y="305"/>
                </a:lnTo>
                <a:lnTo>
                  <a:pt x="468" y="305"/>
                </a:lnTo>
                <a:lnTo>
                  <a:pt x="468" y="308"/>
                </a:lnTo>
                <a:lnTo>
                  <a:pt x="464" y="310"/>
                </a:lnTo>
                <a:lnTo>
                  <a:pt x="461" y="310"/>
                </a:lnTo>
                <a:lnTo>
                  <a:pt x="461" y="312"/>
                </a:lnTo>
                <a:lnTo>
                  <a:pt x="461" y="315"/>
                </a:lnTo>
                <a:lnTo>
                  <a:pt x="461" y="317"/>
                </a:lnTo>
                <a:lnTo>
                  <a:pt x="459" y="319"/>
                </a:lnTo>
                <a:lnTo>
                  <a:pt x="459" y="317"/>
                </a:lnTo>
                <a:lnTo>
                  <a:pt x="457" y="317"/>
                </a:lnTo>
                <a:lnTo>
                  <a:pt x="457" y="315"/>
                </a:lnTo>
                <a:lnTo>
                  <a:pt x="454" y="319"/>
                </a:lnTo>
                <a:lnTo>
                  <a:pt x="454" y="322"/>
                </a:lnTo>
                <a:lnTo>
                  <a:pt x="454" y="324"/>
                </a:lnTo>
                <a:lnTo>
                  <a:pt x="452" y="324"/>
                </a:lnTo>
                <a:lnTo>
                  <a:pt x="452" y="326"/>
                </a:lnTo>
                <a:lnTo>
                  <a:pt x="452" y="331"/>
                </a:lnTo>
                <a:lnTo>
                  <a:pt x="450" y="331"/>
                </a:lnTo>
                <a:lnTo>
                  <a:pt x="452" y="331"/>
                </a:lnTo>
                <a:lnTo>
                  <a:pt x="452" y="326"/>
                </a:lnTo>
                <a:lnTo>
                  <a:pt x="454" y="324"/>
                </a:lnTo>
                <a:lnTo>
                  <a:pt x="457" y="326"/>
                </a:lnTo>
                <a:lnTo>
                  <a:pt x="457" y="329"/>
                </a:lnTo>
                <a:lnTo>
                  <a:pt x="457" y="331"/>
                </a:lnTo>
                <a:lnTo>
                  <a:pt x="457" y="333"/>
                </a:lnTo>
                <a:lnTo>
                  <a:pt x="457" y="336"/>
                </a:lnTo>
                <a:lnTo>
                  <a:pt x="457" y="338"/>
                </a:lnTo>
                <a:lnTo>
                  <a:pt x="454" y="340"/>
                </a:lnTo>
                <a:lnTo>
                  <a:pt x="454" y="345"/>
                </a:lnTo>
                <a:lnTo>
                  <a:pt x="454" y="347"/>
                </a:lnTo>
                <a:lnTo>
                  <a:pt x="452" y="347"/>
                </a:lnTo>
                <a:lnTo>
                  <a:pt x="452" y="345"/>
                </a:lnTo>
                <a:lnTo>
                  <a:pt x="452" y="343"/>
                </a:lnTo>
                <a:lnTo>
                  <a:pt x="450" y="340"/>
                </a:lnTo>
                <a:lnTo>
                  <a:pt x="450" y="338"/>
                </a:lnTo>
                <a:lnTo>
                  <a:pt x="447" y="338"/>
                </a:lnTo>
                <a:lnTo>
                  <a:pt x="445" y="338"/>
                </a:lnTo>
                <a:lnTo>
                  <a:pt x="445" y="340"/>
                </a:lnTo>
                <a:lnTo>
                  <a:pt x="447" y="338"/>
                </a:lnTo>
                <a:lnTo>
                  <a:pt x="447" y="340"/>
                </a:lnTo>
                <a:lnTo>
                  <a:pt x="450" y="343"/>
                </a:lnTo>
                <a:lnTo>
                  <a:pt x="452" y="345"/>
                </a:lnTo>
                <a:lnTo>
                  <a:pt x="452" y="347"/>
                </a:lnTo>
                <a:lnTo>
                  <a:pt x="454" y="347"/>
                </a:lnTo>
                <a:lnTo>
                  <a:pt x="454" y="350"/>
                </a:lnTo>
                <a:lnTo>
                  <a:pt x="452" y="350"/>
                </a:lnTo>
                <a:lnTo>
                  <a:pt x="450" y="350"/>
                </a:lnTo>
                <a:lnTo>
                  <a:pt x="450" y="347"/>
                </a:lnTo>
                <a:lnTo>
                  <a:pt x="450" y="350"/>
                </a:lnTo>
                <a:lnTo>
                  <a:pt x="450" y="352"/>
                </a:lnTo>
                <a:lnTo>
                  <a:pt x="450" y="354"/>
                </a:lnTo>
                <a:lnTo>
                  <a:pt x="452" y="354"/>
                </a:lnTo>
                <a:lnTo>
                  <a:pt x="452" y="356"/>
                </a:lnTo>
                <a:lnTo>
                  <a:pt x="452" y="359"/>
                </a:lnTo>
                <a:lnTo>
                  <a:pt x="452" y="361"/>
                </a:lnTo>
                <a:lnTo>
                  <a:pt x="450" y="361"/>
                </a:lnTo>
                <a:lnTo>
                  <a:pt x="447" y="361"/>
                </a:lnTo>
                <a:lnTo>
                  <a:pt x="447" y="363"/>
                </a:lnTo>
                <a:lnTo>
                  <a:pt x="447" y="366"/>
                </a:lnTo>
                <a:lnTo>
                  <a:pt x="447" y="368"/>
                </a:lnTo>
                <a:lnTo>
                  <a:pt x="447" y="366"/>
                </a:lnTo>
                <a:lnTo>
                  <a:pt x="447" y="363"/>
                </a:lnTo>
                <a:lnTo>
                  <a:pt x="450" y="363"/>
                </a:lnTo>
                <a:lnTo>
                  <a:pt x="452" y="363"/>
                </a:lnTo>
                <a:lnTo>
                  <a:pt x="454" y="361"/>
                </a:lnTo>
                <a:lnTo>
                  <a:pt x="454" y="359"/>
                </a:lnTo>
                <a:lnTo>
                  <a:pt x="454" y="356"/>
                </a:lnTo>
                <a:lnTo>
                  <a:pt x="454" y="354"/>
                </a:lnTo>
                <a:lnTo>
                  <a:pt x="454" y="352"/>
                </a:lnTo>
                <a:lnTo>
                  <a:pt x="457" y="350"/>
                </a:lnTo>
                <a:lnTo>
                  <a:pt x="457" y="352"/>
                </a:lnTo>
                <a:lnTo>
                  <a:pt x="457" y="356"/>
                </a:lnTo>
                <a:lnTo>
                  <a:pt x="457" y="359"/>
                </a:lnTo>
                <a:lnTo>
                  <a:pt x="454" y="363"/>
                </a:lnTo>
                <a:lnTo>
                  <a:pt x="454" y="366"/>
                </a:lnTo>
                <a:lnTo>
                  <a:pt x="452" y="366"/>
                </a:lnTo>
                <a:lnTo>
                  <a:pt x="452" y="368"/>
                </a:lnTo>
                <a:lnTo>
                  <a:pt x="450" y="370"/>
                </a:lnTo>
                <a:lnTo>
                  <a:pt x="450" y="375"/>
                </a:lnTo>
                <a:lnTo>
                  <a:pt x="450" y="377"/>
                </a:lnTo>
                <a:lnTo>
                  <a:pt x="450" y="380"/>
                </a:lnTo>
                <a:lnTo>
                  <a:pt x="447" y="380"/>
                </a:lnTo>
                <a:lnTo>
                  <a:pt x="447" y="382"/>
                </a:lnTo>
                <a:lnTo>
                  <a:pt x="445" y="387"/>
                </a:lnTo>
                <a:lnTo>
                  <a:pt x="445" y="391"/>
                </a:lnTo>
                <a:lnTo>
                  <a:pt x="443" y="394"/>
                </a:lnTo>
                <a:lnTo>
                  <a:pt x="443" y="396"/>
                </a:lnTo>
                <a:lnTo>
                  <a:pt x="443" y="398"/>
                </a:lnTo>
                <a:lnTo>
                  <a:pt x="443" y="403"/>
                </a:lnTo>
                <a:lnTo>
                  <a:pt x="443" y="405"/>
                </a:lnTo>
                <a:lnTo>
                  <a:pt x="443" y="408"/>
                </a:lnTo>
                <a:lnTo>
                  <a:pt x="440" y="408"/>
                </a:lnTo>
                <a:lnTo>
                  <a:pt x="443" y="408"/>
                </a:lnTo>
                <a:lnTo>
                  <a:pt x="443" y="410"/>
                </a:lnTo>
                <a:lnTo>
                  <a:pt x="443" y="412"/>
                </a:lnTo>
                <a:lnTo>
                  <a:pt x="443" y="417"/>
                </a:lnTo>
                <a:lnTo>
                  <a:pt x="440" y="433"/>
                </a:lnTo>
                <a:lnTo>
                  <a:pt x="440" y="440"/>
                </a:lnTo>
                <a:lnTo>
                  <a:pt x="440" y="445"/>
                </a:lnTo>
                <a:lnTo>
                  <a:pt x="440" y="457"/>
                </a:lnTo>
                <a:lnTo>
                  <a:pt x="440" y="466"/>
                </a:lnTo>
                <a:lnTo>
                  <a:pt x="440" y="468"/>
                </a:lnTo>
                <a:lnTo>
                  <a:pt x="443" y="471"/>
                </a:lnTo>
                <a:lnTo>
                  <a:pt x="443" y="473"/>
                </a:lnTo>
                <a:lnTo>
                  <a:pt x="443" y="475"/>
                </a:lnTo>
                <a:lnTo>
                  <a:pt x="440" y="478"/>
                </a:lnTo>
                <a:lnTo>
                  <a:pt x="440" y="480"/>
                </a:lnTo>
                <a:lnTo>
                  <a:pt x="438" y="485"/>
                </a:lnTo>
                <a:lnTo>
                  <a:pt x="436" y="487"/>
                </a:lnTo>
                <a:lnTo>
                  <a:pt x="436" y="489"/>
                </a:lnTo>
                <a:lnTo>
                  <a:pt x="436" y="494"/>
                </a:lnTo>
                <a:lnTo>
                  <a:pt x="433" y="494"/>
                </a:lnTo>
                <a:lnTo>
                  <a:pt x="431" y="498"/>
                </a:lnTo>
                <a:lnTo>
                  <a:pt x="431" y="501"/>
                </a:lnTo>
                <a:lnTo>
                  <a:pt x="429" y="503"/>
                </a:lnTo>
                <a:lnTo>
                  <a:pt x="429" y="505"/>
                </a:lnTo>
                <a:lnTo>
                  <a:pt x="426" y="510"/>
                </a:lnTo>
                <a:lnTo>
                  <a:pt x="424" y="512"/>
                </a:lnTo>
                <a:lnTo>
                  <a:pt x="422" y="524"/>
                </a:lnTo>
                <a:lnTo>
                  <a:pt x="417" y="531"/>
                </a:lnTo>
                <a:lnTo>
                  <a:pt x="417" y="533"/>
                </a:lnTo>
                <a:lnTo>
                  <a:pt x="417" y="536"/>
                </a:lnTo>
                <a:lnTo>
                  <a:pt x="417" y="538"/>
                </a:lnTo>
                <a:lnTo>
                  <a:pt x="415" y="540"/>
                </a:lnTo>
                <a:lnTo>
                  <a:pt x="412" y="547"/>
                </a:lnTo>
                <a:lnTo>
                  <a:pt x="412" y="550"/>
                </a:lnTo>
                <a:lnTo>
                  <a:pt x="410" y="552"/>
                </a:lnTo>
                <a:lnTo>
                  <a:pt x="410" y="554"/>
                </a:lnTo>
                <a:lnTo>
                  <a:pt x="408" y="561"/>
                </a:lnTo>
                <a:lnTo>
                  <a:pt x="408" y="568"/>
                </a:lnTo>
                <a:lnTo>
                  <a:pt x="408" y="571"/>
                </a:lnTo>
                <a:lnTo>
                  <a:pt x="408" y="580"/>
                </a:lnTo>
                <a:lnTo>
                  <a:pt x="408" y="582"/>
                </a:lnTo>
                <a:lnTo>
                  <a:pt x="408" y="585"/>
                </a:lnTo>
                <a:lnTo>
                  <a:pt x="410" y="587"/>
                </a:lnTo>
                <a:lnTo>
                  <a:pt x="408" y="589"/>
                </a:lnTo>
                <a:lnTo>
                  <a:pt x="401" y="594"/>
                </a:lnTo>
                <a:lnTo>
                  <a:pt x="401" y="596"/>
                </a:lnTo>
                <a:lnTo>
                  <a:pt x="398" y="596"/>
                </a:lnTo>
                <a:lnTo>
                  <a:pt x="396" y="599"/>
                </a:lnTo>
                <a:lnTo>
                  <a:pt x="391" y="599"/>
                </a:lnTo>
                <a:lnTo>
                  <a:pt x="389" y="599"/>
                </a:lnTo>
                <a:lnTo>
                  <a:pt x="389" y="601"/>
                </a:lnTo>
                <a:lnTo>
                  <a:pt x="384" y="603"/>
                </a:lnTo>
                <a:lnTo>
                  <a:pt x="375" y="615"/>
                </a:lnTo>
                <a:lnTo>
                  <a:pt x="373" y="620"/>
                </a:lnTo>
                <a:lnTo>
                  <a:pt x="370" y="622"/>
                </a:lnTo>
                <a:lnTo>
                  <a:pt x="343" y="599"/>
                </a:lnTo>
                <a:lnTo>
                  <a:pt x="343" y="596"/>
                </a:lnTo>
                <a:lnTo>
                  <a:pt x="343" y="594"/>
                </a:lnTo>
                <a:lnTo>
                  <a:pt x="343" y="592"/>
                </a:lnTo>
                <a:lnTo>
                  <a:pt x="343" y="589"/>
                </a:lnTo>
                <a:lnTo>
                  <a:pt x="345" y="589"/>
                </a:lnTo>
                <a:lnTo>
                  <a:pt x="345" y="587"/>
                </a:lnTo>
                <a:lnTo>
                  <a:pt x="345" y="585"/>
                </a:lnTo>
                <a:lnTo>
                  <a:pt x="345" y="582"/>
                </a:lnTo>
                <a:lnTo>
                  <a:pt x="343" y="580"/>
                </a:lnTo>
                <a:lnTo>
                  <a:pt x="340" y="578"/>
                </a:lnTo>
                <a:lnTo>
                  <a:pt x="338" y="575"/>
                </a:lnTo>
                <a:lnTo>
                  <a:pt x="336" y="573"/>
                </a:lnTo>
                <a:lnTo>
                  <a:pt x="336" y="571"/>
                </a:lnTo>
                <a:lnTo>
                  <a:pt x="336" y="568"/>
                </a:lnTo>
                <a:lnTo>
                  <a:pt x="333" y="568"/>
                </a:lnTo>
                <a:lnTo>
                  <a:pt x="331" y="568"/>
                </a:lnTo>
                <a:lnTo>
                  <a:pt x="329" y="566"/>
                </a:lnTo>
                <a:lnTo>
                  <a:pt x="329" y="564"/>
                </a:lnTo>
                <a:lnTo>
                  <a:pt x="331" y="561"/>
                </a:lnTo>
                <a:lnTo>
                  <a:pt x="331" y="559"/>
                </a:lnTo>
                <a:lnTo>
                  <a:pt x="329" y="559"/>
                </a:lnTo>
                <a:lnTo>
                  <a:pt x="329" y="557"/>
                </a:lnTo>
                <a:lnTo>
                  <a:pt x="329" y="554"/>
                </a:lnTo>
                <a:lnTo>
                  <a:pt x="326" y="554"/>
                </a:lnTo>
                <a:lnTo>
                  <a:pt x="326" y="557"/>
                </a:lnTo>
                <a:lnTo>
                  <a:pt x="324" y="557"/>
                </a:lnTo>
                <a:lnTo>
                  <a:pt x="324" y="554"/>
                </a:lnTo>
                <a:lnTo>
                  <a:pt x="324" y="550"/>
                </a:lnTo>
                <a:lnTo>
                  <a:pt x="326" y="550"/>
                </a:lnTo>
                <a:lnTo>
                  <a:pt x="326" y="547"/>
                </a:lnTo>
                <a:lnTo>
                  <a:pt x="329" y="547"/>
                </a:lnTo>
                <a:lnTo>
                  <a:pt x="329" y="545"/>
                </a:lnTo>
                <a:lnTo>
                  <a:pt x="329" y="543"/>
                </a:lnTo>
                <a:lnTo>
                  <a:pt x="329" y="540"/>
                </a:lnTo>
                <a:lnTo>
                  <a:pt x="329" y="538"/>
                </a:lnTo>
                <a:lnTo>
                  <a:pt x="331" y="536"/>
                </a:lnTo>
                <a:lnTo>
                  <a:pt x="333" y="526"/>
                </a:lnTo>
                <a:lnTo>
                  <a:pt x="336" y="526"/>
                </a:lnTo>
                <a:lnTo>
                  <a:pt x="336" y="524"/>
                </a:lnTo>
                <a:lnTo>
                  <a:pt x="338" y="524"/>
                </a:lnTo>
                <a:lnTo>
                  <a:pt x="340" y="526"/>
                </a:lnTo>
                <a:lnTo>
                  <a:pt x="345" y="526"/>
                </a:lnTo>
                <a:lnTo>
                  <a:pt x="347" y="526"/>
                </a:lnTo>
                <a:lnTo>
                  <a:pt x="347" y="524"/>
                </a:lnTo>
                <a:lnTo>
                  <a:pt x="349" y="524"/>
                </a:lnTo>
                <a:lnTo>
                  <a:pt x="349" y="522"/>
                </a:lnTo>
                <a:lnTo>
                  <a:pt x="349" y="519"/>
                </a:lnTo>
                <a:lnTo>
                  <a:pt x="349" y="517"/>
                </a:lnTo>
                <a:lnTo>
                  <a:pt x="349" y="515"/>
                </a:lnTo>
                <a:lnTo>
                  <a:pt x="349" y="512"/>
                </a:lnTo>
                <a:lnTo>
                  <a:pt x="349" y="510"/>
                </a:lnTo>
                <a:lnTo>
                  <a:pt x="352" y="510"/>
                </a:lnTo>
                <a:lnTo>
                  <a:pt x="352" y="508"/>
                </a:lnTo>
                <a:lnTo>
                  <a:pt x="356" y="505"/>
                </a:lnTo>
                <a:lnTo>
                  <a:pt x="359" y="508"/>
                </a:lnTo>
                <a:lnTo>
                  <a:pt x="359" y="505"/>
                </a:lnTo>
                <a:lnTo>
                  <a:pt x="361" y="503"/>
                </a:lnTo>
                <a:lnTo>
                  <a:pt x="366" y="498"/>
                </a:lnTo>
                <a:lnTo>
                  <a:pt x="370" y="496"/>
                </a:lnTo>
                <a:lnTo>
                  <a:pt x="373" y="494"/>
                </a:lnTo>
                <a:lnTo>
                  <a:pt x="375" y="494"/>
                </a:lnTo>
                <a:lnTo>
                  <a:pt x="375" y="492"/>
                </a:lnTo>
                <a:lnTo>
                  <a:pt x="375" y="489"/>
                </a:lnTo>
                <a:lnTo>
                  <a:pt x="377" y="487"/>
                </a:lnTo>
                <a:lnTo>
                  <a:pt x="377" y="485"/>
                </a:lnTo>
                <a:lnTo>
                  <a:pt x="380" y="485"/>
                </a:lnTo>
                <a:lnTo>
                  <a:pt x="380" y="482"/>
                </a:lnTo>
                <a:lnTo>
                  <a:pt x="380" y="480"/>
                </a:lnTo>
                <a:lnTo>
                  <a:pt x="380" y="478"/>
                </a:lnTo>
                <a:lnTo>
                  <a:pt x="377" y="478"/>
                </a:lnTo>
                <a:lnTo>
                  <a:pt x="377" y="475"/>
                </a:lnTo>
                <a:lnTo>
                  <a:pt x="375" y="473"/>
                </a:lnTo>
                <a:lnTo>
                  <a:pt x="373" y="473"/>
                </a:lnTo>
                <a:lnTo>
                  <a:pt x="370" y="473"/>
                </a:lnTo>
                <a:lnTo>
                  <a:pt x="370" y="471"/>
                </a:lnTo>
                <a:lnTo>
                  <a:pt x="370" y="468"/>
                </a:lnTo>
                <a:lnTo>
                  <a:pt x="368" y="468"/>
                </a:lnTo>
                <a:lnTo>
                  <a:pt x="368" y="466"/>
                </a:lnTo>
                <a:lnTo>
                  <a:pt x="366" y="466"/>
                </a:lnTo>
                <a:lnTo>
                  <a:pt x="363" y="466"/>
                </a:lnTo>
                <a:lnTo>
                  <a:pt x="363" y="464"/>
                </a:lnTo>
                <a:lnTo>
                  <a:pt x="361" y="464"/>
                </a:lnTo>
                <a:lnTo>
                  <a:pt x="361" y="461"/>
                </a:lnTo>
                <a:lnTo>
                  <a:pt x="359" y="461"/>
                </a:lnTo>
                <a:lnTo>
                  <a:pt x="356" y="459"/>
                </a:lnTo>
                <a:lnTo>
                  <a:pt x="354" y="459"/>
                </a:lnTo>
                <a:lnTo>
                  <a:pt x="352" y="459"/>
                </a:lnTo>
                <a:lnTo>
                  <a:pt x="347" y="457"/>
                </a:lnTo>
                <a:lnTo>
                  <a:pt x="345" y="457"/>
                </a:lnTo>
                <a:lnTo>
                  <a:pt x="343" y="457"/>
                </a:lnTo>
                <a:lnTo>
                  <a:pt x="340" y="457"/>
                </a:lnTo>
                <a:lnTo>
                  <a:pt x="340" y="454"/>
                </a:lnTo>
                <a:lnTo>
                  <a:pt x="336" y="452"/>
                </a:lnTo>
                <a:lnTo>
                  <a:pt x="336" y="450"/>
                </a:lnTo>
                <a:lnTo>
                  <a:pt x="333" y="450"/>
                </a:lnTo>
                <a:lnTo>
                  <a:pt x="331" y="450"/>
                </a:lnTo>
                <a:lnTo>
                  <a:pt x="331" y="452"/>
                </a:lnTo>
                <a:lnTo>
                  <a:pt x="329" y="452"/>
                </a:lnTo>
                <a:lnTo>
                  <a:pt x="329" y="450"/>
                </a:lnTo>
                <a:lnTo>
                  <a:pt x="326" y="447"/>
                </a:lnTo>
                <a:lnTo>
                  <a:pt x="324" y="447"/>
                </a:lnTo>
                <a:lnTo>
                  <a:pt x="322" y="447"/>
                </a:lnTo>
                <a:lnTo>
                  <a:pt x="319" y="445"/>
                </a:lnTo>
                <a:lnTo>
                  <a:pt x="317" y="445"/>
                </a:lnTo>
                <a:lnTo>
                  <a:pt x="315" y="445"/>
                </a:lnTo>
                <a:lnTo>
                  <a:pt x="315" y="447"/>
                </a:lnTo>
                <a:lnTo>
                  <a:pt x="312" y="447"/>
                </a:lnTo>
                <a:lnTo>
                  <a:pt x="310" y="450"/>
                </a:lnTo>
                <a:lnTo>
                  <a:pt x="308" y="450"/>
                </a:lnTo>
                <a:lnTo>
                  <a:pt x="305" y="450"/>
                </a:lnTo>
                <a:lnTo>
                  <a:pt x="303" y="450"/>
                </a:lnTo>
                <a:lnTo>
                  <a:pt x="301" y="447"/>
                </a:lnTo>
                <a:lnTo>
                  <a:pt x="298" y="447"/>
                </a:lnTo>
                <a:lnTo>
                  <a:pt x="296" y="447"/>
                </a:lnTo>
                <a:lnTo>
                  <a:pt x="294" y="447"/>
                </a:lnTo>
                <a:lnTo>
                  <a:pt x="294" y="445"/>
                </a:lnTo>
                <a:lnTo>
                  <a:pt x="294" y="431"/>
                </a:lnTo>
                <a:lnTo>
                  <a:pt x="287" y="422"/>
                </a:lnTo>
                <a:lnTo>
                  <a:pt x="270" y="403"/>
                </a:lnTo>
                <a:lnTo>
                  <a:pt x="268" y="403"/>
                </a:lnTo>
                <a:lnTo>
                  <a:pt x="266" y="403"/>
                </a:lnTo>
                <a:lnTo>
                  <a:pt x="266" y="405"/>
                </a:lnTo>
                <a:lnTo>
                  <a:pt x="263" y="405"/>
                </a:lnTo>
                <a:lnTo>
                  <a:pt x="261" y="405"/>
                </a:lnTo>
                <a:lnTo>
                  <a:pt x="259" y="405"/>
                </a:lnTo>
                <a:lnTo>
                  <a:pt x="256" y="405"/>
                </a:lnTo>
                <a:lnTo>
                  <a:pt x="254" y="405"/>
                </a:lnTo>
                <a:lnTo>
                  <a:pt x="252" y="405"/>
                </a:lnTo>
                <a:lnTo>
                  <a:pt x="252" y="403"/>
                </a:lnTo>
                <a:lnTo>
                  <a:pt x="249" y="401"/>
                </a:lnTo>
                <a:lnTo>
                  <a:pt x="247" y="401"/>
                </a:lnTo>
                <a:lnTo>
                  <a:pt x="245" y="401"/>
                </a:lnTo>
                <a:lnTo>
                  <a:pt x="242" y="398"/>
                </a:lnTo>
                <a:lnTo>
                  <a:pt x="240" y="398"/>
                </a:lnTo>
                <a:lnTo>
                  <a:pt x="233" y="394"/>
                </a:lnTo>
                <a:lnTo>
                  <a:pt x="231" y="391"/>
                </a:lnTo>
                <a:lnTo>
                  <a:pt x="228" y="389"/>
                </a:lnTo>
                <a:lnTo>
                  <a:pt x="228" y="387"/>
                </a:lnTo>
                <a:lnTo>
                  <a:pt x="226" y="387"/>
                </a:lnTo>
                <a:lnTo>
                  <a:pt x="224" y="387"/>
                </a:lnTo>
                <a:lnTo>
                  <a:pt x="224" y="384"/>
                </a:lnTo>
                <a:lnTo>
                  <a:pt x="221" y="387"/>
                </a:lnTo>
                <a:lnTo>
                  <a:pt x="221" y="384"/>
                </a:lnTo>
                <a:lnTo>
                  <a:pt x="219" y="384"/>
                </a:lnTo>
                <a:lnTo>
                  <a:pt x="219" y="382"/>
                </a:lnTo>
                <a:lnTo>
                  <a:pt x="217" y="382"/>
                </a:lnTo>
                <a:lnTo>
                  <a:pt x="215" y="380"/>
                </a:lnTo>
                <a:lnTo>
                  <a:pt x="212" y="377"/>
                </a:lnTo>
                <a:lnTo>
                  <a:pt x="212" y="375"/>
                </a:lnTo>
                <a:lnTo>
                  <a:pt x="208" y="373"/>
                </a:lnTo>
                <a:lnTo>
                  <a:pt x="205" y="370"/>
                </a:lnTo>
                <a:lnTo>
                  <a:pt x="205" y="368"/>
                </a:lnTo>
                <a:lnTo>
                  <a:pt x="203" y="368"/>
                </a:lnTo>
                <a:lnTo>
                  <a:pt x="203" y="366"/>
                </a:lnTo>
                <a:lnTo>
                  <a:pt x="201" y="366"/>
                </a:lnTo>
                <a:lnTo>
                  <a:pt x="198" y="366"/>
                </a:lnTo>
                <a:lnTo>
                  <a:pt x="196" y="366"/>
                </a:lnTo>
                <a:lnTo>
                  <a:pt x="194" y="363"/>
                </a:lnTo>
                <a:lnTo>
                  <a:pt x="191" y="363"/>
                </a:lnTo>
                <a:lnTo>
                  <a:pt x="189" y="361"/>
                </a:lnTo>
                <a:lnTo>
                  <a:pt x="187" y="361"/>
                </a:lnTo>
                <a:lnTo>
                  <a:pt x="187" y="363"/>
                </a:lnTo>
                <a:lnTo>
                  <a:pt x="184" y="363"/>
                </a:lnTo>
                <a:lnTo>
                  <a:pt x="177" y="366"/>
                </a:lnTo>
                <a:lnTo>
                  <a:pt x="175" y="366"/>
                </a:lnTo>
                <a:lnTo>
                  <a:pt x="175" y="368"/>
                </a:lnTo>
                <a:lnTo>
                  <a:pt x="173" y="368"/>
                </a:lnTo>
                <a:lnTo>
                  <a:pt x="173" y="370"/>
                </a:lnTo>
                <a:lnTo>
                  <a:pt x="170" y="370"/>
                </a:lnTo>
                <a:lnTo>
                  <a:pt x="156" y="366"/>
                </a:lnTo>
                <a:lnTo>
                  <a:pt x="156" y="363"/>
                </a:lnTo>
                <a:lnTo>
                  <a:pt x="154" y="363"/>
                </a:lnTo>
                <a:lnTo>
                  <a:pt x="149" y="361"/>
                </a:lnTo>
                <a:lnTo>
                  <a:pt x="147" y="359"/>
                </a:lnTo>
                <a:lnTo>
                  <a:pt x="147" y="356"/>
                </a:lnTo>
                <a:lnTo>
                  <a:pt x="147" y="354"/>
                </a:lnTo>
                <a:lnTo>
                  <a:pt x="147" y="352"/>
                </a:lnTo>
                <a:lnTo>
                  <a:pt x="147" y="350"/>
                </a:lnTo>
                <a:lnTo>
                  <a:pt x="149" y="350"/>
                </a:lnTo>
                <a:lnTo>
                  <a:pt x="149" y="347"/>
                </a:lnTo>
                <a:lnTo>
                  <a:pt x="152" y="345"/>
                </a:lnTo>
                <a:lnTo>
                  <a:pt x="152" y="343"/>
                </a:lnTo>
                <a:lnTo>
                  <a:pt x="154" y="340"/>
                </a:lnTo>
                <a:lnTo>
                  <a:pt x="154" y="338"/>
                </a:lnTo>
                <a:lnTo>
                  <a:pt x="152" y="338"/>
                </a:lnTo>
                <a:lnTo>
                  <a:pt x="149" y="338"/>
                </a:lnTo>
                <a:lnTo>
                  <a:pt x="149" y="336"/>
                </a:lnTo>
                <a:lnTo>
                  <a:pt x="147" y="336"/>
                </a:lnTo>
                <a:lnTo>
                  <a:pt x="145" y="336"/>
                </a:lnTo>
                <a:lnTo>
                  <a:pt x="142" y="336"/>
                </a:lnTo>
                <a:lnTo>
                  <a:pt x="142" y="333"/>
                </a:lnTo>
                <a:lnTo>
                  <a:pt x="140" y="333"/>
                </a:lnTo>
                <a:lnTo>
                  <a:pt x="138" y="333"/>
                </a:lnTo>
                <a:lnTo>
                  <a:pt x="135" y="333"/>
                </a:lnTo>
                <a:lnTo>
                  <a:pt x="133" y="333"/>
                </a:lnTo>
                <a:lnTo>
                  <a:pt x="131" y="333"/>
                </a:lnTo>
                <a:lnTo>
                  <a:pt x="131" y="331"/>
                </a:lnTo>
                <a:lnTo>
                  <a:pt x="128" y="331"/>
                </a:lnTo>
                <a:lnTo>
                  <a:pt x="126" y="331"/>
                </a:lnTo>
                <a:lnTo>
                  <a:pt x="124" y="331"/>
                </a:lnTo>
                <a:lnTo>
                  <a:pt x="121" y="329"/>
                </a:lnTo>
                <a:lnTo>
                  <a:pt x="121" y="331"/>
                </a:lnTo>
                <a:lnTo>
                  <a:pt x="119" y="331"/>
                </a:lnTo>
                <a:lnTo>
                  <a:pt x="117" y="331"/>
                </a:lnTo>
                <a:lnTo>
                  <a:pt x="112" y="333"/>
                </a:lnTo>
                <a:lnTo>
                  <a:pt x="107" y="333"/>
                </a:lnTo>
                <a:lnTo>
                  <a:pt x="105" y="336"/>
                </a:lnTo>
                <a:lnTo>
                  <a:pt x="103" y="336"/>
                </a:lnTo>
                <a:lnTo>
                  <a:pt x="103" y="338"/>
                </a:lnTo>
                <a:lnTo>
                  <a:pt x="100" y="338"/>
                </a:lnTo>
                <a:lnTo>
                  <a:pt x="98" y="338"/>
                </a:lnTo>
                <a:lnTo>
                  <a:pt x="98" y="340"/>
                </a:lnTo>
                <a:lnTo>
                  <a:pt x="91" y="343"/>
                </a:lnTo>
                <a:lnTo>
                  <a:pt x="89" y="343"/>
                </a:lnTo>
                <a:lnTo>
                  <a:pt x="89" y="345"/>
                </a:lnTo>
                <a:lnTo>
                  <a:pt x="87" y="345"/>
                </a:lnTo>
                <a:lnTo>
                  <a:pt x="87" y="347"/>
                </a:lnTo>
                <a:lnTo>
                  <a:pt x="70" y="354"/>
                </a:lnTo>
                <a:lnTo>
                  <a:pt x="68" y="354"/>
                </a:lnTo>
                <a:lnTo>
                  <a:pt x="66" y="354"/>
                </a:lnTo>
                <a:lnTo>
                  <a:pt x="63" y="354"/>
                </a:lnTo>
                <a:lnTo>
                  <a:pt x="63" y="356"/>
                </a:lnTo>
                <a:lnTo>
                  <a:pt x="61" y="359"/>
                </a:lnTo>
                <a:lnTo>
                  <a:pt x="59" y="359"/>
                </a:lnTo>
                <a:lnTo>
                  <a:pt x="59" y="361"/>
                </a:lnTo>
                <a:lnTo>
                  <a:pt x="56" y="361"/>
                </a:lnTo>
                <a:lnTo>
                  <a:pt x="54" y="361"/>
                </a:lnTo>
                <a:lnTo>
                  <a:pt x="54" y="363"/>
                </a:lnTo>
                <a:lnTo>
                  <a:pt x="52" y="363"/>
                </a:lnTo>
                <a:lnTo>
                  <a:pt x="49" y="366"/>
                </a:lnTo>
                <a:lnTo>
                  <a:pt x="47" y="366"/>
                </a:lnTo>
                <a:lnTo>
                  <a:pt x="45" y="366"/>
                </a:lnTo>
                <a:lnTo>
                  <a:pt x="42" y="366"/>
                </a:lnTo>
                <a:lnTo>
                  <a:pt x="40" y="366"/>
                </a:lnTo>
                <a:lnTo>
                  <a:pt x="40" y="368"/>
                </a:lnTo>
                <a:lnTo>
                  <a:pt x="38" y="368"/>
                </a:lnTo>
                <a:lnTo>
                  <a:pt x="38" y="370"/>
                </a:lnTo>
                <a:lnTo>
                  <a:pt x="35" y="370"/>
                </a:lnTo>
                <a:lnTo>
                  <a:pt x="35" y="373"/>
                </a:lnTo>
                <a:lnTo>
                  <a:pt x="33" y="373"/>
                </a:lnTo>
                <a:lnTo>
                  <a:pt x="33" y="375"/>
                </a:lnTo>
                <a:lnTo>
                  <a:pt x="31" y="375"/>
                </a:lnTo>
                <a:lnTo>
                  <a:pt x="28" y="377"/>
                </a:lnTo>
                <a:lnTo>
                  <a:pt x="24" y="375"/>
                </a:lnTo>
                <a:lnTo>
                  <a:pt x="21" y="375"/>
                </a:lnTo>
                <a:lnTo>
                  <a:pt x="19" y="375"/>
                </a:lnTo>
                <a:lnTo>
                  <a:pt x="17" y="375"/>
                </a:lnTo>
                <a:lnTo>
                  <a:pt x="17" y="377"/>
                </a:lnTo>
                <a:lnTo>
                  <a:pt x="14" y="377"/>
                </a:lnTo>
                <a:lnTo>
                  <a:pt x="14" y="380"/>
                </a:lnTo>
                <a:lnTo>
                  <a:pt x="10" y="380"/>
                </a:lnTo>
                <a:lnTo>
                  <a:pt x="10" y="382"/>
                </a:lnTo>
                <a:lnTo>
                  <a:pt x="7" y="382"/>
                </a:lnTo>
                <a:lnTo>
                  <a:pt x="7" y="380"/>
                </a:lnTo>
                <a:lnTo>
                  <a:pt x="7" y="377"/>
                </a:lnTo>
                <a:lnTo>
                  <a:pt x="10" y="377"/>
                </a:lnTo>
                <a:lnTo>
                  <a:pt x="10" y="375"/>
                </a:lnTo>
                <a:lnTo>
                  <a:pt x="12" y="373"/>
                </a:lnTo>
                <a:lnTo>
                  <a:pt x="12" y="370"/>
                </a:lnTo>
                <a:lnTo>
                  <a:pt x="14" y="368"/>
                </a:lnTo>
                <a:lnTo>
                  <a:pt x="14" y="366"/>
                </a:lnTo>
                <a:lnTo>
                  <a:pt x="17" y="366"/>
                </a:lnTo>
                <a:lnTo>
                  <a:pt x="14" y="363"/>
                </a:lnTo>
                <a:lnTo>
                  <a:pt x="14" y="361"/>
                </a:lnTo>
                <a:lnTo>
                  <a:pt x="14" y="359"/>
                </a:lnTo>
                <a:lnTo>
                  <a:pt x="17" y="354"/>
                </a:lnTo>
                <a:lnTo>
                  <a:pt x="19" y="352"/>
                </a:lnTo>
                <a:lnTo>
                  <a:pt x="21" y="350"/>
                </a:lnTo>
                <a:lnTo>
                  <a:pt x="21" y="347"/>
                </a:lnTo>
                <a:lnTo>
                  <a:pt x="21" y="345"/>
                </a:lnTo>
                <a:lnTo>
                  <a:pt x="21" y="343"/>
                </a:lnTo>
                <a:lnTo>
                  <a:pt x="19" y="340"/>
                </a:lnTo>
                <a:lnTo>
                  <a:pt x="19" y="338"/>
                </a:lnTo>
                <a:lnTo>
                  <a:pt x="19" y="336"/>
                </a:lnTo>
                <a:lnTo>
                  <a:pt x="19" y="333"/>
                </a:lnTo>
                <a:lnTo>
                  <a:pt x="21" y="331"/>
                </a:lnTo>
                <a:lnTo>
                  <a:pt x="24" y="326"/>
                </a:lnTo>
                <a:lnTo>
                  <a:pt x="21" y="324"/>
                </a:lnTo>
                <a:lnTo>
                  <a:pt x="19" y="322"/>
                </a:lnTo>
                <a:lnTo>
                  <a:pt x="17" y="319"/>
                </a:lnTo>
                <a:lnTo>
                  <a:pt x="14" y="317"/>
                </a:lnTo>
                <a:lnTo>
                  <a:pt x="12" y="315"/>
                </a:lnTo>
                <a:lnTo>
                  <a:pt x="10" y="308"/>
                </a:lnTo>
                <a:lnTo>
                  <a:pt x="10" y="305"/>
                </a:lnTo>
                <a:lnTo>
                  <a:pt x="7" y="301"/>
                </a:lnTo>
                <a:lnTo>
                  <a:pt x="5" y="294"/>
                </a:lnTo>
                <a:lnTo>
                  <a:pt x="5" y="287"/>
                </a:lnTo>
                <a:lnTo>
                  <a:pt x="5" y="280"/>
                </a:lnTo>
                <a:lnTo>
                  <a:pt x="7" y="280"/>
                </a:lnTo>
                <a:lnTo>
                  <a:pt x="7" y="275"/>
                </a:lnTo>
                <a:lnTo>
                  <a:pt x="10" y="273"/>
                </a:lnTo>
                <a:lnTo>
                  <a:pt x="10" y="268"/>
                </a:lnTo>
                <a:lnTo>
                  <a:pt x="12" y="266"/>
                </a:lnTo>
                <a:lnTo>
                  <a:pt x="12" y="263"/>
                </a:lnTo>
                <a:lnTo>
                  <a:pt x="14" y="263"/>
                </a:lnTo>
                <a:lnTo>
                  <a:pt x="17" y="263"/>
                </a:lnTo>
                <a:lnTo>
                  <a:pt x="19" y="261"/>
                </a:lnTo>
                <a:lnTo>
                  <a:pt x="19" y="259"/>
                </a:lnTo>
                <a:lnTo>
                  <a:pt x="21" y="259"/>
                </a:lnTo>
                <a:lnTo>
                  <a:pt x="21" y="256"/>
                </a:lnTo>
                <a:lnTo>
                  <a:pt x="19" y="256"/>
                </a:lnTo>
                <a:lnTo>
                  <a:pt x="17" y="254"/>
                </a:lnTo>
                <a:lnTo>
                  <a:pt x="14" y="252"/>
                </a:lnTo>
                <a:lnTo>
                  <a:pt x="14" y="249"/>
                </a:lnTo>
                <a:lnTo>
                  <a:pt x="17" y="242"/>
                </a:lnTo>
                <a:lnTo>
                  <a:pt x="17" y="240"/>
                </a:lnTo>
                <a:lnTo>
                  <a:pt x="21" y="238"/>
                </a:lnTo>
                <a:lnTo>
                  <a:pt x="24" y="238"/>
                </a:lnTo>
                <a:lnTo>
                  <a:pt x="24" y="235"/>
                </a:lnTo>
                <a:lnTo>
                  <a:pt x="21" y="233"/>
                </a:lnTo>
                <a:lnTo>
                  <a:pt x="14" y="228"/>
                </a:lnTo>
                <a:lnTo>
                  <a:pt x="14" y="226"/>
                </a:lnTo>
                <a:lnTo>
                  <a:pt x="12" y="224"/>
                </a:lnTo>
                <a:lnTo>
                  <a:pt x="12" y="221"/>
                </a:lnTo>
                <a:lnTo>
                  <a:pt x="14" y="221"/>
                </a:lnTo>
                <a:lnTo>
                  <a:pt x="14" y="219"/>
                </a:lnTo>
                <a:lnTo>
                  <a:pt x="19" y="214"/>
                </a:lnTo>
                <a:lnTo>
                  <a:pt x="19" y="212"/>
                </a:lnTo>
                <a:lnTo>
                  <a:pt x="19" y="207"/>
                </a:lnTo>
                <a:lnTo>
                  <a:pt x="19" y="205"/>
                </a:lnTo>
                <a:lnTo>
                  <a:pt x="17" y="205"/>
                </a:lnTo>
                <a:lnTo>
                  <a:pt x="14" y="203"/>
                </a:lnTo>
                <a:lnTo>
                  <a:pt x="12" y="203"/>
                </a:lnTo>
                <a:lnTo>
                  <a:pt x="12" y="201"/>
                </a:lnTo>
                <a:lnTo>
                  <a:pt x="10" y="201"/>
                </a:lnTo>
                <a:lnTo>
                  <a:pt x="10" y="196"/>
                </a:lnTo>
                <a:lnTo>
                  <a:pt x="12" y="182"/>
                </a:lnTo>
                <a:lnTo>
                  <a:pt x="12" y="180"/>
                </a:lnTo>
                <a:lnTo>
                  <a:pt x="17" y="180"/>
                </a:lnTo>
                <a:lnTo>
                  <a:pt x="17" y="177"/>
                </a:lnTo>
                <a:lnTo>
                  <a:pt x="19" y="175"/>
                </a:lnTo>
                <a:lnTo>
                  <a:pt x="21" y="175"/>
                </a:lnTo>
                <a:lnTo>
                  <a:pt x="24" y="173"/>
                </a:lnTo>
                <a:lnTo>
                  <a:pt x="26" y="173"/>
                </a:lnTo>
                <a:lnTo>
                  <a:pt x="28" y="173"/>
                </a:lnTo>
                <a:lnTo>
                  <a:pt x="28" y="170"/>
                </a:lnTo>
                <a:lnTo>
                  <a:pt x="28" y="168"/>
                </a:lnTo>
                <a:lnTo>
                  <a:pt x="26" y="166"/>
                </a:lnTo>
                <a:lnTo>
                  <a:pt x="24" y="166"/>
                </a:lnTo>
                <a:lnTo>
                  <a:pt x="24" y="163"/>
                </a:lnTo>
                <a:lnTo>
                  <a:pt x="21" y="163"/>
                </a:lnTo>
                <a:lnTo>
                  <a:pt x="19" y="166"/>
                </a:lnTo>
                <a:lnTo>
                  <a:pt x="17" y="163"/>
                </a:lnTo>
                <a:lnTo>
                  <a:pt x="17" y="161"/>
                </a:lnTo>
                <a:lnTo>
                  <a:pt x="17" y="159"/>
                </a:lnTo>
                <a:lnTo>
                  <a:pt x="19" y="159"/>
                </a:lnTo>
                <a:lnTo>
                  <a:pt x="19" y="156"/>
                </a:lnTo>
                <a:lnTo>
                  <a:pt x="24" y="156"/>
                </a:lnTo>
                <a:lnTo>
                  <a:pt x="28" y="154"/>
                </a:lnTo>
                <a:lnTo>
                  <a:pt x="31" y="152"/>
                </a:lnTo>
                <a:lnTo>
                  <a:pt x="31" y="149"/>
                </a:lnTo>
                <a:lnTo>
                  <a:pt x="28" y="149"/>
                </a:lnTo>
                <a:lnTo>
                  <a:pt x="24" y="147"/>
                </a:lnTo>
                <a:lnTo>
                  <a:pt x="19" y="145"/>
                </a:lnTo>
                <a:lnTo>
                  <a:pt x="10" y="142"/>
                </a:lnTo>
                <a:lnTo>
                  <a:pt x="7" y="142"/>
                </a:lnTo>
                <a:lnTo>
                  <a:pt x="7" y="140"/>
                </a:lnTo>
                <a:lnTo>
                  <a:pt x="7" y="138"/>
                </a:lnTo>
                <a:lnTo>
                  <a:pt x="5" y="138"/>
                </a:lnTo>
                <a:lnTo>
                  <a:pt x="5" y="135"/>
                </a:lnTo>
                <a:lnTo>
                  <a:pt x="3" y="133"/>
                </a:lnTo>
                <a:lnTo>
                  <a:pt x="0" y="131"/>
                </a:lnTo>
                <a:lnTo>
                  <a:pt x="0" y="128"/>
                </a:lnTo>
                <a:lnTo>
                  <a:pt x="3" y="128"/>
                </a:lnTo>
                <a:lnTo>
                  <a:pt x="3" y="126"/>
                </a:lnTo>
                <a:lnTo>
                  <a:pt x="5" y="124"/>
                </a:lnTo>
                <a:lnTo>
                  <a:pt x="7" y="124"/>
                </a:lnTo>
                <a:lnTo>
                  <a:pt x="7" y="121"/>
                </a:lnTo>
                <a:lnTo>
                  <a:pt x="10" y="121"/>
                </a:lnTo>
                <a:lnTo>
                  <a:pt x="12" y="117"/>
                </a:lnTo>
                <a:lnTo>
                  <a:pt x="14" y="110"/>
                </a:lnTo>
                <a:lnTo>
                  <a:pt x="17" y="107"/>
                </a:lnTo>
                <a:lnTo>
                  <a:pt x="19" y="107"/>
                </a:lnTo>
                <a:lnTo>
                  <a:pt x="21" y="105"/>
                </a:lnTo>
                <a:lnTo>
                  <a:pt x="24" y="105"/>
                </a:lnTo>
                <a:lnTo>
                  <a:pt x="26" y="105"/>
                </a:lnTo>
                <a:lnTo>
                  <a:pt x="26" y="103"/>
                </a:lnTo>
                <a:lnTo>
                  <a:pt x="24" y="100"/>
                </a:lnTo>
                <a:lnTo>
                  <a:pt x="24" y="98"/>
                </a:lnTo>
                <a:lnTo>
                  <a:pt x="21" y="98"/>
                </a:lnTo>
                <a:lnTo>
                  <a:pt x="21" y="96"/>
                </a:lnTo>
                <a:lnTo>
                  <a:pt x="24" y="93"/>
                </a:lnTo>
                <a:lnTo>
                  <a:pt x="26" y="91"/>
                </a:lnTo>
                <a:lnTo>
                  <a:pt x="28" y="89"/>
                </a:lnTo>
                <a:lnTo>
                  <a:pt x="31" y="89"/>
                </a:lnTo>
                <a:lnTo>
                  <a:pt x="33" y="89"/>
                </a:lnTo>
                <a:lnTo>
                  <a:pt x="35" y="84"/>
                </a:lnTo>
                <a:lnTo>
                  <a:pt x="38" y="84"/>
                </a:lnTo>
                <a:lnTo>
                  <a:pt x="40" y="84"/>
                </a:lnTo>
                <a:lnTo>
                  <a:pt x="42" y="84"/>
                </a:lnTo>
                <a:lnTo>
                  <a:pt x="45" y="82"/>
                </a:lnTo>
                <a:lnTo>
                  <a:pt x="47" y="82"/>
                </a:lnTo>
                <a:lnTo>
                  <a:pt x="47" y="79"/>
                </a:lnTo>
                <a:lnTo>
                  <a:pt x="49" y="79"/>
                </a:lnTo>
                <a:lnTo>
                  <a:pt x="52" y="79"/>
                </a:lnTo>
                <a:lnTo>
                  <a:pt x="54" y="79"/>
                </a:lnTo>
                <a:lnTo>
                  <a:pt x="54" y="77"/>
                </a:lnTo>
                <a:lnTo>
                  <a:pt x="56" y="77"/>
                </a:lnTo>
                <a:lnTo>
                  <a:pt x="56" y="75"/>
                </a:lnTo>
                <a:lnTo>
                  <a:pt x="56" y="72"/>
                </a:lnTo>
                <a:lnTo>
                  <a:pt x="59" y="72"/>
                </a:lnTo>
                <a:lnTo>
                  <a:pt x="59" y="70"/>
                </a:lnTo>
                <a:lnTo>
                  <a:pt x="68" y="72"/>
                </a:lnTo>
                <a:lnTo>
                  <a:pt x="70" y="72"/>
                </a:lnTo>
                <a:lnTo>
                  <a:pt x="75" y="77"/>
                </a:lnTo>
                <a:lnTo>
                  <a:pt x="75" y="82"/>
                </a:lnTo>
                <a:lnTo>
                  <a:pt x="77" y="82"/>
                </a:lnTo>
                <a:lnTo>
                  <a:pt x="77" y="84"/>
                </a:lnTo>
                <a:lnTo>
                  <a:pt x="77" y="86"/>
                </a:lnTo>
                <a:lnTo>
                  <a:pt x="77" y="89"/>
                </a:lnTo>
                <a:lnTo>
                  <a:pt x="77" y="91"/>
                </a:lnTo>
                <a:lnTo>
                  <a:pt x="82" y="96"/>
                </a:lnTo>
                <a:lnTo>
                  <a:pt x="82" y="100"/>
                </a:lnTo>
                <a:lnTo>
                  <a:pt x="84" y="103"/>
                </a:lnTo>
                <a:lnTo>
                  <a:pt x="87" y="103"/>
                </a:lnTo>
                <a:lnTo>
                  <a:pt x="89" y="105"/>
                </a:lnTo>
                <a:lnTo>
                  <a:pt x="91" y="105"/>
                </a:lnTo>
                <a:lnTo>
                  <a:pt x="91" y="107"/>
                </a:lnTo>
                <a:lnTo>
                  <a:pt x="93" y="110"/>
                </a:lnTo>
                <a:lnTo>
                  <a:pt x="96" y="110"/>
                </a:lnTo>
                <a:lnTo>
                  <a:pt x="98" y="112"/>
                </a:lnTo>
                <a:lnTo>
                  <a:pt x="100" y="112"/>
                </a:lnTo>
                <a:lnTo>
                  <a:pt x="103" y="112"/>
                </a:lnTo>
                <a:lnTo>
                  <a:pt x="105" y="110"/>
                </a:lnTo>
                <a:lnTo>
                  <a:pt x="107" y="110"/>
                </a:lnTo>
                <a:lnTo>
                  <a:pt x="112" y="112"/>
                </a:lnTo>
                <a:lnTo>
                  <a:pt x="114" y="112"/>
                </a:lnTo>
                <a:lnTo>
                  <a:pt x="117" y="112"/>
                </a:lnTo>
                <a:lnTo>
                  <a:pt x="119" y="107"/>
                </a:lnTo>
                <a:lnTo>
                  <a:pt x="121" y="105"/>
                </a:lnTo>
                <a:lnTo>
                  <a:pt x="124" y="105"/>
                </a:lnTo>
                <a:lnTo>
                  <a:pt x="126" y="105"/>
                </a:lnTo>
                <a:lnTo>
                  <a:pt x="126" y="103"/>
                </a:lnTo>
                <a:lnTo>
                  <a:pt x="128" y="103"/>
                </a:lnTo>
                <a:lnTo>
                  <a:pt x="128" y="100"/>
                </a:lnTo>
                <a:lnTo>
                  <a:pt x="131" y="100"/>
                </a:lnTo>
                <a:lnTo>
                  <a:pt x="133" y="100"/>
                </a:lnTo>
                <a:lnTo>
                  <a:pt x="133" y="98"/>
                </a:lnTo>
                <a:lnTo>
                  <a:pt x="135" y="98"/>
                </a:lnTo>
                <a:lnTo>
                  <a:pt x="138" y="98"/>
                </a:lnTo>
                <a:lnTo>
                  <a:pt x="140" y="98"/>
                </a:lnTo>
                <a:lnTo>
                  <a:pt x="142" y="96"/>
                </a:lnTo>
                <a:lnTo>
                  <a:pt x="149" y="98"/>
                </a:lnTo>
                <a:lnTo>
                  <a:pt x="154" y="100"/>
                </a:lnTo>
                <a:lnTo>
                  <a:pt x="159" y="100"/>
                </a:lnTo>
                <a:lnTo>
                  <a:pt x="161" y="100"/>
                </a:lnTo>
                <a:lnTo>
                  <a:pt x="161" y="98"/>
                </a:lnTo>
                <a:lnTo>
                  <a:pt x="163" y="98"/>
                </a:lnTo>
                <a:lnTo>
                  <a:pt x="170" y="91"/>
                </a:lnTo>
                <a:lnTo>
                  <a:pt x="173" y="91"/>
                </a:lnTo>
                <a:lnTo>
                  <a:pt x="175" y="91"/>
                </a:lnTo>
                <a:lnTo>
                  <a:pt x="175" y="89"/>
                </a:lnTo>
                <a:lnTo>
                  <a:pt x="175" y="86"/>
                </a:lnTo>
                <a:lnTo>
                  <a:pt x="177" y="86"/>
                </a:lnTo>
                <a:lnTo>
                  <a:pt x="180" y="86"/>
                </a:lnTo>
                <a:lnTo>
                  <a:pt x="180" y="84"/>
                </a:lnTo>
                <a:lnTo>
                  <a:pt x="180" y="82"/>
                </a:lnTo>
                <a:lnTo>
                  <a:pt x="184" y="79"/>
                </a:lnTo>
                <a:lnTo>
                  <a:pt x="184" y="77"/>
                </a:lnTo>
                <a:lnTo>
                  <a:pt x="184" y="75"/>
                </a:lnTo>
                <a:lnTo>
                  <a:pt x="187" y="75"/>
                </a:lnTo>
                <a:lnTo>
                  <a:pt x="187" y="72"/>
                </a:lnTo>
                <a:lnTo>
                  <a:pt x="187" y="70"/>
                </a:lnTo>
                <a:lnTo>
                  <a:pt x="189" y="70"/>
                </a:lnTo>
                <a:lnTo>
                  <a:pt x="191" y="68"/>
                </a:lnTo>
                <a:lnTo>
                  <a:pt x="191" y="65"/>
                </a:lnTo>
                <a:lnTo>
                  <a:pt x="191" y="63"/>
                </a:lnTo>
                <a:lnTo>
                  <a:pt x="191" y="61"/>
                </a:lnTo>
                <a:lnTo>
                  <a:pt x="191" y="59"/>
                </a:lnTo>
                <a:lnTo>
                  <a:pt x="194" y="56"/>
                </a:lnTo>
                <a:lnTo>
                  <a:pt x="194" y="54"/>
                </a:lnTo>
                <a:lnTo>
                  <a:pt x="194" y="52"/>
                </a:lnTo>
                <a:lnTo>
                  <a:pt x="194" y="49"/>
                </a:lnTo>
                <a:lnTo>
                  <a:pt x="191" y="47"/>
                </a:lnTo>
                <a:lnTo>
                  <a:pt x="191" y="45"/>
                </a:lnTo>
                <a:lnTo>
                  <a:pt x="191" y="42"/>
                </a:lnTo>
                <a:lnTo>
                  <a:pt x="191" y="35"/>
                </a:lnTo>
                <a:lnTo>
                  <a:pt x="189" y="35"/>
                </a:lnTo>
                <a:lnTo>
                  <a:pt x="189" y="33"/>
                </a:lnTo>
                <a:lnTo>
                  <a:pt x="187" y="31"/>
                </a:lnTo>
                <a:lnTo>
                  <a:pt x="189" y="28"/>
                </a:lnTo>
                <a:lnTo>
                  <a:pt x="189" y="26"/>
                </a:lnTo>
                <a:lnTo>
                  <a:pt x="191" y="26"/>
                </a:lnTo>
                <a:lnTo>
                  <a:pt x="194" y="28"/>
                </a:lnTo>
                <a:lnTo>
                  <a:pt x="196" y="28"/>
                </a:lnTo>
                <a:lnTo>
                  <a:pt x="198" y="28"/>
                </a:lnTo>
                <a:lnTo>
                  <a:pt x="198" y="26"/>
                </a:lnTo>
                <a:lnTo>
                  <a:pt x="198" y="24"/>
                </a:lnTo>
                <a:lnTo>
                  <a:pt x="201" y="24"/>
                </a:lnTo>
                <a:lnTo>
                  <a:pt x="201" y="21"/>
                </a:lnTo>
                <a:lnTo>
                  <a:pt x="203" y="21"/>
                </a:lnTo>
                <a:lnTo>
                  <a:pt x="205" y="24"/>
                </a:lnTo>
                <a:lnTo>
                  <a:pt x="208" y="24"/>
                </a:lnTo>
                <a:lnTo>
                  <a:pt x="210" y="24"/>
                </a:lnTo>
                <a:lnTo>
                  <a:pt x="210" y="21"/>
                </a:lnTo>
                <a:lnTo>
                  <a:pt x="212" y="21"/>
                </a:lnTo>
                <a:lnTo>
                  <a:pt x="215" y="24"/>
                </a:lnTo>
                <a:lnTo>
                  <a:pt x="217" y="24"/>
                </a:lnTo>
                <a:lnTo>
                  <a:pt x="217" y="28"/>
                </a:lnTo>
                <a:lnTo>
                  <a:pt x="217" y="31"/>
                </a:lnTo>
                <a:lnTo>
                  <a:pt x="219" y="31"/>
                </a:lnTo>
                <a:lnTo>
                  <a:pt x="221" y="28"/>
                </a:lnTo>
                <a:lnTo>
                  <a:pt x="224" y="28"/>
                </a:lnTo>
                <a:lnTo>
                  <a:pt x="226" y="28"/>
                </a:lnTo>
                <a:lnTo>
                  <a:pt x="228" y="31"/>
                </a:lnTo>
                <a:lnTo>
                  <a:pt x="231" y="31"/>
                </a:lnTo>
                <a:lnTo>
                  <a:pt x="231" y="28"/>
                </a:lnTo>
                <a:lnTo>
                  <a:pt x="233" y="28"/>
                </a:lnTo>
                <a:lnTo>
                  <a:pt x="235" y="28"/>
                </a:lnTo>
                <a:lnTo>
                  <a:pt x="238" y="31"/>
                </a:lnTo>
                <a:lnTo>
                  <a:pt x="238" y="33"/>
                </a:lnTo>
                <a:lnTo>
                  <a:pt x="240" y="33"/>
                </a:lnTo>
                <a:lnTo>
                  <a:pt x="242" y="33"/>
                </a:lnTo>
                <a:lnTo>
                  <a:pt x="245" y="35"/>
                </a:lnTo>
                <a:lnTo>
                  <a:pt x="245" y="38"/>
                </a:lnTo>
                <a:lnTo>
                  <a:pt x="245" y="40"/>
                </a:lnTo>
                <a:lnTo>
                  <a:pt x="247" y="40"/>
                </a:lnTo>
                <a:lnTo>
                  <a:pt x="249" y="42"/>
                </a:lnTo>
                <a:lnTo>
                  <a:pt x="252" y="42"/>
                </a:lnTo>
                <a:lnTo>
                  <a:pt x="252" y="40"/>
                </a:lnTo>
                <a:lnTo>
                  <a:pt x="254" y="40"/>
                </a:lnTo>
                <a:lnTo>
                  <a:pt x="256" y="40"/>
                </a:lnTo>
                <a:lnTo>
                  <a:pt x="259" y="40"/>
                </a:lnTo>
                <a:lnTo>
                  <a:pt x="261" y="42"/>
                </a:lnTo>
                <a:lnTo>
                  <a:pt x="263" y="45"/>
                </a:lnTo>
                <a:lnTo>
                  <a:pt x="266" y="45"/>
                </a:lnTo>
                <a:lnTo>
                  <a:pt x="266" y="42"/>
                </a:lnTo>
                <a:lnTo>
                  <a:pt x="266" y="40"/>
                </a:lnTo>
                <a:lnTo>
                  <a:pt x="268" y="40"/>
                </a:lnTo>
                <a:lnTo>
                  <a:pt x="273" y="40"/>
                </a:lnTo>
                <a:lnTo>
                  <a:pt x="273" y="42"/>
                </a:lnTo>
                <a:lnTo>
                  <a:pt x="273" y="40"/>
                </a:lnTo>
                <a:lnTo>
                  <a:pt x="275" y="40"/>
                </a:lnTo>
                <a:lnTo>
                  <a:pt x="275" y="38"/>
                </a:lnTo>
                <a:lnTo>
                  <a:pt x="277" y="38"/>
                </a:lnTo>
                <a:lnTo>
                  <a:pt x="277" y="35"/>
                </a:lnTo>
                <a:lnTo>
                  <a:pt x="280" y="35"/>
                </a:lnTo>
                <a:lnTo>
                  <a:pt x="282" y="35"/>
                </a:lnTo>
                <a:lnTo>
                  <a:pt x="282" y="33"/>
                </a:lnTo>
                <a:lnTo>
                  <a:pt x="284" y="33"/>
                </a:lnTo>
                <a:lnTo>
                  <a:pt x="284" y="31"/>
                </a:lnTo>
                <a:lnTo>
                  <a:pt x="287" y="31"/>
                </a:lnTo>
                <a:lnTo>
                  <a:pt x="289" y="31"/>
                </a:lnTo>
                <a:lnTo>
                  <a:pt x="296" y="31"/>
                </a:lnTo>
                <a:lnTo>
                  <a:pt x="298" y="31"/>
                </a:lnTo>
                <a:lnTo>
                  <a:pt x="301" y="31"/>
                </a:lnTo>
                <a:lnTo>
                  <a:pt x="301" y="28"/>
                </a:lnTo>
                <a:lnTo>
                  <a:pt x="303" y="26"/>
                </a:lnTo>
                <a:lnTo>
                  <a:pt x="305" y="26"/>
                </a:lnTo>
                <a:lnTo>
                  <a:pt x="305" y="28"/>
                </a:lnTo>
                <a:lnTo>
                  <a:pt x="305" y="26"/>
                </a:lnTo>
                <a:lnTo>
                  <a:pt x="308" y="26"/>
                </a:lnTo>
                <a:lnTo>
                  <a:pt x="308" y="28"/>
                </a:lnTo>
                <a:lnTo>
                  <a:pt x="310" y="28"/>
                </a:lnTo>
                <a:lnTo>
                  <a:pt x="312" y="28"/>
                </a:lnTo>
                <a:lnTo>
                  <a:pt x="315" y="28"/>
                </a:lnTo>
                <a:lnTo>
                  <a:pt x="315" y="31"/>
                </a:lnTo>
                <a:lnTo>
                  <a:pt x="317" y="31"/>
                </a:lnTo>
                <a:lnTo>
                  <a:pt x="317" y="28"/>
                </a:lnTo>
                <a:lnTo>
                  <a:pt x="319" y="26"/>
                </a:lnTo>
                <a:lnTo>
                  <a:pt x="324" y="26"/>
                </a:lnTo>
                <a:lnTo>
                  <a:pt x="324" y="24"/>
                </a:lnTo>
                <a:lnTo>
                  <a:pt x="324" y="21"/>
                </a:lnTo>
                <a:lnTo>
                  <a:pt x="324" y="19"/>
                </a:lnTo>
                <a:lnTo>
                  <a:pt x="324" y="14"/>
                </a:lnTo>
                <a:lnTo>
                  <a:pt x="326" y="14"/>
                </a:lnTo>
                <a:lnTo>
                  <a:pt x="329" y="14"/>
                </a:lnTo>
                <a:lnTo>
                  <a:pt x="331" y="14"/>
                </a:lnTo>
                <a:lnTo>
                  <a:pt x="333" y="14"/>
                </a:lnTo>
                <a:lnTo>
                  <a:pt x="336" y="14"/>
                </a:lnTo>
                <a:lnTo>
                  <a:pt x="338" y="14"/>
                </a:lnTo>
                <a:lnTo>
                  <a:pt x="340" y="12"/>
                </a:lnTo>
                <a:lnTo>
                  <a:pt x="343" y="12"/>
                </a:lnTo>
                <a:lnTo>
                  <a:pt x="343" y="10"/>
                </a:lnTo>
                <a:lnTo>
                  <a:pt x="345" y="7"/>
                </a:lnTo>
                <a:lnTo>
                  <a:pt x="347" y="7"/>
                </a:lnTo>
                <a:lnTo>
                  <a:pt x="347" y="5"/>
                </a:lnTo>
                <a:lnTo>
                  <a:pt x="349" y="5"/>
                </a:lnTo>
                <a:lnTo>
                  <a:pt x="349" y="0"/>
                </a:lnTo>
                <a:lnTo>
                  <a:pt x="352" y="0"/>
                </a:lnTo>
                <a:lnTo>
                  <a:pt x="354" y="3"/>
                </a:lnTo>
                <a:lnTo>
                  <a:pt x="356" y="3"/>
                </a:lnTo>
                <a:lnTo>
                  <a:pt x="359" y="3"/>
                </a:lnTo>
                <a:lnTo>
                  <a:pt x="359" y="0"/>
                </a:lnTo>
                <a:lnTo>
                  <a:pt x="361" y="0"/>
                </a:lnTo>
                <a:lnTo>
                  <a:pt x="363" y="0"/>
                </a:lnTo>
                <a:lnTo>
                  <a:pt x="366" y="3"/>
                </a:lnTo>
                <a:lnTo>
                  <a:pt x="368" y="3"/>
                </a:lnTo>
                <a:lnTo>
                  <a:pt x="368" y="5"/>
                </a:lnTo>
                <a:lnTo>
                  <a:pt x="368" y="7"/>
                </a:lnTo>
                <a:lnTo>
                  <a:pt x="370" y="7"/>
                </a:lnTo>
                <a:lnTo>
                  <a:pt x="373" y="7"/>
                </a:lnTo>
                <a:lnTo>
                  <a:pt x="375" y="7"/>
                </a:lnTo>
                <a:lnTo>
                  <a:pt x="375" y="10"/>
                </a:lnTo>
                <a:lnTo>
                  <a:pt x="375" y="12"/>
                </a:lnTo>
                <a:lnTo>
                  <a:pt x="377" y="12"/>
                </a:lnTo>
                <a:lnTo>
                  <a:pt x="380" y="12"/>
                </a:lnTo>
                <a:lnTo>
                  <a:pt x="380" y="14"/>
                </a:lnTo>
                <a:lnTo>
                  <a:pt x="380" y="19"/>
                </a:lnTo>
                <a:lnTo>
                  <a:pt x="380" y="21"/>
                </a:lnTo>
                <a:lnTo>
                  <a:pt x="380" y="24"/>
                </a:lnTo>
                <a:lnTo>
                  <a:pt x="377" y="24"/>
                </a:lnTo>
                <a:lnTo>
                  <a:pt x="380" y="26"/>
                </a:lnTo>
                <a:lnTo>
                  <a:pt x="380" y="28"/>
                </a:lnTo>
                <a:lnTo>
                  <a:pt x="380" y="31"/>
                </a:lnTo>
                <a:lnTo>
                  <a:pt x="380" y="33"/>
                </a:lnTo>
                <a:lnTo>
                  <a:pt x="382" y="33"/>
                </a:lnTo>
                <a:lnTo>
                  <a:pt x="384" y="38"/>
                </a:lnTo>
                <a:lnTo>
                  <a:pt x="387" y="38"/>
                </a:lnTo>
                <a:lnTo>
                  <a:pt x="389" y="38"/>
                </a:lnTo>
                <a:lnTo>
                  <a:pt x="389" y="40"/>
                </a:lnTo>
                <a:lnTo>
                  <a:pt x="389" y="42"/>
                </a:lnTo>
                <a:lnTo>
                  <a:pt x="389" y="45"/>
                </a:lnTo>
                <a:lnTo>
                  <a:pt x="389" y="47"/>
                </a:lnTo>
                <a:lnTo>
                  <a:pt x="387" y="47"/>
                </a:lnTo>
                <a:lnTo>
                  <a:pt x="387" y="49"/>
                </a:lnTo>
                <a:lnTo>
                  <a:pt x="384" y="49"/>
                </a:lnTo>
                <a:lnTo>
                  <a:pt x="384" y="52"/>
                </a:lnTo>
                <a:lnTo>
                  <a:pt x="387" y="52"/>
                </a:lnTo>
                <a:lnTo>
                  <a:pt x="387" y="54"/>
                </a:lnTo>
                <a:lnTo>
                  <a:pt x="389" y="54"/>
                </a:lnTo>
                <a:lnTo>
                  <a:pt x="391" y="56"/>
                </a:lnTo>
                <a:lnTo>
                  <a:pt x="396" y="56"/>
                </a:lnTo>
                <a:lnTo>
                  <a:pt x="398" y="54"/>
                </a:lnTo>
                <a:lnTo>
                  <a:pt x="398" y="52"/>
                </a:lnTo>
                <a:lnTo>
                  <a:pt x="403" y="52"/>
                </a:lnTo>
                <a:lnTo>
                  <a:pt x="405" y="49"/>
                </a:lnTo>
                <a:lnTo>
                  <a:pt x="408" y="49"/>
                </a:lnTo>
                <a:lnTo>
                  <a:pt x="408" y="52"/>
                </a:lnTo>
                <a:lnTo>
                  <a:pt x="410" y="52"/>
                </a:lnTo>
                <a:lnTo>
                  <a:pt x="412" y="52"/>
                </a:lnTo>
                <a:lnTo>
                  <a:pt x="412" y="49"/>
                </a:lnTo>
                <a:lnTo>
                  <a:pt x="412" y="47"/>
                </a:lnTo>
                <a:lnTo>
                  <a:pt x="417" y="35"/>
                </a:lnTo>
                <a:lnTo>
                  <a:pt x="419" y="33"/>
                </a:lnTo>
                <a:lnTo>
                  <a:pt x="422" y="33"/>
                </a:lnTo>
                <a:lnTo>
                  <a:pt x="424" y="33"/>
                </a:lnTo>
                <a:lnTo>
                  <a:pt x="424" y="35"/>
                </a:lnTo>
                <a:lnTo>
                  <a:pt x="426" y="35"/>
                </a:lnTo>
                <a:lnTo>
                  <a:pt x="429" y="35"/>
                </a:lnTo>
                <a:lnTo>
                  <a:pt x="431" y="33"/>
                </a:lnTo>
                <a:lnTo>
                  <a:pt x="436" y="33"/>
                </a:lnTo>
                <a:lnTo>
                  <a:pt x="438" y="33"/>
                </a:lnTo>
                <a:lnTo>
                  <a:pt x="443" y="31"/>
                </a:lnTo>
                <a:lnTo>
                  <a:pt x="443" y="28"/>
                </a:lnTo>
                <a:lnTo>
                  <a:pt x="445" y="28"/>
                </a:lnTo>
                <a:lnTo>
                  <a:pt x="445" y="26"/>
                </a:lnTo>
                <a:lnTo>
                  <a:pt x="445" y="24"/>
                </a:lnTo>
                <a:lnTo>
                  <a:pt x="443" y="21"/>
                </a:lnTo>
                <a:lnTo>
                  <a:pt x="445" y="21"/>
                </a:lnTo>
                <a:lnTo>
                  <a:pt x="445" y="19"/>
                </a:lnTo>
                <a:lnTo>
                  <a:pt x="447" y="19"/>
                </a:lnTo>
                <a:lnTo>
                  <a:pt x="450" y="19"/>
                </a:lnTo>
                <a:lnTo>
                  <a:pt x="454" y="19"/>
                </a:lnTo>
                <a:lnTo>
                  <a:pt x="457" y="19"/>
                </a:lnTo>
                <a:lnTo>
                  <a:pt x="459" y="19"/>
                </a:lnTo>
                <a:lnTo>
                  <a:pt x="459" y="17"/>
                </a:lnTo>
                <a:lnTo>
                  <a:pt x="459" y="12"/>
                </a:lnTo>
                <a:lnTo>
                  <a:pt x="459" y="10"/>
                </a:lnTo>
                <a:lnTo>
                  <a:pt x="461" y="10"/>
                </a:lnTo>
                <a:lnTo>
                  <a:pt x="464" y="12"/>
                </a:lnTo>
                <a:lnTo>
                  <a:pt x="477" y="5"/>
                </a:lnTo>
                <a:lnTo>
                  <a:pt x="480" y="5"/>
                </a:lnTo>
                <a:lnTo>
                  <a:pt x="482" y="7"/>
                </a:lnTo>
                <a:lnTo>
                  <a:pt x="484" y="10"/>
                </a:lnTo>
                <a:lnTo>
                  <a:pt x="487" y="10"/>
                </a:lnTo>
                <a:lnTo>
                  <a:pt x="487" y="14"/>
                </a:lnTo>
                <a:lnTo>
                  <a:pt x="489" y="14"/>
                </a:lnTo>
                <a:lnTo>
                  <a:pt x="489" y="17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8" name="Freeform 25">
            <a:extLst>
              <a:ext uri="{FF2B5EF4-FFF2-40B4-BE49-F238E27FC236}">
                <a16:creationId xmlns:a16="http://schemas.microsoft.com/office/drawing/2014/main" id="{BFC0EBB5-93A4-D2EB-61A0-F7FBCFAC5305}"/>
              </a:ext>
            </a:extLst>
          </p:cNvPr>
          <p:cNvSpPr>
            <a:spLocks noEditPoints="1"/>
          </p:cNvSpPr>
          <p:nvPr/>
        </p:nvSpPr>
        <p:spPr bwMode="auto">
          <a:xfrm>
            <a:off x="3842463" y="4484577"/>
            <a:ext cx="896649" cy="325029"/>
          </a:xfrm>
          <a:custGeom>
            <a:avLst/>
            <a:gdLst>
              <a:gd name="T0" fmla="*/ 761 w 761"/>
              <a:gd name="T1" fmla="*/ 286 h 289"/>
              <a:gd name="T2" fmla="*/ 119 w 761"/>
              <a:gd name="T3" fmla="*/ 5 h 289"/>
              <a:gd name="T4" fmla="*/ 151 w 761"/>
              <a:gd name="T5" fmla="*/ 35 h 289"/>
              <a:gd name="T6" fmla="*/ 142 w 761"/>
              <a:gd name="T7" fmla="*/ 91 h 289"/>
              <a:gd name="T8" fmla="*/ 130 w 761"/>
              <a:gd name="T9" fmla="*/ 116 h 289"/>
              <a:gd name="T10" fmla="*/ 110 w 761"/>
              <a:gd name="T11" fmla="*/ 133 h 289"/>
              <a:gd name="T12" fmla="*/ 105 w 761"/>
              <a:gd name="T13" fmla="*/ 147 h 289"/>
              <a:gd name="T14" fmla="*/ 98 w 761"/>
              <a:gd name="T15" fmla="*/ 149 h 289"/>
              <a:gd name="T16" fmla="*/ 93 w 761"/>
              <a:gd name="T17" fmla="*/ 149 h 289"/>
              <a:gd name="T18" fmla="*/ 98 w 761"/>
              <a:gd name="T19" fmla="*/ 154 h 289"/>
              <a:gd name="T20" fmla="*/ 93 w 761"/>
              <a:gd name="T21" fmla="*/ 163 h 289"/>
              <a:gd name="T22" fmla="*/ 84 w 761"/>
              <a:gd name="T23" fmla="*/ 172 h 289"/>
              <a:gd name="T24" fmla="*/ 75 w 761"/>
              <a:gd name="T25" fmla="*/ 182 h 289"/>
              <a:gd name="T26" fmla="*/ 68 w 761"/>
              <a:gd name="T27" fmla="*/ 184 h 289"/>
              <a:gd name="T28" fmla="*/ 63 w 761"/>
              <a:gd name="T29" fmla="*/ 191 h 289"/>
              <a:gd name="T30" fmla="*/ 58 w 761"/>
              <a:gd name="T31" fmla="*/ 198 h 289"/>
              <a:gd name="T32" fmla="*/ 49 w 761"/>
              <a:gd name="T33" fmla="*/ 205 h 289"/>
              <a:gd name="T34" fmla="*/ 37 w 761"/>
              <a:gd name="T35" fmla="*/ 202 h 289"/>
              <a:gd name="T36" fmla="*/ 28 w 761"/>
              <a:gd name="T37" fmla="*/ 200 h 289"/>
              <a:gd name="T38" fmla="*/ 19 w 761"/>
              <a:gd name="T39" fmla="*/ 198 h 289"/>
              <a:gd name="T40" fmla="*/ 9 w 761"/>
              <a:gd name="T41" fmla="*/ 193 h 289"/>
              <a:gd name="T42" fmla="*/ 7 w 761"/>
              <a:gd name="T43" fmla="*/ 189 h 289"/>
              <a:gd name="T44" fmla="*/ 9 w 761"/>
              <a:gd name="T45" fmla="*/ 179 h 289"/>
              <a:gd name="T46" fmla="*/ 2 w 761"/>
              <a:gd name="T47" fmla="*/ 170 h 289"/>
              <a:gd name="T48" fmla="*/ 5 w 761"/>
              <a:gd name="T49" fmla="*/ 163 h 289"/>
              <a:gd name="T50" fmla="*/ 5 w 761"/>
              <a:gd name="T51" fmla="*/ 161 h 289"/>
              <a:gd name="T52" fmla="*/ 9 w 761"/>
              <a:gd name="T53" fmla="*/ 149 h 289"/>
              <a:gd name="T54" fmla="*/ 9 w 761"/>
              <a:gd name="T55" fmla="*/ 142 h 289"/>
              <a:gd name="T56" fmla="*/ 14 w 761"/>
              <a:gd name="T57" fmla="*/ 135 h 289"/>
              <a:gd name="T58" fmla="*/ 40 w 761"/>
              <a:gd name="T59" fmla="*/ 130 h 289"/>
              <a:gd name="T60" fmla="*/ 47 w 761"/>
              <a:gd name="T61" fmla="*/ 121 h 289"/>
              <a:gd name="T62" fmla="*/ 49 w 761"/>
              <a:gd name="T63" fmla="*/ 114 h 289"/>
              <a:gd name="T64" fmla="*/ 56 w 761"/>
              <a:gd name="T65" fmla="*/ 102 h 289"/>
              <a:gd name="T66" fmla="*/ 63 w 761"/>
              <a:gd name="T67" fmla="*/ 98 h 289"/>
              <a:gd name="T68" fmla="*/ 68 w 761"/>
              <a:gd name="T69" fmla="*/ 88 h 289"/>
              <a:gd name="T70" fmla="*/ 70 w 761"/>
              <a:gd name="T71" fmla="*/ 81 h 289"/>
              <a:gd name="T72" fmla="*/ 65 w 761"/>
              <a:gd name="T73" fmla="*/ 70 h 289"/>
              <a:gd name="T74" fmla="*/ 65 w 761"/>
              <a:gd name="T75" fmla="*/ 60 h 289"/>
              <a:gd name="T76" fmla="*/ 56 w 761"/>
              <a:gd name="T77" fmla="*/ 58 h 289"/>
              <a:gd name="T78" fmla="*/ 58 w 761"/>
              <a:gd name="T79" fmla="*/ 53 h 289"/>
              <a:gd name="T80" fmla="*/ 72 w 761"/>
              <a:gd name="T81" fmla="*/ 53 h 289"/>
              <a:gd name="T82" fmla="*/ 70 w 761"/>
              <a:gd name="T83" fmla="*/ 44 h 289"/>
              <a:gd name="T84" fmla="*/ 72 w 761"/>
              <a:gd name="T85" fmla="*/ 35 h 289"/>
              <a:gd name="T86" fmla="*/ 70 w 761"/>
              <a:gd name="T87" fmla="*/ 26 h 289"/>
              <a:gd name="T88" fmla="*/ 65 w 761"/>
              <a:gd name="T89" fmla="*/ 26 h 289"/>
              <a:gd name="T90" fmla="*/ 70 w 761"/>
              <a:gd name="T91" fmla="*/ 14 h 289"/>
              <a:gd name="T92" fmla="*/ 82 w 761"/>
              <a:gd name="T93" fmla="*/ 12 h 289"/>
              <a:gd name="T94" fmla="*/ 82 w 761"/>
              <a:gd name="T95" fmla="*/ 2 h 289"/>
              <a:gd name="T96" fmla="*/ 89 w 761"/>
              <a:gd name="T97" fmla="*/ 2 h 289"/>
              <a:gd name="T98" fmla="*/ 96 w 761"/>
              <a:gd name="T99" fmla="*/ 2 h 289"/>
              <a:gd name="T100" fmla="*/ 105 w 761"/>
              <a:gd name="T101" fmla="*/ 2 h 289"/>
              <a:gd name="T102" fmla="*/ 110 w 761"/>
              <a:gd name="T103" fmla="*/ 0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61" h="289">
                <a:moveTo>
                  <a:pt x="733" y="286"/>
                </a:moveTo>
                <a:lnTo>
                  <a:pt x="733" y="284"/>
                </a:lnTo>
                <a:lnTo>
                  <a:pt x="736" y="284"/>
                </a:lnTo>
                <a:lnTo>
                  <a:pt x="733" y="286"/>
                </a:lnTo>
                <a:close/>
                <a:moveTo>
                  <a:pt x="761" y="286"/>
                </a:moveTo>
                <a:lnTo>
                  <a:pt x="761" y="289"/>
                </a:lnTo>
                <a:lnTo>
                  <a:pt x="761" y="286"/>
                </a:lnTo>
                <a:close/>
                <a:moveTo>
                  <a:pt x="114" y="5"/>
                </a:moveTo>
                <a:lnTo>
                  <a:pt x="117" y="5"/>
                </a:lnTo>
                <a:lnTo>
                  <a:pt x="119" y="5"/>
                </a:lnTo>
                <a:lnTo>
                  <a:pt x="119" y="7"/>
                </a:lnTo>
                <a:lnTo>
                  <a:pt x="121" y="7"/>
                </a:lnTo>
                <a:lnTo>
                  <a:pt x="124" y="9"/>
                </a:lnTo>
                <a:lnTo>
                  <a:pt x="124" y="12"/>
                </a:lnTo>
                <a:lnTo>
                  <a:pt x="151" y="35"/>
                </a:lnTo>
                <a:lnTo>
                  <a:pt x="147" y="47"/>
                </a:lnTo>
                <a:lnTo>
                  <a:pt x="144" y="56"/>
                </a:lnTo>
                <a:lnTo>
                  <a:pt x="142" y="70"/>
                </a:lnTo>
                <a:lnTo>
                  <a:pt x="142" y="81"/>
                </a:lnTo>
                <a:lnTo>
                  <a:pt x="142" y="91"/>
                </a:lnTo>
                <a:lnTo>
                  <a:pt x="142" y="100"/>
                </a:lnTo>
                <a:lnTo>
                  <a:pt x="140" y="102"/>
                </a:lnTo>
                <a:lnTo>
                  <a:pt x="135" y="114"/>
                </a:lnTo>
                <a:lnTo>
                  <a:pt x="133" y="116"/>
                </a:lnTo>
                <a:lnTo>
                  <a:pt x="130" y="116"/>
                </a:lnTo>
                <a:lnTo>
                  <a:pt x="124" y="119"/>
                </a:lnTo>
                <a:lnTo>
                  <a:pt x="119" y="121"/>
                </a:lnTo>
                <a:lnTo>
                  <a:pt x="114" y="130"/>
                </a:lnTo>
                <a:lnTo>
                  <a:pt x="112" y="130"/>
                </a:lnTo>
                <a:lnTo>
                  <a:pt x="110" y="133"/>
                </a:lnTo>
                <a:lnTo>
                  <a:pt x="110" y="137"/>
                </a:lnTo>
                <a:lnTo>
                  <a:pt x="107" y="137"/>
                </a:lnTo>
                <a:lnTo>
                  <a:pt x="107" y="140"/>
                </a:lnTo>
                <a:lnTo>
                  <a:pt x="107" y="142"/>
                </a:lnTo>
                <a:lnTo>
                  <a:pt x="105" y="147"/>
                </a:lnTo>
                <a:lnTo>
                  <a:pt x="105" y="149"/>
                </a:lnTo>
                <a:lnTo>
                  <a:pt x="103" y="151"/>
                </a:lnTo>
                <a:lnTo>
                  <a:pt x="100" y="151"/>
                </a:lnTo>
                <a:lnTo>
                  <a:pt x="98" y="151"/>
                </a:lnTo>
                <a:lnTo>
                  <a:pt x="98" y="149"/>
                </a:lnTo>
                <a:lnTo>
                  <a:pt x="96" y="149"/>
                </a:lnTo>
                <a:lnTo>
                  <a:pt x="93" y="149"/>
                </a:lnTo>
                <a:lnTo>
                  <a:pt x="96" y="149"/>
                </a:lnTo>
                <a:lnTo>
                  <a:pt x="96" y="151"/>
                </a:lnTo>
                <a:lnTo>
                  <a:pt x="93" y="149"/>
                </a:lnTo>
                <a:lnTo>
                  <a:pt x="93" y="151"/>
                </a:lnTo>
                <a:lnTo>
                  <a:pt x="93" y="154"/>
                </a:lnTo>
                <a:lnTo>
                  <a:pt x="96" y="154"/>
                </a:lnTo>
                <a:lnTo>
                  <a:pt x="96" y="156"/>
                </a:lnTo>
                <a:lnTo>
                  <a:pt x="98" y="154"/>
                </a:lnTo>
                <a:lnTo>
                  <a:pt x="100" y="154"/>
                </a:lnTo>
                <a:lnTo>
                  <a:pt x="98" y="156"/>
                </a:lnTo>
                <a:lnTo>
                  <a:pt x="98" y="158"/>
                </a:lnTo>
                <a:lnTo>
                  <a:pt x="96" y="161"/>
                </a:lnTo>
                <a:lnTo>
                  <a:pt x="93" y="163"/>
                </a:lnTo>
                <a:lnTo>
                  <a:pt x="93" y="165"/>
                </a:lnTo>
                <a:lnTo>
                  <a:pt x="89" y="168"/>
                </a:lnTo>
                <a:lnTo>
                  <a:pt x="89" y="172"/>
                </a:lnTo>
                <a:lnTo>
                  <a:pt x="86" y="172"/>
                </a:lnTo>
                <a:lnTo>
                  <a:pt x="84" y="172"/>
                </a:lnTo>
                <a:lnTo>
                  <a:pt x="82" y="177"/>
                </a:lnTo>
                <a:lnTo>
                  <a:pt x="79" y="177"/>
                </a:lnTo>
                <a:lnTo>
                  <a:pt x="79" y="179"/>
                </a:lnTo>
                <a:lnTo>
                  <a:pt x="77" y="182"/>
                </a:lnTo>
                <a:lnTo>
                  <a:pt x="75" y="182"/>
                </a:lnTo>
                <a:lnTo>
                  <a:pt x="75" y="184"/>
                </a:lnTo>
                <a:lnTo>
                  <a:pt x="72" y="184"/>
                </a:lnTo>
                <a:lnTo>
                  <a:pt x="72" y="182"/>
                </a:lnTo>
                <a:lnTo>
                  <a:pt x="70" y="184"/>
                </a:lnTo>
                <a:lnTo>
                  <a:pt x="68" y="184"/>
                </a:lnTo>
                <a:lnTo>
                  <a:pt x="65" y="184"/>
                </a:lnTo>
                <a:lnTo>
                  <a:pt x="65" y="186"/>
                </a:lnTo>
                <a:lnTo>
                  <a:pt x="63" y="186"/>
                </a:lnTo>
                <a:lnTo>
                  <a:pt x="63" y="189"/>
                </a:lnTo>
                <a:lnTo>
                  <a:pt x="63" y="191"/>
                </a:lnTo>
                <a:lnTo>
                  <a:pt x="63" y="193"/>
                </a:lnTo>
                <a:lnTo>
                  <a:pt x="61" y="193"/>
                </a:lnTo>
                <a:lnTo>
                  <a:pt x="61" y="195"/>
                </a:lnTo>
                <a:lnTo>
                  <a:pt x="58" y="195"/>
                </a:lnTo>
                <a:lnTo>
                  <a:pt x="58" y="198"/>
                </a:lnTo>
                <a:lnTo>
                  <a:pt x="54" y="202"/>
                </a:lnTo>
                <a:lnTo>
                  <a:pt x="51" y="205"/>
                </a:lnTo>
                <a:lnTo>
                  <a:pt x="51" y="207"/>
                </a:lnTo>
                <a:lnTo>
                  <a:pt x="49" y="207"/>
                </a:lnTo>
                <a:lnTo>
                  <a:pt x="49" y="205"/>
                </a:lnTo>
                <a:lnTo>
                  <a:pt x="47" y="205"/>
                </a:lnTo>
                <a:lnTo>
                  <a:pt x="44" y="205"/>
                </a:lnTo>
                <a:lnTo>
                  <a:pt x="44" y="202"/>
                </a:lnTo>
                <a:lnTo>
                  <a:pt x="42" y="202"/>
                </a:lnTo>
                <a:lnTo>
                  <a:pt x="37" y="202"/>
                </a:lnTo>
                <a:lnTo>
                  <a:pt x="35" y="202"/>
                </a:lnTo>
                <a:lnTo>
                  <a:pt x="33" y="202"/>
                </a:lnTo>
                <a:lnTo>
                  <a:pt x="30" y="202"/>
                </a:lnTo>
                <a:lnTo>
                  <a:pt x="30" y="200"/>
                </a:lnTo>
                <a:lnTo>
                  <a:pt x="28" y="200"/>
                </a:lnTo>
                <a:lnTo>
                  <a:pt x="26" y="200"/>
                </a:lnTo>
                <a:lnTo>
                  <a:pt x="23" y="200"/>
                </a:lnTo>
                <a:lnTo>
                  <a:pt x="21" y="200"/>
                </a:lnTo>
                <a:lnTo>
                  <a:pt x="21" y="198"/>
                </a:lnTo>
                <a:lnTo>
                  <a:pt x="19" y="198"/>
                </a:lnTo>
                <a:lnTo>
                  <a:pt x="16" y="198"/>
                </a:lnTo>
                <a:lnTo>
                  <a:pt x="16" y="195"/>
                </a:lnTo>
                <a:lnTo>
                  <a:pt x="14" y="195"/>
                </a:lnTo>
                <a:lnTo>
                  <a:pt x="12" y="193"/>
                </a:lnTo>
                <a:lnTo>
                  <a:pt x="9" y="193"/>
                </a:lnTo>
                <a:lnTo>
                  <a:pt x="9" y="191"/>
                </a:lnTo>
                <a:lnTo>
                  <a:pt x="9" y="193"/>
                </a:lnTo>
                <a:lnTo>
                  <a:pt x="7" y="193"/>
                </a:lnTo>
                <a:lnTo>
                  <a:pt x="7" y="191"/>
                </a:lnTo>
                <a:lnTo>
                  <a:pt x="7" y="189"/>
                </a:lnTo>
                <a:lnTo>
                  <a:pt x="7" y="186"/>
                </a:lnTo>
                <a:lnTo>
                  <a:pt x="9" y="186"/>
                </a:lnTo>
                <a:lnTo>
                  <a:pt x="9" y="184"/>
                </a:lnTo>
                <a:lnTo>
                  <a:pt x="9" y="182"/>
                </a:lnTo>
                <a:lnTo>
                  <a:pt x="9" y="179"/>
                </a:lnTo>
                <a:lnTo>
                  <a:pt x="9" y="177"/>
                </a:lnTo>
                <a:lnTo>
                  <a:pt x="9" y="175"/>
                </a:lnTo>
                <a:lnTo>
                  <a:pt x="7" y="172"/>
                </a:lnTo>
                <a:lnTo>
                  <a:pt x="5" y="172"/>
                </a:lnTo>
                <a:lnTo>
                  <a:pt x="2" y="170"/>
                </a:lnTo>
                <a:lnTo>
                  <a:pt x="0" y="170"/>
                </a:lnTo>
                <a:lnTo>
                  <a:pt x="0" y="168"/>
                </a:lnTo>
                <a:lnTo>
                  <a:pt x="2" y="168"/>
                </a:lnTo>
                <a:lnTo>
                  <a:pt x="5" y="165"/>
                </a:lnTo>
                <a:lnTo>
                  <a:pt x="5" y="163"/>
                </a:lnTo>
                <a:lnTo>
                  <a:pt x="7" y="163"/>
                </a:lnTo>
                <a:lnTo>
                  <a:pt x="7" y="161"/>
                </a:lnTo>
                <a:lnTo>
                  <a:pt x="5" y="161"/>
                </a:lnTo>
                <a:lnTo>
                  <a:pt x="2" y="161"/>
                </a:lnTo>
                <a:lnTo>
                  <a:pt x="5" y="161"/>
                </a:lnTo>
                <a:lnTo>
                  <a:pt x="5" y="158"/>
                </a:lnTo>
                <a:lnTo>
                  <a:pt x="7" y="156"/>
                </a:lnTo>
                <a:lnTo>
                  <a:pt x="7" y="154"/>
                </a:lnTo>
                <a:lnTo>
                  <a:pt x="7" y="151"/>
                </a:lnTo>
                <a:lnTo>
                  <a:pt x="9" y="149"/>
                </a:lnTo>
                <a:lnTo>
                  <a:pt x="7" y="147"/>
                </a:lnTo>
                <a:lnTo>
                  <a:pt x="5" y="144"/>
                </a:lnTo>
                <a:lnTo>
                  <a:pt x="7" y="144"/>
                </a:lnTo>
                <a:lnTo>
                  <a:pt x="7" y="142"/>
                </a:lnTo>
                <a:lnTo>
                  <a:pt x="9" y="142"/>
                </a:lnTo>
                <a:lnTo>
                  <a:pt x="9" y="140"/>
                </a:lnTo>
                <a:lnTo>
                  <a:pt x="12" y="140"/>
                </a:lnTo>
                <a:lnTo>
                  <a:pt x="12" y="137"/>
                </a:lnTo>
                <a:lnTo>
                  <a:pt x="14" y="137"/>
                </a:lnTo>
                <a:lnTo>
                  <a:pt x="14" y="135"/>
                </a:lnTo>
                <a:lnTo>
                  <a:pt x="33" y="137"/>
                </a:lnTo>
                <a:lnTo>
                  <a:pt x="35" y="137"/>
                </a:lnTo>
                <a:lnTo>
                  <a:pt x="37" y="135"/>
                </a:lnTo>
                <a:lnTo>
                  <a:pt x="37" y="133"/>
                </a:lnTo>
                <a:lnTo>
                  <a:pt x="40" y="130"/>
                </a:lnTo>
                <a:lnTo>
                  <a:pt x="40" y="126"/>
                </a:lnTo>
                <a:lnTo>
                  <a:pt x="42" y="123"/>
                </a:lnTo>
                <a:lnTo>
                  <a:pt x="42" y="121"/>
                </a:lnTo>
                <a:lnTo>
                  <a:pt x="44" y="121"/>
                </a:lnTo>
                <a:lnTo>
                  <a:pt x="47" y="121"/>
                </a:lnTo>
                <a:lnTo>
                  <a:pt x="47" y="119"/>
                </a:lnTo>
                <a:lnTo>
                  <a:pt x="49" y="119"/>
                </a:lnTo>
                <a:lnTo>
                  <a:pt x="49" y="114"/>
                </a:lnTo>
                <a:lnTo>
                  <a:pt x="51" y="114"/>
                </a:lnTo>
                <a:lnTo>
                  <a:pt x="49" y="114"/>
                </a:lnTo>
                <a:lnTo>
                  <a:pt x="51" y="107"/>
                </a:lnTo>
                <a:lnTo>
                  <a:pt x="54" y="107"/>
                </a:lnTo>
                <a:lnTo>
                  <a:pt x="54" y="105"/>
                </a:lnTo>
                <a:lnTo>
                  <a:pt x="56" y="105"/>
                </a:lnTo>
                <a:lnTo>
                  <a:pt x="56" y="102"/>
                </a:lnTo>
                <a:lnTo>
                  <a:pt x="58" y="102"/>
                </a:lnTo>
                <a:lnTo>
                  <a:pt x="61" y="100"/>
                </a:lnTo>
                <a:lnTo>
                  <a:pt x="61" y="98"/>
                </a:lnTo>
                <a:lnTo>
                  <a:pt x="61" y="95"/>
                </a:lnTo>
                <a:lnTo>
                  <a:pt x="63" y="98"/>
                </a:lnTo>
                <a:lnTo>
                  <a:pt x="65" y="98"/>
                </a:lnTo>
                <a:lnTo>
                  <a:pt x="65" y="95"/>
                </a:lnTo>
                <a:lnTo>
                  <a:pt x="65" y="93"/>
                </a:lnTo>
                <a:lnTo>
                  <a:pt x="68" y="93"/>
                </a:lnTo>
                <a:lnTo>
                  <a:pt x="68" y="88"/>
                </a:lnTo>
                <a:lnTo>
                  <a:pt x="70" y="86"/>
                </a:lnTo>
                <a:lnTo>
                  <a:pt x="70" y="84"/>
                </a:lnTo>
                <a:lnTo>
                  <a:pt x="68" y="84"/>
                </a:lnTo>
                <a:lnTo>
                  <a:pt x="68" y="81"/>
                </a:lnTo>
                <a:lnTo>
                  <a:pt x="70" y="81"/>
                </a:lnTo>
                <a:lnTo>
                  <a:pt x="70" y="79"/>
                </a:lnTo>
                <a:lnTo>
                  <a:pt x="70" y="77"/>
                </a:lnTo>
                <a:lnTo>
                  <a:pt x="70" y="74"/>
                </a:lnTo>
                <a:lnTo>
                  <a:pt x="68" y="72"/>
                </a:lnTo>
                <a:lnTo>
                  <a:pt x="65" y="70"/>
                </a:lnTo>
                <a:lnTo>
                  <a:pt x="63" y="67"/>
                </a:lnTo>
                <a:lnTo>
                  <a:pt x="65" y="67"/>
                </a:lnTo>
                <a:lnTo>
                  <a:pt x="65" y="65"/>
                </a:lnTo>
                <a:lnTo>
                  <a:pt x="65" y="63"/>
                </a:lnTo>
                <a:lnTo>
                  <a:pt x="65" y="60"/>
                </a:lnTo>
                <a:lnTo>
                  <a:pt x="63" y="60"/>
                </a:lnTo>
                <a:lnTo>
                  <a:pt x="63" y="58"/>
                </a:lnTo>
                <a:lnTo>
                  <a:pt x="61" y="58"/>
                </a:lnTo>
                <a:lnTo>
                  <a:pt x="58" y="58"/>
                </a:lnTo>
                <a:lnTo>
                  <a:pt x="56" y="58"/>
                </a:lnTo>
                <a:lnTo>
                  <a:pt x="56" y="56"/>
                </a:lnTo>
                <a:lnTo>
                  <a:pt x="54" y="56"/>
                </a:lnTo>
                <a:lnTo>
                  <a:pt x="54" y="53"/>
                </a:lnTo>
                <a:lnTo>
                  <a:pt x="56" y="53"/>
                </a:lnTo>
                <a:lnTo>
                  <a:pt x="58" y="53"/>
                </a:lnTo>
                <a:lnTo>
                  <a:pt x="61" y="53"/>
                </a:lnTo>
                <a:lnTo>
                  <a:pt x="63" y="53"/>
                </a:lnTo>
                <a:lnTo>
                  <a:pt x="70" y="56"/>
                </a:lnTo>
                <a:lnTo>
                  <a:pt x="72" y="56"/>
                </a:lnTo>
                <a:lnTo>
                  <a:pt x="72" y="53"/>
                </a:lnTo>
                <a:lnTo>
                  <a:pt x="75" y="53"/>
                </a:lnTo>
                <a:lnTo>
                  <a:pt x="75" y="51"/>
                </a:lnTo>
                <a:lnTo>
                  <a:pt x="75" y="47"/>
                </a:lnTo>
                <a:lnTo>
                  <a:pt x="72" y="47"/>
                </a:lnTo>
                <a:lnTo>
                  <a:pt x="70" y="44"/>
                </a:lnTo>
                <a:lnTo>
                  <a:pt x="68" y="44"/>
                </a:lnTo>
                <a:lnTo>
                  <a:pt x="70" y="44"/>
                </a:lnTo>
                <a:lnTo>
                  <a:pt x="70" y="40"/>
                </a:lnTo>
                <a:lnTo>
                  <a:pt x="70" y="37"/>
                </a:lnTo>
                <a:lnTo>
                  <a:pt x="72" y="35"/>
                </a:lnTo>
                <a:lnTo>
                  <a:pt x="72" y="33"/>
                </a:lnTo>
                <a:lnTo>
                  <a:pt x="72" y="30"/>
                </a:lnTo>
                <a:lnTo>
                  <a:pt x="72" y="28"/>
                </a:lnTo>
                <a:lnTo>
                  <a:pt x="70" y="28"/>
                </a:lnTo>
                <a:lnTo>
                  <a:pt x="70" y="26"/>
                </a:lnTo>
                <a:lnTo>
                  <a:pt x="68" y="26"/>
                </a:lnTo>
                <a:lnTo>
                  <a:pt x="65" y="26"/>
                </a:lnTo>
                <a:lnTo>
                  <a:pt x="65" y="28"/>
                </a:lnTo>
                <a:lnTo>
                  <a:pt x="63" y="26"/>
                </a:lnTo>
                <a:lnTo>
                  <a:pt x="65" y="26"/>
                </a:lnTo>
                <a:lnTo>
                  <a:pt x="65" y="23"/>
                </a:lnTo>
                <a:lnTo>
                  <a:pt x="65" y="21"/>
                </a:lnTo>
                <a:lnTo>
                  <a:pt x="68" y="19"/>
                </a:lnTo>
                <a:lnTo>
                  <a:pt x="70" y="16"/>
                </a:lnTo>
                <a:lnTo>
                  <a:pt x="70" y="14"/>
                </a:lnTo>
                <a:lnTo>
                  <a:pt x="72" y="14"/>
                </a:lnTo>
                <a:lnTo>
                  <a:pt x="75" y="14"/>
                </a:lnTo>
                <a:lnTo>
                  <a:pt x="77" y="12"/>
                </a:lnTo>
                <a:lnTo>
                  <a:pt x="79" y="12"/>
                </a:lnTo>
                <a:lnTo>
                  <a:pt x="82" y="12"/>
                </a:lnTo>
                <a:lnTo>
                  <a:pt x="84" y="14"/>
                </a:lnTo>
                <a:lnTo>
                  <a:pt x="86" y="14"/>
                </a:lnTo>
                <a:lnTo>
                  <a:pt x="89" y="14"/>
                </a:lnTo>
                <a:lnTo>
                  <a:pt x="89" y="12"/>
                </a:lnTo>
                <a:lnTo>
                  <a:pt x="82" y="2"/>
                </a:lnTo>
                <a:lnTo>
                  <a:pt x="82" y="0"/>
                </a:lnTo>
                <a:lnTo>
                  <a:pt x="82" y="2"/>
                </a:lnTo>
                <a:lnTo>
                  <a:pt x="84" y="2"/>
                </a:lnTo>
                <a:lnTo>
                  <a:pt x="86" y="2"/>
                </a:lnTo>
                <a:lnTo>
                  <a:pt x="89" y="2"/>
                </a:lnTo>
                <a:lnTo>
                  <a:pt x="89" y="5"/>
                </a:lnTo>
                <a:lnTo>
                  <a:pt x="89" y="2"/>
                </a:lnTo>
                <a:lnTo>
                  <a:pt x="91" y="2"/>
                </a:lnTo>
                <a:lnTo>
                  <a:pt x="93" y="2"/>
                </a:lnTo>
                <a:lnTo>
                  <a:pt x="96" y="2"/>
                </a:lnTo>
                <a:lnTo>
                  <a:pt x="96" y="5"/>
                </a:lnTo>
                <a:lnTo>
                  <a:pt x="98" y="2"/>
                </a:lnTo>
                <a:lnTo>
                  <a:pt x="100" y="2"/>
                </a:lnTo>
                <a:lnTo>
                  <a:pt x="103" y="2"/>
                </a:lnTo>
                <a:lnTo>
                  <a:pt x="105" y="2"/>
                </a:lnTo>
                <a:lnTo>
                  <a:pt x="107" y="2"/>
                </a:lnTo>
                <a:lnTo>
                  <a:pt x="107" y="5"/>
                </a:lnTo>
                <a:lnTo>
                  <a:pt x="110" y="5"/>
                </a:lnTo>
                <a:lnTo>
                  <a:pt x="110" y="2"/>
                </a:lnTo>
                <a:lnTo>
                  <a:pt x="110" y="0"/>
                </a:lnTo>
                <a:lnTo>
                  <a:pt x="112" y="0"/>
                </a:lnTo>
                <a:lnTo>
                  <a:pt x="112" y="2"/>
                </a:lnTo>
                <a:lnTo>
                  <a:pt x="114" y="2"/>
                </a:lnTo>
                <a:lnTo>
                  <a:pt x="114" y="5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9" name="Freeform 26">
            <a:extLst>
              <a:ext uri="{FF2B5EF4-FFF2-40B4-BE49-F238E27FC236}">
                <a16:creationId xmlns:a16="http://schemas.microsoft.com/office/drawing/2014/main" id="{9C64D31E-8D44-3DD8-B938-A855BFC5D13A}"/>
              </a:ext>
            </a:extLst>
          </p:cNvPr>
          <p:cNvSpPr>
            <a:spLocks/>
          </p:cNvSpPr>
          <p:nvPr/>
        </p:nvSpPr>
        <p:spPr bwMode="auto">
          <a:xfrm>
            <a:off x="4210078" y="3672566"/>
            <a:ext cx="301633" cy="167576"/>
          </a:xfrm>
          <a:custGeom>
            <a:avLst/>
            <a:gdLst>
              <a:gd name="T0" fmla="*/ 251 w 256"/>
              <a:gd name="T1" fmla="*/ 68 h 149"/>
              <a:gd name="T2" fmla="*/ 256 w 256"/>
              <a:gd name="T3" fmla="*/ 84 h 149"/>
              <a:gd name="T4" fmla="*/ 251 w 256"/>
              <a:gd name="T5" fmla="*/ 96 h 149"/>
              <a:gd name="T6" fmla="*/ 256 w 256"/>
              <a:gd name="T7" fmla="*/ 91 h 149"/>
              <a:gd name="T8" fmla="*/ 254 w 256"/>
              <a:gd name="T9" fmla="*/ 114 h 149"/>
              <a:gd name="T10" fmla="*/ 244 w 256"/>
              <a:gd name="T11" fmla="*/ 124 h 149"/>
              <a:gd name="T12" fmla="*/ 230 w 256"/>
              <a:gd name="T13" fmla="*/ 112 h 149"/>
              <a:gd name="T14" fmla="*/ 214 w 256"/>
              <a:gd name="T15" fmla="*/ 114 h 149"/>
              <a:gd name="T16" fmla="*/ 198 w 256"/>
              <a:gd name="T17" fmla="*/ 124 h 149"/>
              <a:gd name="T18" fmla="*/ 182 w 256"/>
              <a:gd name="T19" fmla="*/ 126 h 149"/>
              <a:gd name="T20" fmla="*/ 177 w 256"/>
              <a:gd name="T21" fmla="*/ 133 h 149"/>
              <a:gd name="T22" fmla="*/ 165 w 256"/>
              <a:gd name="T23" fmla="*/ 126 h 149"/>
              <a:gd name="T24" fmla="*/ 151 w 256"/>
              <a:gd name="T25" fmla="*/ 126 h 149"/>
              <a:gd name="T26" fmla="*/ 142 w 256"/>
              <a:gd name="T27" fmla="*/ 131 h 149"/>
              <a:gd name="T28" fmla="*/ 133 w 256"/>
              <a:gd name="T29" fmla="*/ 133 h 149"/>
              <a:gd name="T30" fmla="*/ 128 w 256"/>
              <a:gd name="T31" fmla="*/ 142 h 149"/>
              <a:gd name="T32" fmla="*/ 112 w 256"/>
              <a:gd name="T33" fmla="*/ 147 h 149"/>
              <a:gd name="T34" fmla="*/ 98 w 256"/>
              <a:gd name="T35" fmla="*/ 140 h 149"/>
              <a:gd name="T36" fmla="*/ 98 w 256"/>
              <a:gd name="T37" fmla="*/ 128 h 149"/>
              <a:gd name="T38" fmla="*/ 84 w 256"/>
              <a:gd name="T39" fmla="*/ 128 h 149"/>
              <a:gd name="T40" fmla="*/ 95 w 256"/>
              <a:gd name="T41" fmla="*/ 117 h 149"/>
              <a:gd name="T42" fmla="*/ 98 w 256"/>
              <a:gd name="T43" fmla="*/ 103 h 149"/>
              <a:gd name="T44" fmla="*/ 112 w 256"/>
              <a:gd name="T45" fmla="*/ 96 h 149"/>
              <a:gd name="T46" fmla="*/ 100 w 256"/>
              <a:gd name="T47" fmla="*/ 82 h 149"/>
              <a:gd name="T48" fmla="*/ 86 w 256"/>
              <a:gd name="T49" fmla="*/ 86 h 149"/>
              <a:gd name="T50" fmla="*/ 65 w 256"/>
              <a:gd name="T51" fmla="*/ 93 h 149"/>
              <a:gd name="T52" fmla="*/ 47 w 256"/>
              <a:gd name="T53" fmla="*/ 105 h 149"/>
              <a:gd name="T54" fmla="*/ 37 w 256"/>
              <a:gd name="T55" fmla="*/ 107 h 149"/>
              <a:gd name="T56" fmla="*/ 30 w 256"/>
              <a:gd name="T57" fmla="*/ 107 h 149"/>
              <a:gd name="T58" fmla="*/ 26 w 256"/>
              <a:gd name="T59" fmla="*/ 100 h 149"/>
              <a:gd name="T60" fmla="*/ 16 w 256"/>
              <a:gd name="T61" fmla="*/ 100 h 149"/>
              <a:gd name="T62" fmla="*/ 7 w 256"/>
              <a:gd name="T63" fmla="*/ 93 h 149"/>
              <a:gd name="T64" fmla="*/ 2 w 256"/>
              <a:gd name="T65" fmla="*/ 86 h 149"/>
              <a:gd name="T66" fmla="*/ 12 w 256"/>
              <a:gd name="T67" fmla="*/ 77 h 149"/>
              <a:gd name="T68" fmla="*/ 12 w 256"/>
              <a:gd name="T69" fmla="*/ 65 h 149"/>
              <a:gd name="T70" fmla="*/ 9 w 256"/>
              <a:gd name="T71" fmla="*/ 54 h 149"/>
              <a:gd name="T72" fmla="*/ 7 w 256"/>
              <a:gd name="T73" fmla="*/ 42 h 149"/>
              <a:gd name="T74" fmla="*/ 14 w 256"/>
              <a:gd name="T75" fmla="*/ 31 h 149"/>
              <a:gd name="T76" fmla="*/ 28 w 256"/>
              <a:gd name="T77" fmla="*/ 10 h 149"/>
              <a:gd name="T78" fmla="*/ 42 w 256"/>
              <a:gd name="T79" fmla="*/ 19 h 149"/>
              <a:gd name="T80" fmla="*/ 61 w 256"/>
              <a:gd name="T81" fmla="*/ 19 h 149"/>
              <a:gd name="T82" fmla="*/ 74 w 256"/>
              <a:gd name="T83" fmla="*/ 7 h 149"/>
              <a:gd name="T84" fmla="*/ 93 w 256"/>
              <a:gd name="T85" fmla="*/ 3 h 149"/>
              <a:gd name="T86" fmla="*/ 109 w 256"/>
              <a:gd name="T87" fmla="*/ 0 h 149"/>
              <a:gd name="T88" fmla="*/ 112 w 256"/>
              <a:gd name="T89" fmla="*/ 10 h 149"/>
              <a:gd name="T90" fmla="*/ 93 w 256"/>
              <a:gd name="T91" fmla="*/ 31 h 149"/>
              <a:gd name="T92" fmla="*/ 93 w 256"/>
              <a:gd name="T93" fmla="*/ 42 h 149"/>
              <a:gd name="T94" fmla="*/ 105 w 256"/>
              <a:gd name="T95" fmla="*/ 52 h 149"/>
              <a:gd name="T96" fmla="*/ 121 w 256"/>
              <a:gd name="T97" fmla="*/ 49 h 149"/>
              <a:gd name="T98" fmla="*/ 135 w 256"/>
              <a:gd name="T99" fmla="*/ 58 h 149"/>
              <a:gd name="T100" fmla="*/ 147 w 256"/>
              <a:gd name="T101" fmla="*/ 65 h 149"/>
              <a:gd name="T102" fmla="*/ 149 w 256"/>
              <a:gd name="T103" fmla="*/ 52 h 149"/>
              <a:gd name="T104" fmla="*/ 154 w 256"/>
              <a:gd name="T105" fmla="*/ 40 h 149"/>
              <a:gd name="T106" fmla="*/ 163 w 256"/>
              <a:gd name="T107" fmla="*/ 28 h 149"/>
              <a:gd name="T108" fmla="*/ 172 w 256"/>
              <a:gd name="T109" fmla="*/ 35 h 149"/>
              <a:gd name="T110" fmla="*/ 200 w 256"/>
              <a:gd name="T111" fmla="*/ 45 h 149"/>
              <a:gd name="T112" fmla="*/ 221 w 256"/>
              <a:gd name="T113" fmla="*/ 49 h 149"/>
              <a:gd name="T114" fmla="*/ 244 w 256"/>
              <a:gd name="T115" fmla="*/ 56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56" h="149">
                <a:moveTo>
                  <a:pt x="254" y="56"/>
                </a:moveTo>
                <a:lnTo>
                  <a:pt x="254" y="58"/>
                </a:lnTo>
                <a:lnTo>
                  <a:pt x="254" y="61"/>
                </a:lnTo>
                <a:lnTo>
                  <a:pt x="251" y="63"/>
                </a:lnTo>
                <a:lnTo>
                  <a:pt x="251" y="65"/>
                </a:lnTo>
                <a:lnTo>
                  <a:pt x="254" y="65"/>
                </a:lnTo>
                <a:lnTo>
                  <a:pt x="251" y="68"/>
                </a:lnTo>
                <a:lnTo>
                  <a:pt x="254" y="68"/>
                </a:lnTo>
                <a:lnTo>
                  <a:pt x="254" y="70"/>
                </a:lnTo>
                <a:lnTo>
                  <a:pt x="254" y="72"/>
                </a:lnTo>
                <a:lnTo>
                  <a:pt x="251" y="75"/>
                </a:lnTo>
                <a:lnTo>
                  <a:pt x="254" y="79"/>
                </a:lnTo>
                <a:lnTo>
                  <a:pt x="254" y="82"/>
                </a:lnTo>
                <a:lnTo>
                  <a:pt x="256" y="84"/>
                </a:lnTo>
                <a:lnTo>
                  <a:pt x="256" y="86"/>
                </a:lnTo>
                <a:lnTo>
                  <a:pt x="254" y="89"/>
                </a:lnTo>
                <a:lnTo>
                  <a:pt x="254" y="91"/>
                </a:lnTo>
                <a:lnTo>
                  <a:pt x="254" y="93"/>
                </a:lnTo>
                <a:lnTo>
                  <a:pt x="251" y="96"/>
                </a:lnTo>
                <a:lnTo>
                  <a:pt x="249" y="93"/>
                </a:lnTo>
                <a:lnTo>
                  <a:pt x="251" y="96"/>
                </a:lnTo>
                <a:lnTo>
                  <a:pt x="249" y="98"/>
                </a:lnTo>
                <a:lnTo>
                  <a:pt x="251" y="98"/>
                </a:lnTo>
                <a:lnTo>
                  <a:pt x="254" y="96"/>
                </a:lnTo>
                <a:lnTo>
                  <a:pt x="254" y="93"/>
                </a:lnTo>
                <a:lnTo>
                  <a:pt x="256" y="91"/>
                </a:lnTo>
                <a:lnTo>
                  <a:pt x="256" y="89"/>
                </a:lnTo>
                <a:lnTo>
                  <a:pt x="256" y="91"/>
                </a:lnTo>
                <a:lnTo>
                  <a:pt x="256" y="93"/>
                </a:lnTo>
                <a:lnTo>
                  <a:pt x="256" y="96"/>
                </a:lnTo>
                <a:lnTo>
                  <a:pt x="256" y="98"/>
                </a:lnTo>
                <a:lnTo>
                  <a:pt x="256" y="100"/>
                </a:lnTo>
                <a:lnTo>
                  <a:pt x="256" y="103"/>
                </a:lnTo>
                <a:lnTo>
                  <a:pt x="256" y="105"/>
                </a:lnTo>
                <a:lnTo>
                  <a:pt x="254" y="114"/>
                </a:lnTo>
                <a:lnTo>
                  <a:pt x="254" y="119"/>
                </a:lnTo>
                <a:lnTo>
                  <a:pt x="251" y="121"/>
                </a:lnTo>
                <a:lnTo>
                  <a:pt x="251" y="124"/>
                </a:lnTo>
                <a:lnTo>
                  <a:pt x="251" y="126"/>
                </a:lnTo>
                <a:lnTo>
                  <a:pt x="249" y="126"/>
                </a:lnTo>
                <a:lnTo>
                  <a:pt x="247" y="124"/>
                </a:lnTo>
                <a:lnTo>
                  <a:pt x="244" y="124"/>
                </a:lnTo>
                <a:lnTo>
                  <a:pt x="242" y="121"/>
                </a:lnTo>
                <a:lnTo>
                  <a:pt x="240" y="121"/>
                </a:lnTo>
                <a:lnTo>
                  <a:pt x="240" y="119"/>
                </a:lnTo>
                <a:lnTo>
                  <a:pt x="237" y="114"/>
                </a:lnTo>
                <a:lnTo>
                  <a:pt x="235" y="112"/>
                </a:lnTo>
                <a:lnTo>
                  <a:pt x="233" y="112"/>
                </a:lnTo>
                <a:lnTo>
                  <a:pt x="230" y="112"/>
                </a:lnTo>
                <a:lnTo>
                  <a:pt x="226" y="110"/>
                </a:lnTo>
                <a:lnTo>
                  <a:pt x="223" y="110"/>
                </a:lnTo>
                <a:lnTo>
                  <a:pt x="221" y="110"/>
                </a:lnTo>
                <a:lnTo>
                  <a:pt x="219" y="112"/>
                </a:lnTo>
                <a:lnTo>
                  <a:pt x="216" y="112"/>
                </a:lnTo>
                <a:lnTo>
                  <a:pt x="216" y="114"/>
                </a:lnTo>
                <a:lnTo>
                  <a:pt x="214" y="114"/>
                </a:lnTo>
                <a:lnTo>
                  <a:pt x="214" y="112"/>
                </a:lnTo>
                <a:lnTo>
                  <a:pt x="209" y="112"/>
                </a:lnTo>
                <a:lnTo>
                  <a:pt x="207" y="112"/>
                </a:lnTo>
                <a:lnTo>
                  <a:pt x="207" y="114"/>
                </a:lnTo>
                <a:lnTo>
                  <a:pt x="207" y="117"/>
                </a:lnTo>
                <a:lnTo>
                  <a:pt x="202" y="124"/>
                </a:lnTo>
                <a:lnTo>
                  <a:pt x="198" y="124"/>
                </a:lnTo>
                <a:lnTo>
                  <a:pt x="198" y="126"/>
                </a:lnTo>
                <a:lnTo>
                  <a:pt x="196" y="126"/>
                </a:lnTo>
                <a:lnTo>
                  <a:pt x="193" y="126"/>
                </a:lnTo>
                <a:lnTo>
                  <a:pt x="186" y="126"/>
                </a:lnTo>
                <a:lnTo>
                  <a:pt x="184" y="126"/>
                </a:lnTo>
                <a:lnTo>
                  <a:pt x="182" y="128"/>
                </a:lnTo>
                <a:lnTo>
                  <a:pt x="182" y="126"/>
                </a:lnTo>
                <a:lnTo>
                  <a:pt x="179" y="126"/>
                </a:lnTo>
                <a:lnTo>
                  <a:pt x="179" y="128"/>
                </a:lnTo>
                <a:lnTo>
                  <a:pt x="182" y="128"/>
                </a:lnTo>
                <a:lnTo>
                  <a:pt x="182" y="131"/>
                </a:lnTo>
                <a:lnTo>
                  <a:pt x="179" y="131"/>
                </a:lnTo>
                <a:lnTo>
                  <a:pt x="177" y="131"/>
                </a:lnTo>
                <a:lnTo>
                  <a:pt x="177" y="133"/>
                </a:lnTo>
                <a:lnTo>
                  <a:pt x="177" y="131"/>
                </a:lnTo>
                <a:lnTo>
                  <a:pt x="175" y="131"/>
                </a:lnTo>
                <a:lnTo>
                  <a:pt x="172" y="131"/>
                </a:lnTo>
                <a:lnTo>
                  <a:pt x="168" y="131"/>
                </a:lnTo>
                <a:lnTo>
                  <a:pt x="168" y="128"/>
                </a:lnTo>
                <a:lnTo>
                  <a:pt x="168" y="126"/>
                </a:lnTo>
                <a:lnTo>
                  <a:pt x="165" y="126"/>
                </a:lnTo>
                <a:lnTo>
                  <a:pt x="163" y="128"/>
                </a:lnTo>
                <a:lnTo>
                  <a:pt x="161" y="128"/>
                </a:lnTo>
                <a:lnTo>
                  <a:pt x="158" y="128"/>
                </a:lnTo>
                <a:lnTo>
                  <a:pt x="158" y="126"/>
                </a:lnTo>
                <a:lnTo>
                  <a:pt x="156" y="126"/>
                </a:lnTo>
                <a:lnTo>
                  <a:pt x="154" y="126"/>
                </a:lnTo>
                <a:lnTo>
                  <a:pt x="151" y="126"/>
                </a:lnTo>
                <a:lnTo>
                  <a:pt x="147" y="126"/>
                </a:lnTo>
                <a:lnTo>
                  <a:pt x="144" y="126"/>
                </a:lnTo>
                <a:lnTo>
                  <a:pt x="144" y="128"/>
                </a:lnTo>
                <a:lnTo>
                  <a:pt x="147" y="128"/>
                </a:lnTo>
                <a:lnTo>
                  <a:pt x="144" y="128"/>
                </a:lnTo>
                <a:lnTo>
                  <a:pt x="144" y="131"/>
                </a:lnTo>
                <a:lnTo>
                  <a:pt x="142" y="131"/>
                </a:lnTo>
                <a:lnTo>
                  <a:pt x="140" y="131"/>
                </a:lnTo>
                <a:lnTo>
                  <a:pt x="137" y="131"/>
                </a:lnTo>
                <a:lnTo>
                  <a:pt x="135" y="131"/>
                </a:lnTo>
                <a:lnTo>
                  <a:pt x="133" y="131"/>
                </a:lnTo>
                <a:lnTo>
                  <a:pt x="135" y="131"/>
                </a:lnTo>
                <a:lnTo>
                  <a:pt x="135" y="133"/>
                </a:lnTo>
                <a:lnTo>
                  <a:pt x="133" y="133"/>
                </a:lnTo>
                <a:lnTo>
                  <a:pt x="130" y="133"/>
                </a:lnTo>
                <a:lnTo>
                  <a:pt x="128" y="135"/>
                </a:lnTo>
                <a:lnTo>
                  <a:pt x="128" y="138"/>
                </a:lnTo>
                <a:lnTo>
                  <a:pt x="130" y="138"/>
                </a:lnTo>
                <a:lnTo>
                  <a:pt x="130" y="140"/>
                </a:lnTo>
                <a:lnTo>
                  <a:pt x="128" y="140"/>
                </a:lnTo>
                <a:lnTo>
                  <a:pt x="128" y="142"/>
                </a:lnTo>
                <a:lnTo>
                  <a:pt x="126" y="142"/>
                </a:lnTo>
                <a:lnTo>
                  <a:pt x="123" y="142"/>
                </a:lnTo>
                <a:lnTo>
                  <a:pt x="123" y="145"/>
                </a:lnTo>
                <a:lnTo>
                  <a:pt x="121" y="145"/>
                </a:lnTo>
                <a:lnTo>
                  <a:pt x="119" y="147"/>
                </a:lnTo>
                <a:lnTo>
                  <a:pt x="114" y="147"/>
                </a:lnTo>
                <a:lnTo>
                  <a:pt x="112" y="147"/>
                </a:lnTo>
                <a:lnTo>
                  <a:pt x="107" y="149"/>
                </a:lnTo>
                <a:lnTo>
                  <a:pt x="105" y="149"/>
                </a:lnTo>
                <a:lnTo>
                  <a:pt x="102" y="147"/>
                </a:lnTo>
                <a:lnTo>
                  <a:pt x="102" y="145"/>
                </a:lnTo>
                <a:lnTo>
                  <a:pt x="100" y="145"/>
                </a:lnTo>
                <a:lnTo>
                  <a:pt x="98" y="142"/>
                </a:lnTo>
                <a:lnTo>
                  <a:pt x="98" y="140"/>
                </a:lnTo>
                <a:lnTo>
                  <a:pt x="95" y="140"/>
                </a:lnTo>
                <a:lnTo>
                  <a:pt x="95" y="138"/>
                </a:lnTo>
                <a:lnTo>
                  <a:pt x="95" y="135"/>
                </a:lnTo>
                <a:lnTo>
                  <a:pt x="95" y="133"/>
                </a:lnTo>
                <a:lnTo>
                  <a:pt x="95" y="131"/>
                </a:lnTo>
                <a:lnTo>
                  <a:pt x="98" y="131"/>
                </a:lnTo>
                <a:lnTo>
                  <a:pt x="98" y="128"/>
                </a:lnTo>
                <a:lnTo>
                  <a:pt x="95" y="126"/>
                </a:lnTo>
                <a:lnTo>
                  <a:pt x="93" y="126"/>
                </a:lnTo>
                <a:lnTo>
                  <a:pt x="91" y="126"/>
                </a:lnTo>
                <a:lnTo>
                  <a:pt x="88" y="126"/>
                </a:lnTo>
                <a:lnTo>
                  <a:pt x="86" y="126"/>
                </a:lnTo>
                <a:lnTo>
                  <a:pt x="86" y="128"/>
                </a:lnTo>
                <a:lnTo>
                  <a:pt x="84" y="128"/>
                </a:lnTo>
                <a:lnTo>
                  <a:pt x="84" y="126"/>
                </a:lnTo>
                <a:lnTo>
                  <a:pt x="86" y="124"/>
                </a:lnTo>
                <a:lnTo>
                  <a:pt x="88" y="124"/>
                </a:lnTo>
                <a:lnTo>
                  <a:pt x="88" y="121"/>
                </a:lnTo>
                <a:lnTo>
                  <a:pt x="93" y="119"/>
                </a:lnTo>
                <a:lnTo>
                  <a:pt x="93" y="117"/>
                </a:lnTo>
                <a:lnTo>
                  <a:pt x="95" y="117"/>
                </a:lnTo>
                <a:lnTo>
                  <a:pt x="98" y="114"/>
                </a:lnTo>
                <a:lnTo>
                  <a:pt x="98" y="112"/>
                </a:lnTo>
                <a:lnTo>
                  <a:pt x="98" y="110"/>
                </a:lnTo>
                <a:lnTo>
                  <a:pt x="95" y="107"/>
                </a:lnTo>
                <a:lnTo>
                  <a:pt x="95" y="105"/>
                </a:lnTo>
                <a:lnTo>
                  <a:pt x="98" y="105"/>
                </a:lnTo>
                <a:lnTo>
                  <a:pt x="98" y="103"/>
                </a:lnTo>
                <a:lnTo>
                  <a:pt x="98" y="100"/>
                </a:lnTo>
                <a:lnTo>
                  <a:pt x="100" y="100"/>
                </a:lnTo>
                <a:lnTo>
                  <a:pt x="102" y="100"/>
                </a:lnTo>
                <a:lnTo>
                  <a:pt x="105" y="100"/>
                </a:lnTo>
                <a:lnTo>
                  <a:pt x="107" y="100"/>
                </a:lnTo>
                <a:lnTo>
                  <a:pt x="112" y="98"/>
                </a:lnTo>
                <a:lnTo>
                  <a:pt x="112" y="96"/>
                </a:lnTo>
                <a:lnTo>
                  <a:pt x="112" y="93"/>
                </a:lnTo>
                <a:lnTo>
                  <a:pt x="112" y="91"/>
                </a:lnTo>
                <a:lnTo>
                  <a:pt x="109" y="91"/>
                </a:lnTo>
                <a:lnTo>
                  <a:pt x="107" y="91"/>
                </a:lnTo>
                <a:lnTo>
                  <a:pt x="107" y="89"/>
                </a:lnTo>
                <a:lnTo>
                  <a:pt x="105" y="86"/>
                </a:lnTo>
                <a:lnTo>
                  <a:pt x="100" y="82"/>
                </a:lnTo>
                <a:lnTo>
                  <a:pt x="98" y="82"/>
                </a:lnTo>
                <a:lnTo>
                  <a:pt x="95" y="82"/>
                </a:lnTo>
                <a:lnTo>
                  <a:pt x="91" y="82"/>
                </a:lnTo>
                <a:lnTo>
                  <a:pt x="91" y="84"/>
                </a:lnTo>
                <a:lnTo>
                  <a:pt x="88" y="84"/>
                </a:lnTo>
                <a:lnTo>
                  <a:pt x="88" y="86"/>
                </a:lnTo>
                <a:lnTo>
                  <a:pt x="86" y="86"/>
                </a:lnTo>
                <a:lnTo>
                  <a:pt x="86" y="84"/>
                </a:lnTo>
                <a:lnTo>
                  <a:pt x="81" y="84"/>
                </a:lnTo>
                <a:lnTo>
                  <a:pt x="81" y="86"/>
                </a:lnTo>
                <a:lnTo>
                  <a:pt x="79" y="89"/>
                </a:lnTo>
                <a:lnTo>
                  <a:pt x="77" y="91"/>
                </a:lnTo>
                <a:lnTo>
                  <a:pt x="72" y="93"/>
                </a:lnTo>
                <a:lnTo>
                  <a:pt x="65" y="93"/>
                </a:lnTo>
                <a:lnTo>
                  <a:pt x="63" y="96"/>
                </a:lnTo>
                <a:lnTo>
                  <a:pt x="61" y="98"/>
                </a:lnTo>
                <a:lnTo>
                  <a:pt x="54" y="100"/>
                </a:lnTo>
                <a:lnTo>
                  <a:pt x="51" y="100"/>
                </a:lnTo>
                <a:lnTo>
                  <a:pt x="51" y="103"/>
                </a:lnTo>
                <a:lnTo>
                  <a:pt x="49" y="105"/>
                </a:lnTo>
                <a:lnTo>
                  <a:pt x="47" y="105"/>
                </a:lnTo>
                <a:lnTo>
                  <a:pt x="44" y="105"/>
                </a:lnTo>
                <a:lnTo>
                  <a:pt x="42" y="105"/>
                </a:lnTo>
                <a:lnTo>
                  <a:pt x="42" y="103"/>
                </a:lnTo>
                <a:lnTo>
                  <a:pt x="42" y="105"/>
                </a:lnTo>
                <a:lnTo>
                  <a:pt x="40" y="105"/>
                </a:lnTo>
                <a:lnTo>
                  <a:pt x="40" y="107"/>
                </a:lnTo>
                <a:lnTo>
                  <a:pt x="37" y="107"/>
                </a:lnTo>
                <a:lnTo>
                  <a:pt x="37" y="105"/>
                </a:lnTo>
                <a:lnTo>
                  <a:pt x="35" y="105"/>
                </a:lnTo>
                <a:lnTo>
                  <a:pt x="35" y="103"/>
                </a:lnTo>
                <a:lnTo>
                  <a:pt x="35" y="105"/>
                </a:lnTo>
                <a:lnTo>
                  <a:pt x="33" y="105"/>
                </a:lnTo>
                <a:lnTo>
                  <a:pt x="33" y="107"/>
                </a:lnTo>
                <a:lnTo>
                  <a:pt x="30" y="107"/>
                </a:lnTo>
                <a:lnTo>
                  <a:pt x="30" y="105"/>
                </a:lnTo>
                <a:lnTo>
                  <a:pt x="30" y="107"/>
                </a:lnTo>
                <a:lnTo>
                  <a:pt x="28" y="107"/>
                </a:lnTo>
                <a:lnTo>
                  <a:pt x="26" y="107"/>
                </a:lnTo>
                <a:lnTo>
                  <a:pt x="26" y="105"/>
                </a:lnTo>
                <a:lnTo>
                  <a:pt x="26" y="103"/>
                </a:lnTo>
                <a:lnTo>
                  <a:pt x="26" y="100"/>
                </a:lnTo>
                <a:lnTo>
                  <a:pt x="23" y="98"/>
                </a:lnTo>
                <a:lnTo>
                  <a:pt x="21" y="98"/>
                </a:lnTo>
                <a:lnTo>
                  <a:pt x="19" y="98"/>
                </a:lnTo>
                <a:lnTo>
                  <a:pt x="19" y="100"/>
                </a:lnTo>
                <a:lnTo>
                  <a:pt x="19" y="98"/>
                </a:lnTo>
                <a:lnTo>
                  <a:pt x="16" y="98"/>
                </a:lnTo>
                <a:lnTo>
                  <a:pt x="16" y="100"/>
                </a:lnTo>
                <a:lnTo>
                  <a:pt x="14" y="100"/>
                </a:lnTo>
                <a:lnTo>
                  <a:pt x="12" y="100"/>
                </a:lnTo>
                <a:lnTo>
                  <a:pt x="9" y="100"/>
                </a:lnTo>
                <a:lnTo>
                  <a:pt x="9" y="98"/>
                </a:lnTo>
                <a:lnTo>
                  <a:pt x="7" y="98"/>
                </a:lnTo>
                <a:lnTo>
                  <a:pt x="7" y="96"/>
                </a:lnTo>
                <a:lnTo>
                  <a:pt x="7" y="93"/>
                </a:lnTo>
                <a:lnTo>
                  <a:pt x="5" y="93"/>
                </a:lnTo>
                <a:lnTo>
                  <a:pt x="5" y="91"/>
                </a:lnTo>
                <a:lnTo>
                  <a:pt x="5" y="89"/>
                </a:lnTo>
                <a:lnTo>
                  <a:pt x="2" y="89"/>
                </a:lnTo>
                <a:lnTo>
                  <a:pt x="0" y="89"/>
                </a:lnTo>
                <a:lnTo>
                  <a:pt x="0" y="86"/>
                </a:lnTo>
                <a:lnTo>
                  <a:pt x="2" y="86"/>
                </a:lnTo>
                <a:lnTo>
                  <a:pt x="5" y="86"/>
                </a:lnTo>
                <a:lnTo>
                  <a:pt x="5" y="84"/>
                </a:lnTo>
                <a:lnTo>
                  <a:pt x="7" y="84"/>
                </a:lnTo>
                <a:lnTo>
                  <a:pt x="7" y="82"/>
                </a:lnTo>
                <a:lnTo>
                  <a:pt x="7" y="79"/>
                </a:lnTo>
                <a:lnTo>
                  <a:pt x="9" y="79"/>
                </a:lnTo>
                <a:lnTo>
                  <a:pt x="12" y="77"/>
                </a:lnTo>
                <a:lnTo>
                  <a:pt x="12" y="75"/>
                </a:lnTo>
                <a:lnTo>
                  <a:pt x="14" y="72"/>
                </a:lnTo>
                <a:lnTo>
                  <a:pt x="14" y="70"/>
                </a:lnTo>
                <a:lnTo>
                  <a:pt x="16" y="70"/>
                </a:lnTo>
                <a:lnTo>
                  <a:pt x="14" y="68"/>
                </a:lnTo>
                <a:lnTo>
                  <a:pt x="14" y="65"/>
                </a:lnTo>
                <a:lnTo>
                  <a:pt x="12" y="65"/>
                </a:lnTo>
                <a:lnTo>
                  <a:pt x="12" y="63"/>
                </a:lnTo>
                <a:lnTo>
                  <a:pt x="12" y="61"/>
                </a:lnTo>
                <a:lnTo>
                  <a:pt x="9" y="61"/>
                </a:lnTo>
                <a:lnTo>
                  <a:pt x="7" y="61"/>
                </a:lnTo>
                <a:lnTo>
                  <a:pt x="7" y="58"/>
                </a:lnTo>
                <a:lnTo>
                  <a:pt x="9" y="56"/>
                </a:lnTo>
                <a:lnTo>
                  <a:pt x="9" y="54"/>
                </a:lnTo>
                <a:lnTo>
                  <a:pt x="7" y="52"/>
                </a:lnTo>
                <a:lnTo>
                  <a:pt x="7" y="49"/>
                </a:lnTo>
                <a:lnTo>
                  <a:pt x="5" y="49"/>
                </a:lnTo>
                <a:lnTo>
                  <a:pt x="5" y="47"/>
                </a:lnTo>
                <a:lnTo>
                  <a:pt x="5" y="45"/>
                </a:lnTo>
                <a:lnTo>
                  <a:pt x="5" y="42"/>
                </a:lnTo>
                <a:lnTo>
                  <a:pt x="7" y="42"/>
                </a:lnTo>
                <a:lnTo>
                  <a:pt x="7" y="40"/>
                </a:lnTo>
                <a:lnTo>
                  <a:pt x="9" y="40"/>
                </a:lnTo>
                <a:lnTo>
                  <a:pt x="12" y="40"/>
                </a:lnTo>
                <a:lnTo>
                  <a:pt x="12" y="38"/>
                </a:lnTo>
                <a:lnTo>
                  <a:pt x="14" y="35"/>
                </a:lnTo>
                <a:lnTo>
                  <a:pt x="14" y="33"/>
                </a:lnTo>
                <a:lnTo>
                  <a:pt x="14" y="31"/>
                </a:lnTo>
                <a:lnTo>
                  <a:pt x="14" y="28"/>
                </a:lnTo>
                <a:lnTo>
                  <a:pt x="21" y="17"/>
                </a:lnTo>
                <a:lnTo>
                  <a:pt x="21" y="14"/>
                </a:lnTo>
                <a:lnTo>
                  <a:pt x="23" y="14"/>
                </a:lnTo>
                <a:lnTo>
                  <a:pt x="23" y="12"/>
                </a:lnTo>
                <a:lnTo>
                  <a:pt x="26" y="10"/>
                </a:lnTo>
                <a:lnTo>
                  <a:pt x="28" y="10"/>
                </a:lnTo>
                <a:lnTo>
                  <a:pt x="26" y="10"/>
                </a:lnTo>
                <a:lnTo>
                  <a:pt x="26" y="12"/>
                </a:lnTo>
                <a:lnTo>
                  <a:pt x="28" y="12"/>
                </a:lnTo>
                <a:lnTo>
                  <a:pt x="30" y="14"/>
                </a:lnTo>
                <a:lnTo>
                  <a:pt x="37" y="19"/>
                </a:lnTo>
                <a:lnTo>
                  <a:pt x="40" y="21"/>
                </a:lnTo>
                <a:lnTo>
                  <a:pt x="42" y="19"/>
                </a:lnTo>
                <a:lnTo>
                  <a:pt x="49" y="24"/>
                </a:lnTo>
                <a:lnTo>
                  <a:pt x="54" y="19"/>
                </a:lnTo>
                <a:lnTo>
                  <a:pt x="56" y="19"/>
                </a:lnTo>
                <a:lnTo>
                  <a:pt x="56" y="21"/>
                </a:lnTo>
                <a:lnTo>
                  <a:pt x="58" y="21"/>
                </a:lnTo>
                <a:lnTo>
                  <a:pt x="58" y="19"/>
                </a:lnTo>
                <a:lnTo>
                  <a:pt x="61" y="19"/>
                </a:lnTo>
                <a:lnTo>
                  <a:pt x="65" y="17"/>
                </a:lnTo>
                <a:lnTo>
                  <a:pt x="70" y="14"/>
                </a:lnTo>
                <a:lnTo>
                  <a:pt x="70" y="12"/>
                </a:lnTo>
                <a:lnTo>
                  <a:pt x="72" y="12"/>
                </a:lnTo>
                <a:lnTo>
                  <a:pt x="74" y="12"/>
                </a:lnTo>
                <a:lnTo>
                  <a:pt x="74" y="10"/>
                </a:lnTo>
                <a:lnTo>
                  <a:pt x="74" y="7"/>
                </a:lnTo>
                <a:lnTo>
                  <a:pt x="77" y="5"/>
                </a:lnTo>
                <a:lnTo>
                  <a:pt x="79" y="5"/>
                </a:lnTo>
                <a:lnTo>
                  <a:pt x="84" y="3"/>
                </a:lnTo>
                <a:lnTo>
                  <a:pt x="86" y="3"/>
                </a:lnTo>
                <a:lnTo>
                  <a:pt x="88" y="3"/>
                </a:lnTo>
                <a:lnTo>
                  <a:pt x="91" y="3"/>
                </a:lnTo>
                <a:lnTo>
                  <a:pt x="93" y="3"/>
                </a:lnTo>
                <a:lnTo>
                  <a:pt x="95" y="3"/>
                </a:lnTo>
                <a:lnTo>
                  <a:pt x="98" y="3"/>
                </a:lnTo>
                <a:lnTo>
                  <a:pt x="100" y="3"/>
                </a:lnTo>
                <a:lnTo>
                  <a:pt x="102" y="3"/>
                </a:lnTo>
                <a:lnTo>
                  <a:pt x="105" y="3"/>
                </a:lnTo>
                <a:lnTo>
                  <a:pt x="107" y="0"/>
                </a:lnTo>
                <a:lnTo>
                  <a:pt x="109" y="0"/>
                </a:lnTo>
                <a:lnTo>
                  <a:pt x="112" y="0"/>
                </a:lnTo>
                <a:lnTo>
                  <a:pt x="114" y="0"/>
                </a:lnTo>
                <a:lnTo>
                  <a:pt x="114" y="3"/>
                </a:lnTo>
                <a:lnTo>
                  <a:pt x="116" y="3"/>
                </a:lnTo>
                <a:lnTo>
                  <a:pt x="114" y="7"/>
                </a:lnTo>
                <a:lnTo>
                  <a:pt x="114" y="10"/>
                </a:lnTo>
                <a:lnTo>
                  <a:pt x="112" y="10"/>
                </a:lnTo>
                <a:lnTo>
                  <a:pt x="107" y="17"/>
                </a:lnTo>
                <a:lnTo>
                  <a:pt x="102" y="17"/>
                </a:lnTo>
                <a:lnTo>
                  <a:pt x="100" y="21"/>
                </a:lnTo>
                <a:lnTo>
                  <a:pt x="98" y="21"/>
                </a:lnTo>
                <a:lnTo>
                  <a:pt x="98" y="24"/>
                </a:lnTo>
                <a:lnTo>
                  <a:pt x="95" y="26"/>
                </a:lnTo>
                <a:lnTo>
                  <a:pt x="93" y="31"/>
                </a:lnTo>
                <a:lnTo>
                  <a:pt x="91" y="31"/>
                </a:lnTo>
                <a:lnTo>
                  <a:pt x="88" y="31"/>
                </a:lnTo>
                <a:lnTo>
                  <a:pt x="88" y="33"/>
                </a:lnTo>
                <a:lnTo>
                  <a:pt x="86" y="38"/>
                </a:lnTo>
                <a:lnTo>
                  <a:pt x="86" y="40"/>
                </a:lnTo>
                <a:lnTo>
                  <a:pt x="88" y="40"/>
                </a:lnTo>
                <a:lnTo>
                  <a:pt x="93" y="42"/>
                </a:lnTo>
                <a:lnTo>
                  <a:pt x="95" y="42"/>
                </a:lnTo>
                <a:lnTo>
                  <a:pt x="98" y="42"/>
                </a:lnTo>
                <a:lnTo>
                  <a:pt x="100" y="45"/>
                </a:lnTo>
                <a:lnTo>
                  <a:pt x="102" y="47"/>
                </a:lnTo>
                <a:lnTo>
                  <a:pt x="102" y="49"/>
                </a:lnTo>
                <a:lnTo>
                  <a:pt x="102" y="52"/>
                </a:lnTo>
                <a:lnTo>
                  <a:pt x="105" y="52"/>
                </a:lnTo>
                <a:lnTo>
                  <a:pt x="107" y="52"/>
                </a:lnTo>
                <a:lnTo>
                  <a:pt x="109" y="52"/>
                </a:lnTo>
                <a:lnTo>
                  <a:pt x="116" y="49"/>
                </a:lnTo>
                <a:lnTo>
                  <a:pt x="119" y="49"/>
                </a:lnTo>
                <a:lnTo>
                  <a:pt x="119" y="47"/>
                </a:lnTo>
                <a:lnTo>
                  <a:pt x="121" y="47"/>
                </a:lnTo>
                <a:lnTo>
                  <a:pt x="121" y="49"/>
                </a:lnTo>
                <a:lnTo>
                  <a:pt x="123" y="49"/>
                </a:lnTo>
                <a:lnTo>
                  <a:pt x="123" y="52"/>
                </a:lnTo>
                <a:lnTo>
                  <a:pt x="126" y="52"/>
                </a:lnTo>
                <a:lnTo>
                  <a:pt x="130" y="52"/>
                </a:lnTo>
                <a:lnTo>
                  <a:pt x="133" y="54"/>
                </a:lnTo>
                <a:lnTo>
                  <a:pt x="135" y="56"/>
                </a:lnTo>
                <a:lnTo>
                  <a:pt x="135" y="58"/>
                </a:lnTo>
                <a:lnTo>
                  <a:pt x="133" y="63"/>
                </a:lnTo>
                <a:lnTo>
                  <a:pt x="133" y="65"/>
                </a:lnTo>
                <a:lnTo>
                  <a:pt x="135" y="68"/>
                </a:lnTo>
                <a:lnTo>
                  <a:pt x="140" y="65"/>
                </a:lnTo>
                <a:lnTo>
                  <a:pt x="142" y="65"/>
                </a:lnTo>
                <a:lnTo>
                  <a:pt x="144" y="65"/>
                </a:lnTo>
                <a:lnTo>
                  <a:pt x="147" y="65"/>
                </a:lnTo>
                <a:lnTo>
                  <a:pt x="149" y="63"/>
                </a:lnTo>
                <a:lnTo>
                  <a:pt x="149" y="61"/>
                </a:lnTo>
                <a:lnTo>
                  <a:pt x="151" y="58"/>
                </a:lnTo>
                <a:lnTo>
                  <a:pt x="151" y="56"/>
                </a:lnTo>
                <a:lnTo>
                  <a:pt x="151" y="54"/>
                </a:lnTo>
                <a:lnTo>
                  <a:pt x="149" y="54"/>
                </a:lnTo>
                <a:lnTo>
                  <a:pt x="149" y="52"/>
                </a:lnTo>
                <a:lnTo>
                  <a:pt x="151" y="49"/>
                </a:lnTo>
                <a:lnTo>
                  <a:pt x="151" y="47"/>
                </a:lnTo>
                <a:lnTo>
                  <a:pt x="154" y="47"/>
                </a:lnTo>
                <a:lnTo>
                  <a:pt x="156" y="49"/>
                </a:lnTo>
                <a:lnTo>
                  <a:pt x="156" y="47"/>
                </a:lnTo>
                <a:lnTo>
                  <a:pt x="156" y="42"/>
                </a:lnTo>
                <a:lnTo>
                  <a:pt x="154" y="40"/>
                </a:lnTo>
                <a:lnTo>
                  <a:pt x="154" y="38"/>
                </a:lnTo>
                <a:lnTo>
                  <a:pt x="154" y="35"/>
                </a:lnTo>
                <a:lnTo>
                  <a:pt x="156" y="33"/>
                </a:lnTo>
                <a:lnTo>
                  <a:pt x="156" y="31"/>
                </a:lnTo>
                <a:lnTo>
                  <a:pt x="158" y="31"/>
                </a:lnTo>
                <a:lnTo>
                  <a:pt x="161" y="31"/>
                </a:lnTo>
                <a:lnTo>
                  <a:pt x="163" y="28"/>
                </a:lnTo>
                <a:lnTo>
                  <a:pt x="165" y="28"/>
                </a:lnTo>
                <a:lnTo>
                  <a:pt x="168" y="28"/>
                </a:lnTo>
                <a:lnTo>
                  <a:pt x="170" y="28"/>
                </a:lnTo>
                <a:lnTo>
                  <a:pt x="170" y="31"/>
                </a:lnTo>
                <a:lnTo>
                  <a:pt x="170" y="33"/>
                </a:lnTo>
                <a:lnTo>
                  <a:pt x="170" y="35"/>
                </a:lnTo>
                <a:lnTo>
                  <a:pt x="172" y="35"/>
                </a:lnTo>
                <a:lnTo>
                  <a:pt x="179" y="40"/>
                </a:lnTo>
                <a:lnTo>
                  <a:pt x="184" y="40"/>
                </a:lnTo>
                <a:lnTo>
                  <a:pt x="186" y="40"/>
                </a:lnTo>
                <a:lnTo>
                  <a:pt x="191" y="42"/>
                </a:lnTo>
                <a:lnTo>
                  <a:pt x="193" y="42"/>
                </a:lnTo>
                <a:lnTo>
                  <a:pt x="198" y="45"/>
                </a:lnTo>
                <a:lnTo>
                  <a:pt x="200" y="45"/>
                </a:lnTo>
                <a:lnTo>
                  <a:pt x="205" y="45"/>
                </a:lnTo>
                <a:lnTo>
                  <a:pt x="207" y="45"/>
                </a:lnTo>
                <a:lnTo>
                  <a:pt x="209" y="45"/>
                </a:lnTo>
                <a:lnTo>
                  <a:pt x="212" y="45"/>
                </a:lnTo>
                <a:lnTo>
                  <a:pt x="216" y="47"/>
                </a:lnTo>
                <a:lnTo>
                  <a:pt x="219" y="47"/>
                </a:lnTo>
                <a:lnTo>
                  <a:pt x="221" y="49"/>
                </a:lnTo>
                <a:lnTo>
                  <a:pt x="223" y="49"/>
                </a:lnTo>
                <a:lnTo>
                  <a:pt x="228" y="54"/>
                </a:lnTo>
                <a:lnTo>
                  <a:pt x="230" y="54"/>
                </a:lnTo>
                <a:lnTo>
                  <a:pt x="233" y="54"/>
                </a:lnTo>
                <a:lnTo>
                  <a:pt x="235" y="54"/>
                </a:lnTo>
                <a:lnTo>
                  <a:pt x="240" y="54"/>
                </a:lnTo>
                <a:lnTo>
                  <a:pt x="244" y="56"/>
                </a:lnTo>
                <a:lnTo>
                  <a:pt x="247" y="56"/>
                </a:lnTo>
                <a:lnTo>
                  <a:pt x="247" y="58"/>
                </a:lnTo>
                <a:lnTo>
                  <a:pt x="249" y="58"/>
                </a:lnTo>
                <a:lnTo>
                  <a:pt x="249" y="56"/>
                </a:lnTo>
                <a:lnTo>
                  <a:pt x="251" y="56"/>
                </a:lnTo>
                <a:lnTo>
                  <a:pt x="254" y="56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50" name="Freeform 27">
            <a:extLst>
              <a:ext uri="{FF2B5EF4-FFF2-40B4-BE49-F238E27FC236}">
                <a16:creationId xmlns:a16="http://schemas.microsoft.com/office/drawing/2014/main" id="{7D554212-DE14-CEED-0DDE-C7278006FE22}"/>
              </a:ext>
            </a:extLst>
          </p:cNvPr>
          <p:cNvSpPr>
            <a:spLocks noEditPoints="1"/>
          </p:cNvSpPr>
          <p:nvPr/>
        </p:nvSpPr>
        <p:spPr bwMode="auto">
          <a:xfrm>
            <a:off x="3617419" y="4675769"/>
            <a:ext cx="285137" cy="159703"/>
          </a:xfrm>
          <a:custGeom>
            <a:avLst/>
            <a:gdLst>
              <a:gd name="T0" fmla="*/ 45 w 242"/>
              <a:gd name="T1" fmla="*/ 135 h 142"/>
              <a:gd name="T2" fmla="*/ 33 w 242"/>
              <a:gd name="T3" fmla="*/ 133 h 142"/>
              <a:gd name="T4" fmla="*/ 33 w 242"/>
              <a:gd name="T5" fmla="*/ 128 h 142"/>
              <a:gd name="T6" fmla="*/ 200 w 242"/>
              <a:gd name="T7" fmla="*/ 12 h 142"/>
              <a:gd name="T8" fmla="*/ 200 w 242"/>
              <a:gd name="T9" fmla="*/ 23 h 142"/>
              <a:gd name="T10" fmla="*/ 210 w 242"/>
              <a:gd name="T11" fmla="*/ 28 h 142"/>
              <a:gd name="T12" fmla="*/ 221 w 242"/>
              <a:gd name="T13" fmla="*/ 32 h 142"/>
              <a:gd name="T14" fmla="*/ 238 w 242"/>
              <a:gd name="T15" fmla="*/ 35 h 142"/>
              <a:gd name="T16" fmla="*/ 238 w 242"/>
              <a:gd name="T17" fmla="*/ 49 h 142"/>
              <a:gd name="T18" fmla="*/ 233 w 242"/>
              <a:gd name="T19" fmla="*/ 65 h 142"/>
              <a:gd name="T20" fmla="*/ 212 w 242"/>
              <a:gd name="T21" fmla="*/ 91 h 142"/>
              <a:gd name="T22" fmla="*/ 184 w 242"/>
              <a:gd name="T23" fmla="*/ 102 h 142"/>
              <a:gd name="T24" fmla="*/ 173 w 242"/>
              <a:gd name="T25" fmla="*/ 112 h 142"/>
              <a:gd name="T26" fmla="*/ 177 w 242"/>
              <a:gd name="T27" fmla="*/ 123 h 142"/>
              <a:gd name="T28" fmla="*/ 170 w 242"/>
              <a:gd name="T29" fmla="*/ 126 h 142"/>
              <a:gd name="T30" fmla="*/ 168 w 242"/>
              <a:gd name="T31" fmla="*/ 133 h 142"/>
              <a:gd name="T32" fmla="*/ 138 w 242"/>
              <a:gd name="T33" fmla="*/ 130 h 142"/>
              <a:gd name="T34" fmla="*/ 105 w 242"/>
              <a:gd name="T35" fmla="*/ 126 h 142"/>
              <a:gd name="T36" fmla="*/ 105 w 242"/>
              <a:gd name="T37" fmla="*/ 121 h 142"/>
              <a:gd name="T38" fmla="*/ 110 w 242"/>
              <a:gd name="T39" fmla="*/ 109 h 142"/>
              <a:gd name="T40" fmla="*/ 96 w 242"/>
              <a:gd name="T41" fmla="*/ 114 h 142"/>
              <a:gd name="T42" fmla="*/ 100 w 242"/>
              <a:gd name="T43" fmla="*/ 128 h 142"/>
              <a:gd name="T44" fmla="*/ 72 w 242"/>
              <a:gd name="T45" fmla="*/ 128 h 142"/>
              <a:gd name="T46" fmla="*/ 52 w 242"/>
              <a:gd name="T47" fmla="*/ 126 h 142"/>
              <a:gd name="T48" fmla="*/ 65 w 242"/>
              <a:gd name="T49" fmla="*/ 128 h 142"/>
              <a:gd name="T50" fmla="*/ 70 w 242"/>
              <a:gd name="T51" fmla="*/ 126 h 142"/>
              <a:gd name="T52" fmla="*/ 59 w 242"/>
              <a:gd name="T53" fmla="*/ 119 h 142"/>
              <a:gd name="T54" fmla="*/ 47 w 242"/>
              <a:gd name="T55" fmla="*/ 123 h 142"/>
              <a:gd name="T56" fmla="*/ 40 w 242"/>
              <a:gd name="T57" fmla="*/ 126 h 142"/>
              <a:gd name="T58" fmla="*/ 33 w 242"/>
              <a:gd name="T59" fmla="*/ 121 h 142"/>
              <a:gd name="T60" fmla="*/ 33 w 242"/>
              <a:gd name="T61" fmla="*/ 116 h 142"/>
              <a:gd name="T62" fmla="*/ 26 w 242"/>
              <a:gd name="T63" fmla="*/ 121 h 142"/>
              <a:gd name="T64" fmla="*/ 10 w 242"/>
              <a:gd name="T65" fmla="*/ 126 h 142"/>
              <a:gd name="T66" fmla="*/ 14 w 242"/>
              <a:gd name="T67" fmla="*/ 133 h 142"/>
              <a:gd name="T68" fmla="*/ 12 w 242"/>
              <a:gd name="T69" fmla="*/ 137 h 142"/>
              <a:gd name="T70" fmla="*/ 21 w 242"/>
              <a:gd name="T71" fmla="*/ 137 h 142"/>
              <a:gd name="T72" fmla="*/ 12 w 242"/>
              <a:gd name="T73" fmla="*/ 140 h 142"/>
              <a:gd name="T74" fmla="*/ 0 w 242"/>
              <a:gd name="T75" fmla="*/ 133 h 142"/>
              <a:gd name="T76" fmla="*/ 5 w 242"/>
              <a:gd name="T77" fmla="*/ 121 h 142"/>
              <a:gd name="T78" fmla="*/ 17 w 242"/>
              <a:gd name="T79" fmla="*/ 112 h 142"/>
              <a:gd name="T80" fmla="*/ 31 w 242"/>
              <a:gd name="T81" fmla="*/ 112 h 142"/>
              <a:gd name="T82" fmla="*/ 40 w 242"/>
              <a:gd name="T83" fmla="*/ 105 h 142"/>
              <a:gd name="T84" fmla="*/ 38 w 242"/>
              <a:gd name="T85" fmla="*/ 95 h 142"/>
              <a:gd name="T86" fmla="*/ 26 w 242"/>
              <a:gd name="T87" fmla="*/ 98 h 142"/>
              <a:gd name="T88" fmla="*/ 17 w 242"/>
              <a:gd name="T89" fmla="*/ 91 h 142"/>
              <a:gd name="T90" fmla="*/ 14 w 242"/>
              <a:gd name="T91" fmla="*/ 79 h 142"/>
              <a:gd name="T92" fmla="*/ 33 w 242"/>
              <a:gd name="T93" fmla="*/ 74 h 142"/>
              <a:gd name="T94" fmla="*/ 52 w 242"/>
              <a:gd name="T95" fmla="*/ 72 h 142"/>
              <a:gd name="T96" fmla="*/ 70 w 242"/>
              <a:gd name="T97" fmla="*/ 65 h 142"/>
              <a:gd name="T98" fmla="*/ 84 w 242"/>
              <a:gd name="T99" fmla="*/ 67 h 142"/>
              <a:gd name="T100" fmla="*/ 100 w 242"/>
              <a:gd name="T101" fmla="*/ 67 h 142"/>
              <a:gd name="T102" fmla="*/ 107 w 242"/>
              <a:gd name="T103" fmla="*/ 72 h 142"/>
              <a:gd name="T104" fmla="*/ 121 w 242"/>
              <a:gd name="T105" fmla="*/ 67 h 142"/>
              <a:gd name="T106" fmla="*/ 156 w 242"/>
              <a:gd name="T107" fmla="*/ 56 h 142"/>
              <a:gd name="T108" fmla="*/ 156 w 242"/>
              <a:gd name="T109" fmla="*/ 49 h 142"/>
              <a:gd name="T110" fmla="*/ 163 w 242"/>
              <a:gd name="T111" fmla="*/ 35 h 142"/>
              <a:gd name="T112" fmla="*/ 173 w 242"/>
              <a:gd name="T113" fmla="*/ 21 h 142"/>
              <a:gd name="T114" fmla="*/ 175 w 242"/>
              <a:gd name="T115" fmla="*/ 9 h 142"/>
              <a:gd name="T116" fmla="*/ 187 w 242"/>
              <a:gd name="T117" fmla="*/ 7 h 142"/>
              <a:gd name="T118" fmla="*/ 196 w 242"/>
              <a:gd name="T119" fmla="*/ 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2" h="142">
                <a:moveTo>
                  <a:pt x="40" y="128"/>
                </a:moveTo>
                <a:lnTo>
                  <a:pt x="40" y="130"/>
                </a:lnTo>
                <a:lnTo>
                  <a:pt x="42" y="130"/>
                </a:lnTo>
                <a:lnTo>
                  <a:pt x="45" y="130"/>
                </a:lnTo>
                <a:lnTo>
                  <a:pt x="45" y="133"/>
                </a:lnTo>
                <a:lnTo>
                  <a:pt x="47" y="133"/>
                </a:lnTo>
                <a:lnTo>
                  <a:pt x="45" y="135"/>
                </a:lnTo>
                <a:lnTo>
                  <a:pt x="45" y="133"/>
                </a:lnTo>
                <a:lnTo>
                  <a:pt x="42" y="133"/>
                </a:lnTo>
                <a:lnTo>
                  <a:pt x="40" y="133"/>
                </a:lnTo>
                <a:lnTo>
                  <a:pt x="40" y="135"/>
                </a:lnTo>
                <a:lnTo>
                  <a:pt x="38" y="135"/>
                </a:lnTo>
                <a:lnTo>
                  <a:pt x="35" y="133"/>
                </a:lnTo>
                <a:lnTo>
                  <a:pt x="33" y="133"/>
                </a:lnTo>
                <a:lnTo>
                  <a:pt x="33" y="135"/>
                </a:lnTo>
                <a:lnTo>
                  <a:pt x="31" y="135"/>
                </a:lnTo>
                <a:lnTo>
                  <a:pt x="31" y="133"/>
                </a:lnTo>
                <a:lnTo>
                  <a:pt x="28" y="133"/>
                </a:lnTo>
                <a:lnTo>
                  <a:pt x="31" y="133"/>
                </a:lnTo>
                <a:lnTo>
                  <a:pt x="33" y="130"/>
                </a:lnTo>
                <a:lnTo>
                  <a:pt x="33" y="128"/>
                </a:lnTo>
                <a:lnTo>
                  <a:pt x="35" y="130"/>
                </a:lnTo>
                <a:lnTo>
                  <a:pt x="35" y="128"/>
                </a:lnTo>
                <a:lnTo>
                  <a:pt x="38" y="128"/>
                </a:lnTo>
                <a:lnTo>
                  <a:pt x="38" y="126"/>
                </a:lnTo>
                <a:lnTo>
                  <a:pt x="38" y="128"/>
                </a:lnTo>
                <a:lnTo>
                  <a:pt x="40" y="128"/>
                </a:lnTo>
                <a:close/>
                <a:moveTo>
                  <a:pt x="200" y="12"/>
                </a:moveTo>
                <a:lnTo>
                  <a:pt x="200" y="14"/>
                </a:lnTo>
                <a:lnTo>
                  <a:pt x="200" y="16"/>
                </a:lnTo>
                <a:lnTo>
                  <a:pt x="198" y="16"/>
                </a:lnTo>
                <a:lnTo>
                  <a:pt x="198" y="19"/>
                </a:lnTo>
                <a:lnTo>
                  <a:pt x="198" y="21"/>
                </a:lnTo>
                <a:lnTo>
                  <a:pt x="198" y="23"/>
                </a:lnTo>
                <a:lnTo>
                  <a:pt x="200" y="23"/>
                </a:lnTo>
                <a:lnTo>
                  <a:pt x="200" y="21"/>
                </a:lnTo>
                <a:lnTo>
                  <a:pt x="200" y="23"/>
                </a:lnTo>
                <a:lnTo>
                  <a:pt x="203" y="23"/>
                </a:lnTo>
                <a:lnTo>
                  <a:pt x="205" y="25"/>
                </a:lnTo>
                <a:lnTo>
                  <a:pt x="207" y="25"/>
                </a:lnTo>
                <a:lnTo>
                  <a:pt x="207" y="28"/>
                </a:lnTo>
                <a:lnTo>
                  <a:pt x="210" y="28"/>
                </a:lnTo>
                <a:lnTo>
                  <a:pt x="212" y="28"/>
                </a:lnTo>
                <a:lnTo>
                  <a:pt x="212" y="30"/>
                </a:lnTo>
                <a:lnTo>
                  <a:pt x="214" y="30"/>
                </a:lnTo>
                <a:lnTo>
                  <a:pt x="217" y="30"/>
                </a:lnTo>
                <a:lnTo>
                  <a:pt x="219" y="30"/>
                </a:lnTo>
                <a:lnTo>
                  <a:pt x="221" y="30"/>
                </a:lnTo>
                <a:lnTo>
                  <a:pt x="221" y="32"/>
                </a:lnTo>
                <a:lnTo>
                  <a:pt x="224" y="32"/>
                </a:lnTo>
                <a:lnTo>
                  <a:pt x="226" y="32"/>
                </a:lnTo>
                <a:lnTo>
                  <a:pt x="228" y="32"/>
                </a:lnTo>
                <a:lnTo>
                  <a:pt x="233" y="32"/>
                </a:lnTo>
                <a:lnTo>
                  <a:pt x="235" y="32"/>
                </a:lnTo>
                <a:lnTo>
                  <a:pt x="235" y="35"/>
                </a:lnTo>
                <a:lnTo>
                  <a:pt x="238" y="35"/>
                </a:lnTo>
                <a:lnTo>
                  <a:pt x="240" y="35"/>
                </a:lnTo>
                <a:lnTo>
                  <a:pt x="240" y="37"/>
                </a:lnTo>
                <a:lnTo>
                  <a:pt x="242" y="37"/>
                </a:lnTo>
                <a:lnTo>
                  <a:pt x="242" y="39"/>
                </a:lnTo>
                <a:lnTo>
                  <a:pt x="240" y="42"/>
                </a:lnTo>
                <a:lnTo>
                  <a:pt x="240" y="44"/>
                </a:lnTo>
                <a:lnTo>
                  <a:pt x="238" y="49"/>
                </a:lnTo>
                <a:lnTo>
                  <a:pt x="235" y="49"/>
                </a:lnTo>
                <a:lnTo>
                  <a:pt x="233" y="51"/>
                </a:lnTo>
                <a:lnTo>
                  <a:pt x="233" y="53"/>
                </a:lnTo>
                <a:lnTo>
                  <a:pt x="233" y="56"/>
                </a:lnTo>
                <a:lnTo>
                  <a:pt x="235" y="58"/>
                </a:lnTo>
                <a:lnTo>
                  <a:pt x="235" y="60"/>
                </a:lnTo>
                <a:lnTo>
                  <a:pt x="233" y="65"/>
                </a:lnTo>
                <a:lnTo>
                  <a:pt x="235" y="72"/>
                </a:lnTo>
                <a:lnTo>
                  <a:pt x="235" y="79"/>
                </a:lnTo>
                <a:lnTo>
                  <a:pt x="235" y="81"/>
                </a:lnTo>
                <a:lnTo>
                  <a:pt x="233" y="84"/>
                </a:lnTo>
                <a:lnTo>
                  <a:pt x="224" y="88"/>
                </a:lnTo>
                <a:lnTo>
                  <a:pt x="217" y="91"/>
                </a:lnTo>
                <a:lnTo>
                  <a:pt x="212" y="91"/>
                </a:lnTo>
                <a:lnTo>
                  <a:pt x="205" y="93"/>
                </a:lnTo>
                <a:lnTo>
                  <a:pt x="198" y="93"/>
                </a:lnTo>
                <a:lnTo>
                  <a:pt x="191" y="95"/>
                </a:lnTo>
                <a:lnTo>
                  <a:pt x="187" y="98"/>
                </a:lnTo>
                <a:lnTo>
                  <a:pt x="187" y="100"/>
                </a:lnTo>
                <a:lnTo>
                  <a:pt x="184" y="100"/>
                </a:lnTo>
                <a:lnTo>
                  <a:pt x="184" y="102"/>
                </a:lnTo>
                <a:lnTo>
                  <a:pt x="182" y="102"/>
                </a:lnTo>
                <a:lnTo>
                  <a:pt x="180" y="102"/>
                </a:lnTo>
                <a:lnTo>
                  <a:pt x="180" y="105"/>
                </a:lnTo>
                <a:lnTo>
                  <a:pt x="177" y="107"/>
                </a:lnTo>
                <a:lnTo>
                  <a:pt x="175" y="109"/>
                </a:lnTo>
                <a:lnTo>
                  <a:pt x="173" y="109"/>
                </a:lnTo>
                <a:lnTo>
                  <a:pt x="173" y="112"/>
                </a:lnTo>
                <a:lnTo>
                  <a:pt x="170" y="114"/>
                </a:lnTo>
                <a:lnTo>
                  <a:pt x="170" y="116"/>
                </a:lnTo>
                <a:lnTo>
                  <a:pt x="170" y="119"/>
                </a:lnTo>
                <a:lnTo>
                  <a:pt x="170" y="121"/>
                </a:lnTo>
                <a:lnTo>
                  <a:pt x="173" y="123"/>
                </a:lnTo>
                <a:lnTo>
                  <a:pt x="175" y="123"/>
                </a:lnTo>
                <a:lnTo>
                  <a:pt x="177" y="123"/>
                </a:lnTo>
                <a:lnTo>
                  <a:pt x="177" y="121"/>
                </a:lnTo>
                <a:lnTo>
                  <a:pt x="177" y="123"/>
                </a:lnTo>
                <a:lnTo>
                  <a:pt x="175" y="123"/>
                </a:lnTo>
                <a:lnTo>
                  <a:pt x="175" y="126"/>
                </a:lnTo>
                <a:lnTo>
                  <a:pt x="175" y="123"/>
                </a:lnTo>
                <a:lnTo>
                  <a:pt x="173" y="126"/>
                </a:lnTo>
                <a:lnTo>
                  <a:pt x="170" y="126"/>
                </a:lnTo>
                <a:lnTo>
                  <a:pt x="170" y="128"/>
                </a:lnTo>
                <a:lnTo>
                  <a:pt x="168" y="128"/>
                </a:lnTo>
                <a:lnTo>
                  <a:pt x="168" y="130"/>
                </a:lnTo>
                <a:lnTo>
                  <a:pt x="166" y="130"/>
                </a:lnTo>
                <a:lnTo>
                  <a:pt x="166" y="133"/>
                </a:lnTo>
                <a:lnTo>
                  <a:pt x="166" y="135"/>
                </a:lnTo>
                <a:lnTo>
                  <a:pt x="168" y="133"/>
                </a:lnTo>
                <a:lnTo>
                  <a:pt x="168" y="135"/>
                </a:lnTo>
                <a:lnTo>
                  <a:pt x="166" y="137"/>
                </a:lnTo>
                <a:lnTo>
                  <a:pt x="166" y="135"/>
                </a:lnTo>
                <a:lnTo>
                  <a:pt x="163" y="135"/>
                </a:lnTo>
                <a:lnTo>
                  <a:pt x="159" y="133"/>
                </a:lnTo>
                <a:lnTo>
                  <a:pt x="147" y="130"/>
                </a:lnTo>
                <a:lnTo>
                  <a:pt x="138" y="130"/>
                </a:lnTo>
                <a:lnTo>
                  <a:pt x="131" y="130"/>
                </a:lnTo>
                <a:lnTo>
                  <a:pt x="128" y="130"/>
                </a:lnTo>
                <a:lnTo>
                  <a:pt x="124" y="130"/>
                </a:lnTo>
                <a:lnTo>
                  <a:pt x="117" y="130"/>
                </a:lnTo>
                <a:lnTo>
                  <a:pt x="114" y="130"/>
                </a:lnTo>
                <a:lnTo>
                  <a:pt x="107" y="128"/>
                </a:lnTo>
                <a:lnTo>
                  <a:pt x="105" y="126"/>
                </a:lnTo>
                <a:lnTo>
                  <a:pt x="105" y="128"/>
                </a:lnTo>
                <a:lnTo>
                  <a:pt x="105" y="126"/>
                </a:lnTo>
                <a:lnTo>
                  <a:pt x="103" y="126"/>
                </a:lnTo>
                <a:lnTo>
                  <a:pt x="105" y="126"/>
                </a:lnTo>
                <a:lnTo>
                  <a:pt x="105" y="123"/>
                </a:lnTo>
                <a:lnTo>
                  <a:pt x="103" y="123"/>
                </a:lnTo>
                <a:lnTo>
                  <a:pt x="105" y="121"/>
                </a:lnTo>
                <a:lnTo>
                  <a:pt x="105" y="119"/>
                </a:lnTo>
                <a:lnTo>
                  <a:pt x="110" y="116"/>
                </a:lnTo>
                <a:lnTo>
                  <a:pt x="107" y="116"/>
                </a:lnTo>
                <a:lnTo>
                  <a:pt x="107" y="114"/>
                </a:lnTo>
                <a:lnTo>
                  <a:pt x="110" y="114"/>
                </a:lnTo>
                <a:lnTo>
                  <a:pt x="110" y="112"/>
                </a:lnTo>
                <a:lnTo>
                  <a:pt x="110" y="109"/>
                </a:lnTo>
                <a:lnTo>
                  <a:pt x="107" y="109"/>
                </a:lnTo>
                <a:lnTo>
                  <a:pt x="105" y="112"/>
                </a:lnTo>
                <a:lnTo>
                  <a:pt x="103" y="109"/>
                </a:lnTo>
                <a:lnTo>
                  <a:pt x="100" y="112"/>
                </a:lnTo>
                <a:lnTo>
                  <a:pt x="98" y="112"/>
                </a:lnTo>
                <a:lnTo>
                  <a:pt x="96" y="112"/>
                </a:lnTo>
                <a:lnTo>
                  <a:pt x="96" y="114"/>
                </a:lnTo>
                <a:lnTo>
                  <a:pt x="96" y="116"/>
                </a:lnTo>
                <a:lnTo>
                  <a:pt x="96" y="119"/>
                </a:lnTo>
                <a:lnTo>
                  <a:pt x="98" y="119"/>
                </a:lnTo>
                <a:lnTo>
                  <a:pt x="98" y="121"/>
                </a:lnTo>
                <a:lnTo>
                  <a:pt x="100" y="123"/>
                </a:lnTo>
                <a:lnTo>
                  <a:pt x="100" y="126"/>
                </a:lnTo>
                <a:lnTo>
                  <a:pt x="100" y="128"/>
                </a:lnTo>
                <a:lnTo>
                  <a:pt x="98" y="128"/>
                </a:lnTo>
                <a:lnTo>
                  <a:pt x="96" y="128"/>
                </a:lnTo>
                <a:lnTo>
                  <a:pt x="84" y="128"/>
                </a:lnTo>
                <a:lnTo>
                  <a:pt x="79" y="128"/>
                </a:lnTo>
                <a:lnTo>
                  <a:pt x="77" y="130"/>
                </a:lnTo>
                <a:lnTo>
                  <a:pt x="75" y="130"/>
                </a:lnTo>
                <a:lnTo>
                  <a:pt x="72" y="128"/>
                </a:lnTo>
                <a:lnTo>
                  <a:pt x="59" y="128"/>
                </a:lnTo>
                <a:lnTo>
                  <a:pt x="56" y="128"/>
                </a:lnTo>
                <a:lnTo>
                  <a:pt x="54" y="128"/>
                </a:lnTo>
                <a:lnTo>
                  <a:pt x="54" y="130"/>
                </a:lnTo>
                <a:lnTo>
                  <a:pt x="52" y="130"/>
                </a:lnTo>
                <a:lnTo>
                  <a:pt x="52" y="128"/>
                </a:lnTo>
                <a:lnTo>
                  <a:pt x="52" y="126"/>
                </a:lnTo>
                <a:lnTo>
                  <a:pt x="54" y="126"/>
                </a:lnTo>
                <a:lnTo>
                  <a:pt x="54" y="128"/>
                </a:lnTo>
                <a:lnTo>
                  <a:pt x="56" y="128"/>
                </a:lnTo>
                <a:lnTo>
                  <a:pt x="59" y="126"/>
                </a:lnTo>
                <a:lnTo>
                  <a:pt x="59" y="128"/>
                </a:lnTo>
                <a:lnTo>
                  <a:pt x="61" y="128"/>
                </a:lnTo>
                <a:lnTo>
                  <a:pt x="65" y="128"/>
                </a:lnTo>
                <a:lnTo>
                  <a:pt x="70" y="128"/>
                </a:lnTo>
                <a:lnTo>
                  <a:pt x="72" y="128"/>
                </a:lnTo>
                <a:lnTo>
                  <a:pt x="75" y="126"/>
                </a:lnTo>
                <a:lnTo>
                  <a:pt x="72" y="126"/>
                </a:lnTo>
                <a:lnTo>
                  <a:pt x="70" y="126"/>
                </a:lnTo>
                <a:lnTo>
                  <a:pt x="70" y="123"/>
                </a:lnTo>
                <a:lnTo>
                  <a:pt x="70" y="126"/>
                </a:lnTo>
                <a:lnTo>
                  <a:pt x="70" y="123"/>
                </a:lnTo>
                <a:lnTo>
                  <a:pt x="68" y="123"/>
                </a:lnTo>
                <a:lnTo>
                  <a:pt x="68" y="121"/>
                </a:lnTo>
                <a:lnTo>
                  <a:pt x="63" y="121"/>
                </a:lnTo>
                <a:lnTo>
                  <a:pt x="63" y="119"/>
                </a:lnTo>
                <a:lnTo>
                  <a:pt x="61" y="119"/>
                </a:lnTo>
                <a:lnTo>
                  <a:pt x="59" y="119"/>
                </a:lnTo>
                <a:lnTo>
                  <a:pt x="54" y="119"/>
                </a:lnTo>
                <a:lnTo>
                  <a:pt x="52" y="119"/>
                </a:lnTo>
                <a:lnTo>
                  <a:pt x="52" y="121"/>
                </a:lnTo>
                <a:lnTo>
                  <a:pt x="49" y="121"/>
                </a:lnTo>
                <a:lnTo>
                  <a:pt x="49" y="119"/>
                </a:lnTo>
                <a:lnTo>
                  <a:pt x="49" y="121"/>
                </a:lnTo>
                <a:lnTo>
                  <a:pt x="47" y="123"/>
                </a:lnTo>
                <a:lnTo>
                  <a:pt x="45" y="123"/>
                </a:lnTo>
                <a:lnTo>
                  <a:pt x="45" y="126"/>
                </a:lnTo>
                <a:lnTo>
                  <a:pt x="42" y="123"/>
                </a:lnTo>
                <a:lnTo>
                  <a:pt x="42" y="126"/>
                </a:lnTo>
                <a:lnTo>
                  <a:pt x="40" y="126"/>
                </a:lnTo>
                <a:lnTo>
                  <a:pt x="40" y="123"/>
                </a:lnTo>
                <a:lnTo>
                  <a:pt x="40" y="126"/>
                </a:lnTo>
                <a:lnTo>
                  <a:pt x="38" y="126"/>
                </a:lnTo>
                <a:lnTo>
                  <a:pt x="38" y="123"/>
                </a:lnTo>
                <a:lnTo>
                  <a:pt x="38" y="121"/>
                </a:lnTo>
                <a:lnTo>
                  <a:pt x="35" y="121"/>
                </a:lnTo>
                <a:lnTo>
                  <a:pt x="35" y="123"/>
                </a:lnTo>
                <a:lnTo>
                  <a:pt x="35" y="121"/>
                </a:lnTo>
                <a:lnTo>
                  <a:pt x="33" y="121"/>
                </a:lnTo>
                <a:lnTo>
                  <a:pt x="33" y="123"/>
                </a:lnTo>
                <a:lnTo>
                  <a:pt x="31" y="121"/>
                </a:lnTo>
                <a:lnTo>
                  <a:pt x="33" y="121"/>
                </a:lnTo>
                <a:lnTo>
                  <a:pt x="33" y="119"/>
                </a:lnTo>
                <a:lnTo>
                  <a:pt x="33" y="116"/>
                </a:lnTo>
                <a:lnTo>
                  <a:pt x="31" y="116"/>
                </a:lnTo>
                <a:lnTo>
                  <a:pt x="33" y="116"/>
                </a:lnTo>
                <a:lnTo>
                  <a:pt x="31" y="119"/>
                </a:lnTo>
                <a:lnTo>
                  <a:pt x="31" y="116"/>
                </a:lnTo>
                <a:lnTo>
                  <a:pt x="28" y="119"/>
                </a:lnTo>
                <a:lnTo>
                  <a:pt x="28" y="116"/>
                </a:lnTo>
                <a:lnTo>
                  <a:pt x="28" y="119"/>
                </a:lnTo>
                <a:lnTo>
                  <a:pt x="26" y="119"/>
                </a:lnTo>
                <a:lnTo>
                  <a:pt x="26" y="121"/>
                </a:lnTo>
                <a:lnTo>
                  <a:pt x="24" y="121"/>
                </a:lnTo>
                <a:lnTo>
                  <a:pt x="21" y="121"/>
                </a:lnTo>
                <a:lnTo>
                  <a:pt x="17" y="123"/>
                </a:lnTo>
                <a:lnTo>
                  <a:pt x="17" y="121"/>
                </a:lnTo>
                <a:lnTo>
                  <a:pt x="14" y="121"/>
                </a:lnTo>
                <a:lnTo>
                  <a:pt x="12" y="123"/>
                </a:lnTo>
                <a:lnTo>
                  <a:pt x="10" y="126"/>
                </a:lnTo>
                <a:lnTo>
                  <a:pt x="12" y="128"/>
                </a:lnTo>
                <a:lnTo>
                  <a:pt x="10" y="128"/>
                </a:lnTo>
                <a:lnTo>
                  <a:pt x="10" y="130"/>
                </a:lnTo>
                <a:lnTo>
                  <a:pt x="10" y="133"/>
                </a:lnTo>
                <a:lnTo>
                  <a:pt x="12" y="133"/>
                </a:lnTo>
                <a:lnTo>
                  <a:pt x="14" y="130"/>
                </a:lnTo>
                <a:lnTo>
                  <a:pt x="14" y="133"/>
                </a:lnTo>
                <a:lnTo>
                  <a:pt x="12" y="133"/>
                </a:lnTo>
                <a:lnTo>
                  <a:pt x="10" y="135"/>
                </a:lnTo>
                <a:lnTo>
                  <a:pt x="12" y="135"/>
                </a:lnTo>
                <a:lnTo>
                  <a:pt x="14" y="133"/>
                </a:lnTo>
                <a:lnTo>
                  <a:pt x="14" y="135"/>
                </a:lnTo>
                <a:lnTo>
                  <a:pt x="12" y="135"/>
                </a:lnTo>
                <a:lnTo>
                  <a:pt x="12" y="137"/>
                </a:lnTo>
                <a:lnTo>
                  <a:pt x="14" y="135"/>
                </a:lnTo>
                <a:lnTo>
                  <a:pt x="17" y="135"/>
                </a:lnTo>
                <a:lnTo>
                  <a:pt x="19" y="135"/>
                </a:lnTo>
                <a:lnTo>
                  <a:pt x="17" y="135"/>
                </a:lnTo>
                <a:lnTo>
                  <a:pt x="17" y="137"/>
                </a:lnTo>
                <a:lnTo>
                  <a:pt x="19" y="137"/>
                </a:lnTo>
                <a:lnTo>
                  <a:pt x="21" y="137"/>
                </a:lnTo>
                <a:lnTo>
                  <a:pt x="21" y="140"/>
                </a:lnTo>
                <a:lnTo>
                  <a:pt x="19" y="137"/>
                </a:lnTo>
                <a:lnTo>
                  <a:pt x="19" y="140"/>
                </a:lnTo>
                <a:lnTo>
                  <a:pt x="17" y="142"/>
                </a:lnTo>
                <a:lnTo>
                  <a:pt x="14" y="142"/>
                </a:lnTo>
                <a:lnTo>
                  <a:pt x="12" y="142"/>
                </a:lnTo>
                <a:lnTo>
                  <a:pt x="12" y="140"/>
                </a:lnTo>
                <a:lnTo>
                  <a:pt x="10" y="140"/>
                </a:lnTo>
                <a:lnTo>
                  <a:pt x="7" y="142"/>
                </a:lnTo>
                <a:lnTo>
                  <a:pt x="5" y="140"/>
                </a:lnTo>
                <a:lnTo>
                  <a:pt x="5" y="137"/>
                </a:lnTo>
                <a:lnTo>
                  <a:pt x="3" y="137"/>
                </a:lnTo>
                <a:lnTo>
                  <a:pt x="3" y="135"/>
                </a:lnTo>
                <a:lnTo>
                  <a:pt x="0" y="133"/>
                </a:lnTo>
                <a:lnTo>
                  <a:pt x="0" y="130"/>
                </a:lnTo>
                <a:lnTo>
                  <a:pt x="3" y="130"/>
                </a:lnTo>
                <a:lnTo>
                  <a:pt x="3" y="128"/>
                </a:lnTo>
                <a:lnTo>
                  <a:pt x="5" y="128"/>
                </a:lnTo>
                <a:lnTo>
                  <a:pt x="5" y="126"/>
                </a:lnTo>
                <a:lnTo>
                  <a:pt x="5" y="123"/>
                </a:lnTo>
                <a:lnTo>
                  <a:pt x="5" y="121"/>
                </a:lnTo>
                <a:lnTo>
                  <a:pt x="5" y="119"/>
                </a:lnTo>
                <a:lnTo>
                  <a:pt x="7" y="116"/>
                </a:lnTo>
                <a:lnTo>
                  <a:pt x="10" y="116"/>
                </a:lnTo>
                <a:lnTo>
                  <a:pt x="10" y="114"/>
                </a:lnTo>
                <a:lnTo>
                  <a:pt x="12" y="114"/>
                </a:lnTo>
                <a:lnTo>
                  <a:pt x="14" y="114"/>
                </a:lnTo>
                <a:lnTo>
                  <a:pt x="17" y="112"/>
                </a:lnTo>
                <a:lnTo>
                  <a:pt x="19" y="112"/>
                </a:lnTo>
                <a:lnTo>
                  <a:pt x="21" y="112"/>
                </a:lnTo>
                <a:lnTo>
                  <a:pt x="21" y="114"/>
                </a:lnTo>
                <a:lnTo>
                  <a:pt x="21" y="112"/>
                </a:lnTo>
                <a:lnTo>
                  <a:pt x="26" y="112"/>
                </a:lnTo>
                <a:lnTo>
                  <a:pt x="28" y="112"/>
                </a:lnTo>
                <a:lnTo>
                  <a:pt x="31" y="112"/>
                </a:lnTo>
                <a:lnTo>
                  <a:pt x="33" y="112"/>
                </a:lnTo>
                <a:lnTo>
                  <a:pt x="35" y="112"/>
                </a:lnTo>
                <a:lnTo>
                  <a:pt x="38" y="112"/>
                </a:lnTo>
                <a:lnTo>
                  <a:pt x="38" y="109"/>
                </a:lnTo>
                <a:lnTo>
                  <a:pt x="40" y="109"/>
                </a:lnTo>
                <a:lnTo>
                  <a:pt x="40" y="107"/>
                </a:lnTo>
                <a:lnTo>
                  <a:pt x="40" y="105"/>
                </a:lnTo>
                <a:lnTo>
                  <a:pt x="42" y="105"/>
                </a:lnTo>
                <a:lnTo>
                  <a:pt x="45" y="105"/>
                </a:lnTo>
                <a:lnTo>
                  <a:pt x="45" y="102"/>
                </a:lnTo>
                <a:lnTo>
                  <a:pt x="45" y="100"/>
                </a:lnTo>
                <a:lnTo>
                  <a:pt x="42" y="98"/>
                </a:lnTo>
                <a:lnTo>
                  <a:pt x="40" y="98"/>
                </a:lnTo>
                <a:lnTo>
                  <a:pt x="38" y="95"/>
                </a:lnTo>
                <a:lnTo>
                  <a:pt x="35" y="95"/>
                </a:lnTo>
                <a:lnTo>
                  <a:pt x="33" y="95"/>
                </a:lnTo>
                <a:lnTo>
                  <a:pt x="31" y="95"/>
                </a:lnTo>
                <a:lnTo>
                  <a:pt x="28" y="95"/>
                </a:lnTo>
                <a:lnTo>
                  <a:pt x="28" y="98"/>
                </a:lnTo>
                <a:lnTo>
                  <a:pt x="26" y="95"/>
                </a:lnTo>
                <a:lnTo>
                  <a:pt x="26" y="98"/>
                </a:lnTo>
                <a:lnTo>
                  <a:pt x="24" y="98"/>
                </a:lnTo>
                <a:lnTo>
                  <a:pt x="24" y="95"/>
                </a:lnTo>
                <a:lnTo>
                  <a:pt x="21" y="95"/>
                </a:lnTo>
                <a:lnTo>
                  <a:pt x="19" y="95"/>
                </a:lnTo>
                <a:lnTo>
                  <a:pt x="17" y="95"/>
                </a:lnTo>
                <a:lnTo>
                  <a:pt x="17" y="93"/>
                </a:lnTo>
                <a:lnTo>
                  <a:pt x="17" y="91"/>
                </a:lnTo>
                <a:lnTo>
                  <a:pt x="14" y="88"/>
                </a:lnTo>
                <a:lnTo>
                  <a:pt x="12" y="84"/>
                </a:lnTo>
                <a:lnTo>
                  <a:pt x="10" y="81"/>
                </a:lnTo>
                <a:lnTo>
                  <a:pt x="7" y="81"/>
                </a:lnTo>
                <a:lnTo>
                  <a:pt x="10" y="79"/>
                </a:lnTo>
                <a:lnTo>
                  <a:pt x="12" y="79"/>
                </a:lnTo>
                <a:lnTo>
                  <a:pt x="14" y="79"/>
                </a:lnTo>
                <a:lnTo>
                  <a:pt x="17" y="79"/>
                </a:lnTo>
                <a:lnTo>
                  <a:pt x="19" y="79"/>
                </a:lnTo>
                <a:lnTo>
                  <a:pt x="21" y="77"/>
                </a:lnTo>
                <a:lnTo>
                  <a:pt x="24" y="77"/>
                </a:lnTo>
                <a:lnTo>
                  <a:pt x="26" y="77"/>
                </a:lnTo>
                <a:lnTo>
                  <a:pt x="31" y="74"/>
                </a:lnTo>
                <a:lnTo>
                  <a:pt x="33" y="74"/>
                </a:lnTo>
                <a:lnTo>
                  <a:pt x="38" y="74"/>
                </a:lnTo>
                <a:lnTo>
                  <a:pt x="40" y="74"/>
                </a:lnTo>
                <a:lnTo>
                  <a:pt x="42" y="74"/>
                </a:lnTo>
                <a:lnTo>
                  <a:pt x="42" y="77"/>
                </a:lnTo>
                <a:lnTo>
                  <a:pt x="45" y="74"/>
                </a:lnTo>
                <a:lnTo>
                  <a:pt x="49" y="72"/>
                </a:lnTo>
                <a:lnTo>
                  <a:pt x="52" y="72"/>
                </a:lnTo>
                <a:lnTo>
                  <a:pt x="54" y="72"/>
                </a:lnTo>
                <a:lnTo>
                  <a:pt x="61" y="70"/>
                </a:lnTo>
                <a:lnTo>
                  <a:pt x="63" y="70"/>
                </a:lnTo>
                <a:lnTo>
                  <a:pt x="63" y="67"/>
                </a:lnTo>
                <a:lnTo>
                  <a:pt x="65" y="67"/>
                </a:lnTo>
                <a:lnTo>
                  <a:pt x="70" y="67"/>
                </a:lnTo>
                <a:lnTo>
                  <a:pt x="70" y="65"/>
                </a:lnTo>
                <a:lnTo>
                  <a:pt x="72" y="65"/>
                </a:lnTo>
                <a:lnTo>
                  <a:pt x="72" y="67"/>
                </a:lnTo>
                <a:lnTo>
                  <a:pt x="75" y="67"/>
                </a:lnTo>
                <a:lnTo>
                  <a:pt x="77" y="67"/>
                </a:lnTo>
                <a:lnTo>
                  <a:pt x="79" y="67"/>
                </a:lnTo>
                <a:lnTo>
                  <a:pt x="82" y="67"/>
                </a:lnTo>
                <a:lnTo>
                  <a:pt x="84" y="67"/>
                </a:lnTo>
                <a:lnTo>
                  <a:pt x="86" y="67"/>
                </a:lnTo>
                <a:lnTo>
                  <a:pt x="89" y="67"/>
                </a:lnTo>
                <a:lnTo>
                  <a:pt x="91" y="67"/>
                </a:lnTo>
                <a:lnTo>
                  <a:pt x="96" y="65"/>
                </a:lnTo>
                <a:lnTo>
                  <a:pt x="98" y="65"/>
                </a:lnTo>
                <a:lnTo>
                  <a:pt x="98" y="67"/>
                </a:lnTo>
                <a:lnTo>
                  <a:pt x="100" y="67"/>
                </a:lnTo>
                <a:lnTo>
                  <a:pt x="103" y="67"/>
                </a:lnTo>
                <a:lnTo>
                  <a:pt x="105" y="67"/>
                </a:lnTo>
                <a:lnTo>
                  <a:pt x="107" y="67"/>
                </a:lnTo>
                <a:lnTo>
                  <a:pt x="110" y="67"/>
                </a:lnTo>
                <a:lnTo>
                  <a:pt x="110" y="70"/>
                </a:lnTo>
                <a:lnTo>
                  <a:pt x="107" y="70"/>
                </a:lnTo>
                <a:lnTo>
                  <a:pt x="107" y="72"/>
                </a:lnTo>
                <a:lnTo>
                  <a:pt x="110" y="72"/>
                </a:lnTo>
                <a:lnTo>
                  <a:pt x="112" y="72"/>
                </a:lnTo>
                <a:lnTo>
                  <a:pt x="114" y="72"/>
                </a:lnTo>
                <a:lnTo>
                  <a:pt x="114" y="70"/>
                </a:lnTo>
                <a:lnTo>
                  <a:pt x="117" y="70"/>
                </a:lnTo>
                <a:lnTo>
                  <a:pt x="119" y="70"/>
                </a:lnTo>
                <a:lnTo>
                  <a:pt x="121" y="67"/>
                </a:lnTo>
                <a:lnTo>
                  <a:pt x="124" y="67"/>
                </a:lnTo>
                <a:lnTo>
                  <a:pt x="133" y="65"/>
                </a:lnTo>
                <a:lnTo>
                  <a:pt x="138" y="63"/>
                </a:lnTo>
                <a:lnTo>
                  <a:pt x="145" y="60"/>
                </a:lnTo>
                <a:lnTo>
                  <a:pt x="149" y="58"/>
                </a:lnTo>
                <a:lnTo>
                  <a:pt x="154" y="58"/>
                </a:lnTo>
                <a:lnTo>
                  <a:pt x="156" y="56"/>
                </a:lnTo>
                <a:lnTo>
                  <a:pt x="159" y="56"/>
                </a:lnTo>
                <a:lnTo>
                  <a:pt x="161" y="56"/>
                </a:lnTo>
                <a:lnTo>
                  <a:pt x="163" y="53"/>
                </a:lnTo>
                <a:lnTo>
                  <a:pt x="163" y="51"/>
                </a:lnTo>
                <a:lnTo>
                  <a:pt x="161" y="51"/>
                </a:lnTo>
                <a:lnTo>
                  <a:pt x="159" y="51"/>
                </a:lnTo>
                <a:lnTo>
                  <a:pt x="156" y="49"/>
                </a:lnTo>
                <a:lnTo>
                  <a:pt x="156" y="46"/>
                </a:lnTo>
                <a:lnTo>
                  <a:pt x="159" y="44"/>
                </a:lnTo>
                <a:lnTo>
                  <a:pt x="161" y="42"/>
                </a:lnTo>
                <a:lnTo>
                  <a:pt x="161" y="39"/>
                </a:lnTo>
                <a:lnTo>
                  <a:pt x="163" y="39"/>
                </a:lnTo>
                <a:lnTo>
                  <a:pt x="163" y="37"/>
                </a:lnTo>
                <a:lnTo>
                  <a:pt x="163" y="35"/>
                </a:lnTo>
                <a:lnTo>
                  <a:pt x="168" y="32"/>
                </a:lnTo>
                <a:lnTo>
                  <a:pt x="168" y="30"/>
                </a:lnTo>
                <a:lnTo>
                  <a:pt x="168" y="28"/>
                </a:lnTo>
                <a:lnTo>
                  <a:pt x="170" y="25"/>
                </a:lnTo>
                <a:lnTo>
                  <a:pt x="170" y="23"/>
                </a:lnTo>
                <a:lnTo>
                  <a:pt x="170" y="21"/>
                </a:lnTo>
                <a:lnTo>
                  <a:pt x="173" y="21"/>
                </a:lnTo>
                <a:lnTo>
                  <a:pt x="173" y="19"/>
                </a:lnTo>
                <a:lnTo>
                  <a:pt x="175" y="19"/>
                </a:lnTo>
                <a:lnTo>
                  <a:pt x="175" y="16"/>
                </a:lnTo>
                <a:lnTo>
                  <a:pt x="177" y="14"/>
                </a:lnTo>
                <a:lnTo>
                  <a:pt x="177" y="12"/>
                </a:lnTo>
                <a:lnTo>
                  <a:pt x="175" y="12"/>
                </a:lnTo>
                <a:lnTo>
                  <a:pt x="175" y="9"/>
                </a:lnTo>
                <a:lnTo>
                  <a:pt x="177" y="9"/>
                </a:lnTo>
                <a:lnTo>
                  <a:pt x="177" y="7"/>
                </a:lnTo>
                <a:lnTo>
                  <a:pt x="180" y="7"/>
                </a:lnTo>
                <a:lnTo>
                  <a:pt x="182" y="7"/>
                </a:lnTo>
                <a:lnTo>
                  <a:pt x="182" y="9"/>
                </a:lnTo>
                <a:lnTo>
                  <a:pt x="184" y="9"/>
                </a:lnTo>
                <a:lnTo>
                  <a:pt x="187" y="7"/>
                </a:lnTo>
                <a:lnTo>
                  <a:pt x="187" y="5"/>
                </a:lnTo>
                <a:lnTo>
                  <a:pt x="189" y="5"/>
                </a:lnTo>
                <a:lnTo>
                  <a:pt x="189" y="2"/>
                </a:lnTo>
                <a:lnTo>
                  <a:pt x="191" y="2"/>
                </a:lnTo>
                <a:lnTo>
                  <a:pt x="191" y="0"/>
                </a:lnTo>
                <a:lnTo>
                  <a:pt x="193" y="0"/>
                </a:lnTo>
                <a:lnTo>
                  <a:pt x="196" y="2"/>
                </a:lnTo>
                <a:lnTo>
                  <a:pt x="198" y="2"/>
                </a:lnTo>
                <a:lnTo>
                  <a:pt x="200" y="5"/>
                </a:lnTo>
                <a:lnTo>
                  <a:pt x="200" y="7"/>
                </a:lnTo>
                <a:lnTo>
                  <a:pt x="200" y="9"/>
                </a:lnTo>
                <a:lnTo>
                  <a:pt x="200" y="12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52" name="Freeform 29">
            <a:extLst>
              <a:ext uri="{FF2B5EF4-FFF2-40B4-BE49-F238E27FC236}">
                <a16:creationId xmlns:a16="http://schemas.microsoft.com/office/drawing/2014/main" id="{DD956A38-7233-CDF1-601F-EFCE64E2B8D2}"/>
              </a:ext>
            </a:extLst>
          </p:cNvPr>
          <p:cNvSpPr>
            <a:spLocks/>
          </p:cNvSpPr>
          <p:nvPr/>
        </p:nvSpPr>
        <p:spPr bwMode="auto">
          <a:xfrm>
            <a:off x="4207721" y="3918868"/>
            <a:ext cx="139034" cy="149581"/>
          </a:xfrm>
          <a:custGeom>
            <a:avLst/>
            <a:gdLst>
              <a:gd name="T0" fmla="*/ 114 w 118"/>
              <a:gd name="T1" fmla="*/ 79 h 133"/>
              <a:gd name="T2" fmla="*/ 107 w 118"/>
              <a:gd name="T3" fmla="*/ 79 h 133"/>
              <a:gd name="T4" fmla="*/ 79 w 118"/>
              <a:gd name="T5" fmla="*/ 96 h 133"/>
              <a:gd name="T6" fmla="*/ 67 w 118"/>
              <a:gd name="T7" fmla="*/ 110 h 133"/>
              <a:gd name="T8" fmla="*/ 67 w 118"/>
              <a:gd name="T9" fmla="*/ 107 h 133"/>
              <a:gd name="T10" fmla="*/ 65 w 118"/>
              <a:gd name="T11" fmla="*/ 105 h 133"/>
              <a:gd name="T12" fmla="*/ 60 w 118"/>
              <a:gd name="T13" fmla="*/ 100 h 133"/>
              <a:gd name="T14" fmla="*/ 60 w 118"/>
              <a:gd name="T15" fmla="*/ 105 h 133"/>
              <a:gd name="T16" fmla="*/ 63 w 118"/>
              <a:gd name="T17" fmla="*/ 107 h 133"/>
              <a:gd name="T18" fmla="*/ 63 w 118"/>
              <a:gd name="T19" fmla="*/ 107 h 133"/>
              <a:gd name="T20" fmla="*/ 65 w 118"/>
              <a:gd name="T21" fmla="*/ 107 h 133"/>
              <a:gd name="T22" fmla="*/ 65 w 118"/>
              <a:gd name="T23" fmla="*/ 112 h 133"/>
              <a:gd name="T24" fmla="*/ 60 w 118"/>
              <a:gd name="T25" fmla="*/ 117 h 133"/>
              <a:gd name="T26" fmla="*/ 53 w 118"/>
              <a:gd name="T27" fmla="*/ 126 h 133"/>
              <a:gd name="T28" fmla="*/ 49 w 118"/>
              <a:gd name="T29" fmla="*/ 123 h 133"/>
              <a:gd name="T30" fmla="*/ 51 w 118"/>
              <a:gd name="T31" fmla="*/ 119 h 133"/>
              <a:gd name="T32" fmla="*/ 56 w 118"/>
              <a:gd name="T33" fmla="*/ 114 h 133"/>
              <a:gd name="T34" fmla="*/ 56 w 118"/>
              <a:gd name="T35" fmla="*/ 112 h 133"/>
              <a:gd name="T36" fmla="*/ 53 w 118"/>
              <a:gd name="T37" fmla="*/ 117 h 133"/>
              <a:gd name="T38" fmla="*/ 53 w 118"/>
              <a:gd name="T39" fmla="*/ 119 h 133"/>
              <a:gd name="T40" fmla="*/ 49 w 118"/>
              <a:gd name="T41" fmla="*/ 121 h 133"/>
              <a:gd name="T42" fmla="*/ 46 w 118"/>
              <a:gd name="T43" fmla="*/ 121 h 133"/>
              <a:gd name="T44" fmla="*/ 44 w 118"/>
              <a:gd name="T45" fmla="*/ 126 h 133"/>
              <a:gd name="T46" fmla="*/ 42 w 118"/>
              <a:gd name="T47" fmla="*/ 130 h 133"/>
              <a:gd name="T48" fmla="*/ 30 w 118"/>
              <a:gd name="T49" fmla="*/ 133 h 133"/>
              <a:gd name="T50" fmla="*/ 21 w 118"/>
              <a:gd name="T51" fmla="*/ 128 h 133"/>
              <a:gd name="T52" fmla="*/ 18 w 118"/>
              <a:gd name="T53" fmla="*/ 121 h 133"/>
              <a:gd name="T54" fmla="*/ 16 w 118"/>
              <a:gd name="T55" fmla="*/ 121 h 133"/>
              <a:gd name="T56" fmla="*/ 11 w 118"/>
              <a:gd name="T57" fmla="*/ 117 h 133"/>
              <a:gd name="T58" fmla="*/ 14 w 118"/>
              <a:gd name="T59" fmla="*/ 110 h 133"/>
              <a:gd name="T60" fmla="*/ 11 w 118"/>
              <a:gd name="T61" fmla="*/ 105 h 133"/>
              <a:gd name="T62" fmla="*/ 7 w 118"/>
              <a:gd name="T63" fmla="*/ 98 h 133"/>
              <a:gd name="T64" fmla="*/ 4 w 118"/>
              <a:gd name="T65" fmla="*/ 91 h 133"/>
              <a:gd name="T66" fmla="*/ 2 w 118"/>
              <a:gd name="T67" fmla="*/ 86 h 133"/>
              <a:gd name="T68" fmla="*/ 0 w 118"/>
              <a:gd name="T69" fmla="*/ 79 h 133"/>
              <a:gd name="T70" fmla="*/ 7 w 118"/>
              <a:gd name="T71" fmla="*/ 72 h 133"/>
              <a:gd name="T72" fmla="*/ 14 w 118"/>
              <a:gd name="T73" fmla="*/ 75 h 133"/>
              <a:gd name="T74" fmla="*/ 30 w 118"/>
              <a:gd name="T75" fmla="*/ 75 h 133"/>
              <a:gd name="T76" fmla="*/ 32 w 118"/>
              <a:gd name="T77" fmla="*/ 70 h 133"/>
              <a:gd name="T78" fmla="*/ 30 w 118"/>
              <a:gd name="T79" fmla="*/ 65 h 133"/>
              <a:gd name="T80" fmla="*/ 32 w 118"/>
              <a:gd name="T81" fmla="*/ 56 h 133"/>
              <a:gd name="T82" fmla="*/ 37 w 118"/>
              <a:gd name="T83" fmla="*/ 44 h 133"/>
              <a:gd name="T84" fmla="*/ 35 w 118"/>
              <a:gd name="T85" fmla="*/ 33 h 133"/>
              <a:gd name="T86" fmla="*/ 32 w 118"/>
              <a:gd name="T87" fmla="*/ 26 h 133"/>
              <a:gd name="T88" fmla="*/ 28 w 118"/>
              <a:gd name="T89" fmla="*/ 21 h 133"/>
              <a:gd name="T90" fmla="*/ 25 w 118"/>
              <a:gd name="T91" fmla="*/ 12 h 133"/>
              <a:gd name="T92" fmla="*/ 28 w 118"/>
              <a:gd name="T93" fmla="*/ 7 h 133"/>
              <a:gd name="T94" fmla="*/ 25 w 118"/>
              <a:gd name="T95" fmla="*/ 2 h 133"/>
              <a:gd name="T96" fmla="*/ 28 w 118"/>
              <a:gd name="T97" fmla="*/ 0 h 133"/>
              <a:gd name="T98" fmla="*/ 39 w 118"/>
              <a:gd name="T99" fmla="*/ 5 h 133"/>
              <a:gd name="T100" fmla="*/ 49 w 118"/>
              <a:gd name="T101" fmla="*/ 12 h 133"/>
              <a:gd name="T102" fmla="*/ 60 w 118"/>
              <a:gd name="T103" fmla="*/ 19 h 133"/>
              <a:gd name="T104" fmla="*/ 74 w 118"/>
              <a:gd name="T105" fmla="*/ 28 h 133"/>
              <a:gd name="T106" fmla="*/ 76 w 118"/>
              <a:gd name="T107" fmla="*/ 30 h 133"/>
              <a:gd name="T108" fmla="*/ 88 w 118"/>
              <a:gd name="T109" fmla="*/ 37 h 133"/>
              <a:gd name="T110" fmla="*/ 90 w 118"/>
              <a:gd name="T111" fmla="*/ 47 h 133"/>
              <a:gd name="T112" fmla="*/ 95 w 118"/>
              <a:gd name="T113" fmla="*/ 54 h 133"/>
              <a:gd name="T114" fmla="*/ 104 w 118"/>
              <a:gd name="T115" fmla="*/ 61 h 133"/>
              <a:gd name="T116" fmla="*/ 111 w 118"/>
              <a:gd name="T117" fmla="*/ 63 h 133"/>
              <a:gd name="T118" fmla="*/ 111 w 118"/>
              <a:gd name="T119" fmla="*/ 70 h 133"/>
              <a:gd name="T120" fmla="*/ 118 w 118"/>
              <a:gd name="T121" fmla="*/ 77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8" h="133">
                <a:moveTo>
                  <a:pt x="118" y="77"/>
                </a:moveTo>
                <a:lnTo>
                  <a:pt x="118" y="77"/>
                </a:lnTo>
                <a:lnTo>
                  <a:pt x="118" y="77"/>
                </a:lnTo>
                <a:lnTo>
                  <a:pt x="116" y="79"/>
                </a:lnTo>
                <a:lnTo>
                  <a:pt x="114" y="79"/>
                </a:lnTo>
                <a:lnTo>
                  <a:pt x="114" y="79"/>
                </a:lnTo>
                <a:lnTo>
                  <a:pt x="111" y="79"/>
                </a:lnTo>
                <a:lnTo>
                  <a:pt x="111" y="79"/>
                </a:lnTo>
                <a:lnTo>
                  <a:pt x="109" y="79"/>
                </a:lnTo>
                <a:lnTo>
                  <a:pt x="107" y="79"/>
                </a:lnTo>
                <a:lnTo>
                  <a:pt x="107" y="79"/>
                </a:lnTo>
                <a:lnTo>
                  <a:pt x="107" y="79"/>
                </a:lnTo>
                <a:lnTo>
                  <a:pt x="107" y="79"/>
                </a:lnTo>
                <a:lnTo>
                  <a:pt x="95" y="84"/>
                </a:lnTo>
                <a:lnTo>
                  <a:pt x="86" y="89"/>
                </a:lnTo>
                <a:lnTo>
                  <a:pt x="81" y="93"/>
                </a:lnTo>
                <a:lnTo>
                  <a:pt x="81" y="96"/>
                </a:lnTo>
                <a:lnTo>
                  <a:pt x="79" y="96"/>
                </a:lnTo>
                <a:lnTo>
                  <a:pt x="76" y="98"/>
                </a:lnTo>
                <a:lnTo>
                  <a:pt x="74" y="100"/>
                </a:lnTo>
                <a:lnTo>
                  <a:pt x="74" y="100"/>
                </a:lnTo>
                <a:lnTo>
                  <a:pt x="74" y="103"/>
                </a:lnTo>
                <a:lnTo>
                  <a:pt x="74" y="103"/>
                </a:lnTo>
                <a:lnTo>
                  <a:pt x="67" y="110"/>
                </a:lnTo>
                <a:lnTo>
                  <a:pt x="67" y="110"/>
                </a:lnTo>
                <a:lnTo>
                  <a:pt x="67" y="110"/>
                </a:lnTo>
                <a:lnTo>
                  <a:pt x="67" y="110"/>
                </a:lnTo>
                <a:lnTo>
                  <a:pt x="67" y="107"/>
                </a:lnTo>
                <a:lnTo>
                  <a:pt x="67" y="107"/>
                </a:lnTo>
                <a:lnTo>
                  <a:pt x="67" y="107"/>
                </a:lnTo>
                <a:lnTo>
                  <a:pt x="67" y="107"/>
                </a:lnTo>
                <a:lnTo>
                  <a:pt x="67" y="107"/>
                </a:lnTo>
                <a:lnTo>
                  <a:pt x="65" y="105"/>
                </a:lnTo>
                <a:lnTo>
                  <a:pt x="65" y="105"/>
                </a:lnTo>
                <a:lnTo>
                  <a:pt x="65" y="107"/>
                </a:lnTo>
                <a:lnTo>
                  <a:pt x="65" y="105"/>
                </a:lnTo>
                <a:lnTo>
                  <a:pt x="65" y="105"/>
                </a:lnTo>
                <a:lnTo>
                  <a:pt x="63" y="103"/>
                </a:lnTo>
                <a:lnTo>
                  <a:pt x="60" y="103"/>
                </a:lnTo>
                <a:lnTo>
                  <a:pt x="60" y="103"/>
                </a:lnTo>
                <a:lnTo>
                  <a:pt x="60" y="100"/>
                </a:lnTo>
                <a:lnTo>
                  <a:pt x="60" y="100"/>
                </a:lnTo>
                <a:lnTo>
                  <a:pt x="60" y="103"/>
                </a:lnTo>
                <a:lnTo>
                  <a:pt x="60" y="103"/>
                </a:lnTo>
                <a:lnTo>
                  <a:pt x="60" y="103"/>
                </a:lnTo>
                <a:lnTo>
                  <a:pt x="60" y="103"/>
                </a:lnTo>
                <a:lnTo>
                  <a:pt x="60" y="105"/>
                </a:lnTo>
                <a:lnTo>
                  <a:pt x="60" y="105"/>
                </a:lnTo>
                <a:lnTo>
                  <a:pt x="60" y="105"/>
                </a:lnTo>
                <a:lnTo>
                  <a:pt x="60" y="105"/>
                </a:lnTo>
                <a:lnTo>
                  <a:pt x="60" y="105"/>
                </a:lnTo>
                <a:lnTo>
                  <a:pt x="63" y="105"/>
                </a:lnTo>
                <a:lnTo>
                  <a:pt x="63" y="105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5" y="107"/>
                </a:lnTo>
                <a:lnTo>
                  <a:pt x="65" y="107"/>
                </a:lnTo>
                <a:lnTo>
                  <a:pt x="65" y="107"/>
                </a:lnTo>
                <a:lnTo>
                  <a:pt x="65" y="107"/>
                </a:lnTo>
                <a:lnTo>
                  <a:pt x="65" y="107"/>
                </a:lnTo>
                <a:lnTo>
                  <a:pt x="65" y="110"/>
                </a:lnTo>
                <a:lnTo>
                  <a:pt x="65" y="110"/>
                </a:lnTo>
                <a:lnTo>
                  <a:pt x="65" y="110"/>
                </a:lnTo>
                <a:lnTo>
                  <a:pt x="65" y="112"/>
                </a:lnTo>
                <a:lnTo>
                  <a:pt x="65" y="114"/>
                </a:lnTo>
                <a:lnTo>
                  <a:pt x="65" y="112"/>
                </a:lnTo>
                <a:lnTo>
                  <a:pt x="65" y="114"/>
                </a:lnTo>
                <a:lnTo>
                  <a:pt x="65" y="114"/>
                </a:lnTo>
                <a:lnTo>
                  <a:pt x="63" y="114"/>
                </a:lnTo>
                <a:lnTo>
                  <a:pt x="60" y="114"/>
                </a:lnTo>
                <a:lnTo>
                  <a:pt x="60" y="117"/>
                </a:lnTo>
                <a:lnTo>
                  <a:pt x="60" y="117"/>
                </a:lnTo>
                <a:lnTo>
                  <a:pt x="58" y="117"/>
                </a:lnTo>
                <a:lnTo>
                  <a:pt x="58" y="117"/>
                </a:lnTo>
                <a:lnTo>
                  <a:pt x="58" y="119"/>
                </a:lnTo>
                <a:lnTo>
                  <a:pt x="58" y="119"/>
                </a:lnTo>
                <a:lnTo>
                  <a:pt x="56" y="121"/>
                </a:lnTo>
                <a:lnTo>
                  <a:pt x="53" y="126"/>
                </a:lnTo>
                <a:lnTo>
                  <a:pt x="51" y="126"/>
                </a:lnTo>
                <a:lnTo>
                  <a:pt x="49" y="126"/>
                </a:lnTo>
                <a:lnTo>
                  <a:pt x="49" y="126"/>
                </a:lnTo>
                <a:lnTo>
                  <a:pt x="49" y="126"/>
                </a:lnTo>
                <a:lnTo>
                  <a:pt x="49" y="126"/>
                </a:lnTo>
                <a:lnTo>
                  <a:pt x="49" y="123"/>
                </a:lnTo>
                <a:lnTo>
                  <a:pt x="49" y="123"/>
                </a:lnTo>
                <a:lnTo>
                  <a:pt x="49" y="121"/>
                </a:lnTo>
                <a:lnTo>
                  <a:pt x="51" y="121"/>
                </a:lnTo>
                <a:lnTo>
                  <a:pt x="51" y="119"/>
                </a:lnTo>
                <a:lnTo>
                  <a:pt x="51" y="119"/>
                </a:lnTo>
                <a:lnTo>
                  <a:pt x="51" y="119"/>
                </a:lnTo>
                <a:lnTo>
                  <a:pt x="56" y="117"/>
                </a:lnTo>
                <a:lnTo>
                  <a:pt x="56" y="117"/>
                </a:lnTo>
                <a:lnTo>
                  <a:pt x="56" y="117"/>
                </a:lnTo>
                <a:lnTo>
                  <a:pt x="58" y="117"/>
                </a:lnTo>
                <a:lnTo>
                  <a:pt x="56" y="114"/>
                </a:lnTo>
                <a:lnTo>
                  <a:pt x="56" y="114"/>
                </a:lnTo>
                <a:lnTo>
                  <a:pt x="56" y="112"/>
                </a:lnTo>
                <a:lnTo>
                  <a:pt x="56" y="114"/>
                </a:lnTo>
                <a:lnTo>
                  <a:pt x="56" y="114"/>
                </a:lnTo>
                <a:lnTo>
                  <a:pt x="56" y="114"/>
                </a:lnTo>
                <a:lnTo>
                  <a:pt x="56" y="114"/>
                </a:lnTo>
                <a:lnTo>
                  <a:pt x="56" y="112"/>
                </a:lnTo>
                <a:lnTo>
                  <a:pt x="53" y="112"/>
                </a:lnTo>
                <a:lnTo>
                  <a:pt x="53" y="112"/>
                </a:lnTo>
                <a:lnTo>
                  <a:pt x="53" y="112"/>
                </a:lnTo>
                <a:lnTo>
                  <a:pt x="53" y="117"/>
                </a:lnTo>
                <a:lnTo>
                  <a:pt x="53" y="117"/>
                </a:lnTo>
                <a:lnTo>
                  <a:pt x="53" y="117"/>
                </a:lnTo>
                <a:lnTo>
                  <a:pt x="53" y="114"/>
                </a:lnTo>
                <a:lnTo>
                  <a:pt x="53" y="117"/>
                </a:lnTo>
                <a:lnTo>
                  <a:pt x="53" y="117"/>
                </a:lnTo>
                <a:lnTo>
                  <a:pt x="53" y="117"/>
                </a:lnTo>
                <a:lnTo>
                  <a:pt x="53" y="117"/>
                </a:lnTo>
                <a:lnTo>
                  <a:pt x="53" y="119"/>
                </a:lnTo>
                <a:lnTo>
                  <a:pt x="53" y="119"/>
                </a:lnTo>
                <a:lnTo>
                  <a:pt x="51" y="119"/>
                </a:lnTo>
                <a:lnTo>
                  <a:pt x="51" y="119"/>
                </a:lnTo>
                <a:lnTo>
                  <a:pt x="51" y="119"/>
                </a:lnTo>
                <a:lnTo>
                  <a:pt x="51" y="119"/>
                </a:lnTo>
                <a:lnTo>
                  <a:pt x="49" y="121"/>
                </a:lnTo>
                <a:lnTo>
                  <a:pt x="46" y="123"/>
                </a:lnTo>
                <a:lnTo>
                  <a:pt x="46" y="123"/>
                </a:lnTo>
                <a:lnTo>
                  <a:pt x="46" y="123"/>
                </a:lnTo>
                <a:lnTo>
                  <a:pt x="46" y="123"/>
                </a:lnTo>
                <a:lnTo>
                  <a:pt x="46" y="121"/>
                </a:lnTo>
                <a:lnTo>
                  <a:pt x="46" y="121"/>
                </a:lnTo>
                <a:lnTo>
                  <a:pt x="44" y="121"/>
                </a:lnTo>
                <a:lnTo>
                  <a:pt x="44" y="121"/>
                </a:lnTo>
                <a:lnTo>
                  <a:pt x="44" y="121"/>
                </a:lnTo>
                <a:lnTo>
                  <a:pt x="44" y="123"/>
                </a:lnTo>
                <a:lnTo>
                  <a:pt x="44" y="123"/>
                </a:lnTo>
                <a:lnTo>
                  <a:pt x="44" y="126"/>
                </a:lnTo>
                <a:lnTo>
                  <a:pt x="46" y="126"/>
                </a:lnTo>
                <a:lnTo>
                  <a:pt x="49" y="126"/>
                </a:lnTo>
                <a:lnTo>
                  <a:pt x="46" y="128"/>
                </a:lnTo>
                <a:lnTo>
                  <a:pt x="44" y="130"/>
                </a:lnTo>
                <a:lnTo>
                  <a:pt x="42" y="130"/>
                </a:lnTo>
                <a:lnTo>
                  <a:pt x="42" y="130"/>
                </a:lnTo>
                <a:lnTo>
                  <a:pt x="42" y="130"/>
                </a:lnTo>
                <a:lnTo>
                  <a:pt x="37" y="133"/>
                </a:lnTo>
                <a:lnTo>
                  <a:pt x="35" y="130"/>
                </a:lnTo>
                <a:lnTo>
                  <a:pt x="32" y="130"/>
                </a:lnTo>
                <a:lnTo>
                  <a:pt x="30" y="130"/>
                </a:lnTo>
                <a:lnTo>
                  <a:pt x="30" y="133"/>
                </a:lnTo>
                <a:lnTo>
                  <a:pt x="30" y="133"/>
                </a:lnTo>
                <a:lnTo>
                  <a:pt x="28" y="133"/>
                </a:lnTo>
                <a:lnTo>
                  <a:pt x="28" y="130"/>
                </a:lnTo>
                <a:lnTo>
                  <a:pt x="25" y="130"/>
                </a:lnTo>
                <a:lnTo>
                  <a:pt x="23" y="130"/>
                </a:lnTo>
                <a:lnTo>
                  <a:pt x="21" y="128"/>
                </a:lnTo>
                <a:lnTo>
                  <a:pt x="21" y="126"/>
                </a:lnTo>
                <a:lnTo>
                  <a:pt x="21" y="123"/>
                </a:lnTo>
                <a:lnTo>
                  <a:pt x="21" y="123"/>
                </a:lnTo>
                <a:lnTo>
                  <a:pt x="18" y="123"/>
                </a:lnTo>
                <a:lnTo>
                  <a:pt x="18" y="121"/>
                </a:lnTo>
                <a:lnTo>
                  <a:pt x="18" y="121"/>
                </a:lnTo>
                <a:lnTo>
                  <a:pt x="18" y="121"/>
                </a:lnTo>
                <a:lnTo>
                  <a:pt x="16" y="119"/>
                </a:lnTo>
                <a:lnTo>
                  <a:pt x="16" y="119"/>
                </a:lnTo>
                <a:lnTo>
                  <a:pt x="16" y="119"/>
                </a:lnTo>
                <a:lnTo>
                  <a:pt x="16" y="121"/>
                </a:lnTo>
                <a:lnTo>
                  <a:pt x="16" y="121"/>
                </a:lnTo>
                <a:lnTo>
                  <a:pt x="14" y="119"/>
                </a:lnTo>
                <a:lnTo>
                  <a:pt x="14" y="119"/>
                </a:lnTo>
                <a:lnTo>
                  <a:pt x="11" y="119"/>
                </a:lnTo>
                <a:lnTo>
                  <a:pt x="11" y="117"/>
                </a:lnTo>
                <a:lnTo>
                  <a:pt x="11" y="117"/>
                </a:lnTo>
                <a:lnTo>
                  <a:pt x="11" y="117"/>
                </a:lnTo>
                <a:lnTo>
                  <a:pt x="11" y="117"/>
                </a:lnTo>
                <a:lnTo>
                  <a:pt x="11" y="114"/>
                </a:lnTo>
                <a:lnTo>
                  <a:pt x="11" y="114"/>
                </a:lnTo>
                <a:lnTo>
                  <a:pt x="11" y="114"/>
                </a:lnTo>
                <a:lnTo>
                  <a:pt x="11" y="112"/>
                </a:lnTo>
                <a:lnTo>
                  <a:pt x="14" y="110"/>
                </a:lnTo>
                <a:lnTo>
                  <a:pt x="14" y="110"/>
                </a:lnTo>
                <a:lnTo>
                  <a:pt x="14" y="107"/>
                </a:lnTo>
                <a:lnTo>
                  <a:pt x="14" y="107"/>
                </a:lnTo>
                <a:lnTo>
                  <a:pt x="14" y="107"/>
                </a:lnTo>
                <a:lnTo>
                  <a:pt x="11" y="105"/>
                </a:lnTo>
                <a:lnTo>
                  <a:pt x="11" y="105"/>
                </a:lnTo>
                <a:lnTo>
                  <a:pt x="11" y="105"/>
                </a:lnTo>
                <a:lnTo>
                  <a:pt x="9" y="105"/>
                </a:lnTo>
                <a:lnTo>
                  <a:pt x="9" y="103"/>
                </a:lnTo>
                <a:lnTo>
                  <a:pt x="9" y="103"/>
                </a:lnTo>
                <a:lnTo>
                  <a:pt x="9" y="100"/>
                </a:lnTo>
                <a:lnTo>
                  <a:pt x="7" y="98"/>
                </a:lnTo>
                <a:lnTo>
                  <a:pt x="7" y="98"/>
                </a:lnTo>
                <a:lnTo>
                  <a:pt x="7" y="96"/>
                </a:lnTo>
                <a:lnTo>
                  <a:pt x="7" y="93"/>
                </a:lnTo>
                <a:lnTo>
                  <a:pt x="7" y="93"/>
                </a:lnTo>
                <a:lnTo>
                  <a:pt x="7" y="93"/>
                </a:lnTo>
                <a:lnTo>
                  <a:pt x="4" y="91"/>
                </a:lnTo>
                <a:lnTo>
                  <a:pt x="4" y="91"/>
                </a:lnTo>
                <a:lnTo>
                  <a:pt x="4" y="91"/>
                </a:lnTo>
                <a:lnTo>
                  <a:pt x="2" y="89"/>
                </a:lnTo>
                <a:lnTo>
                  <a:pt x="2" y="86"/>
                </a:lnTo>
                <a:lnTo>
                  <a:pt x="2" y="86"/>
                </a:lnTo>
                <a:lnTo>
                  <a:pt x="2" y="86"/>
                </a:lnTo>
                <a:lnTo>
                  <a:pt x="0" y="84"/>
                </a:lnTo>
                <a:lnTo>
                  <a:pt x="0" y="84"/>
                </a:lnTo>
                <a:lnTo>
                  <a:pt x="0" y="82"/>
                </a:lnTo>
                <a:lnTo>
                  <a:pt x="0" y="82"/>
                </a:lnTo>
                <a:lnTo>
                  <a:pt x="0" y="79"/>
                </a:lnTo>
                <a:lnTo>
                  <a:pt x="0" y="79"/>
                </a:lnTo>
                <a:lnTo>
                  <a:pt x="2" y="77"/>
                </a:lnTo>
                <a:lnTo>
                  <a:pt x="4" y="75"/>
                </a:lnTo>
                <a:lnTo>
                  <a:pt x="4" y="75"/>
                </a:lnTo>
                <a:lnTo>
                  <a:pt x="4" y="72"/>
                </a:lnTo>
                <a:lnTo>
                  <a:pt x="4" y="72"/>
                </a:lnTo>
                <a:lnTo>
                  <a:pt x="7" y="72"/>
                </a:lnTo>
                <a:lnTo>
                  <a:pt x="7" y="72"/>
                </a:lnTo>
                <a:lnTo>
                  <a:pt x="7" y="72"/>
                </a:lnTo>
                <a:lnTo>
                  <a:pt x="11" y="72"/>
                </a:lnTo>
                <a:lnTo>
                  <a:pt x="11" y="75"/>
                </a:lnTo>
                <a:lnTo>
                  <a:pt x="11" y="75"/>
                </a:lnTo>
                <a:lnTo>
                  <a:pt x="14" y="75"/>
                </a:lnTo>
                <a:lnTo>
                  <a:pt x="16" y="77"/>
                </a:lnTo>
                <a:lnTo>
                  <a:pt x="16" y="77"/>
                </a:lnTo>
                <a:lnTo>
                  <a:pt x="16" y="77"/>
                </a:lnTo>
                <a:lnTo>
                  <a:pt x="18" y="77"/>
                </a:lnTo>
                <a:lnTo>
                  <a:pt x="25" y="77"/>
                </a:lnTo>
                <a:lnTo>
                  <a:pt x="30" y="75"/>
                </a:lnTo>
                <a:lnTo>
                  <a:pt x="30" y="75"/>
                </a:lnTo>
                <a:lnTo>
                  <a:pt x="30" y="72"/>
                </a:lnTo>
                <a:lnTo>
                  <a:pt x="32" y="72"/>
                </a:lnTo>
                <a:lnTo>
                  <a:pt x="32" y="72"/>
                </a:lnTo>
                <a:lnTo>
                  <a:pt x="32" y="70"/>
                </a:lnTo>
                <a:lnTo>
                  <a:pt x="32" y="70"/>
                </a:lnTo>
                <a:lnTo>
                  <a:pt x="32" y="70"/>
                </a:lnTo>
                <a:lnTo>
                  <a:pt x="30" y="68"/>
                </a:lnTo>
                <a:lnTo>
                  <a:pt x="30" y="68"/>
                </a:lnTo>
                <a:lnTo>
                  <a:pt x="30" y="68"/>
                </a:lnTo>
                <a:lnTo>
                  <a:pt x="30" y="68"/>
                </a:lnTo>
                <a:lnTo>
                  <a:pt x="30" y="65"/>
                </a:lnTo>
                <a:lnTo>
                  <a:pt x="30" y="63"/>
                </a:lnTo>
                <a:lnTo>
                  <a:pt x="30" y="63"/>
                </a:lnTo>
                <a:lnTo>
                  <a:pt x="30" y="58"/>
                </a:lnTo>
                <a:lnTo>
                  <a:pt x="30" y="58"/>
                </a:lnTo>
                <a:lnTo>
                  <a:pt x="30" y="56"/>
                </a:lnTo>
                <a:lnTo>
                  <a:pt x="32" y="56"/>
                </a:lnTo>
                <a:lnTo>
                  <a:pt x="32" y="54"/>
                </a:lnTo>
                <a:lnTo>
                  <a:pt x="32" y="54"/>
                </a:lnTo>
                <a:lnTo>
                  <a:pt x="32" y="54"/>
                </a:lnTo>
                <a:lnTo>
                  <a:pt x="35" y="54"/>
                </a:lnTo>
                <a:lnTo>
                  <a:pt x="35" y="51"/>
                </a:lnTo>
                <a:lnTo>
                  <a:pt x="37" y="44"/>
                </a:lnTo>
                <a:lnTo>
                  <a:pt x="37" y="42"/>
                </a:lnTo>
                <a:lnTo>
                  <a:pt x="37" y="40"/>
                </a:lnTo>
                <a:lnTo>
                  <a:pt x="37" y="37"/>
                </a:lnTo>
                <a:lnTo>
                  <a:pt x="37" y="37"/>
                </a:lnTo>
                <a:lnTo>
                  <a:pt x="35" y="33"/>
                </a:lnTo>
                <a:lnTo>
                  <a:pt x="35" y="33"/>
                </a:lnTo>
                <a:lnTo>
                  <a:pt x="35" y="30"/>
                </a:lnTo>
                <a:lnTo>
                  <a:pt x="35" y="30"/>
                </a:lnTo>
                <a:lnTo>
                  <a:pt x="30" y="28"/>
                </a:lnTo>
                <a:lnTo>
                  <a:pt x="30" y="26"/>
                </a:lnTo>
                <a:lnTo>
                  <a:pt x="30" y="26"/>
                </a:lnTo>
                <a:lnTo>
                  <a:pt x="32" y="26"/>
                </a:lnTo>
                <a:lnTo>
                  <a:pt x="32" y="26"/>
                </a:lnTo>
                <a:lnTo>
                  <a:pt x="30" y="23"/>
                </a:lnTo>
                <a:lnTo>
                  <a:pt x="30" y="23"/>
                </a:lnTo>
                <a:lnTo>
                  <a:pt x="30" y="23"/>
                </a:lnTo>
                <a:lnTo>
                  <a:pt x="28" y="23"/>
                </a:lnTo>
                <a:lnTo>
                  <a:pt x="28" y="21"/>
                </a:lnTo>
                <a:lnTo>
                  <a:pt x="25" y="16"/>
                </a:lnTo>
                <a:lnTo>
                  <a:pt x="25" y="14"/>
                </a:lnTo>
                <a:lnTo>
                  <a:pt x="25" y="12"/>
                </a:lnTo>
                <a:lnTo>
                  <a:pt x="25" y="12"/>
                </a:lnTo>
                <a:lnTo>
                  <a:pt x="25" y="12"/>
                </a:lnTo>
                <a:lnTo>
                  <a:pt x="25" y="12"/>
                </a:lnTo>
                <a:lnTo>
                  <a:pt x="25" y="9"/>
                </a:lnTo>
                <a:lnTo>
                  <a:pt x="28" y="9"/>
                </a:lnTo>
                <a:lnTo>
                  <a:pt x="28" y="7"/>
                </a:lnTo>
                <a:lnTo>
                  <a:pt x="28" y="7"/>
                </a:lnTo>
                <a:lnTo>
                  <a:pt x="28" y="7"/>
                </a:lnTo>
                <a:lnTo>
                  <a:pt x="28" y="7"/>
                </a:lnTo>
                <a:lnTo>
                  <a:pt x="28" y="7"/>
                </a:lnTo>
                <a:lnTo>
                  <a:pt x="25" y="5"/>
                </a:lnTo>
                <a:lnTo>
                  <a:pt x="25" y="5"/>
                </a:lnTo>
                <a:lnTo>
                  <a:pt x="25" y="5"/>
                </a:lnTo>
                <a:lnTo>
                  <a:pt x="25" y="5"/>
                </a:lnTo>
                <a:lnTo>
                  <a:pt x="25" y="2"/>
                </a:lnTo>
                <a:lnTo>
                  <a:pt x="25" y="2"/>
                </a:lnTo>
                <a:lnTo>
                  <a:pt x="28" y="2"/>
                </a:lnTo>
                <a:lnTo>
                  <a:pt x="28" y="0"/>
                </a:lnTo>
                <a:lnTo>
                  <a:pt x="28" y="0"/>
                </a:lnTo>
                <a:lnTo>
                  <a:pt x="28" y="0"/>
                </a:lnTo>
                <a:lnTo>
                  <a:pt x="28" y="0"/>
                </a:lnTo>
                <a:lnTo>
                  <a:pt x="30" y="0"/>
                </a:lnTo>
                <a:lnTo>
                  <a:pt x="30" y="0"/>
                </a:lnTo>
                <a:lnTo>
                  <a:pt x="35" y="2"/>
                </a:lnTo>
                <a:lnTo>
                  <a:pt x="37" y="2"/>
                </a:lnTo>
                <a:lnTo>
                  <a:pt x="37" y="5"/>
                </a:lnTo>
                <a:lnTo>
                  <a:pt x="39" y="5"/>
                </a:lnTo>
                <a:lnTo>
                  <a:pt x="42" y="7"/>
                </a:lnTo>
                <a:lnTo>
                  <a:pt x="42" y="9"/>
                </a:lnTo>
                <a:lnTo>
                  <a:pt x="42" y="7"/>
                </a:lnTo>
                <a:lnTo>
                  <a:pt x="46" y="9"/>
                </a:lnTo>
                <a:lnTo>
                  <a:pt x="49" y="9"/>
                </a:lnTo>
                <a:lnTo>
                  <a:pt x="49" y="12"/>
                </a:lnTo>
                <a:lnTo>
                  <a:pt x="51" y="14"/>
                </a:lnTo>
                <a:lnTo>
                  <a:pt x="56" y="16"/>
                </a:lnTo>
                <a:lnTo>
                  <a:pt x="56" y="16"/>
                </a:lnTo>
                <a:lnTo>
                  <a:pt x="58" y="19"/>
                </a:lnTo>
                <a:lnTo>
                  <a:pt x="58" y="19"/>
                </a:lnTo>
                <a:lnTo>
                  <a:pt x="60" y="19"/>
                </a:lnTo>
                <a:lnTo>
                  <a:pt x="63" y="19"/>
                </a:lnTo>
                <a:lnTo>
                  <a:pt x="67" y="21"/>
                </a:lnTo>
                <a:lnTo>
                  <a:pt x="70" y="23"/>
                </a:lnTo>
                <a:lnTo>
                  <a:pt x="70" y="23"/>
                </a:lnTo>
                <a:lnTo>
                  <a:pt x="74" y="28"/>
                </a:lnTo>
                <a:lnTo>
                  <a:pt x="74" y="28"/>
                </a:lnTo>
                <a:lnTo>
                  <a:pt x="74" y="30"/>
                </a:lnTo>
                <a:lnTo>
                  <a:pt x="74" y="30"/>
                </a:lnTo>
                <a:lnTo>
                  <a:pt x="74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9" y="33"/>
                </a:lnTo>
                <a:lnTo>
                  <a:pt x="81" y="33"/>
                </a:lnTo>
                <a:lnTo>
                  <a:pt x="83" y="37"/>
                </a:lnTo>
                <a:lnTo>
                  <a:pt x="86" y="37"/>
                </a:lnTo>
                <a:lnTo>
                  <a:pt x="86" y="37"/>
                </a:lnTo>
                <a:lnTo>
                  <a:pt x="88" y="37"/>
                </a:lnTo>
                <a:lnTo>
                  <a:pt x="88" y="37"/>
                </a:lnTo>
                <a:lnTo>
                  <a:pt x="90" y="37"/>
                </a:lnTo>
                <a:lnTo>
                  <a:pt x="90" y="40"/>
                </a:lnTo>
                <a:lnTo>
                  <a:pt x="90" y="42"/>
                </a:lnTo>
                <a:lnTo>
                  <a:pt x="90" y="47"/>
                </a:lnTo>
                <a:lnTo>
                  <a:pt x="90" y="47"/>
                </a:lnTo>
                <a:lnTo>
                  <a:pt x="90" y="49"/>
                </a:lnTo>
                <a:lnTo>
                  <a:pt x="93" y="49"/>
                </a:lnTo>
                <a:lnTo>
                  <a:pt x="95" y="51"/>
                </a:lnTo>
                <a:lnTo>
                  <a:pt x="95" y="51"/>
                </a:lnTo>
                <a:lnTo>
                  <a:pt x="95" y="54"/>
                </a:lnTo>
                <a:lnTo>
                  <a:pt x="95" y="54"/>
                </a:lnTo>
                <a:lnTo>
                  <a:pt x="95" y="56"/>
                </a:lnTo>
                <a:lnTo>
                  <a:pt x="97" y="56"/>
                </a:lnTo>
                <a:lnTo>
                  <a:pt x="100" y="56"/>
                </a:lnTo>
                <a:lnTo>
                  <a:pt x="100" y="56"/>
                </a:lnTo>
                <a:lnTo>
                  <a:pt x="102" y="58"/>
                </a:lnTo>
                <a:lnTo>
                  <a:pt x="104" y="61"/>
                </a:lnTo>
                <a:lnTo>
                  <a:pt x="104" y="61"/>
                </a:lnTo>
                <a:lnTo>
                  <a:pt x="104" y="61"/>
                </a:lnTo>
                <a:lnTo>
                  <a:pt x="107" y="58"/>
                </a:lnTo>
                <a:lnTo>
                  <a:pt x="107" y="58"/>
                </a:lnTo>
                <a:lnTo>
                  <a:pt x="109" y="61"/>
                </a:lnTo>
                <a:lnTo>
                  <a:pt x="111" y="63"/>
                </a:lnTo>
                <a:lnTo>
                  <a:pt x="111" y="63"/>
                </a:lnTo>
                <a:lnTo>
                  <a:pt x="111" y="65"/>
                </a:lnTo>
                <a:lnTo>
                  <a:pt x="111" y="68"/>
                </a:lnTo>
                <a:lnTo>
                  <a:pt x="111" y="68"/>
                </a:lnTo>
                <a:lnTo>
                  <a:pt x="111" y="70"/>
                </a:lnTo>
                <a:lnTo>
                  <a:pt x="111" y="70"/>
                </a:lnTo>
                <a:lnTo>
                  <a:pt x="114" y="72"/>
                </a:lnTo>
                <a:lnTo>
                  <a:pt x="116" y="70"/>
                </a:lnTo>
                <a:lnTo>
                  <a:pt x="118" y="72"/>
                </a:lnTo>
                <a:lnTo>
                  <a:pt x="118" y="72"/>
                </a:lnTo>
                <a:lnTo>
                  <a:pt x="118" y="72"/>
                </a:lnTo>
                <a:lnTo>
                  <a:pt x="118" y="77"/>
                </a:lnTo>
                <a:lnTo>
                  <a:pt x="118" y="77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53" name="Freeform 30">
            <a:extLst>
              <a:ext uri="{FF2B5EF4-FFF2-40B4-BE49-F238E27FC236}">
                <a16:creationId xmlns:a16="http://schemas.microsoft.com/office/drawing/2014/main" id="{2CCA1979-2C72-A07D-46EA-21741CE5B795}"/>
              </a:ext>
            </a:extLst>
          </p:cNvPr>
          <p:cNvSpPr>
            <a:spLocks/>
          </p:cNvSpPr>
          <p:nvPr/>
        </p:nvSpPr>
        <p:spPr bwMode="auto">
          <a:xfrm>
            <a:off x="2183488" y="2672738"/>
            <a:ext cx="493687" cy="520721"/>
          </a:xfrm>
          <a:custGeom>
            <a:avLst/>
            <a:gdLst>
              <a:gd name="T0" fmla="*/ 340 w 419"/>
              <a:gd name="T1" fmla="*/ 23 h 463"/>
              <a:gd name="T2" fmla="*/ 331 w 419"/>
              <a:gd name="T3" fmla="*/ 47 h 463"/>
              <a:gd name="T4" fmla="*/ 338 w 419"/>
              <a:gd name="T5" fmla="*/ 54 h 463"/>
              <a:gd name="T6" fmla="*/ 359 w 419"/>
              <a:gd name="T7" fmla="*/ 61 h 463"/>
              <a:gd name="T8" fmla="*/ 359 w 419"/>
              <a:gd name="T9" fmla="*/ 75 h 463"/>
              <a:gd name="T10" fmla="*/ 373 w 419"/>
              <a:gd name="T11" fmla="*/ 91 h 463"/>
              <a:gd name="T12" fmla="*/ 370 w 419"/>
              <a:gd name="T13" fmla="*/ 102 h 463"/>
              <a:gd name="T14" fmla="*/ 352 w 419"/>
              <a:gd name="T15" fmla="*/ 119 h 463"/>
              <a:gd name="T16" fmla="*/ 352 w 419"/>
              <a:gd name="T17" fmla="*/ 135 h 463"/>
              <a:gd name="T18" fmla="*/ 342 w 419"/>
              <a:gd name="T19" fmla="*/ 156 h 463"/>
              <a:gd name="T20" fmla="*/ 345 w 419"/>
              <a:gd name="T21" fmla="*/ 189 h 463"/>
              <a:gd name="T22" fmla="*/ 354 w 419"/>
              <a:gd name="T23" fmla="*/ 207 h 463"/>
              <a:gd name="T24" fmla="*/ 359 w 419"/>
              <a:gd name="T25" fmla="*/ 226 h 463"/>
              <a:gd name="T26" fmla="*/ 363 w 419"/>
              <a:gd name="T27" fmla="*/ 240 h 463"/>
              <a:gd name="T28" fmla="*/ 373 w 419"/>
              <a:gd name="T29" fmla="*/ 249 h 463"/>
              <a:gd name="T30" fmla="*/ 389 w 419"/>
              <a:gd name="T31" fmla="*/ 263 h 463"/>
              <a:gd name="T32" fmla="*/ 340 w 419"/>
              <a:gd name="T33" fmla="*/ 352 h 463"/>
              <a:gd name="T34" fmla="*/ 326 w 419"/>
              <a:gd name="T35" fmla="*/ 368 h 463"/>
              <a:gd name="T36" fmla="*/ 319 w 419"/>
              <a:gd name="T37" fmla="*/ 389 h 463"/>
              <a:gd name="T38" fmla="*/ 319 w 419"/>
              <a:gd name="T39" fmla="*/ 410 h 463"/>
              <a:gd name="T40" fmla="*/ 305 w 419"/>
              <a:gd name="T41" fmla="*/ 421 h 463"/>
              <a:gd name="T42" fmla="*/ 289 w 419"/>
              <a:gd name="T43" fmla="*/ 419 h 463"/>
              <a:gd name="T44" fmla="*/ 272 w 419"/>
              <a:gd name="T45" fmla="*/ 403 h 463"/>
              <a:gd name="T46" fmla="*/ 256 w 419"/>
              <a:gd name="T47" fmla="*/ 405 h 463"/>
              <a:gd name="T48" fmla="*/ 235 w 419"/>
              <a:gd name="T49" fmla="*/ 419 h 463"/>
              <a:gd name="T50" fmla="*/ 233 w 419"/>
              <a:gd name="T51" fmla="*/ 442 h 463"/>
              <a:gd name="T52" fmla="*/ 224 w 419"/>
              <a:gd name="T53" fmla="*/ 461 h 463"/>
              <a:gd name="T54" fmla="*/ 205 w 419"/>
              <a:gd name="T55" fmla="*/ 449 h 463"/>
              <a:gd name="T56" fmla="*/ 184 w 419"/>
              <a:gd name="T57" fmla="*/ 433 h 463"/>
              <a:gd name="T58" fmla="*/ 172 w 419"/>
              <a:gd name="T59" fmla="*/ 414 h 463"/>
              <a:gd name="T60" fmla="*/ 179 w 419"/>
              <a:gd name="T61" fmla="*/ 400 h 463"/>
              <a:gd name="T62" fmla="*/ 170 w 419"/>
              <a:gd name="T63" fmla="*/ 379 h 463"/>
              <a:gd name="T64" fmla="*/ 168 w 419"/>
              <a:gd name="T65" fmla="*/ 361 h 463"/>
              <a:gd name="T66" fmla="*/ 168 w 419"/>
              <a:gd name="T67" fmla="*/ 335 h 463"/>
              <a:gd name="T68" fmla="*/ 172 w 419"/>
              <a:gd name="T69" fmla="*/ 312 h 463"/>
              <a:gd name="T70" fmla="*/ 161 w 419"/>
              <a:gd name="T71" fmla="*/ 272 h 463"/>
              <a:gd name="T72" fmla="*/ 147 w 419"/>
              <a:gd name="T73" fmla="*/ 258 h 463"/>
              <a:gd name="T74" fmla="*/ 154 w 419"/>
              <a:gd name="T75" fmla="*/ 237 h 463"/>
              <a:gd name="T76" fmla="*/ 133 w 419"/>
              <a:gd name="T77" fmla="*/ 228 h 463"/>
              <a:gd name="T78" fmla="*/ 121 w 419"/>
              <a:gd name="T79" fmla="*/ 219 h 463"/>
              <a:gd name="T80" fmla="*/ 105 w 419"/>
              <a:gd name="T81" fmla="*/ 207 h 463"/>
              <a:gd name="T82" fmla="*/ 65 w 419"/>
              <a:gd name="T83" fmla="*/ 200 h 463"/>
              <a:gd name="T84" fmla="*/ 61 w 419"/>
              <a:gd name="T85" fmla="*/ 182 h 463"/>
              <a:gd name="T86" fmla="*/ 44 w 419"/>
              <a:gd name="T87" fmla="*/ 142 h 463"/>
              <a:gd name="T88" fmla="*/ 35 w 419"/>
              <a:gd name="T89" fmla="*/ 114 h 463"/>
              <a:gd name="T90" fmla="*/ 9 w 419"/>
              <a:gd name="T91" fmla="*/ 88 h 463"/>
              <a:gd name="T92" fmla="*/ 5 w 419"/>
              <a:gd name="T93" fmla="*/ 75 h 463"/>
              <a:gd name="T94" fmla="*/ 47 w 419"/>
              <a:gd name="T95" fmla="*/ 84 h 463"/>
              <a:gd name="T96" fmla="*/ 65 w 419"/>
              <a:gd name="T97" fmla="*/ 98 h 463"/>
              <a:gd name="T98" fmla="*/ 91 w 419"/>
              <a:gd name="T99" fmla="*/ 100 h 463"/>
              <a:gd name="T100" fmla="*/ 112 w 419"/>
              <a:gd name="T101" fmla="*/ 100 h 463"/>
              <a:gd name="T102" fmla="*/ 137 w 419"/>
              <a:gd name="T103" fmla="*/ 121 h 463"/>
              <a:gd name="T104" fmla="*/ 147 w 419"/>
              <a:gd name="T105" fmla="*/ 102 h 463"/>
              <a:gd name="T106" fmla="*/ 149 w 419"/>
              <a:gd name="T107" fmla="*/ 88 h 463"/>
              <a:gd name="T108" fmla="*/ 165 w 419"/>
              <a:gd name="T109" fmla="*/ 79 h 463"/>
              <a:gd name="T110" fmla="*/ 203 w 419"/>
              <a:gd name="T111" fmla="*/ 79 h 463"/>
              <a:gd name="T112" fmla="*/ 224 w 419"/>
              <a:gd name="T113" fmla="*/ 72 h 463"/>
              <a:gd name="T114" fmla="*/ 238 w 419"/>
              <a:gd name="T115" fmla="*/ 61 h 463"/>
              <a:gd name="T116" fmla="*/ 254 w 419"/>
              <a:gd name="T117" fmla="*/ 54 h 463"/>
              <a:gd name="T118" fmla="*/ 275 w 419"/>
              <a:gd name="T119" fmla="*/ 44 h 463"/>
              <a:gd name="T120" fmla="*/ 293 w 419"/>
              <a:gd name="T121" fmla="*/ 7 h 463"/>
              <a:gd name="T122" fmla="*/ 307 w 419"/>
              <a:gd name="T123" fmla="*/ 7 h 463"/>
              <a:gd name="T124" fmla="*/ 328 w 419"/>
              <a:gd name="T125" fmla="*/ 2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19" h="463">
                <a:moveTo>
                  <a:pt x="335" y="7"/>
                </a:moveTo>
                <a:lnTo>
                  <a:pt x="335" y="9"/>
                </a:lnTo>
                <a:lnTo>
                  <a:pt x="338" y="9"/>
                </a:lnTo>
                <a:lnTo>
                  <a:pt x="340" y="12"/>
                </a:lnTo>
                <a:lnTo>
                  <a:pt x="342" y="12"/>
                </a:lnTo>
                <a:lnTo>
                  <a:pt x="342" y="14"/>
                </a:lnTo>
                <a:lnTo>
                  <a:pt x="340" y="19"/>
                </a:lnTo>
                <a:lnTo>
                  <a:pt x="340" y="21"/>
                </a:lnTo>
                <a:lnTo>
                  <a:pt x="340" y="23"/>
                </a:lnTo>
                <a:lnTo>
                  <a:pt x="340" y="26"/>
                </a:lnTo>
                <a:lnTo>
                  <a:pt x="340" y="30"/>
                </a:lnTo>
                <a:lnTo>
                  <a:pt x="338" y="33"/>
                </a:lnTo>
                <a:lnTo>
                  <a:pt x="338" y="37"/>
                </a:lnTo>
                <a:lnTo>
                  <a:pt x="338" y="40"/>
                </a:lnTo>
                <a:lnTo>
                  <a:pt x="335" y="44"/>
                </a:lnTo>
                <a:lnTo>
                  <a:pt x="335" y="47"/>
                </a:lnTo>
                <a:lnTo>
                  <a:pt x="333" y="47"/>
                </a:lnTo>
                <a:lnTo>
                  <a:pt x="331" y="47"/>
                </a:lnTo>
                <a:lnTo>
                  <a:pt x="328" y="49"/>
                </a:lnTo>
                <a:lnTo>
                  <a:pt x="328" y="51"/>
                </a:lnTo>
                <a:lnTo>
                  <a:pt x="331" y="51"/>
                </a:lnTo>
                <a:lnTo>
                  <a:pt x="331" y="54"/>
                </a:lnTo>
                <a:lnTo>
                  <a:pt x="333" y="54"/>
                </a:lnTo>
                <a:lnTo>
                  <a:pt x="333" y="51"/>
                </a:lnTo>
                <a:lnTo>
                  <a:pt x="335" y="51"/>
                </a:lnTo>
                <a:lnTo>
                  <a:pt x="335" y="54"/>
                </a:lnTo>
                <a:lnTo>
                  <a:pt x="338" y="54"/>
                </a:lnTo>
                <a:lnTo>
                  <a:pt x="340" y="54"/>
                </a:lnTo>
                <a:lnTo>
                  <a:pt x="342" y="54"/>
                </a:lnTo>
                <a:lnTo>
                  <a:pt x="345" y="54"/>
                </a:lnTo>
                <a:lnTo>
                  <a:pt x="347" y="56"/>
                </a:lnTo>
                <a:lnTo>
                  <a:pt x="349" y="56"/>
                </a:lnTo>
                <a:lnTo>
                  <a:pt x="352" y="56"/>
                </a:lnTo>
                <a:lnTo>
                  <a:pt x="354" y="56"/>
                </a:lnTo>
                <a:lnTo>
                  <a:pt x="356" y="58"/>
                </a:lnTo>
                <a:lnTo>
                  <a:pt x="359" y="61"/>
                </a:lnTo>
                <a:lnTo>
                  <a:pt x="361" y="61"/>
                </a:lnTo>
                <a:lnTo>
                  <a:pt x="361" y="63"/>
                </a:lnTo>
                <a:lnTo>
                  <a:pt x="363" y="63"/>
                </a:lnTo>
                <a:lnTo>
                  <a:pt x="363" y="65"/>
                </a:lnTo>
                <a:lnTo>
                  <a:pt x="361" y="68"/>
                </a:lnTo>
                <a:lnTo>
                  <a:pt x="359" y="70"/>
                </a:lnTo>
                <a:lnTo>
                  <a:pt x="361" y="70"/>
                </a:lnTo>
                <a:lnTo>
                  <a:pt x="359" y="72"/>
                </a:lnTo>
                <a:lnTo>
                  <a:pt x="359" y="75"/>
                </a:lnTo>
                <a:lnTo>
                  <a:pt x="361" y="77"/>
                </a:lnTo>
                <a:lnTo>
                  <a:pt x="366" y="79"/>
                </a:lnTo>
                <a:lnTo>
                  <a:pt x="366" y="81"/>
                </a:lnTo>
                <a:lnTo>
                  <a:pt x="366" y="84"/>
                </a:lnTo>
                <a:lnTo>
                  <a:pt x="368" y="86"/>
                </a:lnTo>
                <a:lnTo>
                  <a:pt x="368" y="88"/>
                </a:lnTo>
                <a:lnTo>
                  <a:pt x="370" y="88"/>
                </a:lnTo>
                <a:lnTo>
                  <a:pt x="370" y="91"/>
                </a:lnTo>
                <a:lnTo>
                  <a:pt x="373" y="91"/>
                </a:lnTo>
                <a:lnTo>
                  <a:pt x="373" y="93"/>
                </a:lnTo>
                <a:lnTo>
                  <a:pt x="375" y="93"/>
                </a:lnTo>
                <a:lnTo>
                  <a:pt x="373" y="93"/>
                </a:lnTo>
                <a:lnTo>
                  <a:pt x="373" y="95"/>
                </a:lnTo>
                <a:lnTo>
                  <a:pt x="370" y="95"/>
                </a:lnTo>
                <a:lnTo>
                  <a:pt x="370" y="98"/>
                </a:lnTo>
                <a:lnTo>
                  <a:pt x="368" y="100"/>
                </a:lnTo>
                <a:lnTo>
                  <a:pt x="370" y="100"/>
                </a:lnTo>
                <a:lnTo>
                  <a:pt x="370" y="102"/>
                </a:lnTo>
                <a:lnTo>
                  <a:pt x="368" y="105"/>
                </a:lnTo>
                <a:lnTo>
                  <a:pt x="366" y="105"/>
                </a:lnTo>
                <a:lnTo>
                  <a:pt x="363" y="107"/>
                </a:lnTo>
                <a:lnTo>
                  <a:pt x="363" y="109"/>
                </a:lnTo>
                <a:lnTo>
                  <a:pt x="363" y="112"/>
                </a:lnTo>
                <a:lnTo>
                  <a:pt x="361" y="112"/>
                </a:lnTo>
                <a:lnTo>
                  <a:pt x="359" y="114"/>
                </a:lnTo>
                <a:lnTo>
                  <a:pt x="352" y="116"/>
                </a:lnTo>
                <a:lnTo>
                  <a:pt x="352" y="119"/>
                </a:lnTo>
                <a:lnTo>
                  <a:pt x="352" y="121"/>
                </a:lnTo>
                <a:lnTo>
                  <a:pt x="354" y="123"/>
                </a:lnTo>
                <a:lnTo>
                  <a:pt x="354" y="126"/>
                </a:lnTo>
                <a:lnTo>
                  <a:pt x="352" y="128"/>
                </a:lnTo>
                <a:lnTo>
                  <a:pt x="352" y="130"/>
                </a:lnTo>
                <a:lnTo>
                  <a:pt x="354" y="128"/>
                </a:lnTo>
                <a:lnTo>
                  <a:pt x="354" y="133"/>
                </a:lnTo>
                <a:lnTo>
                  <a:pt x="354" y="135"/>
                </a:lnTo>
                <a:lnTo>
                  <a:pt x="352" y="135"/>
                </a:lnTo>
                <a:lnTo>
                  <a:pt x="352" y="137"/>
                </a:lnTo>
                <a:lnTo>
                  <a:pt x="349" y="140"/>
                </a:lnTo>
                <a:lnTo>
                  <a:pt x="347" y="144"/>
                </a:lnTo>
                <a:lnTo>
                  <a:pt x="347" y="147"/>
                </a:lnTo>
                <a:lnTo>
                  <a:pt x="347" y="149"/>
                </a:lnTo>
                <a:lnTo>
                  <a:pt x="347" y="151"/>
                </a:lnTo>
                <a:lnTo>
                  <a:pt x="345" y="151"/>
                </a:lnTo>
                <a:lnTo>
                  <a:pt x="345" y="154"/>
                </a:lnTo>
                <a:lnTo>
                  <a:pt x="342" y="156"/>
                </a:lnTo>
                <a:lnTo>
                  <a:pt x="342" y="158"/>
                </a:lnTo>
                <a:lnTo>
                  <a:pt x="342" y="161"/>
                </a:lnTo>
                <a:lnTo>
                  <a:pt x="342" y="163"/>
                </a:lnTo>
                <a:lnTo>
                  <a:pt x="342" y="170"/>
                </a:lnTo>
                <a:lnTo>
                  <a:pt x="340" y="179"/>
                </a:lnTo>
                <a:lnTo>
                  <a:pt x="342" y="182"/>
                </a:lnTo>
                <a:lnTo>
                  <a:pt x="342" y="186"/>
                </a:lnTo>
                <a:lnTo>
                  <a:pt x="342" y="189"/>
                </a:lnTo>
                <a:lnTo>
                  <a:pt x="345" y="189"/>
                </a:lnTo>
                <a:lnTo>
                  <a:pt x="345" y="191"/>
                </a:lnTo>
                <a:lnTo>
                  <a:pt x="345" y="193"/>
                </a:lnTo>
                <a:lnTo>
                  <a:pt x="347" y="196"/>
                </a:lnTo>
                <a:lnTo>
                  <a:pt x="347" y="198"/>
                </a:lnTo>
                <a:lnTo>
                  <a:pt x="347" y="200"/>
                </a:lnTo>
                <a:lnTo>
                  <a:pt x="347" y="203"/>
                </a:lnTo>
                <a:lnTo>
                  <a:pt x="349" y="205"/>
                </a:lnTo>
                <a:lnTo>
                  <a:pt x="352" y="205"/>
                </a:lnTo>
                <a:lnTo>
                  <a:pt x="354" y="207"/>
                </a:lnTo>
                <a:lnTo>
                  <a:pt x="356" y="207"/>
                </a:lnTo>
                <a:lnTo>
                  <a:pt x="356" y="210"/>
                </a:lnTo>
                <a:lnTo>
                  <a:pt x="359" y="210"/>
                </a:lnTo>
                <a:lnTo>
                  <a:pt x="359" y="212"/>
                </a:lnTo>
                <a:lnTo>
                  <a:pt x="359" y="214"/>
                </a:lnTo>
                <a:lnTo>
                  <a:pt x="359" y="219"/>
                </a:lnTo>
                <a:lnTo>
                  <a:pt x="359" y="221"/>
                </a:lnTo>
                <a:lnTo>
                  <a:pt x="359" y="224"/>
                </a:lnTo>
                <a:lnTo>
                  <a:pt x="359" y="226"/>
                </a:lnTo>
                <a:lnTo>
                  <a:pt x="359" y="228"/>
                </a:lnTo>
                <a:lnTo>
                  <a:pt x="359" y="230"/>
                </a:lnTo>
                <a:lnTo>
                  <a:pt x="359" y="233"/>
                </a:lnTo>
                <a:lnTo>
                  <a:pt x="356" y="235"/>
                </a:lnTo>
                <a:lnTo>
                  <a:pt x="356" y="237"/>
                </a:lnTo>
                <a:lnTo>
                  <a:pt x="359" y="237"/>
                </a:lnTo>
                <a:lnTo>
                  <a:pt x="359" y="240"/>
                </a:lnTo>
                <a:lnTo>
                  <a:pt x="361" y="237"/>
                </a:lnTo>
                <a:lnTo>
                  <a:pt x="363" y="240"/>
                </a:lnTo>
                <a:lnTo>
                  <a:pt x="366" y="240"/>
                </a:lnTo>
                <a:lnTo>
                  <a:pt x="363" y="242"/>
                </a:lnTo>
                <a:lnTo>
                  <a:pt x="363" y="244"/>
                </a:lnTo>
                <a:lnTo>
                  <a:pt x="366" y="247"/>
                </a:lnTo>
                <a:lnTo>
                  <a:pt x="368" y="249"/>
                </a:lnTo>
                <a:lnTo>
                  <a:pt x="368" y="247"/>
                </a:lnTo>
                <a:lnTo>
                  <a:pt x="370" y="247"/>
                </a:lnTo>
                <a:lnTo>
                  <a:pt x="373" y="247"/>
                </a:lnTo>
                <a:lnTo>
                  <a:pt x="373" y="249"/>
                </a:lnTo>
                <a:lnTo>
                  <a:pt x="375" y="251"/>
                </a:lnTo>
                <a:lnTo>
                  <a:pt x="377" y="254"/>
                </a:lnTo>
                <a:lnTo>
                  <a:pt x="379" y="256"/>
                </a:lnTo>
                <a:lnTo>
                  <a:pt x="382" y="258"/>
                </a:lnTo>
                <a:lnTo>
                  <a:pt x="382" y="261"/>
                </a:lnTo>
                <a:lnTo>
                  <a:pt x="384" y="261"/>
                </a:lnTo>
                <a:lnTo>
                  <a:pt x="386" y="261"/>
                </a:lnTo>
                <a:lnTo>
                  <a:pt x="386" y="263"/>
                </a:lnTo>
                <a:lnTo>
                  <a:pt x="389" y="263"/>
                </a:lnTo>
                <a:lnTo>
                  <a:pt x="389" y="265"/>
                </a:lnTo>
                <a:lnTo>
                  <a:pt x="391" y="270"/>
                </a:lnTo>
                <a:lnTo>
                  <a:pt x="393" y="272"/>
                </a:lnTo>
                <a:lnTo>
                  <a:pt x="398" y="272"/>
                </a:lnTo>
                <a:lnTo>
                  <a:pt x="410" y="275"/>
                </a:lnTo>
                <a:lnTo>
                  <a:pt x="412" y="277"/>
                </a:lnTo>
                <a:lnTo>
                  <a:pt x="419" y="352"/>
                </a:lnTo>
                <a:lnTo>
                  <a:pt x="356" y="349"/>
                </a:lnTo>
                <a:lnTo>
                  <a:pt x="340" y="352"/>
                </a:lnTo>
                <a:lnTo>
                  <a:pt x="338" y="352"/>
                </a:lnTo>
                <a:lnTo>
                  <a:pt x="338" y="354"/>
                </a:lnTo>
                <a:lnTo>
                  <a:pt x="335" y="354"/>
                </a:lnTo>
                <a:lnTo>
                  <a:pt x="335" y="356"/>
                </a:lnTo>
                <a:lnTo>
                  <a:pt x="333" y="356"/>
                </a:lnTo>
                <a:lnTo>
                  <a:pt x="331" y="359"/>
                </a:lnTo>
                <a:lnTo>
                  <a:pt x="331" y="361"/>
                </a:lnTo>
                <a:lnTo>
                  <a:pt x="328" y="366"/>
                </a:lnTo>
                <a:lnTo>
                  <a:pt x="326" y="368"/>
                </a:lnTo>
                <a:lnTo>
                  <a:pt x="326" y="370"/>
                </a:lnTo>
                <a:lnTo>
                  <a:pt x="324" y="372"/>
                </a:lnTo>
                <a:lnTo>
                  <a:pt x="324" y="375"/>
                </a:lnTo>
                <a:lnTo>
                  <a:pt x="324" y="377"/>
                </a:lnTo>
                <a:lnTo>
                  <a:pt x="321" y="379"/>
                </a:lnTo>
                <a:lnTo>
                  <a:pt x="319" y="379"/>
                </a:lnTo>
                <a:lnTo>
                  <a:pt x="319" y="382"/>
                </a:lnTo>
                <a:lnTo>
                  <a:pt x="319" y="386"/>
                </a:lnTo>
                <a:lnTo>
                  <a:pt x="319" y="389"/>
                </a:lnTo>
                <a:lnTo>
                  <a:pt x="317" y="391"/>
                </a:lnTo>
                <a:lnTo>
                  <a:pt x="317" y="393"/>
                </a:lnTo>
                <a:lnTo>
                  <a:pt x="317" y="396"/>
                </a:lnTo>
                <a:lnTo>
                  <a:pt x="314" y="396"/>
                </a:lnTo>
                <a:lnTo>
                  <a:pt x="314" y="398"/>
                </a:lnTo>
                <a:lnTo>
                  <a:pt x="314" y="400"/>
                </a:lnTo>
                <a:lnTo>
                  <a:pt x="314" y="403"/>
                </a:lnTo>
                <a:lnTo>
                  <a:pt x="319" y="407"/>
                </a:lnTo>
                <a:lnTo>
                  <a:pt x="319" y="410"/>
                </a:lnTo>
                <a:lnTo>
                  <a:pt x="319" y="412"/>
                </a:lnTo>
                <a:lnTo>
                  <a:pt x="319" y="414"/>
                </a:lnTo>
                <a:lnTo>
                  <a:pt x="317" y="414"/>
                </a:lnTo>
                <a:lnTo>
                  <a:pt x="314" y="414"/>
                </a:lnTo>
                <a:lnTo>
                  <a:pt x="310" y="417"/>
                </a:lnTo>
                <a:lnTo>
                  <a:pt x="307" y="417"/>
                </a:lnTo>
                <a:lnTo>
                  <a:pt x="307" y="419"/>
                </a:lnTo>
                <a:lnTo>
                  <a:pt x="307" y="421"/>
                </a:lnTo>
                <a:lnTo>
                  <a:pt x="305" y="421"/>
                </a:lnTo>
                <a:lnTo>
                  <a:pt x="305" y="424"/>
                </a:lnTo>
                <a:lnTo>
                  <a:pt x="303" y="421"/>
                </a:lnTo>
                <a:lnTo>
                  <a:pt x="300" y="424"/>
                </a:lnTo>
                <a:lnTo>
                  <a:pt x="298" y="424"/>
                </a:lnTo>
                <a:lnTo>
                  <a:pt x="296" y="424"/>
                </a:lnTo>
                <a:lnTo>
                  <a:pt x="291" y="424"/>
                </a:lnTo>
                <a:lnTo>
                  <a:pt x="289" y="424"/>
                </a:lnTo>
                <a:lnTo>
                  <a:pt x="289" y="421"/>
                </a:lnTo>
                <a:lnTo>
                  <a:pt x="289" y="419"/>
                </a:lnTo>
                <a:lnTo>
                  <a:pt x="289" y="417"/>
                </a:lnTo>
                <a:lnTo>
                  <a:pt x="286" y="414"/>
                </a:lnTo>
                <a:lnTo>
                  <a:pt x="284" y="412"/>
                </a:lnTo>
                <a:lnTo>
                  <a:pt x="282" y="410"/>
                </a:lnTo>
                <a:lnTo>
                  <a:pt x="279" y="407"/>
                </a:lnTo>
                <a:lnTo>
                  <a:pt x="277" y="405"/>
                </a:lnTo>
                <a:lnTo>
                  <a:pt x="277" y="403"/>
                </a:lnTo>
                <a:lnTo>
                  <a:pt x="275" y="403"/>
                </a:lnTo>
                <a:lnTo>
                  <a:pt x="272" y="403"/>
                </a:lnTo>
                <a:lnTo>
                  <a:pt x="268" y="403"/>
                </a:lnTo>
                <a:lnTo>
                  <a:pt x="268" y="400"/>
                </a:lnTo>
                <a:lnTo>
                  <a:pt x="265" y="400"/>
                </a:lnTo>
                <a:lnTo>
                  <a:pt x="263" y="400"/>
                </a:lnTo>
                <a:lnTo>
                  <a:pt x="261" y="400"/>
                </a:lnTo>
                <a:lnTo>
                  <a:pt x="258" y="400"/>
                </a:lnTo>
                <a:lnTo>
                  <a:pt x="256" y="400"/>
                </a:lnTo>
                <a:lnTo>
                  <a:pt x="256" y="403"/>
                </a:lnTo>
                <a:lnTo>
                  <a:pt x="256" y="405"/>
                </a:lnTo>
                <a:lnTo>
                  <a:pt x="254" y="405"/>
                </a:lnTo>
                <a:lnTo>
                  <a:pt x="249" y="407"/>
                </a:lnTo>
                <a:lnTo>
                  <a:pt x="247" y="407"/>
                </a:lnTo>
                <a:lnTo>
                  <a:pt x="242" y="410"/>
                </a:lnTo>
                <a:lnTo>
                  <a:pt x="240" y="410"/>
                </a:lnTo>
                <a:lnTo>
                  <a:pt x="240" y="412"/>
                </a:lnTo>
                <a:lnTo>
                  <a:pt x="238" y="414"/>
                </a:lnTo>
                <a:lnTo>
                  <a:pt x="235" y="417"/>
                </a:lnTo>
                <a:lnTo>
                  <a:pt x="235" y="419"/>
                </a:lnTo>
                <a:lnTo>
                  <a:pt x="235" y="424"/>
                </a:lnTo>
                <a:lnTo>
                  <a:pt x="233" y="426"/>
                </a:lnTo>
                <a:lnTo>
                  <a:pt x="233" y="428"/>
                </a:lnTo>
                <a:lnTo>
                  <a:pt x="233" y="431"/>
                </a:lnTo>
                <a:lnTo>
                  <a:pt x="235" y="435"/>
                </a:lnTo>
                <a:lnTo>
                  <a:pt x="235" y="438"/>
                </a:lnTo>
                <a:lnTo>
                  <a:pt x="233" y="438"/>
                </a:lnTo>
                <a:lnTo>
                  <a:pt x="233" y="440"/>
                </a:lnTo>
                <a:lnTo>
                  <a:pt x="233" y="442"/>
                </a:lnTo>
                <a:lnTo>
                  <a:pt x="233" y="445"/>
                </a:lnTo>
                <a:lnTo>
                  <a:pt x="233" y="449"/>
                </a:lnTo>
                <a:lnTo>
                  <a:pt x="231" y="454"/>
                </a:lnTo>
                <a:lnTo>
                  <a:pt x="233" y="461"/>
                </a:lnTo>
                <a:lnTo>
                  <a:pt x="233" y="463"/>
                </a:lnTo>
                <a:lnTo>
                  <a:pt x="231" y="463"/>
                </a:lnTo>
                <a:lnTo>
                  <a:pt x="228" y="461"/>
                </a:lnTo>
                <a:lnTo>
                  <a:pt x="226" y="461"/>
                </a:lnTo>
                <a:lnTo>
                  <a:pt x="224" y="461"/>
                </a:lnTo>
                <a:lnTo>
                  <a:pt x="221" y="459"/>
                </a:lnTo>
                <a:lnTo>
                  <a:pt x="219" y="459"/>
                </a:lnTo>
                <a:lnTo>
                  <a:pt x="217" y="461"/>
                </a:lnTo>
                <a:lnTo>
                  <a:pt x="214" y="461"/>
                </a:lnTo>
                <a:lnTo>
                  <a:pt x="214" y="459"/>
                </a:lnTo>
                <a:lnTo>
                  <a:pt x="210" y="452"/>
                </a:lnTo>
                <a:lnTo>
                  <a:pt x="207" y="452"/>
                </a:lnTo>
                <a:lnTo>
                  <a:pt x="207" y="449"/>
                </a:lnTo>
                <a:lnTo>
                  <a:pt x="205" y="449"/>
                </a:lnTo>
                <a:lnTo>
                  <a:pt x="205" y="447"/>
                </a:lnTo>
                <a:lnTo>
                  <a:pt x="203" y="445"/>
                </a:lnTo>
                <a:lnTo>
                  <a:pt x="200" y="442"/>
                </a:lnTo>
                <a:lnTo>
                  <a:pt x="196" y="440"/>
                </a:lnTo>
                <a:lnTo>
                  <a:pt x="193" y="440"/>
                </a:lnTo>
                <a:lnTo>
                  <a:pt x="191" y="438"/>
                </a:lnTo>
                <a:lnTo>
                  <a:pt x="189" y="433"/>
                </a:lnTo>
                <a:lnTo>
                  <a:pt x="186" y="433"/>
                </a:lnTo>
                <a:lnTo>
                  <a:pt x="184" y="433"/>
                </a:lnTo>
                <a:lnTo>
                  <a:pt x="184" y="431"/>
                </a:lnTo>
                <a:lnTo>
                  <a:pt x="177" y="426"/>
                </a:lnTo>
                <a:lnTo>
                  <a:pt x="177" y="424"/>
                </a:lnTo>
                <a:lnTo>
                  <a:pt x="175" y="424"/>
                </a:lnTo>
                <a:lnTo>
                  <a:pt x="170" y="421"/>
                </a:lnTo>
                <a:lnTo>
                  <a:pt x="170" y="419"/>
                </a:lnTo>
                <a:lnTo>
                  <a:pt x="170" y="417"/>
                </a:lnTo>
                <a:lnTo>
                  <a:pt x="170" y="414"/>
                </a:lnTo>
                <a:lnTo>
                  <a:pt x="172" y="414"/>
                </a:lnTo>
                <a:lnTo>
                  <a:pt x="175" y="414"/>
                </a:lnTo>
                <a:lnTo>
                  <a:pt x="177" y="417"/>
                </a:lnTo>
                <a:lnTo>
                  <a:pt x="179" y="417"/>
                </a:lnTo>
                <a:lnTo>
                  <a:pt x="179" y="414"/>
                </a:lnTo>
                <a:lnTo>
                  <a:pt x="182" y="412"/>
                </a:lnTo>
                <a:lnTo>
                  <a:pt x="184" y="410"/>
                </a:lnTo>
                <a:lnTo>
                  <a:pt x="182" y="403"/>
                </a:lnTo>
                <a:lnTo>
                  <a:pt x="182" y="400"/>
                </a:lnTo>
                <a:lnTo>
                  <a:pt x="179" y="400"/>
                </a:lnTo>
                <a:lnTo>
                  <a:pt x="179" y="398"/>
                </a:lnTo>
                <a:lnTo>
                  <a:pt x="179" y="393"/>
                </a:lnTo>
                <a:lnTo>
                  <a:pt x="179" y="391"/>
                </a:lnTo>
                <a:lnTo>
                  <a:pt x="177" y="389"/>
                </a:lnTo>
                <a:lnTo>
                  <a:pt x="177" y="386"/>
                </a:lnTo>
                <a:lnTo>
                  <a:pt x="175" y="384"/>
                </a:lnTo>
                <a:lnTo>
                  <a:pt x="172" y="384"/>
                </a:lnTo>
                <a:lnTo>
                  <a:pt x="170" y="382"/>
                </a:lnTo>
                <a:lnTo>
                  <a:pt x="170" y="379"/>
                </a:lnTo>
                <a:lnTo>
                  <a:pt x="168" y="375"/>
                </a:lnTo>
                <a:lnTo>
                  <a:pt x="168" y="372"/>
                </a:lnTo>
                <a:lnTo>
                  <a:pt x="165" y="372"/>
                </a:lnTo>
                <a:lnTo>
                  <a:pt x="165" y="370"/>
                </a:lnTo>
                <a:lnTo>
                  <a:pt x="163" y="370"/>
                </a:lnTo>
                <a:lnTo>
                  <a:pt x="163" y="368"/>
                </a:lnTo>
                <a:lnTo>
                  <a:pt x="163" y="366"/>
                </a:lnTo>
                <a:lnTo>
                  <a:pt x="165" y="366"/>
                </a:lnTo>
                <a:lnTo>
                  <a:pt x="168" y="361"/>
                </a:lnTo>
                <a:lnTo>
                  <a:pt x="168" y="359"/>
                </a:lnTo>
                <a:lnTo>
                  <a:pt x="165" y="356"/>
                </a:lnTo>
                <a:lnTo>
                  <a:pt x="165" y="352"/>
                </a:lnTo>
                <a:lnTo>
                  <a:pt x="165" y="349"/>
                </a:lnTo>
                <a:lnTo>
                  <a:pt x="168" y="347"/>
                </a:lnTo>
                <a:lnTo>
                  <a:pt x="168" y="345"/>
                </a:lnTo>
                <a:lnTo>
                  <a:pt x="165" y="340"/>
                </a:lnTo>
                <a:lnTo>
                  <a:pt x="168" y="338"/>
                </a:lnTo>
                <a:lnTo>
                  <a:pt x="168" y="335"/>
                </a:lnTo>
                <a:lnTo>
                  <a:pt x="170" y="335"/>
                </a:lnTo>
                <a:lnTo>
                  <a:pt x="170" y="333"/>
                </a:lnTo>
                <a:lnTo>
                  <a:pt x="170" y="331"/>
                </a:lnTo>
                <a:lnTo>
                  <a:pt x="165" y="321"/>
                </a:lnTo>
                <a:lnTo>
                  <a:pt x="165" y="319"/>
                </a:lnTo>
                <a:lnTo>
                  <a:pt x="165" y="317"/>
                </a:lnTo>
                <a:lnTo>
                  <a:pt x="168" y="317"/>
                </a:lnTo>
                <a:lnTo>
                  <a:pt x="170" y="314"/>
                </a:lnTo>
                <a:lnTo>
                  <a:pt x="172" y="312"/>
                </a:lnTo>
                <a:lnTo>
                  <a:pt x="170" y="310"/>
                </a:lnTo>
                <a:lnTo>
                  <a:pt x="168" y="303"/>
                </a:lnTo>
                <a:lnTo>
                  <a:pt x="168" y="296"/>
                </a:lnTo>
                <a:lnTo>
                  <a:pt x="165" y="293"/>
                </a:lnTo>
                <a:lnTo>
                  <a:pt x="165" y="291"/>
                </a:lnTo>
                <a:lnTo>
                  <a:pt x="163" y="289"/>
                </a:lnTo>
                <a:lnTo>
                  <a:pt x="163" y="286"/>
                </a:lnTo>
                <a:lnTo>
                  <a:pt x="161" y="275"/>
                </a:lnTo>
                <a:lnTo>
                  <a:pt x="161" y="272"/>
                </a:lnTo>
                <a:lnTo>
                  <a:pt x="158" y="270"/>
                </a:lnTo>
                <a:lnTo>
                  <a:pt x="158" y="268"/>
                </a:lnTo>
                <a:lnTo>
                  <a:pt x="156" y="268"/>
                </a:lnTo>
                <a:lnTo>
                  <a:pt x="154" y="268"/>
                </a:lnTo>
                <a:lnTo>
                  <a:pt x="154" y="265"/>
                </a:lnTo>
                <a:lnTo>
                  <a:pt x="151" y="265"/>
                </a:lnTo>
                <a:lnTo>
                  <a:pt x="151" y="263"/>
                </a:lnTo>
                <a:lnTo>
                  <a:pt x="149" y="261"/>
                </a:lnTo>
                <a:lnTo>
                  <a:pt x="147" y="258"/>
                </a:lnTo>
                <a:lnTo>
                  <a:pt x="147" y="256"/>
                </a:lnTo>
                <a:lnTo>
                  <a:pt x="149" y="254"/>
                </a:lnTo>
                <a:lnTo>
                  <a:pt x="149" y="251"/>
                </a:lnTo>
                <a:lnTo>
                  <a:pt x="151" y="249"/>
                </a:lnTo>
                <a:lnTo>
                  <a:pt x="151" y="247"/>
                </a:lnTo>
                <a:lnTo>
                  <a:pt x="151" y="244"/>
                </a:lnTo>
                <a:lnTo>
                  <a:pt x="151" y="242"/>
                </a:lnTo>
                <a:lnTo>
                  <a:pt x="151" y="240"/>
                </a:lnTo>
                <a:lnTo>
                  <a:pt x="154" y="237"/>
                </a:lnTo>
                <a:lnTo>
                  <a:pt x="154" y="235"/>
                </a:lnTo>
                <a:lnTo>
                  <a:pt x="151" y="233"/>
                </a:lnTo>
                <a:lnTo>
                  <a:pt x="149" y="233"/>
                </a:lnTo>
                <a:lnTo>
                  <a:pt x="144" y="230"/>
                </a:lnTo>
                <a:lnTo>
                  <a:pt x="142" y="228"/>
                </a:lnTo>
                <a:lnTo>
                  <a:pt x="140" y="228"/>
                </a:lnTo>
                <a:lnTo>
                  <a:pt x="137" y="228"/>
                </a:lnTo>
                <a:lnTo>
                  <a:pt x="135" y="228"/>
                </a:lnTo>
                <a:lnTo>
                  <a:pt x="133" y="228"/>
                </a:lnTo>
                <a:lnTo>
                  <a:pt x="133" y="230"/>
                </a:lnTo>
                <a:lnTo>
                  <a:pt x="133" y="228"/>
                </a:lnTo>
                <a:lnTo>
                  <a:pt x="130" y="228"/>
                </a:lnTo>
                <a:lnTo>
                  <a:pt x="128" y="228"/>
                </a:lnTo>
                <a:lnTo>
                  <a:pt x="128" y="226"/>
                </a:lnTo>
                <a:lnTo>
                  <a:pt x="123" y="224"/>
                </a:lnTo>
                <a:lnTo>
                  <a:pt x="123" y="221"/>
                </a:lnTo>
                <a:lnTo>
                  <a:pt x="123" y="219"/>
                </a:lnTo>
                <a:lnTo>
                  <a:pt x="121" y="219"/>
                </a:lnTo>
                <a:lnTo>
                  <a:pt x="119" y="219"/>
                </a:lnTo>
                <a:lnTo>
                  <a:pt x="116" y="219"/>
                </a:lnTo>
                <a:lnTo>
                  <a:pt x="114" y="221"/>
                </a:lnTo>
                <a:lnTo>
                  <a:pt x="112" y="221"/>
                </a:lnTo>
                <a:lnTo>
                  <a:pt x="110" y="219"/>
                </a:lnTo>
                <a:lnTo>
                  <a:pt x="105" y="217"/>
                </a:lnTo>
                <a:lnTo>
                  <a:pt x="105" y="214"/>
                </a:lnTo>
                <a:lnTo>
                  <a:pt x="105" y="212"/>
                </a:lnTo>
                <a:lnTo>
                  <a:pt x="105" y="207"/>
                </a:lnTo>
                <a:lnTo>
                  <a:pt x="105" y="205"/>
                </a:lnTo>
                <a:lnTo>
                  <a:pt x="107" y="203"/>
                </a:lnTo>
                <a:lnTo>
                  <a:pt x="105" y="203"/>
                </a:lnTo>
                <a:lnTo>
                  <a:pt x="96" y="203"/>
                </a:lnTo>
                <a:lnTo>
                  <a:pt x="91" y="203"/>
                </a:lnTo>
                <a:lnTo>
                  <a:pt x="82" y="203"/>
                </a:lnTo>
                <a:lnTo>
                  <a:pt x="77" y="203"/>
                </a:lnTo>
                <a:lnTo>
                  <a:pt x="72" y="203"/>
                </a:lnTo>
                <a:lnTo>
                  <a:pt x="65" y="200"/>
                </a:lnTo>
                <a:lnTo>
                  <a:pt x="61" y="200"/>
                </a:lnTo>
                <a:lnTo>
                  <a:pt x="58" y="200"/>
                </a:lnTo>
                <a:lnTo>
                  <a:pt x="58" y="198"/>
                </a:lnTo>
                <a:lnTo>
                  <a:pt x="58" y="196"/>
                </a:lnTo>
                <a:lnTo>
                  <a:pt x="61" y="191"/>
                </a:lnTo>
                <a:lnTo>
                  <a:pt x="61" y="189"/>
                </a:lnTo>
                <a:lnTo>
                  <a:pt x="61" y="186"/>
                </a:lnTo>
                <a:lnTo>
                  <a:pt x="61" y="184"/>
                </a:lnTo>
                <a:lnTo>
                  <a:pt x="61" y="182"/>
                </a:lnTo>
                <a:lnTo>
                  <a:pt x="58" y="177"/>
                </a:lnTo>
                <a:lnTo>
                  <a:pt x="54" y="168"/>
                </a:lnTo>
                <a:lnTo>
                  <a:pt x="51" y="163"/>
                </a:lnTo>
                <a:lnTo>
                  <a:pt x="49" y="161"/>
                </a:lnTo>
                <a:lnTo>
                  <a:pt x="47" y="158"/>
                </a:lnTo>
                <a:lnTo>
                  <a:pt x="44" y="154"/>
                </a:lnTo>
                <a:lnTo>
                  <a:pt x="44" y="151"/>
                </a:lnTo>
                <a:lnTo>
                  <a:pt x="44" y="147"/>
                </a:lnTo>
                <a:lnTo>
                  <a:pt x="44" y="142"/>
                </a:lnTo>
                <a:lnTo>
                  <a:pt x="42" y="135"/>
                </a:lnTo>
                <a:lnTo>
                  <a:pt x="42" y="133"/>
                </a:lnTo>
                <a:lnTo>
                  <a:pt x="44" y="130"/>
                </a:lnTo>
                <a:lnTo>
                  <a:pt x="44" y="128"/>
                </a:lnTo>
                <a:lnTo>
                  <a:pt x="47" y="126"/>
                </a:lnTo>
                <a:lnTo>
                  <a:pt x="47" y="123"/>
                </a:lnTo>
                <a:lnTo>
                  <a:pt x="44" y="121"/>
                </a:lnTo>
                <a:lnTo>
                  <a:pt x="40" y="119"/>
                </a:lnTo>
                <a:lnTo>
                  <a:pt x="35" y="114"/>
                </a:lnTo>
                <a:lnTo>
                  <a:pt x="35" y="112"/>
                </a:lnTo>
                <a:lnTo>
                  <a:pt x="30" y="112"/>
                </a:lnTo>
                <a:lnTo>
                  <a:pt x="28" y="109"/>
                </a:lnTo>
                <a:lnTo>
                  <a:pt x="21" y="105"/>
                </a:lnTo>
                <a:lnTo>
                  <a:pt x="19" y="100"/>
                </a:lnTo>
                <a:lnTo>
                  <a:pt x="16" y="98"/>
                </a:lnTo>
                <a:lnTo>
                  <a:pt x="14" y="95"/>
                </a:lnTo>
                <a:lnTo>
                  <a:pt x="12" y="95"/>
                </a:lnTo>
                <a:lnTo>
                  <a:pt x="9" y="88"/>
                </a:lnTo>
                <a:lnTo>
                  <a:pt x="7" y="86"/>
                </a:lnTo>
                <a:lnTo>
                  <a:pt x="7" y="84"/>
                </a:lnTo>
                <a:lnTo>
                  <a:pt x="5" y="84"/>
                </a:lnTo>
                <a:lnTo>
                  <a:pt x="2" y="81"/>
                </a:lnTo>
                <a:lnTo>
                  <a:pt x="0" y="79"/>
                </a:lnTo>
                <a:lnTo>
                  <a:pt x="0" y="77"/>
                </a:lnTo>
                <a:lnTo>
                  <a:pt x="0" y="75"/>
                </a:lnTo>
                <a:lnTo>
                  <a:pt x="2" y="75"/>
                </a:lnTo>
                <a:lnTo>
                  <a:pt x="5" y="75"/>
                </a:lnTo>
                <a:lnTo>
                  <a:pt x="9" y="77"/>
                </a:lnTo>
                <a:lnTo>
                  <a:pt x="12" y="79"/>
                </a:lnTo>
                <a:lnTo>
                  <a:pt x="14" y="81"/>
                </a:lnTo>
                <a:lnTo>
                  <a:pt x="14" y="84"/>
                </a:lnTo>
                <a:lnTo>
                  <a:pt x="14" y="86"/>
                </a:lnTo>
                <a:lnTo>
                  <a:pt x="16" y="86"/>
                </a:lnTo>
                <a:lnTo>
                  <a:pt x="33" y="84"/>
                </a:lnTo>
                <a:lnTo>
                  <a:pt x="42" y="84"/>
                </a:lnTo>
                <a:lnTo>
                  <a:pt x="47" y="84"/>
                </a:lnTo>
                <a:lnTo>
                  <a:pt x="49" y="86"/>
                </a:lnTo>
                <a:lnTo>
                  <a:pt x="51" y="88"/>
                </a:lnTo>
                <a:lnTo>
                  <a:pt x="51" y="91"/>
                </a:lnTo>
                <a:lnTo>
                  <a:pt x="54" y="95"/>
                </a:lnTo>
                <a:lnTo>
                  <a:pt x="54" y="100"/>
                </a:lnTo>
                <a:lnTo>
                  <a:pt x="56" y="102"/>
                </a:lnTo>
                <a:lnTo>
                  <a:pt x="58" y="102"/>
                </a:lnTo>
                <a:lnTo>
                  <a:pt x="61" y="100"/>
                </a:lnTo>
                <a:lnTo>
                  <a:pt x="65" y="98"/>
                </a:lnTo>
                <a:lnTo>
                  <a:pt x="68" y="95"/>
                </a:lnTo>
                <a:lnTo>
                  <a:pt x="70" y="95"/>
                </a:lnTo>
                <a:lnTo>
                  <a:pt x="72" y="98"/>
                </a:lnTo>
                <a:lnTo>
                  <a:pt x="75" y="98"/>
                </a:lnTo>
                <a:lnTo>
                  <a:pt x="77" y="98"/>
                </a:lnTo>
                <a:lnTo>
                  <a:pt x="79" y="95"/>
                </a:lnTo>
                <a:lnTo>
                  <a:pt x="82" y="95"/>
                </a:lnTo>
                <a:lnTo>
                  <a:pt x="86" y="98"/>
                </a:lnTo>
                <a:lnTo>
                  <a:pt x="91" y="100"/>
                </a:lnTo>
                <a:lnTo>
                  <a:pt x="93" y="102"/>
                </a:lnTo>
                <a:lnTo>
                  <a:pt x="96" y="102"/>
                </a:lnTo>
                <a:lnTo>
                  <a:pt x="98" y="98"/>
                </a:lnTo>
                <a:lnTo>
                  <a:pt x="98" y="95"/>
                </a:lnTo>
                <a:lnTo>
                  <a:pt x="100" y="93"/>
                </a:lnTo>
                <a:lnTo>
                  <a:pt x="103" y="93"/>
                </a:lnTo>
                <a:lnTo>
                  <a:pt x="105" y="95"/>
                </a:lnTo>
                <a:lnTo>
                  <a:pt x="110" y="98"/>
                </a:lnTo>
                <a:lnTo>
                  <a:pt x="112" y="100"/>
                </a:lnTo>
                <a:lnTo>
                  <a:pt x="116" y="105"/>
                </a:lnTo>
                <a:lnTo>
                  <a:pt x="121" y="107"/>
                </a:lnTo>
                <a:lnTo>
                  <a:pt x="128" y="116"/>
                </a:lnTo>
                <a:lnTo>
                  <a:pt x="128" y="119"/>
                </a:lnTo>
                <a:lnTo>
                  <a:pt x="130" y="119"/>
                </a:lnTo>
                <a:lnTo>
                  <a:pt x="130" y="121"/>
                </a:lnTo>
                <a:lnTo>
                  <a:pt x="133" y="121"/>
                </a:lnTo>
                <a:lnTo>
                  <a:pt x="135" y="121"/>
                </a:lnTo>
                <a:lnTo>
                  <a:pt x="137" y="121"/>
                </a:lnTo>
                <a:lnTo>
                  <a:pt x="140" y="121"/>
                </a:lnTo>
                <a:lnTo>
                  <a:pt x="142" y="119"/>
                </a:lnTo>
                <a:lnTo>
                  <a:pt x="144" y="119"/>
                </a:lnTo>
                <a:lnTo>
                  <a:pt x="147" y="116"/>
                </a:lnTo>
                <a:lnTo>
                  <a:pt x="147" y="114"/>
                </a:lnTo>
                <a:lnTo>
                  <a:pt x="147" y="112"/>
                </a:lnTo>
                <a:lnTo>
                  <a:pt x="147" y="109"/>
                </a:lnTo>
                <a:lnTo>
                  <a:pt x="147" y="107"/>
                </a:lnTo>
                <a:lnTo>
                  <a:pt x="147" y="102"/>
                </a:lnTo>
                <a:lnTo>
                  <a:pt x="144" y="102"/>
                </a:lnTo>
                <a:lnTo>
                  <a:pt x="144" y="100"/>
                </a:lnTo>
                <a:lnTo>
                  <a:pt x="144" y="98"/>
                </a:lnTo>
                <a:lnTo>
                  <a:pt x="144" y="95"/>
                </a:lnTo>
                <a:lnTo>
                  <a:pt x="147" y="93"/>
                </a:lnTo>
                <a:lnTo>
                  <a:pt x="144" y="91"/>
                </a:lnTo>
                <a:lnTo>
                  <a:pt x="144" y="88"/>
                </a:lnTo>
                <a:lnTo>
                  <a:pt x="147" y="88"/>
                </a:lnTo>
                <a:lnTo>
                  <a:pt x="149" y="88"/>
                </a:lnTo>
                <a:lnTo>
                  <a:pt x="151" y="88"/>
                </a:lnTo>
                <a:lnTo>
                  <a:pt x="158" y="88"/>
                </a:lnTo>
                <a:lnTo>
                  <a:pt x="161" y="88"/>
                </a:lnTo>
                <a:lnTo>
                  <a:pt x="161" y="86"/>
                </a:lnTo>
                <a:lnTo>
                  <a:pt x="161" y="84"/>
                </a:lnTo>
                <a:lnTo>
                  <a:pt x="161" y="81"/>
                </a:lnTo>
                <a:lnTo>
                  <a:pt x="163" y="81"/>
                </a:lnTo>
                <a:lnTo>
                  <a:pt x="165" y="81"/>
                </a:lnTo>
                <a:lnTo>
                  <a:pt x="165" y="79"/>
                </a:lnTo>
                <a:lnTo>
                  <a:pt x="168" y="79"/>
                </a:lnTo>
                <a:lnTo>
                  <a:pt x="170" y="77"/>
                </a:lnTo>
                <a:lnTo>
                  <a:pt x="172" y="79"/>
                </a:lnTo>
                <a:lnTo>
                  <a:pt x="186" y="84"/>
                </a:lnTo>
                <a:lnTo>
                  <a:pt x="189" y="84"/>
                </a:lnTo>
                <a:lnTo>
                  <a:pt x="191" y="84"/>
                </a:lnTo>
                <a:lnTo>
                  <a:pt x="198" y="79"/>
                </a:lnTo>
                <a:lnTo>
                  <a:pt x="200" y="79"/>
                </a:lnTo>
                <a:lnTo>
                  <a:pt x="203" y="79"/>
                </a:lnTo>
                <a:lnTo>
                  <a:pt x="205" y="79"/>
                </a:lnTo>
                <a:lnTo>
                  <a:pt x="207" y="79"/>
                </a:lnTo>
                <a:lnTo>
                  <a:pt x="210" y="79"/>
                </a:lnTo>
                <a:lnTo>
                  <a:pt x="212" y="77"/>
                </a:lnTo>
                <a:lnTo>
                  <a:pt x="214" y="75"/>
                </a:lnTo>
                <a:lnTo>
                  <a:pt x="217" y="72"/>
                </a:lnTo>
                <a:lnTo>
                  <a:pt x="219" y="72"/>
                </a:lnTo>
                <a:lnTo>
                  <a:pt x="221" y="72"/>
                </a:lnTo>
                <a:lnTo>
                  <a:pt x="224" y="72"/>
                </a:lnTo>
                <a:lnTo>
                  <a:pt x="226" y="72"/>
                </a:lnTo>
                <a:lnTo>
                  <a:pt x="228" y="72"/>
                </a:lnTo>
                <a:lnTo>
                  <a:pt x="231" y="72"/>
                </a:lnTo>
                <a:lnTo>
                  <a:pt x="233" y="72"/>
                </a:lnTo>
                <a:lnTo>
                  <a:pt x="233" y="70"/>
                </a:lnTo>
                <a:lnTo>
                  <a:pt x="233" y="68"/>
                </a:lnTo>
                <a:lnTo>
                  <a:pt x="233" y="63"/>
                </a:lnTo>
                <a:lnTo>
                  <a:pt x="235" y="61"/>
                </a:lnTo>
                <a:lnTo>
                  <a:pt x="238" y="61"/>
                </a:lnTo>
                <a:lnTo>
                  <a:pt x="240" y="61"/>
                </a:lnTo>
                <a:lnTo>
                  <a:pt x="242" y="61"/>
                </a:lnTo>
                <a:lnTo>
                  <a:pt x="244" y="61"/>
                </a:lnTo>
                <a:lnTo>
                  <a:pt x="247" y="61"/>
                </a:lnTo>
                <a:lnTo>
                  <a:pt x="249" y="58"/>
                </a:lnTo>
                <a:lnTo>
                  <a:pt x="249" y="56"/>
                </a:lnTo>
                <a:lnTo>
                  <a:pt x="247" y="54"/>
                </a:lnTo>
                <a:lnTo>
                  <a:pt x="249" y="54"/>
                </a:lnTo>
                <a:lnTo>
                  <a:pt x="254" y="54"/>
                </a:lnTo>
                <a:lnTo>
                  <a:pt x="256" y="54"/>
                </a:lnTo>
                <a:lnTo>
                  <a:pt x="258" y="56"/>
                </a:lnTo>
                <a:lnTo>
                  <a:pt x="258" y="54"/>
                </a:lnTo>
                <a:lnTo>
                  <a:pt x="263" y="54"/>
                </a:lnTo>
                <a:lnTo>
                  <a:pt x="270" y="54"/>
                </a:lnTo>
                <a:lnTo>
                  <a:pt x="272" y="51"/>
                </a:lnTo>
                <a:lnTo>
                  <a:pt x="275" y="49"/>
                </a:lnTo>
                <a:lnTo>
                  <a:pt x="275" y="47"/>
                </a:lnTo>
                <a:lnTo>
                  <a:pt x="275" y="44"/>
                </a:lnTo>
                <a:lnTo>
                  <a:pt x="277" y="40"/>
                </a:lnTo>
                <a:lnTo>
                  <a:pt x="279" y="40"/>
                </a:lnTo>
                <a:lnTo>
                  <a:pt x="286" y="35"/>
                </a:lnTo>
                <a:lnTo>
                  <a:pt x="289" y="33"/>
                </a:lnTo>
                <a:lnTo>
                  <a:pt x="293" y="30"/>
                </a:lnTo>
                <a:lnTo>
                  <a:pt x="298" y="26"/>
                </a:lnTo>
                <a:lnTo>
                  <a:pt x="298" y="21"/>
                </a:lnTo>
                <a:lnTo>
                  <a:pt x="298" y="19"/>
                </a:lnTo>
                <a:lnTo>
                  <a:pt x="293" y="7"/>
                </a:lnTo>
                <a:lnTo>
                  <a:pt x="291" y="5"/>
                </a:lnTo>
                <a:lnTo>
                  <a:pt x="289" y="5"/>
                </a:lnTo>
                <a:lnTo>
                  <a:pt x="291" y="2"/>
                </a:lnTo>
                <a:lnTo>
                  <a:pt x="293" y="2"/>
                </a:lnTo>
                <a:lnTo>
                  <a:pt x="298" y="5"/>
                </a:lnTo>
                <a:lnTo>
                  <a:pt x="300" y="5"/>
                </a:lnTo>
                <a:lnTo>
                  <a:pt x="305" y="5"/>
                </a:lnTo>
                <a:lnTo>
                  <a:pt x="307" y="5"/>
                </a:lnTo>
                <a:lnTo>
                  <a:pt x="307" y="7"/>
                </a:lnTo>
                <a:lnTo>
                  <a:pt x="310" y="7"/>
                </a:lnTo>
                <a:lnTo>
                  <a:pt x="310" y="5"/>
                </a:lnTo>
                <a:lnTo>
                  <a:pt x="312" y="5"/>
                </a:lnTo>
                <a:lnTo>
                  <a:pt x="317" y="5"/>
                </a:lnTo>
                <a:lnTo>
                  <a:pt x="319" y="5"/>
                </a:lnTo>
                <a:lnTo>
                  <a:pt x="321" y="0"/>
                </a:lnTo>
                <a:lnTo>
                  <a:pt x="324" y="0"/>
                </a:lnTo>
                <a:lnTo>
                  <a:pt x="326" y="0"/>
                </a:lnTo>
                <a:lnTo>
                  <a:pt x="328" y="2"/>
                </a:lnTo>
                <a:lnTo>
                  <a:pt x="331" y="0"/>
                </a:lnTo>
                <a:lnTo>
                  <a:pt x="333" y="2"/>
                </a:lnTo>
                <a:lnTo>
                  <a:pt x="335" y="7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54" name="Freeform 31">
            <a:extLst>
              <a:ext uri="{FF2B5EF4-FFF2-40B4-BE49-F238E27FC236}">
                <a16:creationId xmlns:a16="http://schemas.microsoft.com/office/drawing/2014/main" id="{37860FF1-564E-1A25-9370-2ACD5FB7FB41}"/>
              </a:ext>
            </a:extLst>
          </p:cNvPr>
          <p:cNvSpPr>
            <a:spLocks noEditPoints="1"/>
          </p:cNvSpPr>
          <p:nvPr/>
        </p:nvSpPr>
        <p:spPr bwMode="auto">
          <a:xfrm>
            <a:off x="3011797" y="2759336"/>
            <a:ext cx="400605" cy="434122"/>
          </a:xfrm>
          <a:custGeom>
            <a:avLst/>
            <a:gdLst>
              <a:gd name="T0" fmla="*/ 319 w 340"/>
              <a:gd name="T1" fmla="*/ 261 h 386"/>
              <a:gd name="T2" fmla="*/ 321 w 340"/>
              <a:gd name="T3" fmla="*/ 249 h 386"/>
              <a:gd name="T4" fmla="*/ 328 w 340"/>
              <a:gd name="T5" fmla="*/ 242 h 386"/>
              <a:gd name="T6" fmla="*/ 307 w 340"/>
              <a:gd name="T7" fmla="*/ 167 h 386"/>
              <a:gd name="T8" fmla="*/ 303 w 340"/>
              <a:gd name="T9" fmla="*/ 184 h 386"/>
              <a:gd name="T10" fmla="*/ 305 w 340"/>
              <a:gd name="T11" fmla="*/ 167 h 386"/>
              <a:gd name="T12" fmla="*/ 300 w 340"/>
              <a:gd name="T13" fmla="*/ 165 h 386"/>
              <a:gd name="T14" fmla="*/ 258 w 340"/>
              <a:gd name="T15" fmla="*/ 56 h 386"/>
              <a:gd name="T16" fmla="*/ 263 w 340"/>
              <a:gd name="T17" fmla="*/ 70 h 386"/>
              <a:gd name="T18" fmla="*/ 270 w 340"/>
              <a:gd name="T19" fmla="*/ 105 h 386"/>
              <a:gd name="T20" fmla="*/ 277 w 340"/>
              <a:gd name="T21" fmla="*/ 121 h 386"/>
              <a:gd name="T22" fmla="*/ 282 w 340"/>
              <a:gd name="T23" fmla="*/ 137 h 386"/>
              <a:gd name="T24" fmla="*/ 286 w 340"/>
              <a:gd name="T25" fmla="*/ 158 h 386"/>
              <a:gd name="T26" fmla="*/ 279 w 340"/>
              <a:gd name="T27" fmla="*/ 167 h 386"/>
              <a:gd name="T28" fmla="*/ 296 w 340"/>
              <a:gd name="T29" fmla="*/ 177 h 386"/>
              <a:gd name="T30" fmla="*/ 310 w 340"/>
              <a:gd name="T31" fmla="*/ 186 h 386"/>
              <a:gd name="T32" fmla="*/ 337 w 340"/>
              <a:gd name="T33" fmla="*/ 198 h 386"/>
              <a:gd name="T34" fmla="*/ 337 w 340"/>
              <a:gd name="T35" fmla="*/ 223 h 386"/>
              <a:gd name="T36" fmla="*/ 319 w 340"/>
              <a:gd name="T37" fmla="*/ 230 h 386"/>
              <a:gd name="T38" fmla="*/ 337 w 340"/>
              <a:gd name="T39" fmla="*/ 233 h 386"/>
              <a:gd name="T40" fmla="*/ 321 w 340"/>
              <a:gd name="T41" fmla="*/ 244 h 386"/>
              <a:gd name="T42" fmla="*/ 296 w 340"/>
              <a:gd name="T43" fmla="*/ 268 h 386"/>
              <a:gd name="T44" fmla="*/ 254 w 340"/>
              <a:gd name="T45" fmla="*/ 305 h 386"/>
              <a:gd name="T46" fmla="*/ 235 w 340"/>
              <a:gd name="T47" fmla="*/ 314 h 386"/>
              <a:gd name="T48" fmla="*/ 223 w 340"/>
              <a:gd name="T49" fmla="*/ 337 h 386"/>
              <a:gd name="T50" fmla="*/ 214 w 340"/>
              <a:gd name="T51" fmla="*/ 347 h 386"/>
              <a:gd name="T52" fmla="*/ 200 w 340"/>
              <a:gd name="T53" fmla="*/ 377 h 386"/>
              <a:gd name="T54" fmla="*/ 182 w 340"/>
              <a:gd name="T55" fmla="*/ 384 h 386"/>
              <a:gd name="T56" fmla="*/ 158 w 340"/>
              <a:gd name="T57" fmla="*/ 377 h 386"/>
              <a:gd name="T58" fmla="*/ 154 w 340"/>
              <a:gd name="T59" fmla="*/ 361 h 386"/>
              <a:gd name="T60" fmla="*/ 144 w 340"/>
              <a:gd name="T61" fmla="*/ 344 h 386"/>
              <a:gd name="T62" fmla="*/ 133 w 340"/>
              <a:gd name="T63" fmla="*/ 314 h 386"/>
              <a:gd name="T64" fmla="*/ 119 w 340"/>
              <a:gd name="T65" fmla="*/ 293 h 386"/>
              <a:gd name="T66" fmla="*/ 109 w 340"/>
              <a:gd name="T67" fmla="*/ 263 h 386"/>
              <a:gd name="T68" fmla="*/ 100 w 340"/>
              <a:gd name="T69" fmla="*/ 244 h 386"/>
              <a:gd name="T70" fmla="*/ 91 w 340"/>
              <a:gd name="T71" fmla="*/ 221 h 386"/>
              <a:gd name="T72" fmla="*/ 84 w 340"/>
              <a:gd name="T73" fmla="*/ 212 h 386"/>
              <a:gd name="T74" fmla="*/ 77 w 340"/>
              <a:gd name="T75" fmla="*/ 202 h 386"/>
              <a:gd name="T76" fmla="*/ 65 w 340"/>
              <a:gd name="T77" fmla="*/ 202 h 386"/>
              <a:gd name="T78" fmla="*/ 51 w 340"/>
              <a:gd name="T79" fmla="*/ 195 h 386"/>
              <a:gd name="T80" fmla="*/ 40 w 340"/>
              <a:gd name="T81" fmla="*/ 184 h 386"/>
              <a:gd name="T82" fmla="*/ 26 w 340"/>
              <a:gd name="T83" fmla="*/ 177 h 386"/>
              <a:gd name="T84" fmla="*/ 5 w 340"/>
              <a:gd name="T85" fmla="*/ 174 h 386"/>
              <a:gd name="T86" fmla="*/ 2 w 340"/>
              <a:gd name="T87" fmla="*/ 149 h 386"/>
              <a:gd name="T88" fmla="*/ 2 w 340"/>
              <a:gd name="T89" fmla="*/ 126 h 386"/>
              <a:gd name="T90" fmla="*/ 14 w 340"/>
              <a:gd name="T91" fmla="*/ 137 h 386"/>
              <a:gd name="T92" fmla="*/ 33 w 340"/>
              <a:gd name="T93" fmla="*/ 149 h 386"/>
              <a:gd name="T94" fmla="*/ 54 w 340"/>
              <a:gd name="T95" fmla="*/ 147 h 386"/>
              <a:gd name="T96" fmla="*/ 70 w 340"/>
              <a:gd name="T97" fmla="*/ 140 h 386"/>
              <a:gd name="T98" fmla="*/ 88 w 340"/>
              <a:gd name="T99" fmla="*/ 144 h 386"/>
              <a:gd name="T100" fmla="*/ 105 w 340"/>
              <a:gd name="T101" fmla="*/ 142 h 386"/>
              <a:gd name="T102" fmla="*/ 133 w 340"/>
              <a:gd name="T103" fmla="*/ 149 h 386"/>
              <a:gd name="T104" fmla="*/ 156 w 340"/>
              <a:gd name="T105" fmla="*/ 130 h 386"/>
              <a:gd name="T106" fmla="*/ 170 w 340"/>
              <a:gd name="T107" fmla="*/ 102 h 386"/>
              <a:gd name="T108" fmla="*/ 184 w 340"/>
              <a:gd name="T109" fmla="*/ 79 h 386"/>
              <a:gd name="T110" fmla="*/ 205 w 340"/>
              <a:gd name="T111" fmla="*/ 46 h 386"/>
              <a:gd name="T112" fmla="*/ 228 w 340"/>
              <a:gd name="T113" fmla="*/ 25 h 386"/>
              <a:gd name="T114" fmla="*/ 240 w 340"/>
              <a:gd name="T115" fmla="*/ 28 h 386"/>
              <a:gd name="T116" fmla="*/ 258 w 340"/>
              <a:gd name="T117" fmla="*/ 21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40" h="386">
                <a:moveTo>
                  <a:pt x="321" y="251"/>
                </a:moveTo>
                <a:lnTo>
                  <a:pt x="323" y="251"/>
                </a:lnTo>
                <a:lnTo>
                  <a:pt x="326" y="251"/>
                </a:lnTo>
                <a:lnTo>
                  <a:pt x="328" y="251"/>
                </a:lnTo>
                <a:lnTo>
                  <a:pt x="326" y="254"/>
                </a:lnTo>
                <a:lnTo>
                  <a:pt x="326" y="256"/>
                </a:lnTo>
                <a:lnTo>
                  <a:pt x="323" y="256"/>
                </a:lnTo>
                <a:lnTo>
                  <a:pt x="323" y="258"/>
                </a:lnTo>
                <a:lnTo>
                  <a:pt x="321" y="261"/>
                </a:lnTo>
                <a:lnTo>
                  <a:pt x="319" y="261"/>
                </a:lnTo>
                <a:lnTo>
                  <a:pt x="316" y="261"/>
                </a:lnTo>
                <a:lnTo>
                  <a:pt x="314" y="261"/>
                </a:lnTo>
                <a:lnTo>
                  <a:pt x="312" y="261"/>
                </a:lnTo>
                <a:lnTo>
                  <a:pt x="310" y="261"/>
                </a:lnTo>
                <a:lnTo>
                  <a:pt x="307" y="258"/>
                </a:lnTo>
                <a:lnTo>
                  <a:pt x="310" y="256"/>
                </a:lnTo>
                <a:lnTo>
                  <a:pt x="312" y="254"/>
                </a:lnTo>
                <a:lnTo>
                  <a:pt x="316" y="251"/>
                </a:lnTo>
                <a:lnTo>
                  <a:pt x="319" y="251"/>
                </a:lnTo>
                <a:lnTo>
                  <a:pt x="321" y="249"/>
                </a:lnTo>
                <a:lnTo>
                  <a:pt x="321" y="251"/>
                </a:lnTo>
                <a:close/>
                <a:moveTo>
                  <a:pt x="326" y="249"/>
                </a:moveTo>
                <a:lnTo>
                  <a:pt x="323" y="249"/>
                </a:lnTo>
                <a:lnTo>
                  <a:pt x="321" y="249"/>
                </a:lnTo>
                <a:lnTo>
                  <a:pt x="321" y="247"/>
                </a:lnTo>
                <a:lnTo>
                  <a:pt x="323" y="247"/>
                </a:lnTo>
                <a:lnTo>
                  <a:pt x="326" y="247"/>
                </a:lnTo>
                <a:lnTo>
                  <a:pt x="326" y="244"/>
                </a:lnTo>
                <a:lnTo>
                  <a:pt x="328" y="244"/>
                </a:lnTo>
                <a:lnTo>
                  <a:pt x="328" y="242"/>
                </a:lnTo>
                <a:lnTo>
                  <a:pt x="330" y="242"/>
                </a:lnTo>
                <a:lnTo>
                  <a:pt x="333" y="242"/>
                </a:lnTo>
                <a:lnTo>
                  <a:pt x="335" y="240"/>
                </a:lnTo>
                <a:lnTo>
                  <a:pt x="335" y="242"/>
                </a:lnTo>
                <a:lnTo>
                  <a:pt x="333" y="244"/>
                </a:lnTo>
                <a:lnTo>
                  <a:pt x="330" y="247"/>
                </a:lnTo>
                <a:lnTo>
                  <a:pt x="328" y="249"/>
                </a:lnTo>
                <a:lnTo>
                  <a:pt x="326" y="249"/>
                </a:lnTo>
                <a:close/>
                <a:moveTo>
                  <a:pt x="307" y="165"/>
                </a:moveTo>
                <a:lnTo>
                  <a:pt x="307" y="167"/>
                </a:lnTo>
                <a:lnTo>
                  <a:pt x="310" y="170"/>
                </a:lnTo>
                <a:lnTo>
                  <a:pt x="310" y="172"/>
                </a:lnTo>
                <a:lnTo>
                  <a:pt x="310" y="174"/>
                </a:lnTo>
                <a:lnTo>
                  <a:pt x="312" y="174"/>
                </a:lnTo>
                <a:lnTo>
                  <a:pt x="312" y="177"/>
                </a:lnTo>
                <a:lnTo>
                  <a:pt x="312" y="179"/>
                </a:lnTo>
                <a:lnTo>
                  <a:pt x="310" y="181"/>
                </a:lnTo>
                <a:lnTo>
                  <a:pt x="307" y="184"/>
                </a:lnTo>
                <a:lnTo>
                  <a:pt x="305" y="184"/>
                </a:lnTo>
                <a:lnTo>
                  <a:pt x="303" y="184"/>
                </a:lnTo>
                <a:lnTo>
                  <a:pt x="300" y="181"/>
                </a:lnTo>
                <a:lnTo>
                  <a:pt x="300" y="177"/>
                </a:lnTo>
                <a:lnTo>
                  <a:pt x="298" y="177"/>
                </a:lnTo>
                <a:lnTo>
                  <a:pt x="298" y="174"/>
                </a:lnTo>
                <a:lnTo>
                  <a:pt x="298" y="172"/>
                </a:lnTo>
                <a:lnTo>
                  <a:pt x="298" y="170"/>
                </a:lnTo>
                <a:lnTo>
                  <a:pt x="298" y="167"/>
                </a:lnTo>
                <a:lnTo>
                  <a:pt x="300" y="167"/>
                </a:lnTo>
                <a:lnTo>
                  <a:pt x="303" y="167"/>
                </a:lnTo>
                <a:lnTo>
                  <a:pt x="305" y="167"/>
                </a:lnTo>
                <a:lnTo>
                  <a:pt x="307" y="165"/>
                </a:lnTo>
                <a:close/>
                <a:moveTo>
                  <a:pt x="298" y="160"/>
                </a:moveTo>
                <a:lnTo>
                  <a:pt x="300" y="160"/>
                </a:lnTo>
                <a:lnTo>
                  <a:pt x="303" y="160"/>
                </a:lnTo>
                <a:lnTo>
                  <a:pt x="303" y="163"/>
                </a:lnTo>
                <a:lnTo>
                  <a:pt x="305" y="163"/>
                </a:lnTo>
                <a:lnTo>
                  <a:pt x="305" y="165"/>
                </a:lnTo>
                <a:lnTo>
                  <a:pt x="303" y="165"/>
                </a:lnTo>
                <a:lnTo>
                  <a:pt x="300" y="167"/>
                </a:lnTo>
                <a:lnTo>
                  <a:pt x="300" y="165"/>
                </a:lnTo>
                <a:lnTo>
                  <a:pt x="300" y="167"/>
                </a:lnTo>
                <a:lnTo>
                  <a:pt x="298" y="165"/>
                </a:lnTo>
                <a:lnTo>
                  <a:pt x="298" y="163"/>
                </a:lnTo>
                <a:lnTo>
                  <a:pt x="296" y="163"/>
                </a:lnTo>
                <a:lnTo>
                  <a:pt x="298" y="160"/>
                </a:lnTo>
                <a:close/>
                <a:moveTo>
                  <a:pt x="261" y="30"/>
                </a:moveTo>
                <a:lnTo>
                  <a:pt x="261" y="37"/>
                </a:lnTo>
                <a:lnTo>
                  <a:pt x="258" y="44"/>
                </a:lnTo>
                <a:lnTo>
                  <a:pt x="258" y="53"/>
                </a:lnTo>
                <a:lnTo>
                  <a:pt x="258" y="56"/>
                </a:lnTo>
                <a:lnTo>
                  <a:pt x="258" y="53"/>
                </a:lnTo>
                <a:lnTo>
                  <a:pt x="261" y="51"/>
                </a:lnTo>
                <a:lnTo>
                  <a:pt x="261" y="44"/>
                </a:lnTo>
                <a:lnTo>
                  <a:pt x="263" y="42"/>
                </a:lnTo>
                <a:lnTo>
                  <a:pt x="265" y="39"/>
                </a:lnTo>
                <a:lnTo>
                  <a:pt x="268" y="39"/>
                </a:lnTo>
                <a:lnTo>
                  <a:pt x="265" y="51"/>
                </a:lnTo>
                <a:lnTo>
                  <a:pt x="265" y="60"/>
                </a:lnTo>
                <a:lnTo>
                  <a:pt x="265" y="67"/>
                </a:lnTo>
                <a:lnTo>
                  <a:pt x="263" y="70"/>
                </a:lnTo>
                <a:lnTo>
                  <a:pt x="263" y="74"/>
                </a:lnTo>
                <a:lnTo>
                  <a:pt x="268" y="86"/>
                </a:lnTo>
                <a:lnTo>
                  <a:pt x="268" y="88"/>
                </a:lnTo>
                <a:lnTo>
                  <a:pt x="265" y="91"/>
                </a:lnTo>
                <a:lnTo>
                  <a:pt x="268" y="93"/>
                </a:lnTo>
                <a:lnTo>
                  <a:pt x="268" y="95"/>
                </a:lnTo>
                <a:lnTo>
                  <a:pt x="268" y="98"/>
                </a:lnTo>
                <a:lnTo>
                  <a:pt x="268" y="100"/>
                </a:lnTo>
                <a:lnTo>
                  <a:pt x="268" y="102"/>
                </a:lnTo>
                <a:lnTo>
                  <a:pt x="270" y="105"/>
                </a:lnTo>
                <a:lnTo>
                  <a:pt x="270" y="107"/>
                </a:lnTo>
                <a:lnTo>
                  <a:pt x="270" y="109"/>
                </a:lnTo>
                <a:lnTo>
                  <a:pt x="272" y="109"/>
                </a:lnTo>
                <a:lnTo>
                  <a:pt x="272" y="112"/>
                </a:lnTo>
                <a:lnTo>
                  <a:pt x="272" y="114"/>
                </a:lnTo>
                <a:lnTo>
                  <a:pt x="272" y="116"/>
                </a:lnTo>
                <a:lnTo>
                  <a:pt x="275" y="116"/>
                </a:lnTo>
                <a:lnTo>
                  <a:pt x="275" y="119"/>
                </a:lnTo>
                <a:lnTo>
                  <a:pt x="275" y="121"/>
                </a:lnTo>
                <a:lnTo>
                  <a:pt x="277" y="121"/>
                </a:lnTo>
                <a:lnTo>
                  <a:pt x="277" y="123"/>
                </a:lnTo>
                <a:lnTo>
                  <a:pt x="277" y="126"/>
                </a:lnTo>
                <a:lnTo>
                  <a:pt x="277" y="128"/>
                </a:lnTo>
                <a:lnTo>
                  <a:pt x="279" y="130"/>
                </a:lnTo>
                <a:lnTo>
                  <a:pt x="279" y="135"/>
                </a:lnTo>
                <a:lnTo>
                  <a:pt x="279" y="137"/>
                </a:lnTo>
                <a:lnTo>
                  <a:pt x="277" y="137"/>
                </a:lnTo>
                <a:lnTo>
                  <a:pt x="279" y="140"/>
                </a:lnTo>
                <a:lnTo>
                  <a:pt x="279" y="137"/>
                </a:lnTo>
                <a:lnTo>
                  <a:pt x="282" y="137"/>
                </a:lnTo>
                <a:lnTo>
                  <a:pt x="282" y="140"/>
                </a:lnTo>
                <a:lnTo>
                  <a:pt x="282" y="142"/>
                </a:lnTo>
                <a:lnTo>
                  <a:pt x="282" y="144"/>
                </a:lnTo>
                <a:lnTo>
                  <a:pt x="284" y="144"/>
                </a:lnTo>
                <a:lnTo>
                  <a:pt x="284" y="147"/>
                </a:lnTo>
                <a:lnTo>
                  <a:pt x="284" y="149"/>
                </a:lnTo>
                <a:lnTo>
                  <a:pt x="284" y="151"/>
                </a:lnTo>
                <a:lnTo>
                  <a:pt x="284" y="153"/>
                </a:lnTo>
                <a:lnTo>
                  <a:pt x="284" y="156"/>
                </a:lnTo>
                <a:lnTo>
                  <a:pt x="286" y="158"/>
                </a:lnTo>
                <a:lnTo>
                  <a:pt x="286" y="160"/>
                </a:lnTo>
                <a:lnTo>
                  <a:pt x="286" y="163"/>
                </a:lnTo>
                <a:lnTo>
                  <a:pt x="284" y="163"/>
                </a:lnTo>
                <a:lnTo>
                  <a:pt x="282" y="163"/>
                </a:lnTo>
                <a:lnTo>
                  <a:pt x="279" y="163"/>
                </a:lnTo>
                <a:lnTo>
                  <a:pt x="279" y="160"/>
                </a:lnTo>
                <a:lnTo>
                  <a:pt x="279" y="163"/>
                </a:lnTo>
                <a:lnTo>
                  <a:pt x="282" y="163"/>
                </a:lnTo>
                <a:lnTo>
                  <a:pt x="282" y="165"/>
                </a:lnTo>
                <a:lnTo>
                  <a:pt x="279" y="167"/>
                </a:lnTo>
                <a:lnTo>
                  <a:pt x="279" y="170"/>
                </a:lnTo>
                <a:lnTo>
                  <a:pt x="282" y="170"/>
                </a:lnTo>
                <a:lnTo>
                  <a:pt x="282" y="167"/>
                </a:lnTo>
                <a:lnTo>
                  <a:pt x="284" y="165"/>
                </a:lnTo>
                <a:lnTo>
                  <a:pt x="286" y="163"/>
                </a:lnTo>
                <a:lnTo>
                  <a:pt x="289" y="165"/>
                </a:lnTo>
                <a:lnTo>
                  <a:pt x="291" y="165"/>
                </a:lnTo>
                <a:lnTo>
                  <a:pt x="293" y="167"/>
                </a:lnTo>
                <a:lnTo>
                  <a:pt x="293" y="172"/>
                </a:lnTo>
                <a:lnTo>
                  <a:pt x="296" y="177"/>
                </a:lnTo>
                <a:lnTo>
                  <a:pt x="296" y="179"/>
                </a:lnTo>
                <a:lnTo>
                  <a:pt x="298" y="179"/>
                </a:lnTo>
                <a:lnTo>
                  <a:pt x="298" y="181"/>
                </a:lnTo>
                <a:lnTo>
                  <a:pt x="298" y="184"/>
                </a:lnTo>
                <a:lnTo>
                  <a:pt x="298" y="186"/>
                </a:lnTo>
                <a:lnTo>
                  <a:pt x="300" y="186"/>
                </a:lnTo>
                <a:lnTo>
                  <a:pt x="303" y="188"/>
                </a:lnTo>
                <a:lnTo>
                  <a:pt x="305" y="188"/>
                </a:lnTo>
                <a:lnTo>
                  <a:pt x="307" y="188"/>
                </a:lnTo>
                <a:lnTo>
                  <a:pt x="310" y="186"/>
                </a:lnTo>
                <a:lnTo>
                  <a:pt x="312" y="188"/>
                </a:lnTo>
                <a:lnTo>
                  <a:pt x="314" y="188"/>
                </a:lnTo>
                <a:lnTo>
                  <a:pt x="316" y="188"/>
                </a:lnTo>
                <a:lnTo>
                  <a:pt x="319" y="188"/>
                </a:lnTo>
                <a:lnTo>
                  <a:pt x="321" y="188"/>
                </a:lnTo>
                <a:lnTo>
                  <a:pt x="323" y="188"/>
                </a:lnTo>
                <a:lnTo>
                  <a:pt x="326" y="191"/>
                </a:lnTo>
                <a:lnTo>
                  <a:pt x="333" y="193"/>
                </a:lnTo>
                <a:lnTo>
                  <a:pt x="335" y="195"/>
                </a:lnTo>
                <a:lnTo>
                  <a:pt x="337" y="198"/>
                </a:lnTo>
                <a:lnTo>
                  <a:pt x="337" y="200"/>
                </a:lnTo>
                <a:lnTo>
                  <a:pt x="337" y="202"/>
                </a:lnTo>
                <a:lnTo>
                  <a:pt x="337" y="205"/>
                </a:lnTo>
                <a:lnTo>
                  <a:pt x="337" y="207"/>
                </a:lnTo>
                <a:lnTo>
                  <a:pt x="337" y="209"/>
                </a:lnTo>
                <a:lnTo>
                  <a:pt x="340" y="214"/>
                </a:lnTo>
                <a:lnTo>
                  <a:pt x="340" y="216"/>
                </a:lnTo>
                <a:lnTo>
                  <a:pt x="340" y="219"/>
                </a:lnTo>
                <a:lnTo>
                  <a:pt x="340" y="221"/>
                </a:lnTo>
                <a:lnTo>
                  <a:pt x="337" y="223"/>
                </a:lnTo>
                <a:lnTo>
                  <a:pt x="337" y="226"/>
                </a:lnTo>
                <a:lnTo>
                  <a:pt x="335" y="226"/>
                </a:lnTo>
                <a:lnTo>
                  <a:pt x="335" y="228"/>
                </a:lnTo>
                <a:lnTo>
                  <a:pt x="330" y="228"/>
                </a:lnTo>
                <a:lnTo>
                  <a:pt x="328" y="228"/>
                </a:lnTo>
                <a:lnTo>
                  <a:pt x="326" y="230"/>
                </a:lnTo>
                <a:lnTo>
                  <a:pt x="323" y="230"/>
                </a:lnTo>
                <a:lnTo>
                  <a:pt x="321" y="230"/>
                </a:lnTo>
                <a:lnTo>
                  <a:pt x="319" y="228"/>
                </a:lnTo>
                <a:lnTo>
                  <a:pt x="319" y="230"/>
                </a:lnTo>
                <a:lnTo>
                  <a:pt x="321" y="230"/>
                </a:lnTo>
                <a:lnTo>
                  <a:pt x="321" y="233"/>
                </a:lnTo>
                <a:lnTo>
                  <a:pt x="323" y="230"/>
                </a:lnTo>
                <a:lnTo>
                  <a:pt x="326" y="233"/>
                </a:lnTo>
                <a:lnTo>
                  <a:pt x="328" y="230"/>
                </a:lnTo>
                <a:lnTo>
                  <a:pt x="330" y="230"/>
                </a:lnTo>
                <a:lnTo>
                  <a:pt x="330" y="233"/>
                </a:lnTo>
                <a:lnTo>
                  <a:pt x="333" y="230"/>
                </a:lnTo>
                <a:lnTo>
                  <a:pt x="335" y="230"/>
                </a:lnTo>
                <a:lnTo>
                  <a:pt x="337" y="233"/>
                </a:lnTo>
                <a:lnTo>
                  <a:pt x="337" y="235"/>
                </a:lnTo>
                <a:lnTo>
                  <a:pt x="335" y="237"/>
                </a:lnTo>
                <a:lnTo>
                  <a:pt x="333" y="240"/>
                </a:lnTo>
                <a:lnTo>
                  <a:pt x="330" y="240"/>
                </a:lnTo>
                <a:lnTo>
                  <a:pt x="328" y="240"/>
                </a:lnTo>
                <a:lnTo>
                  <a:pt x="326" y="237"/>
                </a:lnTo>
                <a:lnTo>
                  <a:pt x="326" y="240"/>
                </a:lnTo>
                <a:lnTo>
                  <a:pt x="326" y="242"/>
                </a:lnTo>
                <a:lnTo>
                  <a:pt x="323" y="244"/>
                </a:lnTo>
                <a:lnTo>
                  <a:pt x="321" y="244"/>
                </a:lnTo>
                <a:lnTo>
                  <a:pt x="319" y="249"/>
                </a:lnTo>
                <a:lnTo>
                  <a:pt x="316" y="249"/>
                </a:lnTo>
                <a:lnTo>
                  <a:pt x="312" y="251"/>
                </a:lnTo>
                <a:lnTo>
                  <a:pt x="310" y="254"/>
                </a:lnTo>
                <a:lnTo>
                  <a:pt x="307" y="256"/>
                </a:lnTo>
                <a:lnTo>
                  <a:pt x="303" y="261"/>
                </a:lnTo>
                <a:lnTo>
                  <a:pt x="303" y="263"/>
                </a:lnTo>
                <a:lnTo>
                  <a:pt x="298" y="265"/>
                </a:lnTo>
                <a:lnTo>
                  <a:pt x="296" y="265"/>
                </a:lnTo>
                <a:lnTo>
                  <a:pt x="296" y="268"/>
                </a:lnTo>
                <a:lnTo>
                  <a:pt x="293" y="272"/>
                </a:lnTo>
                <a:lnTo>
                  <a:pt x="286" y="279"/>
                </a:lnTo>
                <a:lnTo>
                  <a:pt x="284" y="284"/>
                </a:lnTo>
                <a:lnTo>
                  <a:pt x="277" y="291"/>
                </a:lnTo>
                <a:lnTo>
                  <a:pt x="270" y="298"/>
                </a:lnTo>
                <a:lnTo>
                  <a:pt x="268" y="298"/>
                </a:lnTo>
                <a:lnTo>
                  <a:pt x="265" y="298"/>
                </a:lnTo>
                <a:lnTo>
                  <a:pt x="261" y="298"/>
                </a:lnTo>
                <a:lnTo>
                  <a:pt x="258" y="300"/>
                </a:lnTo>
                <a:lnTo>
                  <a:pt x="254" y="305"/>
                </a:lnTo>
                <a:lnTo>
                  <a:pt x="251" y="309"/>
                </a:lnTo>
                <a:lnTo>
                  <a:pt x="249" y="309"/>
                </a:lnTo>
                <a:lnTo>
                  <a:pt x="249" y="312"/>
                </a:lnTo>
                <a:lnTo>
                  <a:pt x="244" y="309"/>
                </a:lnTo>
                <a:lnTo>
                  <a:pt x="242" y="312"/>
                </a:lnTo>
                <a:lnTo>
                  <a:pt x="240" y="312"/>
                </a:lnTo>
                <a:lnTo>
                  <a:pt x="237" y="314"/>
                </a:lnTo>
                <a:lnTo>
                  <a:pt x="233" y="312"/>
                </a:lnTo>
                <a:lnTo>
                  <a:pt x="233" y="314"/>
                </a:lnTo>
                <a:lnTo>
                  <a:pt x="235" y="314"/>
                </a:lnTo>
                <a:lnTo>
                  <a:pt x="235" y="316"/>
                </a:lnTo>
                <a:lnTo>
                  <a:pt x="237" y="316"/>
                </a:lnTo>
                <a:lnTo>
                  <a:pt x="233" y="321"/>
                </a:lnTo>
                <a:lnTo>
                  <a:pt x="230" y="326"/>
                </a:lnTo>
                <a:lnTo>
                  <a:pt x="228" y="328"/>
                </a:lnTo>
                <a:lnTo>
                  <a:pt x="228" y="330"/>
                </a:lnTo>
                <a:lnTo>
                  <a:pt x="228" y="333"/>
                </a:lnTo>
                <a:lnTo>
                  <a:pt x="226" y="333"/>
                </a:lnTo>
                <a:lnTo>
                  <a:pt x="223" y="335"/>
                </a:lnTo>
                <a:lnTo>
                  <a:pt x="223" y="337"/>
                </a:lnTo>
                <a:lnTo>
                  <a:pt x="223" y="340"/>
                </a:lnTo>
                <a:lnTo>
                  <a:pt x="221" y="340"/>
                </a:lnTo>
                <a:lnTo>
                  <a:pt x="219" y="342"/>
                </a:lnTo>
                <a:lnTo>
                  <a:pt x="216" y="342"/>
                </a:lnTo>
                <a:lnTo>
                  <a:pt x="214" y="342"/>
                </a:lnTo>
                <a:lnTo>
                  <a:pt x="214" y="344"/>
                </a:lnTo>
                <a:lnTo>
                  <a:pt x="212" y="344"/>
                </a:lnTo>
                <a:lnTo>
                  <a:pt x="214" y="344"/>
                </a:lnTo>
                <a:lnTo>
                  <a:pt x="216" y="344"/>
                </a:lnTo>
                <a:lnTo>
                  <a:pt x="214" y="347"/>
                </a:lnTo>
                <a:lnTo>
                  <a:pt x="209" y="351"/>
                </a:lnTo>
                <a:lnTo>
                  <a:pt x="207" y="354"/>
                </a:lnTo>
                <a:lnTo>
                  <a:pt x="205" y="356"/>
                </a:lnTo>
                <a:lnTo>
                  <a:pt x="205" y="358"/>
                </a:lnTo>
                <a:lnTo>
                  <a:pt x="202" y="358"/>
                </a:lnTo>
                <a:lnTo>
                  <a:pt x="202" y="365"/>
                </a:lnTo>
                <a:lnTo>
                  <a:pt x="202" y="372"/>
                </a:lnTo>
                <a:lnTo>
                  <a:pt x="202" y="375"/>
                </a:lnTo>
                <a:lnTo>
                  <a:pt x="202" y="377"/>
                </a:lnTo>
                <a:lnTo>
                  <a:pt x="200" y="377"/>
                </a:lnTo>
                <a:lnTo>
                  <a:pt x="198" y="379"/>
                </a:lnTo>
                <a:lnTo>
                  <a:pt x="195" y="379"/>
                </a:lnTo>
                <a:lnTo>
                  <a:pt x="195" y="382"/>
                </a:lnTo>
                <a:lnTo>
                  <a:pt x="193" y="382"/>
                </a:lnTo>
                <a:lnTo>
                  <a:pt x="188" y="384"/>
                </a:lnTo>
                <a:lnTo>
                  <a:pt x="186" y="382"/>
                </a:lnTo>
                <a:lnTo>
                  <a:pt x="186" y="384"/>
                </a:lnTo>
                <a:lnTo>
                  <a:pt x="184" y="382"/>
                </a:lnTo>
                <a:lnTo>
                  <a:pt x="184" y="384"/>
                </a:lnTo>
                <a:lnTo>
                  <a:pt x="182" y="384"/>
                </a:lnTo>
                <a:lnTo>
                  <a:pt x="179" y="384"/>
                </a:lnTo>
                <a:lnTo>
                  <a:pt x="179" y="386"/>
                </a:lnTo>
                <a:lnTo>
                  <a:pt x="177" y="386"/>
                </a:lnTo>
                <a:lnTo>
                  <a:pt x="177" y="384"/>
                </a:lnTo>
                <a:lnTo>
                  <a:pt x="175" y="384"/>
                </a:lnTo>
                <a:lnTo>
                  <a:pt x="175" y="382"/>
                </a:lnTo>
                <a:lnTo>
                  <a:pt x="165" y="382"/>
                </a:lnTo>
                <a:lnTo>
                  <a:pt x="163" y="379"/>
                </a:lnTo>
                <a:lnTo>
                  <a:pt x="161" y="377"/>
                </a:lnTo>
                <a:lnTo>
                  <a:pt x="158" y="377"/>
                </a:lnTo>
                <a:lnTo>
                  <a:pt x="158" y="375"/>
                </a:lnTo>
                <a:lnTo>
                  <a:pt x="158" y="372"/>
                </a:lnTo>
                <a:lnTo>
                  <a:pt x="158" y="370"/>
                </a:lnTo>
                <a:lnTo>
                  <a:pt x="156" y="370"/>
                </a:lnTo>
                <a:lnTo>
                  <a:pt x="156" y="368"/>
                </a:lnTo>
                <a:lnTo>
                  <a:pt x="158" y="365"/>
                </a:lnTo>
                <a:lnTo>
                  <a:pt x="158" y="363"/>
                </a:lnTo>
                <a:lnTo>
                  <a:pt x="156" y="363"/>
                </a:lnTo>
                <a:lnTo>
                  <a:pt x="156" y="361"/>
                </a:lnTo>
                <a:lnTo>
                  <a:pt x="154" y="361"/>
                </a:lnTo>
                <a:lnTo>
                  <a:pt x="149" y="363"/>
                </a:lnTo>
                <a:lnTo>
                  <a:pt x="149" y="361"/>
                </a:lnTo>
                <a:lnTo>
                  <a:pt x="149" y="358"/>
                </a:lnTo>
                <a:lnTo>
                  <a:pt x="149" y="356"/>
                </a:lnTo>
                <a:lnTo>
                  <a:pt x="149" y="354"/>
                </a:lnTo>
                <a:lnTo>
                  <a:pt x="149" y="351"/>
                </a:lnTo>
                <a:lnTo>
                  <a:pt x="149" y="349"/>
                </a:lnTo>
                <a:lnTo>
                  <a:pt x="149" y="347"/>
                </a:lnTo>
                <a:lnTo>
                  <a:pt x="147" y="344"/>
                </a:lnTo>
                <a:lnTo>
                  <a:pt x="144" y="344"/>
                </a:lnTo>
                <a:lnTo>
                  <a:pt x="142" y="344"/>
                </a:lnTo>
                <a:lnTo>
                  <a:pt x="142" y="342"/>
                </a:lnTo>
                <a:lnTo>
                  <a:pt x="142" y="340"/>
                </a:lnTo>
                <a:lnTo>
                  <a:pt x="142" y="337"/>
                </a:lnTo>
                <a:lnTo>
                  <a:pt x="142" y="335"/>
                </a:lnTo>
                <a:lnTo>
                  <a:pt x="142" y="328"/>
                </a:lnTo>
                <a:lnTo>
                  <a:pt x="140" y="326"/>
                </a:lnTo>
                <a:lnTo>
                  <a:pt x="137" y="323"/>
                </a:lnTo>
                <a:lnTo>
                  <a:pt x="133" y="316"/>
                </a:lnTo>
                <a:lnTo>
                  <a:pt x="133" y="314"/>
                </a:lnTo>
                <a:lnTo>
                  <a:pt x="130" y="314"/>
                </a:lnTo>
                <a:lnTo>
                  <a:pt x="128" y="314"/>
                </a:lnTo>
                <a:lnTo>
                  <a:pt x="126" y="314"/>
                </a:lnTo>
                <a:lnTo>
                  <a:pt x="123" y="314"/>
                </a:lnTo>
                <a:lnTo>
                  <a:pt x="121" y="302"/>
                </a:lnTo>
                <a:lnTo>
                  <a:pt x="119" y="300"/>
                </a:lnTo>
                <a:lnTo>
                  <a:pt x="119" y="298"/>
                </a:lnTo>
                <a:lnTo>
                  <a:pt x="116" y="298"/>
                </a:lnTo>
                <a:lnTo>
                  <a:pt x="119" y="295"/>
                </a:lnTo>
                <a:lnTo>
                  <a:pt x="119" y="293"/>
                </a:lnTo>
                <a:lnTo>
                  <a:pt x="119" y="291"/>
                </a:lnTo>
                <a:lnTo>
                  <a:pt x="116" y="286"/>
                </a:lnTo>
                <a:lnTo>
                  <a:pt x="116" y="284"/>
                </a:lnTo>
                <a:lnTo>
                  <a:pt x="114" y="282"/>
                </a:lnTo>
                <a:lnTo>
                  <a:pt x="112" y="275"/>
                </a:lnTo>
                <a:lnTo>
                  <a:pt x="112" y="272"/>
                </a:lnTo>
                <a:lnTo>
                  <a:pt x="112" y="270"/>
                </a:lnTo>
                <a:lnTo>
                  <a:pt x="112" y="268"/>
                </a:lnTo>
                <a:lnTo>
                  <a:pt x="109" y="265"/>
                </a:lnTo>
                <a:lnTo>
                  <a:pt x="109" y="263"/>
                </a:lnTo>
                <a:lnTo>
                  <a:pt x="112" y="261"/>
                </a:lnTo>
                <a:lnTo>
                  <a:pt x="112" y="258"/>
                </a:lnTo>
                <a:lnTo>
                  <a:pt x="112" y="254"/>
                </a:lnTo>
                <a:lnTo>
                  <a:pt x="114" y="254"/>
                </a:lnTo>
                <a:lnTo>
                  <a:pt x="114" y="251"/>
                </a:lnTo>
                <a:lnTo>
                  <a:pt x="112" y="251"/>
                </a:lnTo>
                <a:lnTo>
                  <a:pt x="112" y="249"/>
                </a:lnTo>
                <a:lnTo>
                  <a:pt x="105" y="247"/>
                </a:lnTo>
                <a:lnTo>
                  <a:pt x="102" y="247"/>
                </a:lnTo>
                <a:lnTo>
                  <a:pt x="100" y="244"/>
                </a:lnTo>
                <a:lnTo>
                  <a:pt x="98" y="242"/>
                </a:lnTo>
                <a:lnTo>
                  <a:pt x="98" y="240"/>
                </a:lnTo>
                <a:lnTo>
                  <a:pt x="93" y="237"/>
                </a:lnTo>
                <a:lnTo>
                  <a:pt x="93" y="235"/>
                </a:lnTo>
                <a:lnTo>
                  <a:pt x="93" y="233"/>
                </a:lnTo>
                <a:lnTo>
                  <a:pt x="93" y="230"/>
                </a:lnTo>
                <a:lnTo>
                  <a:pt x="91" y="230"/>
                </a:lnTo>
                <a:lnTo>
                  <a:pt x="91" y="228"/>
                </a:lnTo>
                <a:lnTo>
                  <a:pt x="91" y="223"/>
                </a:lnTo>
                <a:lnTo>
                  <a:pt x="91" y="221"/>
                </a:lnTo>
                <a:lnTo>
                  <a:pt x="91" y="219"/>
                </a:lnTo>
                <a:lnTo>
                  <a:pt x="93" y="219"/>
                </a:lnTo>
                <a:lnTo>
                  <a:pt x="93" y="216"/>
                </a:lnTo>
                <a:lnTo>
                  <a:pt x="93" y="214"/>
                </a:lnTo>
                <a:lnTo>
                  <a:pt x="91" y="214"/>
                </a:lnTo>
                <a:lnTo>
                  <a:pt x="91" y="212"/>
                </a:lnTo>
                <a:lnTo>
                  <a:pt x="88" y="214"/>
                </a:lnTo>
                <a:lnTo>
                  <a:pt x="86" y="214"/>
                </a:lnTo>
                <a:lnTo>
                  <a:pt x="84" y="214"/>
                </a:lnTo>
                <a:lnTo>
                  <a:pt x="84" y="212"/>
                </a:lnTo>
                <a:lnTo>
                  <a:pt x="86" y="212"/>
                </a:lnTo>
                <a:lnTo>
                  <a:pt x="84" y="209"/>
                </a:lnTo>
                <a:lnTo>
                  <a:pt x="84" y="207"/>
                </a:lnTo>
                <a:lnTo>
                  <a:pt x="84" y="205"/>
                </a:lnTo>
                <a:lnTo>
                  <a:pt x="81" y="205"/>
                </a:lnTo>
                <a:lnTo>
                  <a:pt x="79" y="205"/>
                </a:lnTo>
                <a:lnTo>
                  <a:pt x="77" y="205"/>
                </a:lnTo>
                <a:lnTo>
                  <a:pt x="77" y="202"/>
                </a:lnTo>
                <a:lnTo>
                  <a:pt x="77" y="200"/>
                </a:lnTo>
                <a:lnTo>
                  <a:pt x="77" y="202"/>
                </a:lnTo>
                <a:lnTo>
                  <a:pt x="74" y="202"/>
                </a:lnTo>
                <a:lnTo>
                  <a:pt x="72" y="202"/>
                </a:lnTo>
                <a:lnTo>
                  <a:pt x="72" y="200"/>
                </a:lnTo>
                <a:lnTo>
                  <a:pt x="74" y="200"/>
                </a:lnTo>
                <a:lnTo>
                  <a:pt x="72" y="200"/>
                </a:lnTo>
                <a:lnTo>
                  <a:pt x="72" y="202"/>
                </a:lnTo>
                <a:lnTo>
                  <a:pt x="70" y="202"/>
                </a:lnTo>
                <a:lnTo>
                  <a:pt x="67" y="202"/>
                </a:lnTo>
                <a:lnTo>
                  <a:pt x="67" y="200"/>
                </a:lnTo>
                <a:lnTo>
                  <a:pt x="65" y="202"/>
                </a:lnTo>
                <a:lnTo>
                  <a:pt x="63" y="202"/>
                </a:lnTo>
                <a:lnTo>
                  <a:pt x="60" y="202"/>
                </a:lnTo>
                <a:lnTo>
                  <a:pt x="60" y="200"/>
                </a:lnTo>
                <a:lnTo>
                  <a:pt x="58" y="200"/>
                </a:lnTo>
                <a:lnTo>
                  <a:pt x="58" y="198"/>
                </a:lnTo>
                <a:lnTo>
                  <a:pt x="58" y="195"/>
                </a:lnTo>
                <a:lnTo>
                  <a:pt x="56" y="195"/>
                </a:lnTo>
                <a:lnTo>
                  <a:pt x="56" y="193"/>
                </a:lnTo>
                <a:lnTo>
                  <a:pt x="54" y="193"/>
                </a:lnTo>
                <a:lnTo>
                  <a:pt x="51" y="195"/>
                </a:lnTo>
                <a:lnTo>
                  <a:pt x="49" y="195"/>
                </a:lnTo>
                <a:lnTo>
                  <a:pt x="49" y="193"/>
                </a:lnTo>
                <a:lnTo>
                  <a:pt x="49" y="191"/>
                </a:lnTo>
                <a:lnTo>
                  <a:pt x="47" y="191"/>
                </a:lnTo>
                <a:lnTo>
                  <a:pt x="47" y="188"/>
                </a:lnTo>
                <a:lnTo>
                  <a:pt x="47" y="186"/>
                </a:lnTo>
                <a:lnTo>
                  <a:pt x="44" y="186"/>
                </a:lnTo>
                <a:lnTo>
                  <a:pt x="44" y="184"/>
                </a:lnTo>
                <a:lnTo>
                  <a:pt x="42" y="184"/>
                </a:lnTo>
                <a:lnTo>
                  <a:pt x="40" y="184"/>
                </a:lnTo>
                <a:lnTo>
                  <a:pt x="40" y="181"/>
                </a:lnTo>
                <a:lnTo>
                  <a:pt x="37" y="181"/>
                </a:lnTo>
                <a:lnTo>
                  <a:pt x="37" y="179"/>
                </a:lnTo>
                <a:lnTo>
                  <a:pt x="35" y="179"/>
                </a:lnTo>
                <a:lnTo>
                  <a:pt x="33" y="179"/>
                </a:lnTo>
                <a:lnTo>
                  <a:pt x="33" y="177"/>
                </a:lnTo>
                <a:lnTo>
                  <a:pt x="30" y="177"/>
                </a:lnTo>
                <a:lnTo>
                  <a:pt x="28" y="177"/>
                </a:lnTo>
                <a:lnTo>
                  <a:pt x="26" y="174"/>
                </a:lnTo>
                <a:lnTo>
                  <a:pt x="26" y="177"/>
                </a:lnTo>
                <a:lnTo>
                  <a:pt x="23" y="177"/>
                </a:lnTo>
                <a:lnTo>
                  <a:pt x="21" y="177"/>
                </a:lnTo>
                <a:lnTo>
                  <a:pt x="19" y="177"/>
                </a:lnTo>
                <a:lnTo>
                  <a:pt x="19" y="174"/>
                </a:lnTo>
                <a:lnTo>
                  <a:pt x="16" y="174"/>
                </a:lnTo>
                <a:lnTo>
                  <a:pt x="14" y="174"/>
                </a:lnTo>
                <a:lnTo>
                  <a:pt x="12" y="174"/>
                </a:lnTo>
                <a:lnTo>
                  <a:pt x="9" y="174"/>
                </a:lnTo>
                <a:lnTo>
                  <a:pt x="7" y="174"/>
                </a:lnTo>
                <a:lnTo>
                  <a:pt x="5" y="174"/>
                </a:lnTo>
                <a:lnTo>
                  <a:pt x="2" y="172"/>
                </a:lnTo>
                <a:lnTo>
                  <a:pt x="2" y="167"/>
                </a:lnTo>
                <a:lnTo>
                  <a:pt x="2" y="165"/>
                </a:lnTo>
                <a:lnTo>
                  <a:pt x="2" y="160"/>
                </a:lnTo>
                <a:lnTo>
                  <a:pt x="2" y="158"/>
                </a:lnTo>
                <a:lnTo>
                  <a:pt x="0" y="158"/>
                </a:lnTo>
                <a:lnTo>
                  <a:pt x="0" y="156"/>
                </a:lnTo>
                <a:lnTo>
                  <a:pt x="2" y="153"/>
                </a:lnTo>
                <a:lnTo>
                  <a:pt x="2" y="151"/>
                </a:lnTo>
                <a:lnTo>
                  <a:pt x="2" y="149"/>
                </a:lnTo>
                <a:lnTo>
                  <a:pt x="0" y="149"/>
                </a:lnTo>
                <a:lnTo>
                  <a:pt x="2" y="147"/>
                </a:lnTo>
                <a:lnTo>
                  <a:pt x="5" y="144"/>
                </a:lnTo>
                <a:lnTo>
                  <a:pt x="5" y="142"/>
                </a:lnTo>
                <a:lnTo>
                  <a:pt x="7" y="140"/>
                </a:lnTo>
                <a:lnTo>
                  <a:pt x="7" y="137"/>
                </a:lnTo>
                <a:lnTo>
                  <a:pt x="5" y="133"/>
                </a:lnTo>
                <a:lnTo>
                  <a:pt x="5" y="130"/>
                </a:lnTo>
                <a:lnTo>
                  <a:pt x="5" y="128"/>
                </a:lnTo>
                <a:lnTo>
                  <a:pt x="2" y="126"/>
                </a:lnTo>
                <a:lnTo>
                  <a:pt x="5" y="126"/>
                </a:lnTo>
                <a:lnTo>
                  <a:pt x="7" y="126"/>
                </a:lnTo>
                <a:lnTo>
                  <a:pt x="7" y="128"/>
                </a:lnTo>
                <a:lnTo>
                  <a:pt x="7" y="130"/>
                </a:lnTo>
                <a:lnTo>
                  <a:pt x="7" y="133"/>
                </a:lnTo>
                <a:lnTo>
                  <a:pt x="7" y="135"/>
                </a:lnTo>
                <a:lnTo>
                  <a:pt x="7" y="137"/>
                </a:lnTo>
                <a:lnTo>
                  <a:pt x="9" y="137"/>
                </a:lnTo>
                <a:lnTo>
                  <a:pt x="12" y="137"/>
                </a:lnTo>
                <a:lnTo>
                  <a:pt x="14" y="137"/>
                </a:lnTo>
                <a:lnTo>
                  <a:pt x="16" y="137"/>
                </a:lnTo>
                <a:lnTo>
                  <a:pt x="19" y="137"/>
                </a:lnTo>
                <a:lnTo>
                  <a:pt x="19" y="140"/>
                </a:lnTo>
                <a:lnTo>
                  <a:pt x="21" y="142"/>
                </a:lnTo>
                <a:lnTo>
                  <a:pt x="21" y="144"/>
                </a:lnTo>
                <a:lnTo>
                  <a:pt x="23" y="144"/>
                </a:lnTo>
                <a:lnTo>
                  <a:pt x="26" y="144"/>
                </a:lnTo>
                <a:lnTo>
                  <a:pt x="28" y="147"/>
                </a:lnTo>
                <a:lnTo>
                  <a:pt x="30" y="147"/>
                </a:lnTo>
                <a:lnTo>
                  <a:pt x="33" y="149"/>
                </a:lnTo>
                <a:lnTo>
                  <a:pt x="35" y="149"/>
                </a:lnTo>
                <a:lnTo>
                  <a:pt x="37" y="149"/>
                </a:lnTo>
                <a:lnTo>
                  <a:pt x="40" y="149"/>
                </a:lnTo>
                <a:lnTo>
                  <a:pt x="42" y="149"/>
                </a:lnTo>
                <a:lnTo>
                  <a:pt x="44" y="151"/>
                </a:lnTo>
                <a:lnTo>
                  <a:pt x="47" y="151"/>
                </a:lnTo>
                <a:lnTo>
                  <a:pt x="49" y="151"/>
                </a:lnTo>
                <a:lnTo>
                  <a:pt x="51" y="149"/>
                </a:lnTo>
                <a:lnTo>
                  <a:pt x="51" y="147"/>
                </a:lnTo>
                <a:lnTo>
                  <a:pt x="54" y="147"/>
                </a:lnTo>
                <a:lnTo>
                  <a:pt x="54" y="149"/>
                </a:lnTo>
                <a:lnTo>
                  <a:pt x="56" y="147"/>
                </a:lnTo>
                <a:lnTo>
                  <a:pt x="58" y="147"/>
                </a:lnTo>
                <a:lnTo>
                  <a:pt x="60" y="144"/>
                </a:lnTo>
                <a:lnTo>
                  <a:pt x="60" y="142"/>
                </a:lnTo>
                <a:lnTo>
                  <a:pt x="63" y="142"/>
                </a:lnTo>
                <a:lnTo>
                  <a:pt x="65" y="142"/>
                </a:lnTo>
                <a:lnTo>
                  <a:pt x="65" y="140"/>
                </a:lnTo>
                <a:lnTo>
                  <a:pt x="67" y="140"/>
                </a:lnTo>
                <a:lnTo>
                  <a:pt x="70" y="140"/>
                </a:lnTo>
                <a:lnTo>
                  <a:pt x="70" y="137"/>
                </a:lnTo>
                <a:lnTo>
                  <a:pt x="72" y="135"/>
                </a:lnTo>
                <a:lnTo>
                  <a:pt x="74" y="135"/>
                </a:lnTo>
                <a:lnTo>
                  <a:pt x="74" y="137"/>
                </a:lnTo>
                <a:lnTo>
                  <a:pt x="74" y="140"/>
                </a:lnTo>
                <a:lnTo>
                  <a:pt x="77" y="140"/>
                </a:lnTo>
                <a:lnTo>
                  <a:pt x="81" y="142"/>
                </a:lnTo>
                <a:lnTo>
                  <a:pt x="84" y="142"/>
                </a:lnTo>
                <a:lnTo>
                  <a:pt x="86" y="142"/>
                </a:lnTo>
                <a:lnTo>
                  <a:pt x="88" y="144"/>
                </a:lnTo>
                <a:lnTo>
                  <a:pt x="91" y="144"/>
                </a:lnTo>
                <a:lnTo>
                  <a:pt x="93" y="144"/>
                </a:lnTo>
                <a:lnTo>
                  <a:pt x="95" y="142"/>
                </a:lnTo>
                <a:lnTo>
                  <a:pt x="98" y="142"/>
                </a:lnTo>
                <a:lnTo>
                  <a:pt x="100" y="142"/>
                </a:lnTo>
                <a:lnTo>
                  <a:pt x="102" y="140"/>
                </a:lnTo>
                <a:lnTo>
                  <a:pt x="102" y="137"/>
                </a:lnTo>
                <a:lnTo>
                  <a:pt x="102" y="140"/>
                </a:lnTo>
                <a:lnTo>
                  <a:pt x="105" y="140"/>
                </a:lnTo>
                <a:lnTo>
                  <a:pt x="105" y="142"/>
                </a:lnTo>
                <a:lnTo>
                  <a:pt x="109" y="147"/>
                </a:lnTo>
                <a:lnTo>
                  <a:pt x="107" y="147"/>
                </a:lnTo>
                <a:lnTo>
                  <a:pt x="107" y="149"/>
                </a:lnTo>
                <a:lnTo>
                  <a:pt x="116" y="149"/>
                </a:lnTo>
                <a:lnTo>
                  <a:pt x="119" y="149"/>
                </a:lnTo>
                <a:lnTo>
                  <a:pt x="121" y="151"/>
                </a:lnTo>
                <a:lnTo>
                  <a:pt x="123" y="151"/>
                </a:lnTo>
                <a:lnTo>
                  <a:pt x="128" y="151"/>
                </a:lnTo>
                <a:lnTo>
                  <a:pt x="130" y="151"/>
                </a:lnTo>
                <a:lnTo>
                  <a:pt x="133" y="149"/>
                </a:lnTo>
                <a:lnTo>
                  <a:pt x="133" y="147"/>
                </a:lnTo>
                <a:lnTo>
                  <a:pt x="135" y="147"/>
                </a:lnTo>
                <a:lnTo>
                  <a:pt x="135" y="144"/>
                </a:lnTo>
                <a:lnTo>
                  <a:pt x="140" y="144"/>
                </a:lnTo>
                <a:lnTo>
                  <a:pt x="147" y="140"/>
                </a:lnTo>
                <a:lnTo>
                  <a:pt x="149" y="140"/>
                </a:lnTo>
                <a:lnTo>
                  <a:pt x="149" y="137"/>
                </a:lnTo>
                <a:lnTo>
                  <a:pt x="151" y="135"/>
                </a:lnTo>
                <a:lnTo>
                  <a:pt x="154" y="133"/>
                </a:lnTo>
                <a:lnTo>
                  <a:pt x="156" y="130"/>
                </a:lnTo>
                <a:lnTo>
                  <a:pt x="156" y="128"/>
                </a:lnTo>
                <a:lnTo>
                  <a:pt x="158" y="126"/>
                </a:lnTo>
                <a:lnTo>
                  <a:pt x="158" y="123"/>
                </a:lnTo>
                <a:lnTo>
                  <a:pt x="156" y="121"/>
                </a:lnTo>
                <a:lnTo>
                  <a:pt x="158" y="121"/>
                </a:lnTo>
                <a:lnTo>
                  <a:pt x="161" y="119"/>
                </a:lnTo>
                <a:lnTo>
                  <a:pt x="165" y="105"/>
                </a:lnTo>
                <a:lnTo>
                  <a:pt x="168" y="105"/>
                </a:lnTo>
                <a:lnTo>
                  <a:pt x="170" y="105"/>
                </a:lnTo>
                <a:lnTo>
                  <a:pt x="170" y="102"/>
                </a:lnTo>
                <a:lnTo>
                  <a:pt x="168" y="102"/>
                </a:lnTo>
                <a:lnTo>
                  <a:pt x="170" y="100"/>
                </a:lnTo>
                <a:lnTo>
                  <a:pt x="175" y="93"/>
                </a:lnTo>
                <a:lnTo>
                  <a:pt x="175" y="88"/>
                </a:lnTo>
                <a:lnTo>
                  <a:pt x="175" y="86"/>
                </a:lnTo>
                <a:lnTo>
                  <a:pt x="177" y="84"/>
                </a:lnTo>
                <a:lnTo>
                  <a:pt x="179" y="81"/>
                </a:lnTo>
                <a:lnTo>
                  <a:pt x="179" y="79"/>
                </a:lnTo>
                <a:lnTo>
                  <a:pt x="182" y="79"/>
                </a:lnTo>
                <a:lnTo>
                  <a:pt x="184" y="79"/>
                </a:lnTo>
                <a:lnTo>
                  <a:pt x="193" y="65"/>
                </a:lnTo>
                <a:lnTo>
                  <a:pt x="193" y="63"/>
                </a:lnTo>
                <a:lnTo>
                  <a:pt x="195" y="63"/>
                </a:lnTo>
                <a:lnTo>
                  <a:pt x="195" y="60"/>
                </a:lnTo>
                <a:lnTo>
                  <a:pt x="198" y="58"/>
                </a:lnTo>
                <a:lnTo>
                  <a:pt x="200" y="56"/>
                </a:lnTo>
                <a:lnTo>
                  <a:pt x="200" y="53"/>
                </a:lnTo>
                <a:lnTo>
                  <a:pt x="202" y="51"/>
                </a:lnTo>
                <a:lnTo>
                  <a:pt x="202" y="49"/>
                </a:lnTo>
                <a:lnTo>
                  <a:pt x="205" y="46"/>
                </a:lnTo>
                <a:lnTo>
                  <a:pt x="205" y="44"/>
                </a:lnTo>
                <a:lnTo>
                  <a:pt x="207" y="44"/>
                </a:lnTo>
                <a:lnTo>
                  <a:pt x="209" y="42"/>
                </a:lnTo>
                <a:lnTo>
                  <a:pt x="214" y="37"/>
                </a:lnTo>
                <a:lnTo>
                  <a:pt x="216" y="35"/>
                </a:lnTo>
                <a:lnTo>
                  <a:pt x="216" y="32"/>
                </a:lnTo>
                <a:lnTo>
                  <a:pt x="219" y="30"/>
                </a:lnTo>
                <a:lnTo>
                  <a:pt x="219" y="28"/>
                </a:lnTo>
                <a:lnTo>
                  <a:pt x="226" y="25"/>
                </a:lnTo>
                <a:lnTo>
                  <a:pt x="228" y="25"/>
                </a:lnTo>
                <a:lnTo>
                  <a:pt x="233" y="18"/>
                </a:lnTo>
                <a:lnTo>
                  <a:pt x="233" y="14"/>
                </a:lnTo>
                <a:lnTo>
                  <a:pt x="235" y="14"/>
                </a:lnTo>
                <a:lnTo>
                  <a:pt x="235" y="16"/>
                </a:lnTo>
                <a:lnTo>
                  <a:pt x="235" y="18"/>
                </a:lnTo>
                <a:lnTo>
                  <a:pt x="237" y="25"/>
                </a:lnTo>
                <a:lnTo>
                  <a:pt x="242" y="32"/>
                </a:lnTo>
                <a:lnTo>
                  <a:pt x="242" y="35"/>
                </a:lnTo>
                <a:lnTo>
                  <a:pt x="242" y="32"/>
                </a:lnTo>
                <a:lnTo>
                  <a:pt x="240" y="28"/>
                </a:lnTo>
                <a:lnTo>
                  <a:pt x="237" y="23"/>
                </a:lnTo>
                <a:lnTo>
                  <a:pt x="235" y="11"/>
                </a:lnTo>
                <a:lnTo>
                  <a:pt x="235" y="4"/>
                </a:lnTo>
                <a:lnTo>
                  <a:pt x="235" y="0"/>
                </a:lnTo>
                <a:lnTo>
                  <a:pt x="237" y="0"/>
                </a:lnTo>
                <a:lnTo>
                  <a:pt x="240" y="0"/>
                </a:lnTo>
                <a:lnTo>
                  <a:pt x="242" y="2"/>
                </a:lnTo>
                <a:lnTo>
                  <a:pt x="247" y="4"/>
                </a:lnTo>
                <a:lnTo>
                  <a:pt x="254" y="14"/>
                </a:lnTo>
                <a:lnTo>
                  <a:pt x="258" y="21"/>
                </a:lnTo>
                <a:lnTo>
                  <a:pt x="261" y="25"/>
                </a:lnTo>
                <a:lnTo>
                  <a:pt x="261" y="30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D3CD00E0-8EA7-DE21-782E-EAF903BE7135}"/>
              </a:ext>
            </a:extLst>
          </p:cNvPr>
          <p:cNvSpPr>
            <a:spLocks noEditPoints="1"/>
          </p:cNvSpPr>
          <p:nvPr/>
        </p:nvSpPr>
        <p:spPr bwMode="auto">
          <a:xfrm>
            <a:off x="3191048" y="4681424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34" name="Donut 33">
            <a:extLst>
              <a:ext uri="{FF2B5EF4-FFF2-40B4-BE49-F238E27FC236}">
                <a16:creationId xmlns:a16="http://schemas.microsoft.com/office/drawing/2014/main" id="{1549EF73-564B-D155-0BD7-91EBD687154D}"/>
              </a:ext>
            </a:extLst>
          </p:cNvPr>
          <p:cNvSpPr/>
          <p:nvPr/>
        </p:nvSpPr>
        <p:spPr>
          <a:xfrm>
            <a:off x="3158229" y="4622962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A8537400-F558-21F9-A27F-FEEDBEFFC896}"/>
              </a:ext>
            </a:extLst>
          </p:cNvPr>
          <p:cNvSpPr>
            <a:spLocks noEditPoints="1"/>
          </p:cNvSpPr>
          <p:nvPr/>
        </p:nvSpPr>
        <p:spPr bwMode="auto">
          <a:xfrm>
            <a:off x="3565734" y="4478133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38" name="Donut 37">
            <a:extLst>
              <a:ext uri="{FF2B5EF4-FFF2-40B4-BE49-F238E27FC236}">
                <a16:creationId xmlns:a16="http://schemas.microsoft.com/office/drawing/2014/main" id="{F3D9D70C-D023-1713-690D-4D9396492C60}"/>
              </a:ext>
            </a:extLst>
          </p:cNvPr>
          <p:cNvSpPr/>
          <p:nvPr/>
        </p:nvSpPr>
        <p:spPr>
          <a:xfrm>
            <a:off x="3532915" y="4419671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41" name="Freeform 40">
            <a:extLst>
              <a:ext uri="{FF2B5EF4-FFF2-40B4-BE49-F238E27FC236}">
                <a16:creationId xmlns:a16="http://schemas.microsoft.com/office/drawing/2014/main" id="{8924FAD0-F956-CCA3-32AD-6CEB5C9808EF}"/>
              </a:ext>
            </a:extLst>
          </p:cNvPr>
          <p:cNvSpPr>
            <a:spLocks noEditPoints="1"/>
          </p:cNvSpPr>
          <p:nvPr/>
        </p:nvSpPr>
        <p:spPr bwMode="auto">
          <a:xfrm>
            <a:off x="3709317" y="4720487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42" name="Donut 41">
            <a:extLst>
              <a:ext uri="{FF2B5EF4-FFF2-40B4-BE49-F238E27FC236}">
                <a16:creationId xmlns:a16="http://schemas.microsoft.com/office/drawing/2014/main" id="{A3CDCB62-881B-ADCF-98CA-EF43D9981F96}"/>
              </a:ext>
            </a:extLst>
          </p:cNvPr>
          <p:cNvSpPr/>
          <p:nvPr/>
        </p:nvSpPr>
        <p:spPr>
          <a:xfrm>
            <a:off x="3676498" y="4662025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375D6DDC-4F1F-32C2-1F93-7EF625A1C095}"/>
              </a:ext>
            </a:extLst>
          </p:cNvPr>
          <p:cNvSpPr>
            <a:spLocks noEditPoints="1"/>
          </p:cNvSpPr>
          <p:nvPr/>
        </p:nvSpPr>
        <p:spPr bwMode="auto">
          <a:xfrm>
            <a:off x="3857208" y="4531561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46" name="Donut 45">
            <a:extLst>
              <a:ext uri="{FF2B5EF4-FFF2-40B4-BE49-F238E27FC236}">
                <a16:creationId xmlns:a16="http://schemas.microsoft.com/office/drawing/2014/main" id="{5C788A27-3729-09AE-D43C-9AD7F1427B58}"/>
              </a:ext>
            </a:extLst>
          </p:cNvPr>
          <p:cNvSpPr/>
          <p:nvPr/>
        </p:nvSpPr>
        <p:spPr>
          <a:xfrm>
            <a:off x="3824389" y="4473099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cxnSp>
        <p:nvCxnSpPr>
          <p:cNvPr id="50" name="Curved Connector 49">
            <a:extLst>
              <a:ext uri="{FF2B5EF4-FFF2-40B4-BE49-F238E27FC236}">
                <a16:creationId xmlns:a16="http://schemas.microsoft.com/office/drawing/2014/main" id="{83EC5471-4ADB-E2BE-1B08-474884FA763D}"/>
              </a:ext>
            </a:extLst>
          </p:cNvPr>
          <p:cNvCxnSpPr>
            <a:stCxn id="34" idx="7"/>
            <a:endCxn id="38" idx="2"/>
          </p:cNvCxnSpPr>
          <p:nvPr/>
        </p:nvCxnSpPr>
        <p:spPr>
          <a:xfrm rot="5400000" flipH="1" flipV="1">
            <a:off x="3368544" y="4488829"/>
            <a:ext cx="130292" cy="198449"/>
          </a:xfrm>
          <a:prstGeom prst="curvedConnector2">
            <a:avLst/>
          </a:prstGeom>
          <a:ln w="6350" cap="rnd" cmpd="sng" algn="ctr">
            <a:solidFill>
              <a:srgbClr val="29BA74"/>
            </a:solidFill>
            <a:prstDash val="solid"/>
            <a:round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urved Connector 50">
            <a:extLst>
              <a:ext uri="{FF2B5EF4-FFF2-40B4-BE49-F238E27FC236}">
                <a16:creationId xmlns:a16="http://schemas.microsoft.com/office/drawing/2014/main" id="{DF298FC3-0354-2970-2A4C-0729F7B6117E}"/>
              </a:ext>
            </a:extLst>
          </p:cNvPr>
          <p:cNvCxnSpPr>
            <a:cxnSpLocks/>
            <a:stCxn id="34" idx="5"/>
            <a:endCxn id="42" idx="2"/>
          </p:cNvCxnSpPr>
          <p:nvPr/>
        </p:nvCxnSpPr>
        <p:spPr>
          <a:xfrm rot="5400000" flipH="1" flipV="1">
            <a:off x="3488513" y="4611213"/>
            <a:ext cx="33936" cy="342033"/>
          </a:xfrm>
          <a:prstGeom prst="curvedConnector4">
            <a:avLst>
              <a:gd name="adj1" fmla="val -21918"/>
              <a:gd name="adj2" fmla="val 54420"/>
            </a:avLst>
          </a:prstGeom>
          <a:ln w="6350" cap="rnd" cmpd="sng" algn="ctr">
            <a:solidFill>
              <a:srgbClr val="29BA74"/>
            </a:solidFill>
            <a:prstDash val="solid"/>
            <a:round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 61">
            <a:extLst>
              <a:ext uri="{FF2B5EF4-FFF2-40B4-BE49-F238E27FC236}">
                <a16:creationId xmlns:a16="http://schemas.microsoft.com/office/drawing/2014/main" id="{163CBAEB-285D-9D93-641A-0BB78396A794}"/>
              </a:ext>
            </a:extLst>
          </p:cNvPr>
          <p:cNvSpPr>
            <a:spLocks noEditPoints="1"/>
          </p:cNvSpPr>
          <p:nvPr/>
        </p:nvSpPr>
        <p:spPr bwMode="auto">
          <a:xfrm>
            <a:off x="3984721" y="4093500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E71C57"/>
          </a:solidFill>
          <a:ln w="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63" name="Donut 62">
            <a:extLst>
              <a:ext uri="{FF2B5EF4-FFF2-40B4-BE49-F238E27FC236}">
                <a16:creationId xmlns:a16="http://schemas.microsoft.com/office/drawing/2014/main" id="{6BEDE1B2-362A-3CA5-274E-618EFACCD011}"/>
              </a:ext>
            </a:extLst>
          </p:cNvPr>
          <p:cNvSpPr/>
          <p:nvPr/>
        </p:nvSpPr>
        <p:spPr>
          <a:xfrm>
            <a:off x="3951902" y="4035038"/>
            <a:ext cx="206473" cy="206473"/>
          </a:xfrm>
          <a:prstGeom prst="donut">
            <a:avLst>
              <a:gd name="adj" fmla="val 2391"/>
            </a:avLst>
          </a:prstGeom>
          <a:solidFill>
            <a:srgbClr val="E71C57"/>
          </a:solidFill>
          <a:ln w="0" cap="rnd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66" name="Freeform 65">
            <a:extLst>
              <a:ext uri="{FF2B5EF4-FFF2-40B4-BE49-F238E27FC236}">
                <a16:creationId xmlns:a16="http://schemas.microsoft.com/office/drawing/2014/main" id="{44284BEF-6B68-12C3-5831-B6D559F02457}"/>
              </a:ext>
            </a:extLst>
          </p:cNvPr>
          <p:cNvSpPr>
            <a:spLocks noEditPoints="1"/>
          </p:cNvSpPr>
          <p:nvPr/>
        </p:nvSpPr>
        <p:spPr bwMode="auto">
          <a:xfrm>
            <a:off x="4373033" y="3750462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E71C57"/>
          </a:solidFill>
          <a:ln w="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67" name="Donut 66">
            <a:extLst>
              <a:ext uri="{FF2B5EF4-FFF2-40B4-BE49-F238E27FC236}">
                <a16:creationId xmlns:a16="http://schemas.microsoft.com/office/drawing/2014/main" id="{9B078049-479E-F301-D0AA-35F71F564247}"/>
              </a:ext>
            </a:extLst>
          </p:cNvPr>
          <p:cNvSpPr/>
          <p:nvPr/>
        </p:nvSpPr>
        <p:spPr>
          <a:xfrm>
            <a:off x="4340214" y="3692001"/>
            <a:ext cx="206473" cy="206473"/>
          </a:xfrm>
          <a:prstGeom prst="donut">
            <a:avLst>
              <a:gd name="adj" fmla="val 2391"/>
            </a:avLst>
          </a:prstGeom>
          <a:solidFill>
            <a:srgbClr val="E71C57"/>
          </a:solidFill>
          <a:ln w="0" cap="rnd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70" name="Freeform 69">
            <a:extLst>
              <a:ext uri="{FF2B5EF4-FFF2-40B4-BE49-F238E27FC236}">
                <a16:creationId xmlns:a16="http://schemas.microsoft.com/office/drawing/2014/main" id="{E3883E95-E723-FA8F-4FD9-20EAEA4563B5}"/>
              </a:ext>
            </a:extLst>
          </p:cNvPr>
          <p:cNvSpPr>
            <a:spLocks noEditPoints="1"/>
          </p:cNvSpPr>
          <p:nvPr/>
        </p:nvSpPr>
        <p:spPr bwMode="auto">
          <a:xfrm>
            <a:off x="4070233" y="3524556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F18D1E"/>
          </a:solidFill>
          <a:ln w="0" cap="flat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71" name="Donut 70">
            <a:extLst>
              <a:ext uri="{FF2B5EF4-FFF2-40B4-BE49-F238E27FC236}">
                <a16:creationId xmlns:a16="http://schemas.microsoft.com/office/drawing/2014/main" id="{ECF9729E-1261-8071-2A8D-CE8EEEF3C0BA}"/>
              </a:ext>
            </a:extLst>
          </p:cNvPr>
          <p:cNvSpPr/>
          <p:nvPr/>
        </p:nvSpPr>
        <p:spPr>
          <a:xfrm>
            <a:off x="4037414" y="3466094"/>
            <a:ext cx="206473" cy="206473"/>
          </a:xfrm>
          <a:prstGeom prst="donut">
            <a:avLst>
              <a:gd name="adj" fmla="val 2391"/>
            </a:avLst>
          </a:prstGeom>
          <a:solidFill>
            <a:srgbClr val="F18D1E"/>
          </a:solidFill>
          <a:ln w="0" cap="rnd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74" name="Freeform 73">
            <a:extLst>
              <a:ext uri="{FF2B5EF4-FFF2-40B4-BE49-F238E27FC236}">
                <a16:creationId xmlns:a16="http://schemas.microsoft.com/office/drawing/2014/main" id="{30A2497A-B8EA-BBC9-7A13-AD783F590E7F}"/>
              </a:ext>
            </a:extLst>
          </p:cNvPr>
          <p:cNvSpPr>
            <a:spLocks noEditPoints="1"/>
          </p:cNvSpPr>
          <p:nvPr/>
        </p:nvSpPr>
        <p:spPr bwMode="auto">
          <a:xfrm>
            <a:off x="3267028" y="3294554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75" name="Donut 74">
            <a:extLst>
              <a:ext uri="{FF2B5EF4-FFF2-40B4-BE49-F238E27FC236}">
                <a16:creationId xmlns:a16="http://schemas.microsoft.com/office/drawing/2014/main" id="{88445527-DAF6-D485-7531-EE08D2979460}"/>
              </a:ext>
            </a:extLst>
          </p:cNvPr>
          <p:cNvSpPr/>
          <p:nvPr/>
        </p:nvSpPr>
        <p:spPr>
          <a:xfrm>
            <a:off x="3234209" y="3236092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4FE9EB0-0992-D911-307A-B47E10EB81E7}"/>
              </a:ext>
            </a:extLst>
          </p:cNvPr>
          <p:cNvCxnSpPr/>
          <p:nvPr/>
        </p:nvCxnSpPr>
        <p:spPr>
          <a:xfrm flipV="1">
            <a:off x="3364702" y="4562033"/>
            <a:ext cx="459687" cy="158454"/>
          </a:xfrm>
          <a:prstGeom prst="line">
            <a:avLst/>
          </a:prstGeom>
          <a:ln w="6350" cap="rnd" cmpd="sng" algn="ctr">
            <a:solidFill>
              <a:srgbClr val="29BA74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Freeform 82">
            <a:extLst>
              <a:ext uri="{FF2B5EF4-FFF2-40B4-BE49-F238E27FC236}">
                <a16:creationId xmlns:a16="http://schemas.microsoft.com/office/drawing/2014/main" id="{FECD3B10-8C36-01EC-9AEE-75E3C58976AF}"/>
              </a:ext>
            </a:extLst>
          </p:cNvPr>
          <p:cNvSpPr>
            <a:spLocks noEditPoints="1"/>
          </p:cNvSpPr>
          <p:nvPr/>
        </p:nvSpPr>
        <p:spPr bwMode="auto">
          <a:xfrm>
            <a:off x="2119115" y="3509935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F18D1E"/>
          </a:solidFill>
          <a:ln w="0" cap="flat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84" name="Donut 83">
            <a:extLst>
              <a:ext uri="{FF2B5EF4-FFF2-40B4-BE49-F238E27FC236}">
                <a16:creationId xmlns:a16="http://schemas.microsoft.com/office/drawing/2014/main" id="{8CCD743D-2364-D58D-9059-FBF3D3D69AAE}"/>
              </a:ext>
            </a:extLst>
          </p:cNvPr>
          <p:cNvSpPr/>
          <p:nvPr/>
        </p:nvSpPr>
        <p:spPr>
          <a:xfrm>
            <a:off x="2086296" y="3451473"/>
            <a:ext cx="206473" cy="206473"/>
          </a:xfrm>
          <a:prstGeom prst="donut">
            <a:avLst>
              <a:gd name="adj" fmla="val 2391"/>
            </a:avLst>
          </a:prstGeom>
          <a:solidFill>
            <a:srgbClr val="F18D1E"/>
          </a:solidFill>
          <a:ln w="0" cap="rnd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6A6D132E-546F-6350-35E7-FE97CB5783E4}"/>
              </a:ext>
            </a:extLst>
          </p:cNvPr>
          <p:cNvSpPr>
            <a:spLocks noEditPoints="1"/>
          </p:cNvSpPr>
          <p:nvPr/>
        </p:nvSpPr>
        <p:spPr bwMode="auto">
          <a:xfrm>
            <a:off x="2865567" y="4444698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F18D1E"/>
          </a:solidFill>
          <a:ln w="0" cap="flat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88" name="Donut 87">
            <a:extLst>
              <a:ext uri="{FF2B5EF4-FFF2-40B4-BE49-F238E27FC236}">
                <a16:creationId xmlns:a16="http://schemas.microsoft.com/office/drawing/2014/main" id="{DB8870EE-CBDB-0392-9A13-CFD1AD647289}"/>
              </a:ext>
            </a:extLst>
          </p:cNvPr>
          <p:cNvSpPr/>
          <p:nvPr/>
        </p:nvSpPr>
        <p:spPr>
          <a:xfrm>
            <a:off x="2832748" y="4386236"/>
            <a:ext cx="206473" cy="206473"/>
          </a:xfrm>
          <a:prstGeom prst="donut">
            <a:avLst>
              <a:gd name="adj" fmla="val 2391"/>
            </a:avLst>
          </a:prstGeom>
          <a:solidFill>
            <a:srgbClr val="F18D1E"/>
          </a:solidFill>
          <a:ln w="0" cap="rnd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5B7F8FA-10C8-8C1A-4FEF-D66304A4B20F}"/>
              </a:ext>
            </a:extLst>
          </p:cNvPr>
          <p:cNvCxnSpPr>
            <a:cxnSpLocks/>
            <a:stCxn id="63" idx="7"/>
            <a:endCxn id="67" idx="3"/>
          </p:cNvCxnSpPr>
          <p:nvPr/>
        </p:nvCxnSpPr>
        <p:spPr>
          <a:xfrm flipV="1">
            <a:off x="4128138" y="3868237"/>
            <a:ext cx="242313" cy="197039"/>
          </a:xfrm>
          <a:prstGeom prst="line">
            <a:avLst/>
          </a:prstGeom>
          <a:ln w="6350" cap="rnd" cmpd="sng" algn="ctr">
            <a:solidFill>
              <a:srgbClr val="E71C57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7269D620-6D96-151A-126A-9DF307D3616F}"/>
              </a:ext>
            </a:extLst>
          </p:cNvPr>
          <p:cNvCxnSpPr>
            <a:stCxn id="34" idx="1"/>
          </p:cNvCxnSpPr>
          <p:nvPr/>
        </p:nvCxnSpPr>
        <p:spPr>
          <a:xfrm flipH="1" flipV="1">
            <a:off x="3006728" y="4549807"/>
            <a:ext cx="181739" cy="103391"/>
          </a:xfrm>
          <a:prstGeom prst="straightConnector1">
            <a:avLst/>
          </a:prstGeom>
          <a:ln w="6350" cap="rnd" cmpd="sng" algn="ctr">
            <a:solidFill>
              <a:srgbClr val="F18D1E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urved Connector 112">
            <a:extLst>
              <a:ext uri="{FF2B5EF4-FFF2-40B4-BE49-F238E27FC236}">
                <a16:creationId xmlns:a16="http://schemas.microsoft.com/office/drawing/2014/main" id="{090A5740-3111-F2F4-61B9-F2DB55D7A938}"/>
              </a:ext>
            </a:extLst>
          </p:cNvPr>
          <p:cNvCxnSpPr>
            <a:cxnSpLocks/>
            <a:stCxn id="34" idx="0"/>
            <a:endCxn id="63" idx="2"/>
          </p:cNvCxnSpPr>
          <p:nvPr/>
        </p:nvCxnSpPr>
        <p:spPr>
          <a:xfrm rot="5400000" flipH="1" flipV="1">
            <a:off x="3364340" y="4035400"/>
            <a:ext cx="484688" cy="690436"/>
          </a:xfrm>
          <a:prstGeom prst="curvedConnector2">
            <a:avLst/>
          </a:prstGeom>
          <a:ln w="6350" cap="rnd" cmpd="sng" algn="ctr">
            <a:solidFill>
              <a:srgbClr val="E71C57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Curved Connector 118">
            <a:extLst>
              <a:ext uri="{FF2B5EF4-FFF2-40B4-BE49-F238E27FC236}">
                <a16:creationId xmlns:a16="http://schemas.microsoft.com/office/drawing/2014/main" id="{C4A0CB25-5E7D-4448-ED0D-9DC4CC29865C}"/>
              </a:ext>
            </a:extLst>
          </p:cNvPr>
          <p:cNvCxnSpPr>
            <a:cxnSpLocks/>
            <a:stCxn id="88" idx="2"/>
            <a:endCxn id="84" idx="6"/>
          </p:cNvCxnSpPr>
          <p:nvPr/>
        </p:nvCxnSpPr>
        <p:spPr>
          <a:xfrm rot="10800000">
            <a:off x="2292768" y="3554711"/>
            <a:ext cx="539980" cy="934763"/>
          </a:xfrm>
          <a:prstGeom prst="curvedConnector3">
            <a:avLst>
              <a:gd name="adj1" fmla="val 16678"/>
            </a:avLst>
          </a:prstGeom>
          <a:ln w="6350" cap="rnd" cmpd="sng" algn="ctr">
            <a:solidFill>
              <a:srgbClr val="F18D1E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urved Connector 129">
            <a:extLst>
              <a:ext uri="{FF2B5EF4-FFF2-40B4-BE49-F238E27FC236}">
                <a16:creationId xmlns:a16="http://schemas.microsoft.com/office/drawing/2014/main" id="{AE742DD2-3B73-A3F8-EF00-ABDC3E438770}"/>
              </a:ext>
            </a:extLst>
          </p:cNvPr>
          <p:cNvCxnSpPr>
            <a:cxnSpLocks/>
            <a:stCxn id="63" idx="0"/>
            <a:endCxn id="71" idx="4"/>
          </p:cNvCxnSpPr>
          <p:nvPr/>
        </p:nvCxnSpPr>
        <p:spPr>
          <a:xfrm rot="5400000" flipH="1" flipV="1">
            <a:off x="3916659" y="3811047"/>
            <a:ext cx="362471" cy="85512"/>
          </a:xfrm>
          <a:prstGeom prst="curvedConnector3">
            <a:avLst>
              <a:gd name="adj1" fmla="val 50000"/>
            </a:avLst>
          </a:prstGeom>
          <a:ln w="6350" cap="rnd" cmpd="sng" algn="ctr">
            <a:solidFill>
              <a:srgbClr val="F18D1E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Freeform 211">
            <a:extLst>
              <a:ext uri="{FF2B5EF4-FFF2-40B4-BE49-F238E27FC236}">
                <a16:creationId xmlns:a16="http://schemas.microsoft.com/office/drawing/2014/main" id="{583C3C43-02C4-0D31-B1D1-ADA370610192}"/>
              </a:ext>
            </a:extLst>
          </p:cNvPr>
          <p:cNvSpPr>
            <a:spLocks noEditPoints="1"/>
          </p:cNvSpPr>
          <p:nvPr/>
        </p:nvSpPr>
        <p:spPr bwMode="auto">
          <a:xfrm>
            <a:off x="2995861" y="5183983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213" name="Donut 212">
            <a:extLst>
              <a:ext uri="{FF2B5EF4-FFF2-40B4-BE49-F238E27FC236}">
                <a16:creationId xmlns:a16="http://schemas.microsoft.com/office/drawing/2014/main" id="{044EAB49-682F-DE40-F7A4-9A756E5C9924}"/>
              </a:ext>
            </a:extLst>
          </p:cNvPr>
          <p:cNvSpPr/>
          <p:nvPr/>
        </p:nvSpPr>
        <p:spPr>
          <a:xfrm>
            <a:off x="2963042" y="5125521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cxnSp>
        <p:nvCxnSpPr>
          <p:cNvPr id="215" name="Curved Connector 214">
            <a:extLst>
              <a:ext uri="{FF2B5EF4-FFF2-40B4-BE49-F238E27FC236}">
                <a16:creationId xmlns:a16="http://schemas.microsoft.com/office/drawing/2014/main" id="{4EAFF3DD-D4EB-4C4E-B4E0-4BB3EED6BC2F}"/>
              </a:ext>
            </a:extLst>
          </p:cNvPr>
          <p:cNvCxnSpPr>
            <a:cxnSpLocks/>
            <a:stCxn id="34" idx="2"/>
            <a:endCxn id="213" idx="0"/>
          </p:cNvCxnSpPr>
          <p:nvPr/>
        </p:nvCxnSpPr>
        <p:spPr>
          <a:xfrm rot="10800000" flipV="1">
            <a:off x="3066279" y="4726198"/>
            <a:ext cx="91950" cy="399322"/>
          </a:xfrm>
          <a:prstGeom prst="curvedConnector2">
            <a:avLst/>
          </a:prstGeom>
          <a:ln w="6350" cap="rnd" cmpd="sng" algn="ctr">
            <a:solidFill>
              <a:srgbClr val="29BA74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9A3E48AB-E6DA-A254-3D41-964DCBF6F130}"/>
              </a:ext>
            </a:extLst>
          </p:cNvPr>
          <p:cNvSpPr txBox="1"/>
          <p:nvPr/>
        </p:nvSpPr>
        <p:spPr>
          <a:xfrm>
            <a:off x="1050323" y="2274555"/>
            <a:ext cx="1160166" cy="9249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  <a:cs typeface="Arial" panose="020B0604020202020204" pitchFamily="34" charset="0"/>
              </a:rPr>
              <a:t>Categoria</a:t>
            </a:r>
            <a:endParaRPr lang="en-US" sz="600" noProof="0">
              <a:solidFill>
                <a:srgbClr val="1F22CF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17ACFD-5C49-DFA4-DD4E-73785CCC1E40}"/>
              </a:ext>
            </a:extLst>
          </p:cNvPr>
          <p:cNvSpPr txBox="1"/>
          <p:nvPr/>
        </p:nvSpPr>
        <p:spPr>
          <a:xfrm>
            <a:off x="2381042" y="2274555"/>
            <a:ext cx="1160166" cy="9249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  <a:cs typeface="Arial" panose="020B0604020202020204" pitchFamily="34" charset="0"/>
              </a:rPr>
              <a:t>SKU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FEF14C56-4566-F333-841B-231693C47446}"/>
              </a:ext>
            </a:extLst>
          </p:cNvPr>
          <p:cNvSpPr txBox="1"/>
          <p:nvPr/>
        </p:nvSpPr>
        <p:spPr>
          <a:xfrm>
            <a:off x="3711762" y="2274555"/>
            <a:ext cx="1160166" cy="9249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  <a:cs typeface="Arial" panose="020B0604020202020204" pitchFamily="34" charset="0"/>
              </a:rPr>
              <a:t>Métrica</a:t>
            </a:r>
            <a:endParaRPr lang="en-US" sz="600" noProof="0">
              <a:solidFill>
                <a:srgbClr val="1F22CF"/>
              </a:solidFill>
              <a:cs typeface="Arial" panose="020B0604020202020204" pitchFamily="34" charset="0"/>
            </a:endParaRPr>
          </a:p>
        </p:txBody>
      </p:sp>
      <p:sp>
        <p:nvSpPr>
          <p:cNvPr id="222" name="Rectangle: Rounded Corners 221">
            <a:extLst>
              <a:ext uri="{FF2B5EF4-FFF2-40B4-BE49-F238E27FC236}">
                <a16:creationId xmlns:a16="http://schemas.microsoft.com/office/drawing/2014/main" id="{B2A415C9-F28E-8F9B-D79C-8F4B96735A4F}"/>
              </a:ext>
            </a:extLst>
          </p:cNvPr>
          <p:cNvSpPr/>
          <p:nvPr/>
        </p:nvSpPr>
        <p:spPr>
          <a:xfrm>
            <a:off x="3711762" y="2422495"/>
            <a:ext cx="1160166" cy="113308"/>
          </a:xfrm>
          <a:prstGeom prst="roundRect">
            <a:avLst>
              <a:gd name="adj" fmla="val 40350"/>
            </a:avLst>
          </a:prstGeom>
          <a:solidFill>
            <a:srgbClr val="FFFFFF"/>
          </a:solidFill>
          <a:ln w="9525" cap="rnd" cmpd="sng" algn="ctr">
            <a:solidFill>
              <a:srgbClr val="7173E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Saúde do estoque</a:t>
            </a:r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354DF8B0-1FBF-20E1-BB60-CDAA8DCFFC16}"/>
              </a:ext>
            </a:extLst>
          </p:cNvPr>
          <p:cNvSpPr/>
          <p:nvPr/>
        </p:nvSpPr>
        <p:spPr>
          <a:xfrm flipV="1">
            <a:off x="4726960" y="2461975"/>
            <a:ext cx="67999" cy="34349"/>
          </a:xfrm>
          <a:prstGeom prst="triangle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226" name="Rectangle: Rounded Corners 225">
            <a:extLst>
              <a:ext uri="{FF2B5EF4-FFF2-40B4-BE49-F238E27FC236}">
                <a16:creationId xmlns:a16="http://schemas.microsoft.com/office/drawing/2014/main" id="{C5314009-62BF-B606-6D5A-1FC93ECAC803}"/>
              </a:ext>
            </a:extLst>
          </p:cNvPr>
          <p:cNvSpPr/>
          <p:nvPr/>
        </p:nvSpPr>
        <p:spPr>
          <a:xfrm>
            <a:off x="3711762" y="2581831"/>
            <a:ext cx="1160166" cy="458932"/>
          </a:xfrm>
          <a:prstGeom prst="roundRect">
            <a:avLst>
              <a:gd name="adj" fmla="val 9962"/>
            </a:avLst>
          </a:prstGeom>
          <a:solidFill>
            <a:srgbClr val="FFFFFF"/>
          </a:solidFill>
          <a:ln w="9525" cap="rnd" cmpd="sng" algn="ctr">
            <a:solidFill>
              <a:srgbClr val="7173E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5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D493AA8F-BC37-6098-E919-E672C5526B74}"/>
              </a:ext>
            </a:extLst>
          </p:cNvPr>
          <p:cNvSpPr/>
          <p:nvPr/>
        </p:nvSpPr>
        <p:spPr>
          <a:xfrm>
            <a:off x="3777856" y="2610224"/>
            <a:ext cx="1027979" cy="7425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Aging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BB62AADB-CCCF-DA8A-3BC9-F4B85DE13AB8}"/>
              </a:ext>
            </a:extLst>
          </p:cNvPr>
          <p:cNvSpPr/>
          <p:nvPr/>
        </p:nvSpPr>
        <p:spPr>
          <a:xfrm>
            <a:off x="3777856" y="2722697"/>
            <a:ext cx="1027979" cy="7425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DDE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C97DCF0A-38CC-B58A-B11D-B7E439FE0171}"/>
              </a:ext>
            </a:extLst>
          </p:cNvPr>
          <p:cNvSpPr/>
          <p:nvPr/>
        </p:nvSpPr>
        <p:spPr>
          <a:xfrm>
            <a:off x="3777856" y="2835170"/>
            <a:ext cx="1027979" cy="7425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 err="1">
                <a:solidFill>
                  <a:srgbClr val="575757"/>
                </a:solidFill>
                <a:cs typeface="Arial" panose="020B0604020202020204" pitchFamily="34" charset="0"/>
              </a:rPr>
              <a:t>Ruptura</a:t>
            </a:r>
            <a:endParaRPr lang="en-US" sz="5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4A434C8D-2058-3D0A-989B-37B27314678B}"/>
              </a:ext>
            </a:extLst>
          </p:cNvPr>
          <p:cNvSpPr/>
          <p:nvPr/>
        </p:nvSpPr>
        <p:spPr>
          <a:xfrm>
            <a:off x="3777856" y="2947642"/>
            <a:ext cx="1027979" cy="74253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 err="1">
                <a:solidFill>
                  <a:srgbClr val="575757"/>
                </a:solidFill>
                <a:cs typeface="Arial" panose="020B0604020202020204" pitchFamily="34" charset="0"/>
              </a:rPr>
              <a:t>Saúde</a:t>
            </a:r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 de estoque</a:t>
            </a:r>
          </a:p>
        </p:txBody>
      </p:sp>
      <p:cxnSp>
        <p:nvCxnSpPr>
          <p:cNvPr id="282" name="Straight Arrow Connector 281">
            <a:extLst>
              <a:ext uri="{FF2B5EF4-FFF2-40B4-BE49-F238E27FC236}">
                <a16:creationId xmlns:a16="http://schemas.microsoft.com/office/drawing/2014/main" id="{B4A4245F-F681-A340-A085-6CBD21687832}"/>
              </a:ext>
            </a:extLst>
          </p:cNvPr>
          <p:cNvCxnSpPr>
            <a:cxnSpLocks/>
            <a:stCxn id="63" idx="1"/>
            <a:endCxn id="75" idx="5"/>
          </p:cNvCxnSpPr>
          <p:nvPr/>
        </p:nvCxnSpPr>
        <p:spPr>
          <a:xfrm flipH="1" flipV="1">
            <a:off x="3410444" y="3412327"/>
            <a:ext cx="571695" cy="652948"/>
          </a:xfrm>
          <a:prstGeom prst="straightConnector1">
            <a:avLst/>
          </a:prstGeom>
          <a:ln w="6350" cap="rnd" cmpd="sng" algn="ctr">
            <a:solidFill>
              <a:srgbClr val="29BA74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0" name="Oval 20">
            <a:extLst>
              <a:ext uri="{FF2B5EF4-FFF2-40B4-BE49-F238E27FC236}">
                <a16:creationId xmlns:a16="http://schemas.microsoft.com/office/drawing/2014/main" id="{AE7EACBB-FBBC-7D77-67FE-5FE024465E1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86266" y="4178325"/>
            <a:ext cx="118328" cy="118328"/>
          </a:xfrm>
          <a:prstGeom prst="round2Diag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noProof="0">
                <a:solidFill>
                  <a:srgbClr val="FFFFFF">
                    <a:lumMod val="100000"/>
                  </a:srgbClr>
                </a:solidFill>
              </a:rPr>
              <a:t>1</a:t>
            </a:r>
          </a:p>
        </p:txBody>
      </p:sp>
      <p:sp>
        <p:nvSpPr>
          <p:cNvPr id="321" name="Oval 20">
            <a:extLst>
              <a:ext uri="{FF2B5EF4-FFF2-40B4-BE49-F238E27FC236}">
                <a16:creationId xmlns:a16="http://schemas.microsoft.com/office/drawing/2014/main" id="{F5916BE6-A42E-5A6A-54E4-7DD023E97E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183994" y="5290886"/>
            <a:ext cx="118328" cy="118328"/>
          </a:xfrm>
          <a:prstGeom prst="round2Diag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noProof="0">
                <a:solidFill>
                  <a:srgbClr val="FFFFFF">
                    <a:lumMod val="100000"/>
                  </a:srgbClr>
                </a:solidFill>
              </a:rPr>
              <a:t>2</a:t>
            </a:r>
          </a:p>
        </p:txBody>
      </p:sp>
      <p:sp>
        <p:nvSpPr>
          <p:cNvPr id="322" name="Oval 20">
            <a:extLst>
              <a:ext uri="{FF2B5EF4-FFF2-40B4-BE49-F238E27FC236}">
                <a16:creationId xmlns:a16="http://schemas.microsoft.com/office/drawing/2014/main" id="{42A9A003-9A67-27BD-CEFF-7015CBA90AF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059951" y="3288657"/>
            <a:ext cx="118328" cy="118328"/>
          </a:xfrm>
          <a:prstGeom prst="round2Diag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noProof="0">
                <a:solidFill>
                  <a:srgbClr val="FFFFFF">
                    <a:lumMod val="100000"/>
                  </a:srgbClr>
                </a:solidFill>
              </a:rPr>
              <a:t>3</a:t>
            </a:r>
          </a:p>
        </p:txBody>
      </p:sp>
      <p:sp>
        <p:nvSpPr>
          <p:cNvPr id="326" name="Rectangle: Rounded Corners 325">
            <a:extLst>
              <a:ext uri="{FF2B5EF4-FFF2-40B4-BE49-F238E27FC236}">
                <a16:creationId xmlns:a16="http://schemas.microsoft.com/office/drawing/2014/main" id="{E174267F-3A1C-EB74-93C9-B738151CD328}"/>
              </a:ext>
            </a:extLst>
          </p:cNvPr>
          <p:cNvSpPr/>
          <p:nvPr/>
        </p:nvSpPr>
        <p:spPr>
          <a:xfrm>
            <a:off x="886729" y="4927528"/>
            <a:ext cx="1825321" cy="482593"/>
          </a:xfrm>
          <a:prstGeom prst="roundRect">
            <a:avLst>
              <a:gd name="adj" fmla="val 24187"/>
            </a:avLst>
          </a:prstGeom>
          <a:solidFill>
            <a:srgbClr val="FFFFFF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noProof="0" dirty="0" err="1">
                <a:solidFill>
                  <a:srgbClr val="343434"/>
                </a:solidFill>
              </a:rPr>
              <a:t>Coloração</a:t>
            </a:r>
            <a:r>
              <a:rPr lang="en-US" sz="800" noProof="0" dirty="0">
                <a:solidFill>
                  <a:srgbClr val="343434"/>
                </a:solidFill>
              </a:rPr>
              <a:t> dos </a:t>
            </a:r>
            <a:r>
              <a:rPr lang="en-US" sz="800" noProof="0" dirty="0" err="1">
                <a:solidFill>
                  <a:srgbClr val="343434"/>
                </a:solidFill>
              </a:rPr>
              <a:t>estados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baseada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na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agregação</a:t>
            </a:r>
            <a:r>
              <a:rPr lang="en-US" sz="800" noProof="0" dirty="0">
                <a:solidFill>
                  <a:srgbClr val="343434"/>
                </a:solidFill>
              </a:rPr>
              <a:t> das </a:t>
            </a:r>
            <a:r>
              <a:rPr lang="en-US" sz="800" noProof="0" dirty="0" err="1">
                <a:solidFill>
                  <a:srgbClr val="343434"/>
                </a:solidFill>
              </a:rPr>
              <a:t>lojas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na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métrica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selecionada</a:t>
            </a:r>
            <a:endParaRPr lang="en-US" sz="800" noProof="0" dirty="0">
              <a:solidFill>
                <a:srgbClr val="343434"/>
              </a:solidFill>
            </a:endParaRPr>
          </a:p>
        </p:txBody>
      </p:sp>
      <p:sp>
        <p:nvSpPr>
          <p:cNvPr id="216" name="Isosceles Triangle 215">
            <a:extLst>
              <a:ext uri="{FF2B5EF4-FFF2-40B4-BE49-F238E27FC236}">
                <a16:creationId xmlns:a16="http://schemas.microsoft.com/office/drawing/2014/main" id="{BB981A28-FE71-6D08-9017-02C389B342FC}"/>
              </a:ext>
            </a:extLst>
          </p:cNvPr>
          <p:cNvSpPr/>
          <p:nvPr/>
        </p:nvSpPr>
        <p:spPr>
          <a:xfrm flipV="1">
            <a:off x="3396239" y="2461975"/>
            <a:ext cx="67999" cy="34349"/>
          </a:xfrm>
          <a:prstGeom prst="triangle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217" name="Isosceles Triangle 216">
            <a:extLst>
              <a:ext uri="{FF2B5EF4-FFF2-40B4-BE49-F238E27FC236}">
                <a16:creationId xmlns:a16="http://schemas.microsoft.com/office/drawing/2014/main" id="{2A56DE2B-0EB6-6132-A888-11C641B6FD98}"/>
              </a:ext>
            </a:extLst>
          </p:cNvPr>
          <p:cNvSpPr/>
          <p:nvPr/>
        </p:nvSpPr>
        <p:spPr>
          <a:xfrm flipV="1">
            <a:off x="2065520" y="2461975"/>
            <a:ext cx="67999" cy="34349"/>
          </a:xfrm>
          <a:prstGeom prst="triangle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26B85F-0529-8704-DADA-0E265B2B3F11}"/>
              </a:ext>
            </a:extLst>
          </p:cNvPr>
          <p:cNvSpPr txBox="1"/>
          <p:nvPr/>
        </p:nvSpPr>
        <p:spPr>
          <a:xfrm>
            <a:off x="736382" y="3100843"/>
            <a:ext cx="540253" cy="9249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  <a:cs typeface="Arial" panose="020B0604020202020204" pitchFamily="34" charset="0"/>
              </a:rPr>
              <a:t>Módulos</a:t>
            </a:r>
            <a:endParaRPr lang="en-US" sz="600" noProof="0">
              <a:solidFill>
                <a:srgbClr val="1F22CF"/>
              </a:solidFill>
              <a:cs typeface="Arial" panose="020B0604020202020204" pitchFamily="34" charset="0"/>
            </a:endParaRPr>
          </a:p>
        </p:txBody>
      </p:sp>
      <p:sp>
        <p:nvSpPr>
          <p:cNvPr id="135" name="Freeform 12">
            <a:extLst>
              <a:ext uri="{FF2B5EF4-FFF2-40B4-BE49-F238E27FC236}">
                <a16:creationId xmlns:a16="http://schemas.microsoft.com/office/drawing/2014/main" id="{44815B65-0A84-4F94-6A1A-9189B0044C26}"/>
              </a:ext>
            </a:extLst>
          </p:cNvPr>
          <p:cNvSpPr>
            <a:spLocks/>
          </p:cNvSpPr>
          <p:nvPr/>
        </p:nvSpPr>
        <p:spPr bwMode="auto">
          <a:xfrm>
            <a:off x="2071554" y="3686062"/>
            <a:ext cx="526678" cy="406005"/>
          </a:xfrm>
          <a:custGeom>
            <a:avLst/>
            <a:gdLst>
              <a:gd name="T0" fmla="*/ 335 w 447"/>
              <a:gd name="T1" fmla="*/ 72 h 361"/>
              <a:gd name="T2" fmla="*/ 335 w 447"/>
              <a:gd name="T3" fmla="*/ 88 h 361"/>
              <a:gd name="T4" fmla="*/ 339 w 447"/>
              <a:gd name="T5" fmla="*/ 107 h 361"/>
              <a:gd name="T6" fmla="*/ 337 w 447"/>
              <a:gd name="T7" fmla="*/ 123 h 361"/>
              <a:gd name="T8" fmla="*/ 335 w 447"/>
              <a:gd name="T9" fmla="*/ 142 h 361"/>
              <a:gd name="T10" fmla="*/ 339 w 447"/>
              <a:gd name="T11" fmla="*/ 172 h 361"/>
              <a:gd name="T12" fmla="*/ 342 w 447"/>
              <a:gd name="T13" fmla="*/ 191 h 361"/>
              <a:gd name="T14" fmla="*/ 421 w 447"/>
              <a:gd name="T15" fmla="*/ 198 h 361"/>
              <a:gd name="T16" fmla="*/ 437 w 447"/>
              <a:gd name="T17" fmla="*/ 207 h 361"/>
              <a:gd name="T18" fmla="*/ 430 w 447"/>
              <a:gd name="T19" fmla="*/ 228 h 361"/>
              <a:gd name="T20" fmla="*/ 437 w 447"/>
              <a:gd name="T21" fmla="*/ 254 h 361"/>
              <a:gd name="T22" fmla="*/ 447 w 447"/>
              <a:gd name="T23" fmla="*/ 284 h 361"/>
              <a:gd name="T24" fmla="*/ 430 w 447"/>
              <a:gd name="T25" fmla="*/ 314 h 361"/>
              <a:gd name="T26" fmla="*/ 414 w 447"/>
              <a:gd name="T27" fmla="*/ 337 h 361"/>
              <a:gd name="T28" fmla="*/ 381 w 447"/>
              <a:gd name="T29" fmla="*/ 356 h 361"/>
              <a:gd name="T30" fmla="*/ 356 w 447"/>
              <a:gd name="T31" fmla="*/ 351 h 361"/>
              <a:gd name="T32" fmla="*/ 328 w 447"/>
              <a:gd name="T33" fmla="*/ 354 h 361"/>
              <a:gd name="T34" fmla="*/ 309 w 447"/>
              <a:gd name="T35" fmla="*/ 342 h 361"/>
              <a:gd name="T36" fmla="*/ 293 w 447"/>
              <a:gd name="T37" fmla="*/ 328 h 361"/>
              <a:gd name="T38" fmla="*/ 270 w 447"/>
              <a:gd name="T39" fmla="*/ 324 h 361"/>
              <a:gd name="T40" fmla="*/ 258 w 447"/>
              <a:gd name="T41" fmla="*/ 317 h 361"/>
              <a:gd name="T42" fmla="*/ 244 w 447"/>
              <a:gd name="T43" fmla="*/ 300 h 361"/>
              <a:gd name="T44" fmla="*/ 221 w 447"/>
              <a:gd name="T45" fmla="*/ 298 h 361"/>
              <a:gd name="T46" fmla="*/ 195 w 447"/>
              <a:gd name="T47" fmla="*/ 289 h 361"/>
              <a:gd name="T48" fmla="*/ 177 w 447"/>
              <a:gd name="T49" fmla="*/ 293 h 361"/>
              <a:gd name="T50" fmla="*/ 158 w 447"/>
              <a:gd name="T51" fmla="*/ 289 h 361"/>
              <a:gd name="T52" fmla="*/ 153 w 447"/>
              <a:gd name="T53" fmla="*/ 275 h 361"/>
              <a:gd name="T54" fmla="*/ 137 w 447"/>
              <a:gd name="T55" fmla="*/ 270 h 361"/>
              <a:gd name="T56" fmla="*/ 123 w 447"/>
              <a:gd name="T57" fmla="*/ 261 h 361"/>
              <a:gd name="T58" fmla="*/ 114 w 447"/>
              <a:gd name="T59" fmla="*/ 244 h 361"/>
              <a:gd name="T60" fmla="*/ 109 w 447"/>
              <a:gd name="T61" fmla="*/ 237 h 361"/>
              <a:gd name="T62" fmla="*/ 97 w 447"/>
              <a:gd name="T63" fmla="*/ 223 h 361"/>
              <a:gd name="T64" fmla="*/ 95 w 447"/>
              <a:gd name="T65" fmla="*/ 207 h 361"/>
              <a:gd name="T66" fmla="*/ 95 w 447"/>
              <a:gd name="T67" fmla="*/ 186 h 361"/>
              <a:gd name="T68" fmla="*/ 90 w 447"/>
              <a:gd name="T69" fmla="*/ 168 h 361"/>
              <a:gd name="T70" fmla="*/ 95 w 447"/>
              <a:gd name="T71" fmla="*/ 154 h 361"/>
              <a:gd name="T72" fmla="*/ 95 w 447"/>
              <a:gd name="T73" fmla="*/ 128 h 361"/>
              <a:gd name="T74" fmla="*/ 81 w 447"/>
              <a:gd name="T75" fmla="*/ 119 h 361"/>
              <a:gd name="T76" fmla="*/ 65 w 447"/>
              <a:gd name="T77" fmla="*/ 119 h 361"/>
              <a:gd name="T78" fmla="*/ 51 w 447"/>
              <a:gd name="T79" fmla="*/ 123 h 361"/>
              <a:gd name="T80" fmla="*/ 28 w 447"/>
              <a:gd name="T81" fmla="*/ 126 h 361"/>
              <a:gd name="T82" fmla="*/ 11 w 447"/>
              <a:gd name="T83" fmla="*/ 116 h 361"/>
              <a:gd name="T84" fmla="*/ 28 w 447"/>
              <a:gd name="T85" fmla="*/ 98 h 361"/>
              <a:gd name="T86" fmla="*/ 56 w 447"/>
              <a:gd name="T87" fmla="*/ 98 h 361"/>
              <a:gd name="T88" fmla="*/ 72 w 447"/>
              <a:gd name="T89" fmla="*/ 102 h 361"/>
              <a:gd name="T90" fmla="*/ 88 w 447"/>
              <a:gd name="T91" fmla="*/ 93 h 361"/>
              <a:gd name="T92" fmla="*/ 102 w 447"/>
              <a:gd name="T93" fmla="*/ 88 h 361"/>
              <a:gd name="T94" fmla="*/ 114 w 447"/>
              <a:gd name="T95" fmla="*/ 91 h 361"/>
              <a:gd name="T96" fmla="*/ 121 w 447"/>
              <a:gd name="T97" fmla="*/ 74 h 361"/>
              <a:gd name="T98" fmla="*/ 144 w 447"/>
              <a:gd name="T99" fmla="*/ 65 h 361"/>
              <a:gd name="T100" fmla="*/ 163 w 447"/>
              <a:gd name="T101" fmla="*/ 63 h 361"/>
              <a:gd name="T102" fmla="*/ 172 w 447"/>
              <a:gd name="T103" fmla="*/ 46 h 361"/>
              <a:gd name="T104" fmla="*/ 181 w 447"/>
              <a:gd name="T105" fmla="*/ 35 h 361"/>
              <a:gd name="T106" fmla="*/ 188 w 447"/>
              <a:gd name="T107" fmla="*/ 21 h 361"/>
              <a:gd name="T108" fmla="*/ 205 w 447"/>
              <a:gd name="T109" fmla="*/ 12 h 361"/>
              <a:gd name="T110" fmla="*/ 260 w 447"/>
              <a:gd name="T111" fmla="*/ 2 h 361"/>
              <a:gd name="T112" fmla="*/ 274 w 447"/>
              <a:gd name="T113" fmla="*/ 23 h 361"/>
              <a:gd name="T114" fmla="*/ 286 w 447"/>
              <a:gd name="T115" fmla="*/ 35 h 361"/>
              <a:gd name="T116" fmla="*/ 300 w 447"/>
              <a:gd name="T117" fmla="*/ 49 h 361"/>
              <a:gd name="T118" fmla="*/ 316 w 447"/>
              <a:gd name="T119" fmla="*/ 49 h 361"/>
              <a:gd name="T120" fmla="*/ 333 w 447"/>
              <a:gd name="T121" fmla="*/ 44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7" h="361">
                <a:moveTo>
                  <a:pt x="333" y="49"/>
                </a:moveTo>
                <a:lnTo>
                  <a:pt x="335" y="49"/>
                </a:lnTo>
                <a:lnTo>
                  <a:pt x="337" y="51"/>
                </a:lnTo>
                <a:lnTo>
                  <a:pt x="339" y="53"/>
                </a:lnTo>
                <a:lnTo>
                  <a:pt x="339" y="56"/>
                </a:lnTo>
                <a:lnTo>
                  <a:pt x="339" y="58"/>
                </a:lnTo>
                <a:lnTo>
                  <a:pt x="337" y="63"/>
                </a:lnTo>
                <a:lnTo>
                  <a:pt x="335" y="67"/>
                </a:lnTo>
                <a:lnTo>
                  <a:pt x="335" y="70"/>
                </a:lnTo>
                <a:lnTo>
                  <a:pt x="335" y="72"/>
                </a:lnTo>
                <a:lnTo>
                  <a:pt x="337" y="74"/>
                </a:lnTo>
                <a:lnTo>
                  <a:pt x="337" y="77"/>
                </a:lnTo>
                <a:lnTo>
                  <a:pt x="335" y="77"/>
                </a:lnTo>
                <a:lnTo>
                  <a:pt x="335" y="79"/>
                </a:lnTo>
                <a:lnTo>
                  <a:pt x="333" y="79"/>
                </a:lnTo>
                <a:lnTo>
                  <a:pt x="333" y="81"/>
                </a:lnTo>
                <a:lnTo>
                  <a:pt x="333" y="84"/>
                </a:lnTo>
                <a:lnTo>
                  <a:pt x="333" y="86"/>
                </a:lnTo>
                <a:lnTo>
                  <a:pt x="335" y="86"/>
                </a:lnTo>
                <a:lnTo>
                  <a:pt x="335" y="88"/>
                </a:lnTo>
                <a:lnTo>
                  <a:pt x="337" y="88"/>
                </a:lnTo>
                <a:lnTo>
                  <a:pt x="337" y="91"/>
                </a:lnTo>
                <a:lnTo>
                  <a:pt x="337" y="93"/>
                </a:lnTo>
                <a:lnTo>
                  <a:pt x="337" y="100"/>
                </a:lnTo>
                <a:lnTo>
                  <a:pt x="339" y="100"/>
                </a:lnTo>
                <a:lnTo>
                  <a:pt x="339" y="102"/>
                </a:lnTo>
                <a:lnTo>
                  <a:pt x="342" y="102"/>
                </a:lnTo>
                <a:lnTo>
                  <a:pt x="342" y="105"/>
                </a:lnTo>
                <a:lnTo>
                  <a:pt x="339" y="105"/>
                </a:lnTo>
                <a:lnTo>
                  <a:pt x="339" y="107"/>
                </a:lnTo>
                <a:lnTo>
                  <a:pt x="339" y="109"/>
                </a:lnTo>
                <a:lnTo>
                  <a:pt x="337" y="109"/>
                </a:lnTo>
                <a:lnTo>
                  <a:pt x="335" y="109"/>
                </a:lnTo>
                <a:lnTo>
                  <a:pt x="337" y="112"/>
                </a:lnTo>
                <a:lnTo>
                  <a:pt x="337" y="114"/>
                </a:lnTo>
                <a:lnTo>
                  <a:pt x="337" y="116"/>
                </a:lnTo>
                <a:lnTo>
                  <a:pt x="339" y="119"/>
                </a:lnTo>
                <a:lnTo>
                  <a:pt x="339" y="121"/>
                </a:lnTo>
                <a:lnTo>
                  <a:pt x="337" y="121"/>
                </a:lnTo>
                <a:lnTo>
                  <a:pt x="337" y="123"/>
                </a:lnTo>
                <a:lnTo>
                  <a:pt x="337" y="126"/>
                </a:lnTo>
                <a:lnTo>
                  <a:pt x="337" y="128"/>
                </a:lnTo>
                <a:lnTo>
                  <a:pt x="337" y="130"/>
                </a:lnTo>
                <a:lnTo>
                  <a:pt x="335" y="130"/>
                </a:lnTo>
                <a:lnTo>
                  <a:pt x="335" y="133"/>
                </a:lnTo>
                <a:lnTo>
                  <a:pt x="335" y="135"/>
                </a:lnTo>
                <a:lnTo>
                  <a:pt x="335" y="137"/>
                </a:lnTo>
                <a:lnTo>
                  <a:pt x="337" y="137"/>
                </a:lnTo>
                <a:lnTo>
                  <a:pt x="337" y="140"/>
                </a:lnTo>
                <a:lnTo>
                  <a:pt x="335" y="142"/>
                </a:lnTo>
                <a:lnTo>
                  <a:pt x="335" y="144"/>
                </a:lnTo>
                <a:lnTo>
                  <a:pt x="337" y="144"/>
                </a:lnTo>
                <a:lnTo>
                  <a:pt x="339" y="151"/>
                </a:lnTo>
                <a:lnTo>
                  <a:pt x="342" y="154"/>
                </a:lnTo>
                <a:lnTo>
                  <a:pt x="342" y="156"/>
                </a:lnTo>
                <a:lnTo>
                  <a:pt x="342" y="161"/>
                </a:lnTo>
                <a:lnTo>
                  <a:pt x="342" y="163"/>
                </a:lnTo>
                <a:lnTo>
                  <a:pt x="342" y="168"/>
                </a:lnTo>
                <a:lnTo>
                  <a:pt x="339" y="170"/>
                </a:lnTo>
                <a:lnTo>
                  <a:pt x="339" y="172"/>
                </a:lnTo>
                <a:lnTo>
                  <a:pt x="342" y="172"/>
                </a:lnTo>
                <a:lnTo>
                  <a:pt x="342" y="175"/>
                </a:lnTo>
                <a:lnTo>
                  <a:pt x="342" y="177"/>
                </a:lnTo>
                <a:lnTo>
                  <a:pt x="339" y="177"/>
                </a:lnTo>
                <a:lnTo>
                  <a:pt x="339" y="179"/>
                </a:lnTo>
                <a:lnTo>
                  <a:pt x="339" y="182"/>
                </a:lnTo>
                <a:lnTo>
                  <a:pt x="339" y="184"/>
                </a:lnTo>
                <a:lnTo>
                  <a:pt x="339" y="188"/>
                </a:lnTo>
                <a:lnTo>
                  <a:pt x="339" y="191"/>
                </a:lnTo>
                <a:lnTo>
                  <a:pt x="342" y="191"/>
                </a:lnTo>
                <a:lnTo>
                  <a:pt x="407" y="191"/>
                </a:lnTo>
                <a:lnTo>
                  <a:pt x="409" y="191"/>
                </a:lnTo>
                <a:lnTo>
                  <a:pt x="409" y="193"/>
                </a:lnTo>
                <a:lnTo>
                  <a:pt x="407" y="193"/>
                </a:lnTo>
                <a:lnTo>
                  <a:pt x="409" y="195"/>
                </a:lnTo>
                <a:lnTo>
                  <a:pt x="412" y="198"/>
                </a:lnTo>
                <a:lnTo>
                  <a:pt x="414" y="198"/>
                </a:lnTo>
                <a:lnTo>
                  <a:pt x="416" y="195"/>
                </a:lnTo>
                <a:lnTo>
                  <a:pt x="419" y="195"/>
                </a:lnTo>
                <a:lnTo>
                  <a:pt x="421" y="198"/>
                </a:lnTo>
                <a:lnTo>
                  <a:pt x="423" y="198"/>
                </a:lnTo>
                <a:lnTo>
                  <a:pt x="426" y="198"/>
                </a:lnTo>
                <a:lnTo>
                  <a:pt x="428" y="198"/>
                </a:lnTo>
                <a:lnTo>
                  <a:pt x="430" y="198"/>
                </a:lnTo>
                <a:lnTo>
                  <a:pt x="433" y="198"/>
                </a:lnTo>
                <a:lnTo>
                  <a:pt x="433" y="200"/>
                </a:lnTo>
                <a:lnTo>
                  <a:pt x="435" y="200"/>
                </a:lnTo>
                <a:lnTo>
                  <a:pt x="437" y="200"/>
                </a:lnTo>
                <a:lnTo>
                  <a:pt x="437" y="205"/>
                </a:lnTo>
                <a:lnTo>
                  <a:pt x="437" y="207"/>
                </a:lnTo>
                <a:lnTo>
                  <a:pt x="440" y="209"/>
                </a:lnTo>
                <a:lnTo>
                  <a:pt x="442" y="214"/>
                </a:lnTo>
                <a:lnTo>
                  <a:pt x="442" y="216"/>
                </a:lnTo>
                <a:lnTo>
                  <a:pt x="440" y="219"/>
                </a:lnTo>
                <a:lnTo>
                  <a:pt x="437" y="219"/>
                </a:lnTo>
                <a:lnTo>
                  <a:pt x="437" y="221"/>
                </a:lnTo>
                <a:lnTo>
                  <a:pt x="437" y="223"/>
                </a:lnTo>
                <a:lnTo>
                  <a:pt x="435" y="223"/>
                </a:lnTo>
                <a:lnTo>
                  <a:pt x="435" y="226"/>
                </a:lnTo>
                <a:lnTo>
                  <a:pt x="430" y="228"/>
                </a:lnTo>
                <a:lnTo>
                  <a:pt x="430" y="230"/>
                </a:lnTo>
                <a:lnTo>
                  <a:pt x="428" y="233"/>
                </a:lnTo>
                <a:lnTo>
                  <a:pt x="430" y="240"/>
                </a:lnTo>
                <a:lnTo>
                  <a:pt x="430" y="242"/>
                </a:lnTo>
                <a:lnTo>
                  <a:pt x="430" y="244"/>
                </a:lnTo>
                <a:lnTo>
                  <a:pt x="430" y="247"/>
                </a:lnTo>
                <a:lnTo>
                  <a:pt x="433" y="249"/>
                </a:lnTo>
                <a:lnTo>
                  <a:pt x="435" y="249"/>
                </a:lnTo>
                <a:lnTo>
                  <a:pt x="437" y="249"/>
                </a:lnTo>
                <a:lnTo>
                  <a:pt x="437" y="254"/>
                </a:lnTo>
                <a:lnTo>
                  <a:pt x="440" y="256"/>
                </a:lnTo>
                <a:lnTo>
                  <a:pt x="440" y="258"/>
                </a:lnTo>
                <a:lnTo>
                  <a:pt x="442" y="263"/>
                </a:lnTo>
                <a:lnTo>
                  <a:pt x="442" y="270"/>
                </a:lnTo>
                <a:lnTo>
                  <a:pt x="442" y="272"/>
                </a:lnTo>
                <a:lnTo>
                  <a:pt x="444" y="272"/>
                </a:lnTo>
                <a:lnTo>
                  <a:pt x="444" y="277"/>
                </a:lnTo>
                <a:lnTo>
                  <a:pt x="447" y="279"/>
                </a:lnTo>
                <a:lnTo>
                  <a:pt x="447" y="282"/>
                </a:lnTo>
                <a:lnTo>
                  <a:pt x="447" y="284"/>
                </a:lnTo>
                <a:lnTo>
                  <a:pt x="442" y="296"/>
                </a:lnTo>
                <a:lnTo>
                  <a:pt x="437" y="300"/>
                </a:lnTo>
                <a:lnTo>
                  <a:pt x="435" y="300"/>
                </a:lnTo>
                <a:lnTo>
                  <a:pt x="435" y="303"/>
                </a:lnTo>
                <a:lnTo>
                  <a:pt x="435" y="305"/>
                </a:lnTo>
                <a:lnTo>
                  <a:pt x="435" y="307"/>
                </a:lnTo>
                <a:lnTo>
                  <a:pt x="435" y="310"/>
                </a:lnTo>
                <a:lnTo>
                  <a:pt x="433" y="310"/>
                </a:lnTo>
                <a:lnTo>
                  <a:pt x="433" y="312"/>
                </a:lnTo>
                <a:lnTo>
                  <a:pt x="430" y="314"/>
                </a:lnTo>
                <a:lnTo>
                  <a:pt x="430" y="317"/>
                </a:lnTo>
                <a:lnTo>
                  <a:pt x="426" y="317"/>
                </a:lnTo>
                <a:lnTo>
                  <a:pt x="423" y="317"/>
                </a:lnTo>
                <a:lnTo>
                  <a:pt x="423" y="319"/>
                </a:lnTo>
                <a:lnTo>
                  <a:pt x="421" y="321"/>
                </a:lnTo>
                <a:lnTo>
                  <a:pt x="419" y="324"/>
                </a:lnTo>
                <a:lnTo>
                  <a:pt x="419" y="326"/>
                </a:lnTo>
                <a:lnTo>
                  <a:pt x="419" y="328"/>
                </a:lnTo>
                <a:lnTo>
                  <a:pt x="414" y="335"/>
                </a:lnTo>
                <a:lnTo>
                  <a:pt x="414" y="337"/>
                </a:lnTo>
                <a:lnTo>
                  <a:pt x="414" y="340"/>
                </a:lnTo>
                <a:lnTo>
                  <a:pt x="414" y="342"/>
                </a:lnTo>
                <a:lnTo>
                  <a:pt x="412" y="344"/>
                </a:lnTo>
                <a:lnTo>
                  <a:pt x="412" y="347"/>
                </a:lnTo>
                <a:lnTo>
                  <a:pt x="405" y="351"/>
                </a:lnTo>
                <a:lnTo>
                  <a:pt x="395" y="358"/>
                </a:lnTo>
                <a:lnTo>
                  <a:pt x="393" y="361"/>
                </a:lnTo>
                <a:lnTo>
                  <a:pt x="391" y="361"/>
                </a:lnTo>
                <a:lnTo>
                  <a:pt x="386" y="358"/>
                </a:lnTo>
                <a:lnTo>
                  <a:pt x="381" y="356"/>
                </a:lnTo>
                <a:lnTo>
                  <a:pt x="379" y="354"/>
                </a:lnTo>
                <a:lnTo>
                  <a:pt x="374" y="354"/>
                </a:lnTo>
                <a:lnTo>
                  <a:pt x="372" y="354"/>
                </a:lnTo>
                <a:lnTo>
                  <a:pt x="372" y="351"/>
                </a:lnTo>
                <a:lnTo>
                  <a:pt x="370" y="349"/>
                </a:lnTo>
                <a:lnTo>
                  <a:pt x="365" y="351"/>
                </a:lnTo>
                <a:lnTo>
                  <a:pt x="365" y="354"/>
                </a:lnTo>
                <a:lnTo>
                  <a:pt x="360" y="354"/>
                </a:lnTo>
                <a:lnTo>
                  <a:pt x="358" y="354"/>
                </a:lnTo>
                <a:lnTo>
                  <a:pt x="356" y="351"/>
                </a:lnTo>
                <a:lnTo>
                  <a:pt x="353" y="351"/>
                </a:lnTo>
                <a:lnTo>
                  <a:pt x="351" y="351"/>
                </a:lnTo>
                <a:lnTo>
                  <a:pt x="346" y="354"/>
                </a:lnTo>
                <a:lnTo>
                  <a:pt x="344" y="354"/>
                </a:lnTo>
                <a:lnTo>
                  <a:pt x="342" y="354"/>
                </a:lnTo>
                <a:lnTo>
                  <a:pt x="339" y="354"/>
                </a:lnTo>
                <a:lnTo>
                  <a:pt x="337" y="351"/>
                </a:lnTo>
                <a:lnTo>
                  <a:pt x="333" y="354"/>
                </a:lnTo>
                <a:lnTo>
                  <a:pt x="330" y="354"/>
                </a:lnTo>
                <a:lnTo>
                  <a:pt x="328" y="354"/>
                </a:lnTo>
                <a:lnTo>
                  <a:pt x="326" y="354"/>
                </a:lnTo>
                <a:lnTo>
                  <a:pt x="323" y="354"/>
                </a:lnTo>
                <a:lnTo>
                  <a:pt x="321" y="354"/>
                </a:lnTo>
                <a:lnTo>
                  <a:pt x="319" y="349"/>
                </a:lnTo>
                <a:lnTo>
                  <a:pt x="316" y="349"/>
                </a:lnTo>
                <a:lnTo>
                  <a:pt x="316" y="347"/>
                </a:lnTo>
                <a:lnTo>
                  <a:pt x="314" y="344"/>
                </a:lnTo>
                <a:lnTo>
                  <a:pt x="312" y="344"/>
                </a:lnTo>
                <a:lnTo>
                  <a:pt x="312" y="342"/>
                </a:lnTo>
                <a:lnTo>
                  <a:pt x="309" y="342"/>
                </a:lnTo>
                <a:lnTo>
                  <a:pt x="307" y="337"/>
                </a:lnTo>
                <a:lnTo>
                  <a:pt x="305" y="337"/>
                </a:lnTo>
                <a:lnTo>
                  <a:pt x="305" y="335"/>
                </a:lnTo>
                <a:lnTo>
                  <a:pt x="305" y="330"/>
                </a:lnTo>
                <a:lnTo>
                  <a:pt x="302" y="330"/>
                </a:lnTo>
                <a:lnTo>
                  <a:pt x="300" y="328"/>
                </a:lnTo>
                <a:lnTo>
                  <a:pt x="300" y="330"/>
                </a:lnTo>
                <a:lnTo>
                  <a:pt x="298" y="328"/>
                </a:lnTo>
                <a:lnTo>
                  <a:pt x="295" y="328"/>
                </a:lnTo>
                <a:lnTo>
                  <a:pt x="293" y="328"/>
                </a:lnTo>
                <a:lnTo>
                  <a:pt x="293" y="330"/>
                </a:lnTo>
                <a:lnTo>
                  <a:pt x="291" y="328"/>
                </a:lnTo>
                <a:lnTo>
                  <a:pt x="291" y="330"/>
                </a:lnTo>
                <a:lnTo>
                  <a:pt x="286" y="330"/>
                </a:lnTo>
                <a:lnTo>
                  <a:pt x="286" y="328"/>
                </a:lnTo>
                <a:lnTo>
                  <a:pt x="284" y="328"/>
                </a:lnTo>
                <a:lnTo>
                  <a:pt x="281" y="326"/>
                </a:lnTo>
                <a:lnTo>
                  <a:pt x="279" y="326"/>
                </a:lnTo>
                <a:lnTo>
                  <a:pt x="277" y="326"/>
                </a:lnTo>
                <a:lnTo>
                  <a:pt x="270" y="324"/>
                </a:lnTo>
                <a:lnTo>
                  <a:pt x="270" y="321"/>
                </a:lnTo>
                <a:lnTo>
                  <a:pt x="270" y="319"/>
                </a:lnTo>
                <a:lnTo>
                  <a:pt x="267" y="319"/>
                </a:lnTo>
                <a:lnTo>
                  <a:pt x="265" y="319"/>
                </a:lnTo>
                <a:lnTo>
                  <a:pt x="265" y="321"/>
                </a:lnTo>
                <a:lnTo>
                  <a:pt x="263" y="321"/>
                </a:lnTo>
                <a:lnTo>
                  <a:pt x="260" y="321"/>
                </a:lnTo>
                <a:lnTo>
                  <a:pt x="260" y="319"/>
                </a:lnTo>
                <a:lnTo>
                  <a:pt x="258" y="319"/>
                </a:lnTo>
                <a:lnTo>
                  <a:pt x="258" y="317"/>
                </a:lnTo>
                <a:lnTo>
                  <a:pt x="256" y="317"/>
                </a:lnTo>
                <a:lnTo>
                  <a:pt x="253" y="312"/>
                </a:lnTo>
                <a:lnTo>
                  <a:pt x="251" y="312"/>
                </a:lnTo>
                <a:lnTo>
                  <a:pt x="249" y="312"/>
                </a:lnTo>
                <a:lnTo>
                  <a:pt x="249" y="310"/>
                </a:lnTo>
                <a:lnTo>
                  <a:pt x="246" y="310"/>
                </a:lnTo>
                <a:lnTo>
                  <a:pt x="246" y="307"/>
                </a:lnTo>
                <a:lnTo>
                  <a:pt x="244" y="305"/>
                </a:lnTo>
                <a:lnTo>
                  <a:pt x="244" y="303"/>
                </a:lnTo>
                <a:lnTo>
                  <a:pt x="244" y="300"/>
                </a:lnTo>
                <a:lnTo>
                  <a:pt x="242" y="298"/>
                </a:lnTo>
                <a:lnTo>
                  <a:pt x="239" y="298"/>
                </a:lnTo>
                <a:lnTo>
                  <a:pt x="237" y="298"/>
                </a:lnTo>
                <a:lnTo>
                  <a:pt x="237" y="300"/>
                </a:lnTo>
                <a:lnTo>
                  <a:pt x="235" y="300"/>
                </a:lnTo>
                <a:lnTo>
                  <a:pt x="232" y="303"/>
                </a:lnTo>
                <a:lnTo>
                  <a:pt x="228" y="303"/>
                </a:lnTo>
                <a:lnTo>
                  <a:pt x="225" y="300"/>
                </a:lnTo>
                <a:lnTo>
                  <a:pt x="223" y="300"/>
                </a:lnTo>
                <a:lnTo>
                  <a:pt x="221" y="298"/>
                </a:lnTo>
                <a:lnTo>
                  <a:pt x="218" y="298"/>
                </a:lnTo>
                <a:lnTo>
                  <a:pt x="218" y="296"/>
                </a:lnTo>
                <a:lnTo>
                  <a:pt x="218" y="293"/>
                </a:lnTo>
                <a:lnTo>
                  <a:pt x="216" y="293"/>
                </a:lnTo>
                <a:lnTo>
                  <a:pt x="214" y="293"/>
                </a:lnTo>
                <a:lnTo>
                  <a:pt x="211" y="293"/>
                </a:lnTo>
                <a:lnTo>
                  <a:pt x="209" y="291"/>
                </a:lnTo>
                <a:lnTo>
                  <a:pt x="207" y="289"/>
                </a:lnTo>
                <a:lnTo>
                  <a:pt x="198" y="289"/>
                </a:lnTo>
                <a:lnTo>
                  <a:pt x="195" y="289"/>
                </a:lnTo>
                <a:lnTo>
                  <a:pt x="193" y="289"/>
                </a:lnTo>
                <a:lnTo>
                  <a:pt x="191" y="291"/>
                </a:lnTo>
                <a:lnTo>
                  <a:pt x="191" y="293"/>
                </a:lnTo>
                <a:lnTo>
                  <a:pt x="188" y="293"/>
                </a:lnTo>
                <a:lnTo>
                  <a:pt x="186" y="293"/>
                </a:lnTo>
                <a:lnTo>
                  <a:pt x="184" y="293"/>
                </a:lnTo>
                <a:lnTo>
                  <a:pt x="181" y="291"/>
                </a:lnTo>
                <a:lnTo>
                  <a:pt x="179" y="291"/>
                </a:lnTo>
                <a:lnTo>
                  <a:pt x="177" y="291"/>
                </a:lnTo>
                <a:lnTo>
                  <a:pt x="177" y="293"/>
                </a:lnTo>
                <a:lnTo>
                  <a:pt x="174" y="293"/>
                </a:lnTo>
                <a:lnTo>
                  <a:pt x="174" y="291"/>
                </a:lnTo>
                <a:lnTo>
                  <a:pt x="172" y="291"/>
                </a:lnTo>
                <a:lnTo>
                  <a:pt x="172" y="289"/>
                </a:lnTo>
                <a:lnTo>
                  <a:pt x="170" y="291"/>
                </a:lnTo>
                <a:lnTo>
                  <a:pt x="167" y="291"/>
                </a:lnTo>
                <a:lnTo>
                  <a:pt x="165" y="289"/>
                </a:lnTo>
                <a:lnTo>
                  <a:pt x="163" y="289"/>
                </a:lnTo>
                <a:lnTo>
                  <a:pt x="160" y="289"/>
                </a:lnTo>
                <a:lnTo>
                  <a:pt x="158" y="289"/>
                </a:lnTo>
                <a:lnTo>
                  <a:pt x="158" y="286"/>
                </a:lnTo>
                <a:lnTo>
                  <a:pt x="156" y="286"/>
                </a:lnTo>
                <a:lnTo>
                  <a:pt x="156" y="284"/>
                </a:lnTo>
                <a:lnTo>
                  <a:pt x="153" y="284"/>
                </a:lnTo>
                <a:lnTo>
                  <a:pt x="153" y="282"/>
                </a:lnTo>
                <a:lnTo>
                  <a:pt x="153" y="279"/>
                </a:lnTo>
                <a:lnTo>
                  <a:pt x="156" y="279"/>
                </a:lnTo>
                <a:lnTo>
                  <a:pt x="156" y="277"/>
                </a:lnTo>
                <a:lnTo>
                  <a:pt x="153" y="277"/>
                </a:lnTo>
                <a:lnTo>
                  <a:pt x="153" y="275"/>
                </a:lnTo>
                <a:lnTo>
                  <a:pt x="151" y="275"/>
                </a:lnTo>
                <a:lnTo>
                  <a:pt x="149" y="275"/>
                </a:lnTo>
                <a:lnTo>
                  <a:pt x="146" y="275"/>
                </a:lnTo>
                <a:lnTo>
                  <a:pt x="144" y="272"/>
                </a:lnTo>
                <a:lnTo>
                  <a:pt x="142" y="272"/>
                </a:lnTo>
                <a:lnTo>
                  <a:pt x="142" y="270"/>
                </a:lnTo>
                <a:lnTo>
                  <a:pt x="142" y="268"/>
                </a:lnTo>
                <a:lnTo>
                  <a:pt x="139" y="268"/>
                </a:lnTo>
                <a:lnTo>
                  <a:pt x="139" y="270"/>
                </a:lnTo>
                <a:lnTo>
                  <a:pt x="137" y="270"/>
                </a:lnTo>
                <a:lnTo>
                  <a:pt x="137" y="268"/>
                </a:lnTo>
                <a:lnTo>
                  <a:pt x="135" y="265"/>
                </a:lnTo>
                <a:lnTo>
                  <a:pt x="135" y="263"/>
                </a:lnTo>
                <a:lnTo>
                  <a:pt x="132" y="263"/>
                </a:lnTo>
                <a:lnTo>
                  <a:pt x="130" y="261"/>
                </a:lnTo>
                <a:lnTo>
                  <a:pt x="130" y="263"/>
                </a:lnTo>
                <a:lnTo>
                  <a:pt x="128" y="263"/>
                </a:lnTo>
                <a:lnTo>
                  <a:pt x="128" y="261"/>
                </a:lnTo>
                <a:lnTo>
                  <a:pt x="125" y="261"/>
                </a:lnTo>
                <a:lnTo>
                  <a:pt x="123" y="261"/>
                </a:lnTo>
                <a:lnTo>
                  <a:pt x="121" y="261"/>
                </a:lnTo>
                <a:lnTo>
                  <a:pt x="121" y="258"/>
                </a:lnTo>
                <a:lnTo>
                  <a:pt x="121" y="256"/>
                </a:lnTo>
                <a:lnTo>
                  <a:pt x="121" y="254"/>
                </a:lnTo>
                <a:lnTo>
                  <a:pt x="118" y="254"/>
                </a:lnTo>
                <a:lnTo>
                  <a:pt x="118" y="251"/>
                </a:lnTo>
                <a:lnTo>
                  <a:pt x="118" y="249"/>
                </a:lnTo>
                <a:lnTo>
                  <a:pt x="116" y="247"/>
                </a:lnTo>
                <a:lnTo>
                  <a:pt x="116" y="244"/>
                </a:lnTo>
                <a:lnTo>
                  <a:pt x="114" y="244"/>
                </a:lnTo>
                <a:lnTo>
                  <a:pt x="114" y="242"/>
                </a:lnTo>
                <a:lnTo>
                  <a:pt x="111" y="242"/>
                </a:lnTo>
                <a:lnTo>
                  <a:pt x="111" y="247"/>
                </a:lnTo>
                <a:lnTo>
                  <a:pt x="109" y="247"/>
                </a:lnTo>
                <a:lnTo>
                  <a:pt x="107" y="244"/>
                </a:lnTo>
                <a:lnTo>
                  <a:pt x="107" y="242"/>
                </a:lnTo>
                <a:lnTo>
                  <a:pt x="107" y="240"/>
                </a:lnTo>
                <a:lnTo>
                  <a:pt x="109" y="240"/>
                </a:lnTo>
                <a:lnTo>
                  <a:pt x="107" y="237"/>
                </a:lnTo>
                <a:lnTo>
                  <a:pt x="109" y="237"/>
                </a:lnTo>
                <a:lnTo>
                  <a:pt x="109" y="235"/>
                </a:lnTo>
                <a:lnTo>
                  <a:pt x="107" y="235"/>
                </a:lnTo>
                <a:lnTo>
                  <a:pt x="104" y="233"/>
                </a:lnTo>
                <a:lnTo>
                  <a:pt x="107" y="233"/>
                </a:lnTo>
                <a:lnTo>
                  <a:pt x="107" y="230"/>
                </a:lnTo>
                <a:lnTo>
                  <a:pt x="104" y="230"/>
                </a:lnTo>
                <a:lnTo>
                  <a:pt x="102" y="228"/>
                </a:lnTo>
                <a:lnTo>
                  <a:pt x="102" y="230"/>
                </a:lnTo>
                <a:lnTo>
                  <a:pt x="100" y="228"/>
                </a:lnTo>
                <a:lnTo>
                  <a:pt x="97" y="223"/>
                </a:lnTo>
                <a:lnTo>
                  <a:pt x="97" y="221"/>
                </a:lnTo>
                <a:lnTo>
                  <a:pt x="97" y="219"/>
                </a:lnTo>
                <a:lnTo>
                  <a:pt x="97" y="216"/>
                </a:lnTo>
                <a:lnTo>
                  <a:pt x="95" y="216"/>
                </a:lnTo>
                <a:lnTo>
                  <a:pt x="95" y="214"/>
                </a:lnTo>
                <a:lnTo>
                  <a:pt x="95" y="212"/>
                </a:lnTo>
                <a:lnTo>
                  <a:pt x="95" y="209"/>
                </a:lnTo>
                <a:lnTo>
                  <a:pt x="93" y="209"/>
                </a:lnTo>
                <a:lnTo>
                  <a:pt x="93" y="207"/>
                </a:lnTo>
                <a:lnTo>
                  <a:pt x="95" y="207"/>
                </a:lnTo>
                <a:lnTo>
                  <a:pt x="97" y="205"/>
                </a:lnTo>
                <a:lnTo>
                  <a:pt x="97" y="202"/>
                </a:lnTo>
                <a:lnTo>
                  <a:pt x="97" y="200"/>
                </a:lnTo>
                <a:lnTo>
                  <a:pt x="97" y="198"/>
                </a:lnTo>
                <a:lnTo>
                  <a:pt x="100" y="198"/>
                </a:lnTo>
                <a:lnTo>
                  <a:pt x="100" y="195"/>
                </a:lnTo>
                <a:lnTo>
                  <a:pt x="97" y="195"/>
                </a:lnTo>
                <a:lnTo>
                  <a:pt x="97" y="188"/>
                </a:lnTo>
                <a:lnTo>
                  <a:pt x="97" y="186"/>
                </a:lnTo>
                <a:lnTo>
                  <a:pt x="95" y="186"/>
                </a:lnTo>
                <a:lnTo>
                  <a:pt x="93" y="186"/>
                </a:lnTo>
                <a:lnTo>
                  <a:pt x="93" y="184"/>
                </a:lnTo>
                <a:lnTo>
                  <a:pt x="93" y="182"/>
                </a:lnTo>
                <a:lnTo>
                  <a:pt x="93" y="179"/>
                </a:lnTo>
                <a:lnTo>
                  <a:pt x="93" y="177"/>
                </a:lnTo>
                <a:lnTo>
                  <a:pt x="93" y="175"/>
                </a:lnTo>
                <a:lnTo>
                  <a:pt x="90" y="175"/>
                </a:lnTo>
                <a:lnTo>
                  <a:pt x="90" y="172"/>
                </a:lnTo>
                <a:lnTo>
                  <a:pt x="90" y="170"/>
                </a:lnTo>
                <a:lnTo>
                  <a:pt x="90" y="168"/>
                </a:lnTo>
                <a:lnTo>
                  <a:pt x="88" y="168"/>
                </a:lnTo>
                <a:lnTo>
                  <a:pt x="90" y="165"/>
                </a:lnTo>
                <a:lnTo>
                  <a:pt x="88" y="165"/>
                </a:lnTo>
                <a:lnTo>
                  <a:pt x="88" y="163"/>
                </a:lnTo>
                <a:lnTo>
                  <a:pt x="90" y="163"/>
                </a:lnTo>
                <a:lnTo>
                  <a:pt x="93" y="161"/>
                </a:lnTo>
                <a:lnTo>
                  <a:pt x="93" y="158"/>
                </a:lnTo>
                <a:lnTo>
                  <a:pt x="93" y="156"/>
                </a:lnTo>
                <a:lnTo>
                  <a:pt x="93" y="154"/>
                </a:lnTo>
                <a:lnTo>
                  <a:pt x="95" y="154"/>
                </a:lnTo>
                <a:lnTo>
                  <a:pt x="97" y="151"/>
                </a:lnTo>
                <a:lnTo>
                  <a:pt x="97" y="149"/>
                </a:lnTo>
                <a:lnTo>
                  <a:pt x="97" y="147"/>
                </a:lnTo>
                <a:lnTo>
                  <a:pt x="97" y="144"/>
                </a:lnTo>
                <a:lnTo>
                  <a:pt x="97" y="142"/>
                </a:lnTo>
                <a:lnTo>
                  <a:pt x="97" y="140"/>
                </a:lnTo>
                <a:lnTo>
                  <a:pt x="95" y="137"/>
                </a:lnTo>
                <a:lnTo>
                  <a:pt x="95" y="133"/>
                </a:lnTo>
                <a:lnTo>
                  <a:pt x="95" y="130"/>
                </a:lnTo>
                <a:lnTo>
                  <a:pt x="95" y="128"/>
                </a:lnTo>
                <a:lnTo>
                  <a:pt x="97" y="123"/>
                </a:lnTo>
                <a:lnTo>
                  <a:pt x="95" y="121"/>
                </a:lnTo>
                <a:lnTo>
                  <a:pt x="93" y="119"/>
                </a:lnTo>
                <a:lnTo>
                  <a:pt x="93" y="116"/>
                </a:lnTo>
                <a:lnTo>
                  <a:pt x="93" y="114"/>
                </a:lnTo>
                <a:lnTo>
                  <a:pt x="90" y="114"/>
                </a:lnTo>
                <a:lnTo>
                  <a:pt x="88" y="112"/>
                </a:lnTo>
                <a:lnTo>
                  <a:pt x="86" y="114"/>
                </a:lnTo>
                <a:lnTo>
                  <a:pt x="83" y="116"/>
                </a:lnTo>
                <a:lnTo>
                  <a:pt x="81" y="119"/>
                </a:lnTo>
                <a:lnTo>
                  <a:pt x="81" y="121"/>
                </a:lnTo>
                <a:lnTo>
                  <a:pt x="79" y="121"/>
                </a:lnTo>
                <a:lnTo>
                  <a:pt x="79" y="123"/>
                </a:lnTo>
                <a:lnTo>
                  <a:pt x="77" y="123"/>
                </a:lnTo>
                <a:lnTo>
                  <a:pt x="74" y="121"/>
                </a:lnTo>
                <a:lnTo>
                  <a:pt x="72" y="121"/>
                </a:lnTo>
                <a:lnTo>
                  <a:pt x="70" y="121"/>
                </a:lnTo>
                <a:lnTo>
                  <a:pt x="70" y="119"/>
                </a:lnTo>
                <a:lnTo>
                  <a:pt x="67" y="119"/>
                </a:lnTo>
                <a:lnTo>
                  <a:pt x="65" y="119"/>
                </a:lnTo>
                <a:lnTo>
                  <a:pt x="65" y="116"/>
                </a:lnTo>
                <a:lnTo>
                  <a:pt x="65" y="119"/>
                </a:lnTo>
                <a:lnTo>
                  <a:pt x="65" y="121"/>
                </a:lnTo>
                <a:lnTo>
                  <a:pt x="63" y="121"/>
                </a:lnTo>
                <a:lnTo>
                  <a:pt x="63" y="119"/>
                </a:lnTo>
                <a:lnTo>
                  <a:pt x="60" y="121"/>
                </a:lnTo>
                <a:lnTo>
                  <a:pt x="58" y="121"/>
                </a:lnTo>
                <a:lnTo>
                  <a:pt x="56" y="121"/>
                </a:lnTo>
                <a:lnTo>
                  <a:pt x="53" y="121"/>
                </a:lnTo>
                <a:lnTo>
                  <a:pt x="51" y="123"/>
                </a:lnTo>
                <a:lnTo>
                  <a:pt x="49" y="123"/>
                </a:lnTo>
                <a:lnTo>
                  <a:pt x="46" y="121"/>
                </a:lnTo>
                <a:lnTo>
                  <a:pt x="44" y="121"/>
                </a:lnTo>
                <a:lnTo>
                  <a:pt x="44" y="123"/>
                </a:lnTo>
                <a:lnTo>
                  <a:pt x="44" y="121"/>
                </a:lnTo>
                <a:lnTo>
                  <a:pt x="39" y="123"/>
                </a:lnTo>
                <a:lnTo>
                  <a:pt x="37" y="126"/>
                </a:lnTo>
                <a:lnTo>
                  <a:pt x="35" y="126"/>
                </a:lnTo>
                <a:lnTo>
                  <a:pt x="30" y="126"/>
                </a:lnTo>
                <a:lnTo>
                  <a:pt x="28" y="126"/>
                </a:lnTo>
                <a:lnTo>
                  <a:pt x="25" y="128"/>
                </a:lnTo>
                <a:lnTo>
                  <a:pt x="23" y="128"/>
                </a:lnTo>
                <a:lnTo>
                  <a:pt x="18" y="128"/>
                </a:lnTo>
                <a:lnTo>
                  <a:pt x="11" y="130"/>
                </a:lnTo>
                <a:lnTo>
                  <a:pt x="0" y="128"/>
                </a:lnTo>
                <a:lnTo>
                  <a:pt x="2" y="123"/>
                </a:lnTo>
                <a:lnTo>
                  <a:pt x="4" y="123"/>
                </a:lnTo>
                <a:lnTo>
                  <a:pt x="4" y="121"/>
                </a:lnTo>
                <a:lnTo>
                  <a:pt x="7" y="121"/>
                </a:lnTo>
                <a:lnTo>
                  <a:pt x="11" y="116"/>
                </a:lnTo>
                <a:lnTo>
                  <a:pt x="14" y="114"/>
                </a:lnTo>
                <a:lnTo>
                  <a:pt x="18" y="114"/>
                </a:lnTo>
                <a:lnTo>
                  <a:pt x="18" y="112"/>
                </a:lnTo>
                <a:lnTo>
                  <a:pt x="21" y="112"/>
                </a:lnTo>
                <a:lnTo>
                  <a:pt x="21" y="109"/>
                </a:lnTo>
                <a:lnTo>
                  <a:pt x="25" y="105"/>
                </a:lnTo>
                <a:lnTo>
                  <a:pt x="25" y="102"/>
                </a:lnTo>
                <a:lnTo>
                  <a:pt x="25" y="100"/>
                </a:lnTo>
                <a:lnTo>
                  <a:pt x="25" y="98"/>
                </a:lnTo>
                <a:lnTo>
                  <a:pt x="28" y="98"/>
                </a:lnTo>
                <a:lnTo>
                  <a:pt x="30" y="98"/>
                </a:lnTo>
                <a:lnTo>
                  <a:pt x="32" y="98"/>
                </a:lnTo>
                <a:lnTo>
                  <a:pt x="35" y="98"/>
                </a:lnTo>
                <a:lnTo>
                  <a:pt x="37" y="98"/>
                </a:lnTo>
                <a:lnTo>
                  <a:pt x="42" y="98"/>
                </a:lnTo>
                <a:lnTo>
                  <a:pt x="44" y="98"/>
                </a:lnTo>
                <a:lnTo>
                  <a:pt x="51" y="95"/>
                </a:lnTo>
                <a:lnTo>
                  <a:pt x="53" y="95"/>
                </a:lnTo>
                <a:lnTo>
                  <a:pt x="53" y="98"/>
                </a:lnTo>
                <a:lnTo>
                  <a:pt x="56" y="98"/>
                </a:lnTo>
                <a:lnTo>
                  <a:pt x="58" y="100"/>
                </a:lnTo>
                <a:lnTo>
                  <a:pt x="60" y="102"/>
                </a:lnTo>
                <a:lnTo>
                  <a:pt x="63" y="102"/>
                </a:lnTo>
                <a:lnTo>
                  <a:pt x="65" y="105"/>
                </a:lnTo>
                <a:lnTo>
                  <a:pt x="65" y="107"/>
                </a:lnTo>
                <a:lnTo>
                  <a:pt x="67" y="107"/>
                </a:lnTo>
                <a:lnTo>
                  <a:pt x="70" y="107"/>
                </a:lnTo>
                <a:lnTo>
                  <a:pt x="70" y="105"/>
                </a:lnTo>
                <a:lnTo>
                  <a:pt x="72" y="105"/>
                </a:lnTo>
                <a:lnTo>
                  <a:pt x="72" y="102"/>
                </a:lnTo>
                <a:lnTo>
                  <a:pt x="72" y="100"/>
                </a:lnTo>
                <a:lnTo>
                  <a:pt x="74" y="100"/>
                </a:lnTo>
                <a:lnTo>
                  <a:pt x="74" y="98"/>
                </a:lnTo>
                <a:lnTo>
                  <a:pt x="79" y="95"/>
                </a:lnTo>
                <a:lnTo>
                  <a:pt x="81" y="95"/>
                </a:lnTo>
                <a:lnTo>
                  <a:pt x="83" y="98"/>
                </a:lnTo>
                <a:lnTo>
                  <a:pt x="86" y="98"/>
                </a:lnTo>
                <a:lnTo>
                  <a:pt x="86" y="95"/>
                </a:lnTo>
                <a:lnTo>
                  <a:pt x="88" y="95"/>
                </a:lnTo>
                <a:lnTo>
                  <a:pt x="88" y="93"/>
                </a:lnTo>
                <a:lnTo>
                  <a:pt x="90" y="93"/>
                </a:lnTo>
                <a:lnTo>
                  <a:pt x="90" y="91"/>
                </a:lnTo>
                <a:lnTo>
                  <a:pt x="93" y="91"/>
                </a:lnTo>
                <a:lnTo>
                  <a:pt x="97" y="88"/>
                </a:lnTo>
                <a:lnTo>
                  <a:pt x="97" y="86"/>
                </a:lnTo>
                <a:lnTo>
                  <a:pt x="100" y="86"/>
                </a:lnTo>
                <a:lnTo>
                  <a:pt x="100" y="84"/>
                </a:lnTo>
                <a:lnTo>
                  <a:pt x="102" y="84"/>
                </a:lnTo>
                <a:lnTo>
                  <a:pt x="102" y="86"/>
                </a:lnTo>
                <a:lnTo>
                  <a:pt x="102" y="88"/>
                </a:lnTo>
                <a:lnTo>
                  <a:pt x="104" y="88"/>
                </a:lnTo>
                <a:lnTo>
                  <a:pt x="104" y="91"/>
                </a:lnTo>
                <a:lnTo>
                  <a:pt x="104" y="93"/>
                </a:lnTo>
                <a:lnTo>
                  <a:pt x="104" y="95"/>
                </a:lnTo>
                <a:lnTo>
                  <a:pt x="107" y="95"/>
                </a:lnTo>
                <a:lnTo>
                  <a:pt x="109" y="95"/>
                </a:lnTo>
                <a:lnTo>
                  <a:pt x="111" y="95"/>
                </a:lnTo>
                <a:lnTo>
                  <a:pt x="111" y="93"/>
                </a:lnTo>
                <a:lnTo>
                  <a:pt x="114" y="93"/>
                </a:lnTo>
                <a:lnTo>
                  <a:pt x="114" y="91"/>
                </a:lnTo>
                <a:lnTo>
                  <a:pt x="116" y="88"/>
                </a:lnTo>
                <a:lnTo>
                  <a:pt x="116" y="86"/>
                </a:lnTo>
                <a:lnTo>
                  <a:pt x="118" y="86"/>
                </a:lnTo>
                <a:lnTo>
                  <a:pt x="118" y="84"/>
                </a:lnTo>
                <a:lnTo>
                  <a:pt x="121" y="84"/>
                </a:lnTo>
                <a:lnTo>
                  <a:pt x="121" y="81"/>
                </a:lnTo>
                <a:lnTo>
                  <a:pt x="121" y="79"/>
                </a:lnTo>
                <a:lnTo>
                  <a:pt x="118" y="77"/>
                </a:lnTo>
                <a:lnTo>
                  <a:pt x="118" y="74"/>
                </a:lnTo>
                <a:lnTo>
                  <a:pt x="121" y="74"/>
                </a:lnTo>
                <a:lnTo>
                  <a:pt x="121" y="72"/>
                </a:lnTo>
                <a:lnTo>
                  <a:pt x="123" y="70"/>
                </a:lnTo>
                <a:lnTo>
                  <a:pt x="128" y="67"/>
                </a:lnTo>
                <a:lnTo>
                  <a:pt x="130" y="65"/>
                </a:lnTo>
                <a:lnTo>
                  <a:pt x="130" y="67"/>
                </a:lnTo>
                <a:lnTo>
                  <a:pt x="132" y="67"/>
                </a:lnTo>
                <a:lnTo>
                  <a:pt x="135" y="67"/>
                </a:lnTo>
                <a:lnTo>
                  <a:pt x="139" y="67"/>
                </a:lnTo>
                <a:lnTo>
                  <a:pt x="142" y="67"/>
                </a:lnTo>
                <a:lnTo>
                  <a:pt x="144" y="65"/>
                </a:lnTo>
                <a:lnTo>
                  <a:pt x="146" y="65"/>
                </a:lnTo>
                <a:lnTo>
                  <a:pt x="146" y="63"/>
                </a:lnTo>
                <a:lnTo>
                  <a:pt x="149" y="63"/>
                </a:lnTo>
                <a:lnTo>
                  <a:pt x="149" y="65"/>
                </a:lnTo>
                <a:lnTo>
                  <a:pt x="151" y="65"/>
                </a:lnTo>
                <a:lnTo>
                  <a:pt x="153" y="63"/>
                </a:lnTo>
                <a:lnTo>
                  <a:pt x="156" y="63"/>
                </a:lnTo>
                <a:lnTo>
                  <a:pt x="158" y="63"/>
                </a:lnTo>
                <a:lnTo>
                  <a:pt x="160" y="63"/>
                </a:lnTo>
                <a:lnTo>
                  <a:pt x="163" y="63"/>
                </a:lnTo>
                <a:lnTo>
                  <a:pt x="165" y="63"/>
                </a:lnTo>
                <a:lnTo>
                  <a:pt x="167" y="63"/>
                </a:lnTo>
                <a:lnTo>
                  <a:pt x="170" y="63"/>
                </a:lnTo>
                <a:lnTo>
                  <a:pt x="170" y="58"/>
                </a:lnTo>
                <a:lnTo>
                  <a:pt x="170" y="56"/>
                </a:lnTo>
                <a:lnTo>
                  <a:pt x="170" y="53"/>
                </a:lnTo>
                <a:lnTo>
                  <a:pt x="170" y="51"/>
                </a:lnTo>
                <a:lnTo>
                  <a:pt x="170" y="49"/>
                </a:lnTo>
                <a:lnTo>
                  <a:pt x="170" y="46"/>
                </a:lnTo>
                <a:lnTo>
                  <a:pt x="172" y="46"/>
                </a:lnTo>
                <a:lnTo>
                  <a:pt x="174" y="46"/>
                </a:lnTo>
                <a:lnTo>
                  <a:pt x="177" y="46"/>
                </a:lnTo>
                <a:lnTo>
                  <a:pt x="177" y="44"/>
                </a:lnTo>
                <a:lnTo>
                  <a:pt x="179" y="44"/>
                </a:lnTo>
                <a:lnTo>
                  <a:pt x="179" y="42"/>
                </a:lnTo>
                <a:lnTo>
                  <a:pt x="181" y="40"/>
                </a:lnTo>
                <a:lnTo>
                  <a:pt x="181" y="37"/>
                </a:lnTo>
                <a:lnTo>
                  <a:pt x="184" y="37"/>
                </a:lnTo>
                <a:lnTo>
                  <a:pt x="184" y="35"/>
                </a:lnTo>
                <a:lnTo>
                  <a:pt x="181" y="35"/>
                </a:lnTo>
                <a:lnTo>
                  <a:pt x="181" y="33"/>
                </a:lnTo>
                <a:lnTo>
                  <a:pt x="179" y="33"/>
                </a:lnTo>
                <a:lnTo>
                  <a:pt x="179" y="30"/>
                </a:lnTo>
                <a:lnTo>
                  <a:pt x="177" y="30"/>
                </a:lnTo>
                <a:lnTo>
                  <a:pt x="179" y="28"/>
                </a:lnTo>
                <a:lnTo>
                  <a:pt x="181" y="26"/>
                </a:lnTo>
                <a:lnTo>
                  <a:pt x="181" y="23"/>
                </a:lnTo>
                <a:lnTo>
                  <a:pt x="184" y="21"/>
                </a:lnTo>
                <a:lnTo>
                  <a:pt x="186" y="21"/>
                </a:lnTo>
                <a:lnTo>
                  <a:pt x="188" y="21"/>
                </a:lnTo>
                <a:lnTo>
                  <a:pt x="191" y="19"/>
                </a:lnTo>
                <a:lnTo>
                  <a:pt x="193" y="19"/>
                </a:lnTo>
                <a:lnTo>
                  <a:pt x="193" y="16"/>
                </a:lnTo>
                <a:lnTo>
                  <a:pt x="193" y="14"/>
                </a:lnTo>
                <a:lnTo>
                  <a:pt x="195" y="14"/>
                </a:lnTo>
                <a:lnTo>
                  <a:pt x="195" y="12"/>
                </a:lnTo>
                <a:lnTo>
                  <a:pt x="198" y="12"/>
                </a:lnTo>
                <a:lnTo>
                  <a:pt x="200" y="12"/>
                </a:lnTo>
                <a:lnTo>
                  <a:pt x="202" y="12"/>
                </a:lnTo>
                <a:lnTo>
                  <a:pt x="205" y="12"/>
                </a:lnTo>
                <a:lnTo>
                  <a:pt x="205" y="9"/>
                </a:lnTo>
                <a:lnTo>
                  <a:pt x="202" y="7"/>
                </a:lnTo>
                <a:lnTo>
                  <a:pt x="202" y="5"/>
                </a:lnTo>
                <a:lnTo>
                  <a:pt x="205" y="5"/>
                </a:lnTo>
                <a:lnTo>
                  <a:pt x="205" y="2"/>
                </a:lnTo>
                <a:lnTo>
                  <a:pt x="207" y="0"/>
                </a:lnTo>
                <a:lnTo>
                  <a:pt x="246" y="0"/>
                </a:lnTo>
                <a:lnTo>
                  <a:pt x="253" y="0"/>
                </a:lnTo>
                <a:lnTo>
                  <a:pt x="258" y="2"/>
                </a:lnTo>
                <a:lnTo>
                  <a:pt x="260" y="2"/>
                </a:lnTo>
                <a:lnTo>
                  <a:pt x="263" y="7"/>
                </a:lnTo>
                <a:lnTo>
                  <a:pt x="263" y="9"/>
                </a:lnTo>
                <a:lnTo>
                  <a:pt x="265" y="14"/>
                </a:lnTo>
                <a:lnTo>
                  <a:pt x="267" y="14"/>
                </a:lnTo>
                <a:lnTo>
                  <a:pt x="270" y="16"/>
                </a:lnTo>
                <a:lnTo>
                  <a:pt x="270" y="19"/>
                </a:lnTo>
                <a:lnTo>
                  <a:pt x="272" y="19"/>
                </a:lnTo>
                <a:lnTo>
                  <a:pt x="272" y="21"/>
                </a:lnTo>
                <a:lnTo>
                  <a:pt x="272" y="23"/>
                </a:lnTo>
                <a:lnTo>
                  <a:pt x="274" y="23"/>
                </a:lnTo>
                <a:lnTo>
                  <a:pt x="274" y="21"/>
                </a:lnTo>
                <a:lnTo>
                  <a:pt x="277" y="21"/>
                </a:lnTo>
                <a:lnTo>
                  <a:pt x="279" y="21"/>
                </a:lnTo>
                <a:lnTo>
                  <a:pt x="281" y="23"/>
                </a:lnTo>
                <a:lnTo>
                  <a:pt x="284" y="23"/>
                </a:lnTo>
                <a:lnTo>
                  <a:pt x="284" y="26"/>
                </a:lnTo>
                <a:lnTo>
                  <a:pt x="284" y="28"/>
                </a:lnTo>
                <a:lnTo>
                  <a:pt x="286" y="30"/>
                </a:lnTo>
                <a:lnTo>
                  <a:pt x="286" y="33"/>
                </a:lnTo>
                <a:lnTo>
                  <a:pt x="286" y="35"/>
                </a:lnTo>
                <a:lnTo>
                  <a:pt x="288" y="37"/>
                </a:lnTo>
                <a:lnTo>
                  <a:pt x="291" y="37"/>
                </a:lnTo>
                <a:lnTo>
                  <a:pt x="293" y="37"/>
                </a:lnTo>
                <a:lnTo>
                  <a:pt x="295" y="37"/>
                </a:lnTo>
                <a:lnTo>
                  <a:pt x="295" y="40"/>
                </a:lnTo>
                <a:lnTo>
                  <a:pt x="298" y="42"/>
                </a:lnTo>
                <a:lnTo>
                  <a:pt x="298" y="44"/>
                </a:lnTo>
                <a:lnTo>
                  <a:pt x="298" y="46"/>
                </a:lnTo>
                <a:lnTo>
                  <a:pt x="298" y="49"/>
                </a:lnTo>
                <a:lnTo>
                  <a:pt x="300" y="49"/>
                </a:lnTo>
                <a:lnTo>
                  <a:pt x="302" y="49"/>
                </a:lnTo>
                <a:lnTo>
                  <a:pt x="307" y="51"/>
                </a:lnTo>
                <a:lnTo>
                  <a:pt x="309" y="53"/>
                </a:lnTo>
                <a:lnTo>
                  <a:pt x="312" y="53"/>
                </a:lnTo>
                <a:lnTo>
                  <a:pt x="312" y="56"/>
                </a:lnTo>
                <a:lnTo>
                  <a:pt x="314" y="56"/>
                </a:lnTo>
                <a:lnTo>
                  <a:pt x="314" y="53"/>
                </a:lnTo>
                <a:lnTo>
                  <a:pt x="316" y="53"/>
                </a:lnTo>
                <a:lnTo>
                  <a:pt x="316" y="51"/>
                </a:lnTo>
                <a:lnTo>
                  <a:pt x="316" y="49"/>
                </a:lnTo>
                <a:lnTo>
                  <a:pt x="316" y="46"/>
                </a:lnTo>
                <a:lnTo>
                  <a:pt x="319" y="46"/>
                </a:lnTo>
                <a:lnTo>
                  <a:pt x="321" y="46"/>
                </a:lnTo>
                <a:lnTo>
                  <a:pt x="321" y="44"/>
                </a:lnTo>
                <a:lnTo>
                  <a:pt x="323" y="44"/>
                </a:lnTo>
                <a:lnTo>
                  <a:pt x="323" y="42"/>
                </a:lnTo>
                <a:lnTo>
                  <a:pt x="326" y="42"/>
                </a:lnTo>
                <a:lnTo>
                  <a:pt x="328" y="44"/>
                </a:lnTo>
                <a:lnTo>
                  <a:pt x="330" y="44"/>
                </a:lnTo>
                <a:lnTo>
                  <a:pt x="333" y="44"/>
                </a:lnTo>
                <a:lnTo>
                  <a:pt x="333" y="49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D9956721-A0E9-303C-ED9C-7C7C8EA14CD7}"/>
              </a:ext>
            </a:extLst>
          </p:cNvPr>
          <p:cNvSpPr/>
          <p:nvPr/>
        </p:nvSpPr>
        <p:spPr>
          <a:xfrm>
            <a:off x="1805951" y="3718607"/>
            <a:ext cx="807711" cy="73726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noProof="0">
              <a:solidFill>
                <a:srgbClr val="FFFFFF"/>
              </a:solidFill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B39C4BDE-3EF0-4987-00C1-9C74B4A40E75}"/>
              </a:ext>
            </a:extLst>
          </p:cNvPr>
          <p:cNvSpPr/>
          <p:nvPr/>
        </p:nvSpPr>
        <p:spPr>
          <a:xfrm>
            <a:off x="1813908" y="3738283"/>
            <a:ext cx="791796" cy="9364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" b="1" noProof="0">
                <a:solidFill>
                  <a:srgbClr val="FFFFFF"/>
                </a:solidFill>
                <a:cs typeface="Arial" panose="020B0604020202020204" pitchFamily="34" charset="0"/>
              </a:rPr>
              <a:t>CD 2600 – Manaus (AM)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495A1AF-5AAF-A25D-DDFA-FC3508E428EF}"/>
              </a:ext>
            </a:extLst>
          </p:cNvPr>
          <p:cNvGrpSpPr/>
          <p:nvPr/>
        </p:nvGrpSpPr>
        <p:grpSpPr>
          <a:xfrm rot="5400000">
            <a:off x="2155248" y="3649615"/>
            <a:ext cx="66793" cy="66793"/>
            <a:chOff x="2950276" y="4840032"/>
            <a:chExt cx="107570" cy="107570"/>
          </a:xfrm>
        </p:grpSpPr>
        <p:sp>
          <p:nvSpPr>
            <p:cNvPr id="89" name="Oval 50">
              <a:extLst>
                <a:ext uri="{FF2B5EF4-FFF2-40B4-BE49-F238E27FC236}">
                  <a16:creationId xmlns:a16="http://schemas.microsoft.com/office/drawing/2014/main" id="{9068847D-11D3-21DB-268E-EB596CFBD0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0276" y="4840032"/>
              <a:ext cx="107570" cy="107570"/>
            </a:xfrm>
            <a:prstGeom prst="ellipse">
              <a:avLst/>
            </a:prstGeom>
            <a:solidFill>
              <a:srgbClr val="F18D1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noProof="0">
                <a:solidFill>
                  <a:schemeClr val="bg1"/>
                </a:solidFill>
              </a:endParaRPr>
            </a:p>
          </p:txBody>
        </p:sp>
        <p:sp>
          <p:nvSpPr>
            <p:cNvPr id="90" name="Freeform 51">
              <a:extLst>
                <a:ext uri="{FF2B5EF4-FFF2-40B4-BE49-F238E27FC236}">
                  <a16:creationId xmlns:a16="http://schemas.microsoft.com/office/drawing/2014/main" id="{8C7AAFD4-0EB9-68E0-FAFC-1BC766CB9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0140" y="4859015"/>
              <a:ext cx="38598" cy="69604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158" name="Rounded Rectangle 286">
            <a:extLst>
              <a:ext uri="{FF2B5EF4-FFF2-40B4-BE49-F238E27FC236}">
                <a16:creationId xmlns:a16="http://schemas.microsoft.com/office/drawing/2014/main" id="{9F263B31-53DD-A2FB-5E88-73E2D6A98D07}"/>
              </a:ext>
            </a:extLst>
          </p:cNvPr>
          <p:cNvSpPr/>
          <p:nvPr/>
        </p:nvSpPr>
        <p:spPr>
          <a:xfrm>
            <a:off x="736382" y="3948713"/>
            <a:ext cx="540253" cy="267873"/>
          </a:xfrm>
          <a:prstGeom prst="rect">
            <a:avLst/>
          </a:prstGeom>
          <a:noFill/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noProof="0">
                <a:solidFill>
                  <a:srgbClr val="7173E9"/>
                </a:solidFill>
              </a:rPr>
              <a:t>CDs</a:t>
            </a:r>
          </a:p>
        </p:txBody>
      </p:sp>
      <p:sp>
        <p:nvSpPr>
          <p:cNvPr id="159" name="Rounded Rectangle 287">
            <a:extLst>
              <a:ext uri="{FF2B5EF4-FFF2-40B4-BE49-F238E27FC236}">
                <a16:creationId xmlns:a16="http://schemas.microsoft.com/office/drawing/2014/main" id="{34926A56-D8DF-AFEA-9E12-81176C3D5069}"/>
              </a:ext>
            </a:extLst>
          </p:cNvPr>
          <p:cNvSpPr/>
          <p:nvPr/>
        </p:nvSpPr>
        <p:spPr>
          <a:xfrm>
            <a:off x="736382" y="3605088"/>
            <a:ext cx="540253" cy="267873"/>
          </a:xfrm>
          <a:prstGeom prst="rect">
            <a:avLst/>
          </a:prstGeom>
          <a:noFill/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noProof="0">
                <a:solidFill>
                  <a:srgbClr val="7173E9"/>
                </a:solidFill>
              </a:rPr>
              <a:t>Lojas</a:t>
            </a:r>
          </a:p>
        </p:txBody>
      </p:sp>
      <p:sp>
        <p:nvSpPr>
          <p:cNvPr id="157" name="Rounded Rectangle 285">
            <a:extLst>
              <a:ext uri="{FF2B5EF4-FFF2-40B4-BE49-F238E27FC236}">
                <a16:creationId xmlns:a16="http://schemas.microsoft.com/office/drawing/2014/main" id="{D614F04F-88EA-EE23-9BF1-9281EADAE32A}"/>
              </a:ext>
            </a:extLst>
          </p:cNvPr>
          <p:cNvSpPr/>
          <p:nvPr/>
        </p:nvSpPr>
        <p:spPr>
          <a:xfrm>
            <a:off x="736382" y="3261464"/>
            <a:ext cx="540253" cy="267873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b="1" noProof="0" err="1">
                <a:solidFill>
                  <a:schemeClr val="tx2"/>
                </a:solidFill>
              </a:rPr>
              <a:t>Alocação</a:t>
            </a:r>
            <a:endParaRPr lang="en-US" sz="800" b="1" noProof="0">
              <a:solidFill>
                <a:schemeClr val="tx2"/>
              </a:solidFill>
            </a:endParaRPr>
          </a:p>
        </p:txBody>
      </p:sp>
      <p:sp>
        <p:nvSpPr>
          <p:cNvPr id="156" name="Rounded Rectangle 284">
            <a:extLst>
              <a:ext uri="{FF2B5EF4-FFF2-40B4-BE49-F238E27FC236}">
                <a16:creationId xmlns:a16="http://schemas.microsoft.com/office/drawing/2014/main" id="{8B35ECAB-1B2C-A8C8-49D8-584C20B76EB1}"/>
              </a:ext>
            </a:extLst>
          </p:cNvPr>
          <p:cNvSpPr/>
          <p:nvPr/>
        </p:nvSpPr>
        <p:spPr>
          <a:xfrm>
            <a:off x="736382" y="4292337"/>
            <a:ext cx="540253" cy="267873"/>
          </a:xfrm>
          <a:prstGeom prst="rect">
            <a:avLst/>
          </a:prstGeom>
          <a:noFill/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noProof="0">
                <a:solidFill>
                  <a:srgbClr val="7173E9"/>
                </a:solidFill>
              </a:rPr>
              <a:t>Produtos</a:t>
            </a:r>
          </a:p>
        </p:txBody>
      </p:sp>
      <p:grpSp>
        <p:nvGrpSpPr>
          <p:cNvPr id="125" name="bcgIcons_Interactive Hand ">
            <a:extLst>
              <a:ext uri="{FF2B5EF4-FFF2-40B4-BE49-F238E27FC236}">
                <a16:creationId xmlns:a16="http://schemas.microsoft.com/office/drawing/2014/main" id="{0F068100-2E70-7BB5-0FEB-BBBAA19BED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87002" y="2955389"/>
            <a:ext cx="193717" cy="193897"/>
            <a:chOff x="1682" y="0"/>
            <a:chExt cx="4316" cy="4320"/>
          </a:xfrm>
        </p:grpSpPr>
        <p:sp>
          <p:nvSpPr>
            <p:cNvPr id="126" name="AutoShape 13">
              <a:extLst>
                <a:ext uri="{FF2B5EF4-FFF2-40B4-BE49-F238E27FC236}">
                  <a16:creationId xmlns:a16="http://schemas.microsoft.com/office/drawing/2014/main" id="{49E04166-0DF3-9814-39C9-F72A28D5C1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5">
              <a:extLst>
                <a:ext uri="{FF2B5EF4-FFF2-40B4-BE49-F238E27FC236}">
                  <a16:creationId xmlns:a16="http://schemas.microsoft.com/office/drawing/2014/main" id="{AB1B13DD-B885-5BBB-6950-4F89C28B1B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5" y="821"/>
              <a:ext cx="2120" cy="2351"/>
            </a:xfrm>
            <a:custGeom>
              <a:avLst/>
              <a:gdLst>
                <a:gd name="T0" fmla="*/ 1012 w 1132"/>
                <a:gd name="T1" fmla="*/ 516 h 1254"/>
                <a:gd name="T2" fmla="*/ 931 w 1132"/>
                <a:gd name="T3" fmla="*/ 548 h 1254"/>
                <a:gd name="T4" fmla="*/ 816 w 1132"/>
                <a:gd name="T5" fmla="*/ 462 h 1254"/>
                <a:gd name="T6" fmla="*/ 735 w 1132"/>
                <a:gd name="T7" fmla="*/ 492 h 1254"/>
                <a:gd name="T8" fmla="*/ 620 w 1132"/>
                <a:gd name="T9" fmla="*/ 404 h 1254"/>
                <a:gd name="T10" fmla="*/ 544 w 1132"/>
                <a:gd name="T11" fmla="*/ 431 h 1254"/>
                <a:gd name="T12" fmla="*/ 544 w 1132"/>
                <a:gd name="T13" fmla="*/ 120 h 1254"/>
                <a:gd name="T14" fmla="*/ 424 w 1132"/>
                <a:gd name="T15" fmla="*/ 0 h 1254"/>
                <a:gd name="T16" fmla="*/ 304 w 1132"/>
                <a:gd name="T17" fmla="*/ 120 h 1254"/>
                <a:gd name="T18" fmla="*/ 304 w 1132"/>
                <a:gd name="T19" fmla="*/ 774 h 1254"/>
                <a:gd name="T20" fmla="*/ 231 w 1132"/>
                <a:gd name="T21" fmla="*/ 670 h 1254"/>
                <a:gd name="T22" fmla="*/ 72 w 1132"/>
                <a:gd name="T23" fmla="*/ 637 h 1254"/>
                <a:gd name="T24" fmla="*/ 30 w 1132"/>
                <a:gd name="T25" fmla="*/ 794 h 1254"/>
                <a:gd name="T26" fmla="*/ 278 w 1132"/>
                <a:gd name="T27" fmla="*/ 1254 h 1254"/>
                <a:gd name="T28" fmla="*/ 312 w 1132"/>
                <a:gd name="T29" fmla="*/ 1225 h 1254"/>
                <a:gd name="T30" fmla="*/ 68 w 1132"/>
                <a:gd name="T31" fmla="*/ 774 h 1254"/>
                <a:gd name="T32" fmla="*/ 95 w 1132"/>
                <a:gd name="T33" fmla="*/ 675 h 1254"/>
                <a:gd name="T34" fmla="*/ 195 w 1132"/>
                <a:gd name="T35" fmla="*/ 695 h 1254"/>
                <a:gd name="T36" fmla="*/ 308 w 1132"/>
                <a:gd name="T37" fmla="*/ 856 h 1254"/>
                <a:gd name="T38" fmla="*/ 332 w 1132"/>
                <a:gd name="T39" fmla="*/ 865 h 1254"/>
                <a:gd name="T40" fmla="*/ 348 w 1132"/>
                <a:gd name="T41" fmla="*/ 844 h 1254"/>
                <a:gd name="T42" fmla="*/ 348 w 1132"/>
                <a:gd name="T43" fmla="*/ 120 h 1254"/>
                <a:gd name="T44" fmla="*/ 424 w 1132"/>
                <a:gd name="T45" fmla="*/ 44 h 1254"/>
                <a:gd name="T46" fmla="*/ 500 w 1132"/>
                <a:gd name="T47" fmla="*/ 120 h 1254"/>
                <a:gd name="T48" fmla="*/ 500 w 1132"/>
                <a:gd name="T49" fmla="*/ 524 h 1254"/>
                <a:gd name="T50" fmla="*/ 500 w 1132"/>
                <a:gd name="T51" fmla="*/ 636 h 1254"/>
                <a:gd name="T52" fmla="*/ 500 w 1132"/>
                <a:gd name="T53" fmla="*/ 647 h 1254"/>
                <a:gd name="T54" fmla="*/ 522 w 1132"/>
                <a:gd name="T55" fmla="*/ 669 h 1254"/>
                <a:gd name="T56" fmla="*/ 544 w 1132"/>
                <a:gd name="T57" fmla="*/ 647 h 1254"/>
                <a:gd name="T58" fmla="*/ 544 w 1132"/>
                <a:gd name="T59" fmla="*/ 636 h 1254"/>
                <a:gd name="T60" fmla="*/ 544 w 1132"/>
                <a:gd name="T61" fmla="*/ 524 h 1254"/>
                <a:gd name="T62" fmla="*/ 620 w 1132"/>
                <a:gd name="T63" fmla="*/ 448 h 1254"/>
                <a:gd name="T64" fmla="*/ 696 w 1132"/>
                <a:gd name="T65" fmla="*/ 524 h 1254"/>
                <a:gd name="T66" fmla="*/ 696 w 1132"/>
                <a:gd name="T67" fmla="*/ 582 h 1254"/>
                <a:gd name="T68" fmla="*/ 696 w 1132"/>
                <a:gd name="T69" fmla="*/ 621 h 1254"/>
                <a:gd name="T70" fmla="*/ 696 w 1132"/>
                <a:gd name="T71" fmla="*/ 665 h 1254"/>
                <a:gd name="T72" fmla="*/ 718 w 1132"/>
                <a:gd name="T73" fmla="*/ 687 h 1254"/>
                <a:gd name="T74" fmla="*/ 740 w 1132"/>
                <a:gd name="T75" fmla="*/ 665 h 1254"/>
                <a:gd name="T76" fmla="*/ 740 w 1132"/>
                <a:gd name="T77" fmla="*/ 621 h 1254"/>
                <a:gd name="T78" fmla="*/ 740 w 1132"/>
                <a:gd name="T79" fmla="*/ 582 h 1254"/>
                <a:gd name="T80" fmla="*/ 816 w 1132"/>
                <a:gd name="T81" fmla="*/ 506 h 1254"/>
                <a:gd name="T82" fmla="*/ 892 w 1132"/>
                <a:gd name="T83" fmla="*/ 582 h 1254"/>
                <a:gd name="T84" fmla="*/ 892 w 1132"/>
                <a:gd name="T85" fmla="*/ 636 h 1254"/>
                <a:gd name="T86" fmla="*/ 892 w 1132"/>
                <a:gd name="T87" fmla="*/ 672 h 1254"/>
                <a:gd name="T88" fmla="*/ 892 w 1132"/>
                <a:gd name="T89" fmla="*/ 691 h 1254"/>
                <a:gd name="T90" fmla="*/ 914 w 1132"/>
                <a:gd name="T91" fmla="*/ 713 h 1254"/>
                <a:gd name="T92" fmla="*/ 936 w 1132"/>
                <a:gd name="T93" fmla="*/ 691 h 1254"/>
                <a:gd name="T94" fmla="*/ 936 w 1132"/>
                <a:gd name="T95" fmla="*/ 672 h 1254"/>
                <a:gd name="T96" fmla="*/ 936 w 1132"/>
                <a:gd name="T97" fmla="*/ 636 h 1254"/>
                <a:gd name="T98" fmla="*/ 1012 w 1132"/>
                <a:gd name="T99" fmla="*/ 560 h 1254"/>
                <a:gd name="T100" fmla="*/ 1088 w 1132"/>
                <a:gd name="T101" fmla="*/ 636 h 1254"/>
                <a:gd name="T102" fmla="*/ 1088 w 1132"/>
                <a:gd name="T103" fmla="*/ 981 h 1254"/>
                <a:gd name="T104" fmla="*/ 1001 w 1132"/>
                <a:gd name="T105" fmla="*/ 1224 h 1254"/>
                <a:gd name="T106" fmla="*/ 1035 w 1132"/>
                <a:gd name="T107" fmla="*/ 1252 h 1254"/>
                <a:gd name="T108" fmla="*/ 1132 w 1132"/>
                <a:gd name="T109" fmla="*/ 981 h 1254"/>
                <a:gd name="T110" fmla="*/ 1132 w 1132"/>
                <a:gd name="T111" fmla="*/ 636 h 1254"/>
                <a:gd name="T112" fmla="*/ 1012 w 1132"/>
                <a:gd name="T113" fmla="*/ 516 h 1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32" h="1254">
                  <a:moveTo>
                    <a:pt x="1012" y="516"/>
                  </a:moveTo>
                  <a:cubicBezTo>
                    <a:pt x="981" y="516"/>
                    <a:pt x="952" y="528"/>
                    <a:pt x="931" y="548"/>
                  </a:cubicBezTo>
                  <a:cubicBezTo>
                    <a:pt x="916" y="498"/>
                    <a:pt x="870" y="462"/>
                    <a:pt x="816" y="462"/>
                  </a:cubicBezTo>
                  <a:cubicBezTo>
                    <a:pt x="785" y="462"/>
                    <a:pt x="757" y="473"/>
                    <a:pt x="735" y="492"/>
                  </a:cubicBezTo>
                  <a:cubicBezTo>
                    <a:pt x="722" y="442"/>
                    <a:pt x="675" y="404"/>
                    <a:pt x="620" y="404"/>
                  </a:cubicBezTo>
                  <a:cubicBezTo>
                    <a:pt x="591" y="404"/>
                    <a:pt x="564" y="414"/>
                    <a:pt x="544" y="431"/>
                  </a:cubicBezTo>
                  <a:cubicBezTo>
                    <a:pt x="544" y="120"/>
                    <a:pt x="544" y="120"/>
                    <a:pt x="544" y="120"/>
                  </a:cubicBezTo>
                  <a:cubicBezTo>
                    <a:pt x="544" y="54"/>
                    <a:pt x="490" y="0"/>
                    <a:pt x="424" y="0"/>
                  </a:cubicBezTo>
                  <a:cubicBezTo>
                    <a:pt x="357" y="0"/>
                    <a:pt x="304" y="54"/>
                    <a:pt x="304" y="120"/>
                  </a:cubicBezTo>
                  <a:cubicBezTo>
                    <a:pt x="304" y="774"/>
                    <a:pt x="304" y="774"/>
                    <a:pt x="304" y="774"/>
                  </a:cubicBezTo>
                  <a:cubicBezTo>
                    <a:pt x="231" y="670"/>
                    <a:pt x="231" y="670"/>
                    <a:pt x="231" y="670"/>
                  </a:cubicBezTo>
                  <a:cubicBezTo>
                    <a:pt x="195" y="619"/>
                    <a:pt x="125" y="605"/>
                    <a:pt x="72" y="637"/>
                  </a:cubicBezTo>
                  <a:cubicBezTo>
                    <a:pt x="18" y="670"/>
                    <a:pt x="0" y="739"/>
                    <a:pt x="30" y="794"/>
                  </a:cubicBezTo>
                  <a:cubicBezTo>
                    <a:pt x="278" y="1254"/>
                    <a:pt x="278" y="1254"/>
                    <a:pt x="278" y="1254"/>
                  </a:cubicBezTo>
                  <a:cubicBezTo>
                    <a:pt x="285" y="1241"/>
                    <a:pt x="298" y="1230"/>
                    <a:pt x="312" y="1225"/>
                  </a:cubicBezTo>
                  <a:cubicBezTo>
                    <a:pt x="68" y="774"/>
                    <a:pt x="68" y="774"/>
                    <a:pt x="68" y="774"/>
                  </a:cubicBezTo>
                  <a:cubicBezTo>
                    <a:pt x="50" y="739"/>
                    <a:pt x="61" y="695"/>
                    <a:pt x="95" y="675"/>
                  </a:cubicBezTo>
                  <a:cubicBezTo>
                    <a:pt x="128" y="654"/>
                    <a:pt x="172" y="664"/>
                    <a:pt x="195" y="695"/>
                  </a:cubicBezTo>
                  <a:cubicBezTo>
                    <a:pt x="308" y="856"/>
                    <a:pt x="308" y="856"/>
                    <a:pt x="308" y="856"/>
                  </a:cubicBezTo>
                  <a:cubicBezTo>
                    <a:pt x="313" y="864"/>
                    <a:pt x="323" y="868"/>
                    <a:pt x="332" y="865"/>
                  </a:cubicBezTo>
                  <a:cubicBezTo>
                    <a:pt x="341" y="862"/>
                    <a:pt x="348" y="853"/>
                    <a:pt x="348" y="844"/>
                  </a:cubicBezTo>
                  <a:cubicBezTo>
                    <a:pt x="348" y="120"/>
                    <a:pt x="348" y="120"/>
                    <a:pt x="348" y="120"/>
                  </a:cubicBezTo>
                  <a:cubicBezTo>
                    <a:pt x="348" y="78"/>
                    <a:pt x="382" y="44"/>
                    <a:pt x="424" y="44"/>
                  </a:cubicBezTo>
                  <a:cubicBezTo>
                    <a:pt x="466" y="44"/>
                    <a:pt x="500" y="78"/>
                    <a:pt x="500" y="120"/>
                  </a:cubicBezTo>
                  <a:cubicBezTo>
                    <a:pt x="500" y="524"/>
                    <a:pt x="500" y="524"/>
                    <a:pt x="500" y="524"/>
                  </a:cubicBezTo>
                  <a:cubicBezTo>
                    <a:pt x="500" y="636"/>
                    <a:pt x="500" y="636"/>
                    <a:pt x="500" y="636"/>
                  </a:cubicBezTo>
                  <a:cubicBezTo>
                    <a:pt x="500" y="647"/>
                    <a:pt x="500" y="647"/>
                    <a:pt x="500" y="647"/>
                  </a:cubicBezTo>
                  <a:cubicBezTo>
                    <a:pt x="500" y="659"/>
                    <a:pt x="510" y="669"/>
                    <a:pt x="522" y="669"/>
                  </a:cubicBezTo>
                  <a:cubicBezTo>
                    <a:pt x="534" y="669"/>
                    <a:pt x="544" y="659"/>
                    <a:pt x="544" y="647"/>
                  </a:cubicBezTo>
                  <a:cubicBezTo>
                    <a:pt x="544" y="636"/>
                    <a:pt x="544" y="636"/>
                    <a:pt x="544" y="636"/>
                  </a:cubicBezTo>
                  <a:cubicBezTo>
                    <a:pt x="544" y="524"/>
                    <a:pt x="544" y="524"/>
                    <a:pt x="544" y="524"/>
                  </a:cubicBezTo>
                  <a:cubicBezTo>
                    <a:pt x="544" y="482"/>
                    <a:pt x="578" y="448"/>
                    <a:pt x="620" y="448"/>
                  </a:cubicBezTo>
                  <a:cubicBezTo>
                    <a:pt x="662" y="448"/>
                    <a:pt x="696" y="482"/>
                    <a:pt x="696" y="524"/>
                  </a:cubicBezTo>
                  <a:cubicBezTo>
                    <a:pt x="696" y="582"/>
                    <a:pt x="696" y="582"/>
                    <a:pt x="696" y="582"/>
                  </a:cubicBezTo>
                  <a:cubicBezTo>
                    <a:pt x="696" y="621"/>
                    <a:pt x="696" y="621"/>
                    <a:pt x="696" y="621"/>
                  </a:cubicBezTo>
                  <a:cubicBezTo>
                    <a:pt x="696" y="665"/>
                    <a:pt x="696" y="665"/>
                    <a:pt x="696" y="665"/>
                  </a:cubicBezTo>
                  <a:cubicBezTo>
                    <a:pt x="696" y="677"/>
                    <a:pt x="706" y="687"/>
                    <a:pt x="718" y="687"/>
                  </a:cubicBezTo>
                  <a:cubicBezTo>
                    <a:pt x="730" y="687"/>
                    <a:pt x="740" y="677"/>
                    <a:pt x="740" y="665"/>
                  </a:cubicBezTo>
                  <a:cubicBezTo>
                    <a:pt x="740" y="621"/>
                    <a:pt x="740" y="621"/>
                    <a:pt x="740" y="621"/>
                  </a:cubicBezTo>
                  <a:cubicBezTo>
                    <a:pt x="740" y="582"/>
                    <a:pt x="740" y="582"/>
                    <a:pt x="740" y="582"/>
                  </a:cubicBezTo>
                  <a:cubicBezTo>
                    <a:pt x="740" y="540"/>
                    <a:pt x="774" y="506"/>
                    <a:pt x="816" y="506"/>
                  </a:cubicBezTo>
                  <a:cubicBezTo>
                    <a:pt x="858" y="506"/>
                    <a:pt x="892" y="540"/>
                    <a:pt x="892" y="582"/>
                  </a:cubicBezTo>
                  <a:cubicBezTo>
                    <a:pt x="892" y="636"/>
                    <a:pt x="892" y="636"/>
                    <a:pt x="892" y="636"/>
                  </a:cubicBezTo>
                  <a:cubicBezTo>
                    <a:pt x="892" y="672"/>
                    <a:pt x="892" y="672"/>
                    <a:pt x="892" y="672"/>
                  </a:cubicBezTo>
                  <a:cubicBezTo>
                    <a:pt x="892" y="691"/>
                    <a:pt x="892" y="691"/>
                    <a:pt x="892" y="691"/>
                  </a:cubicBezTo>
                  <a:cubicBezTo>
                    <a:pt x="892" y="704"/>
                    <a:pt x="902" y="713"/>
                    <a:pt x="914" y="713"/>
                  </a:cubicBezTo>
                  <a:cubicBezTo>
                    <a:pt x="926" y="713"/>
                    <a:pt x="936" y="704"/>
                    <a:pt x="936" y="691"/>
                  </a:cubicBezTo>
                  <a:cubicBezTo>
                    <a:pt x="936" y="672"/>
                    <a:pt x="936" y="672"/>
                    <a:pt x="936" y="672"/>
                  </a:cubicBezTo>
                  <a:cubicBezTo>
                    <a:pt x="936" y="636"/>
                    <a:pt x="936" y="636"/>
                    <a:pt x="936" y="636"/>
                  </a:cubicBezTo>
                  <a:cubicBezTo>
                    <a:pt x="936" y="594"/>
                    <a:pt x="970" y="560"/>
                    <a:pt x="1012" y="560"/>
                  </a:cubicBezTo>
                  <a:cubicBezTo>
                    <a:pt x="1054" y="560"/>
                    <a:pt x="1088" y="594"/>
                    <a:pt x="1088" y="636"/>
                  </a:cubicBezTo>
                  <a:cubicBezTo>
                    <a:pt x="1088" y="981"/>
                    <a:pt x="1088" y="981"/>
                    <a:pt x="1088" y="981"/>
                  </a:cubicBezTo>
                  <a:cubicBezTo>
                    <a:pt x="1088" y="1014"/>
                    <a:pt x="1088" y="1110"/>
                    <a:pt x="1001" y="1224"/>
                  </a:cubicBezTo>
                  <a:cubicBezTo>
                    <a:pt x="1015" y="1229"/>
                    <a:pt x="1027" y="1239"/>
                    <a:pt x="1035" y="1252"/>
                  </a:cubicBezTo>
                  <a:cubicBezTo>
                    <a:pt x="1100" y="1167"/>
                    <a:pt x="1132" y="1078"/>
                    <a:pt x="1132" y="981"/>
                  </a:cubicBezTo>
                  <a:cubicBezTo>
                    <a:pt x="1132" y="636"/>
                    <a:pt x="1132" y="636"/>
                    <a:pt x="1132" y="636"/>
                  </a:cubicBezTo>
                  <a:cubicBezTo>
                    <a:pt x="1132" y="570"/>
                    <a:pt x="1078" y="516"/>
                    <a:pt x="1012" y="5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6">
              <a:extLst>
                <a:ext uri="{FF2B5EF4-FFF2-40B4-BE49-F238E27FC236}">
                  <a16:creationId xmlns:a16="http://schemas.microsoft.com/office/drawing/2014/main" id="{A79E6C88-841E-FA36-264B-00D73AF299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5" y="420"/>
              <a:ext cx="1523" cy="3456"/>
            </a:xfrm>
            <a:custGeom>
              <a:avLst/>
              <a:gdLst>
                <a:gd name="T0" fmla="*/ 472 w 813"/>
                <a:gd name="T1" fmla="*/ 236 h 1843"/>
                <a:gd name="T2" fmla="*/ 401 w 813"/>
                <a:gd name="T3" fmla="*/ 405 h 1843"/>
                <a:gd name="T4" fmla="*/ 401 w 813"/>
                <a:gd name="T5" fmla="*/ 334 h 1843"/>
                <a:gd name="T6" fmla="*/ 237 w 813"/>
                <a:gd name="T7" fmla="*/ 170 h 1843"/>
                <a:gd name="T8" fmla="*/ 73 w 813"/>
                <a:gd name="T9" fmla="*/ 334 h 1843"/>
                <a:gd name="T10" fmla="*/ 73 w 813"/>
                <a:gd name="T11" fmla="*/ 407 h 1843"/>
                <a:gd name="T12" fmla="*/ 0 w 813"/>
                <a:gd name="T13" fmla="*/ 236 h 1843"/>
                <a:gd name="T14" fmla="*/ 236 w 813"/>
                <a:gd name="T15" fmla="*/ 0 h 1843"/>
                <a:gd name="T16" fmla="*/ 472 w 813"/>
                <a:gd name="T17" fmla="*/ 236 h 1843"/>
                <a:gd name="T18" fmla="*/ 813 w 813"/>
                <a:gd name="T19" fmla="*/ 1500 h 1843"/>
                <a:gd name="T20" fmla="*/ 791 w 813"/>
                <a:gd name="T21" fmla="*/ 1478 h 1843"/>
                <a:gd name="T22" fmla="*/ 149 w 813"/>
                <a:gd name="T23" fmla="*/ 1478 h 1843"/>
                <a:gd name="T24" fmla="*/ 127 w 813"/>
                <a:gd name="T25" fmla="*/ 1500 h 1843"/>
                <a:gd name="T26" fmla="*/ 127 w 813"/>
                <a:gd name="T27" fmla="*/ 1821 h 1843"/>
                <a:gd name="T28" fmla="*/ 149 w 813"/>
                <a:gd name="T29" fmla="*/ 1843 h 1843"/>
                <a:gd name="T30" fmla="*/ 791 w 813"/>
                <a:gd name="T31" fmla="*/ 1843 h 1843"/>
                <a:gd name="T32" fmla="*/ 813 w 813"/>
                <a:gd name="T33" fmla="*/ 1821 h 1843"/>
                <a:gd name="T34" fmla="*/ 813 w 813"/>
                <a:gd name="T35" fmla="*/ 1500 h 1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3" h="1843">
                  <a:moveTo>
                    <a:pt x="472" y="236"/>
                  </a:moveTo>
                  <a:cubicBezTo>
                    <a:pt x="472" y="302"/>
                    <a:pt x="445" y="362"/>
                    <a:pt x="401" y="405"/>
                  </a:cubicBezTo>
                  <a:cubicBezTo>
                    <a:pt x="401" y="334"/>
                    <a:pt x="401" y="334"/>
                    <a:pt x="401" y="334"/>
                  </a:cubicBezTo>
                  <a:cubicBezTo>
                    <a:pt x="401" y="244"/>
                    <a:pt x="327" y="170"/>
                    <a:pt x="237" y="170"/>
                  </a:cubicBezTo>
                  <a:cubicBezTo>
                    <a:pt x="146" y="170"/>
                    <a:pt x="73" y="244"/>
                    <a:pt x="73" y="334"/>
                  </a:cubicBezTo>
                  <a:cubicBezTo>
                    <a:pt x="73" y="407"/>
                    <a:pt x="73" y="407"/>
                    <a:pt x="73" y="407"/>
                  </a:cubicBezTo>
                  <a:cubicBezTo>
                    <a:pt x="28" y="364"/>
                    <a:pt x="0" y="303"/>
                    <a:pt x="0" y="236"/>
                  </a:cubicBezTo>
                  <a:cubicBezTo>
                    <a:pt x="0" y="106"/>
                    <a:pt x="106" y="0"/>
                    <a:pt x="236" y="0"/>
                  </a:cubicBezTo>
                  <a:cubicBezTo>
                    <a:pt x="366" y="0"/>
                    <a:pt x="472" y="106"/>
                    <a:pt x="472" y="236"/>
                  </a:cubicBezTo>
                  <a:close/>
                  <a:moveTo>
                    <a:pt x="813" y="1500"/>
                  </a:moveTo>
                  <a:cubicBezTo>
                    <a:pt x="813" y="1488"/>
                    <a:pt x="803" y="1478"/>
                    <a:pt x="791" y="1478"/>
                  </a:cubicBezTo>
                  <a:cubicBezTo>
                    <a:pt x="149" y="1478"/>
                    <a:pt x="149" y="1478"/>
                    <a:pt x="149" y="1478"/>
                  </a:cubicBezTo>
                  <a:cubicBezTo>
                    <a:pt x="136" y="1478"/>
                    <a:pt x="127" y="1488"/>
                    <a:pt x="127" y="1500"/>
                  </a:cubicBezTo>
                  <a:cubicBezTo>
                    <a:pt x="127" y="1821"/>
                    <a:pt x="127" y="1821"/>
                    <a:pt x="127" y="1821"/>
                  </a:cubicBezTo>
                  <a:cubicBezTo>
                    <a:pt x="127" y="1833"/>
                    <a:pt x="136" y="1843"/>
                    <a:pt x="149" y="1843"/>
                  </a:cubicBezTo>
                  <a:cubicBezTo>
                    <a:pt x="791" y="1843"/>
                    <a:pt x="791" y="1843"/>
                    <a:pt x="791" y="1843"/>
                  </a:cubicBezTo>
                  <a:cubicBezTo>
                    <a:pt x="803" y="1843"/>
                    <a:pt x="813" y="1833"/>
                    <a:pt x="813" y="1821"/>
                  </a:cubicBezTo>
                  <a:lnTo>
                    <a:pt x="813" y="15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9" name="Freeform 30">
            <a:extLst>
              <a:ext uri="{FF2B5EF4-FFF2-40B4-BE49-F238E27FC236}">
                <a16:creationId xmlns:a16="http://schemas.microsoft.com/office/drawing/2014/main" id="{1C5C84EC-F439-09DE-2FE3-8CCB479E1C47}"/>
              </a:ext>
            </a:extLst>
          </p:cNvPr>
          <p:cNvSpPr>
            <a:spLocks/>
          </p:cNvSpPr>
          <p:nvPr/>
        </p:nvSpPr>
        <p:spPr bwMode="auto">
          <a:xfrm>
            <a:off x="2193101" y="2701511"/>
            <a:ext cx="493687" cy="520721"/>
          </a:xfrm>
          <a:custGeom>
            <a:avLst/>
            <a:gdLst>
              <a:gd name="T0" fmla="*/ 340 w 419"/>
              <a:gd name="T1" fmla="*/ 23 h 463"/>
              <a:gd name="T2" fmla="*/ 331 w 419"/>
              <a:gd name="T3" fmla="*/ 47 h 463"/>
              <a:gd name="T4" fmla="*/ 338 w 419"/>
              <a:gd name="T5" fmla="*/ 54 h 463"/>
              <a:gd name="T6" fmla="*/ 359 w 419"/>
              <a:gd name="T7" fmla="*/ 61 h 463"/>
              <a:gd name="T8" fmla="*/ 359 w 419"/>
              <a:gd name="T9" fmla="*/ 75 h 463"/>
              <a:gd name="T10" fmla="*/ 373 w 419"/>
              <a:gd name="T11" fmla="*/ 91 h 463"/>
              <a:gd name="T12" fmla="*/ 370 w 419"/>
              <a:gd name="T13" fmla="*/ 102 h 463"/>
              <a:gd name="T14" fmla="*/ 352 w 419"/>
              <a:gd name="T15" fmla="*/ 119 h 463"/>
              <a:gd name="T16" fmla="*/ 352 w 419"/>
              <a:gd name="T17" fmla="*/ 135 h 463"/>
              <a:gd name="T18" fmla="*/ 342 w 419"/>
              <a:gd name="T19" fmla="*/ 156 h 463"/>
              <a:gd name="T20" fmla="*/ 345 w 419"/>
              <a:gd name="T21" fmla="*/ 189 h 463"/>
              <a:gd name="T22" fmla="*/ 354 w 419"/>
              <a:gd name="T23" fmla="*/ 207 h 463"/>
              <a:gd name="T24" fmla="*/ 359 w 419"/>
              <a:gd name="T25" fmla="*/ 226 h 463"/>
              <a:gd name="T26" fmla="*/ 363 w 419"/>
              <a:gd name="T27" fmla="*/ 240 h 463"/>
              <a:gd name="T28" fmla="*/ 373 w 419"/>
              <a:gd name="T29" fmla="*/ 249 h 463"/>
              <a:gd name="T30" fmla="*/ 389 w 419"/>
              <a:gd name="T31" fmla="*/ 263 h 463"/>
              <a:gd name="T32" fmla="*/ 340 w 419"/>
              <a:gd name="T33" fmla="*/ 352 h 463"/>
              <a:gd name="T34" fmla="*/ 326 w 419"/>
              <a:gd name="T35" fmla="*/ 368 h 463"/>
              <a:gd name="T36" fmla="*/ 319 w 419"/>
              <a:gd name="T37" fmla="*/ 389 h 463"/>
              <a:gd name="T38" fmla="*/ 319 w 419"/>
              <a:gd name="T39" fmla="*/ 410 h 463"/>
              <a:gd name="T40" fmla="*/ 305 w 419"/>
              <a:gd name="T41" fmla="*/ 421 h 463"/>
              <a:gd name="T42" fmla="*/ 289 w 419"/>
              <a:gd name="T43" fmla="*/ 419 h 463"/>
              <a:gd name="T44" fmla="*/ 272 w 419"/>
              <a:gd name="T45" fmla="*/ 403 h 463"/>
              <a:gd name="T46" fmla="*/ 256 w 419"/>
              <a:gd name="T47" fmla="*/ 405 h 463"/>
              <a:gd name="T48" fmla="*/ 235 w 419"/>
              <a:gd name="T49" fmla="*/ 419 h 463"/>
              <a:gd name="T50" fmla="*/ 233 w 419"/>
              <a:gd name="T51" fmla="*/ 442 h 463"/>
              <a:gd name="T52" fmla="*/ 224 w 419"/>
              <a:gd name="T53" fmla="*/ 461 h 463"/>
              <a:gd name="T54" fmla="*/ 205 w 419"/>
              <a:gd name="T55" fmla="*/ 449 h 463"/>
              <a:gd name="T56" fmla="*/ 184 w 419"/>
              <a:gd name="T57" fmla="*/ 433 h 463"/>
              <a:gd name="T58" fmla="*/ 172 w 419"/>
              <a:gd name="T59" fmla="*/ 414 h 463"/>
              <a:gd name="T60" fmla="*/ 179 w 419"/>
              <a:gd name="T61" fmla="*/ 400 h 463"/>
              <a:gd name="T62" fmla="*/ 170 w 419"/>
              <a:gd name="T63" fmla="*/ 379 h 463"/>
              <a:gd name="T64" fmla="*/ 168 w 419"/>
              <a:gd name="T65" fmla="*/ 361 h 463"/>
              <a:gd name="T66" fmla="*/ 168 w 419"/>
              <a:gd name="T67" fmla="*/ 335 h 463"/>
              <a:gd name="T68" fmla="*/ 172 w 419"/>
              <a:gd name="T69" fmla="*/ 312 h 463"/>
              <a:gd name="T70" fmla="*/ 161 w 419"/>
              <a:gd name="T71" fmla="*/ 272 h 463"/>
              <a:gd name="T72" fmla="*/ 147 w 419"/>
              <a:gd name="T73" fmla="*/ 258 h 463"/>
              <a:gd name="T74" fmla="*/ 154 w 419"/>
              <a:gd name="T75" fmla="*/ 237 h 463"/>
              <a:gd name="T76" fmla="*/ 133 w 419"/>
              <a:gd name="T77" fmla="*/ 228 h 463"/>
              <a:gd name="T78" fmla="*/ 121 w 419"/>
              <a:gd name="T79" fmla="*/ 219 h 463"/>
              <a:gd name="T80" fmla="*/ 105 w 419"/>
              <a:gd name="T81" fmla="*/ 207 h 463"/>
              <a:gd name="T82" fmla="*/ 65 w 419"/>
              <a:gd name="T83" fmla="*/ 200 h 463"/>
              <a:gd name="T84" fmla="*/ 61 w 419"/>
              <a:gd name="T85" fmla="*/ 182 h 463"/>
              <a:gd name="T86" fmla="*/ 44 w 419"/>
              <a:gd name="T87" fmla="*/ 142 h 463"/>
              <a:gd name="T88" fmla="*/ 35 w 419"/>
              <a:gd name="T89" fmla="*/ 114 h 463"/>
              <a:gd name="T90" fmla="*/ 9 w 419"/>
              <a:gd name="T91" fmla="*/ 88 h 463"/>
              <a:gd name="T92" fmla="*/ 5 w 419"/>
              <a:gd name="T93" fmla="*/ 75 h 463"/>
              <a:gd name="T94" fmla="*/ 47 w 419"/>
              <a:gd name="T95" fmla="*/ 84 h 463"/>
              <a:gd name="T96" fmla="*/ 65 w 419"/>
              <a:gd name="T97" fmla="*/ 98 h 463"/>
              <a:gd name="T98" fmla="*/ 91 w 419"/>
              <a:gd name="T99" fmla="*/ 100 h 463"/>
              <a:gd name="T100" fmla="*/ 112 w 419"/>
              <a:gd name="T101" fmla="*/ 100 h 463"/>
              <a:gd name="T102" fmla="*/ 137 w 419"/>
              <a:gd name="T103" fmla="*/ 121 h 463"/>
              <a:gd name="T104" fmla="*/ 147 w 419"/>
              <a:gd name="T105" fmla="*/ 102 h 463"/>
              <a:gd name="T106" fmla="*/ 149 w 419"/>
              <a:gd name="T107" fmla="*/ 88 h 463"/>
              <a:gd name="T108" fmla="*/ 165 w 419"/>
              <a:gd name="T109" fmla="*/ 79 h 463"/>
              <a:gd name="T110" fmla="*/ 203 w 419"/>
              <a:gd name="T111" fmla="*/ 79 h 463"/>
              <a:gd name="T112" fmla="*/ 224 w 419"/>
              <a:gd name="T113" fmla="*/ 72 h 463"/>
              <a:gd name="T114" fmla="*/ 238 w 419"/>
              <a:gd name="T115" fmla="*/ 61 h 463"/>
              <a:gd name="T116" fmla="*/ 254 w 419"/>
              <a:gd name="T117" fmla="*/ 54 h 463"/>
              <a:gd name="T118" fmla="*/ 275 w 419"/>
              <a:gd name="T119" fmla="*/ 44 h 463"/>
              <a:gd name="T120" fmla="*/ 293 w 419"/>
              <a:gd name="T121" fmla="*/ 7 h 463"/>
              <a:gd name="T122" fmla="*/ 307 w 419"/>
              <a:gd name="T123" fmla="*/ 7 h 463"/>
              <a:gd name="T124" fmla="*/ 328 w 419"/>
              <a:gd name="T125" fmla="*/ 2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19" h="463">
                <a:moveTo>
                  <a:pt x="335" y="7"/>
                </a:moveTo>
                <a:lnTo>
                  <a:pt x="335" y="9"/>
                </a:lnTo>
                <a:lnTo>
                  <a:pt x="338" y="9"/>
                </a:lnTo>
                <a:lnTo>
                  <a:pt x="340" y="12"/>
                </a:lnTo>
                <a:lnTo>
                  <a:pt x="342" y="12"/>
                </a:lnTo>
                <a:lnTo>
                  <a:pt x="342" y="14"/>
                </a:lnTo>
                <a:lnTo>
                  <a:pt x="340" y="19"/>
                </a:lnTo>
                <a:lnTo>
                  <a:pt x="340" y="21"/>
                </a:lnTo>
                <a:lnTo>
                  <a:pt x="340" y="23"/>
                </a:lnTo>
                <a:lnTo>
                  <a:pt x="340" y="26"/>
                </a:lnTo>
                <a:lnTo>
                  <a:pt x="340" y="30"/>
                </a:lnTo>
                <a:lnTo>
                  <a:pt x="338" y="33"/>
                </a:lnTo>
                <a:lnTo>
                  <a:pt x="338" y="37"/>
                </a:lnTo>
                <a:lnTo>
                  <a:pt x="338" y="40"/>
                </a:lnTo>
                <a:lnTo>
                  <a:pt x="335" y="44"/>
                </a:lnTo>
                <a:lnTo>
                  <a:pt x="335" y="47"/>
                </a:lnTo>
                <a:lnTo>
                  <a:pt x="333" y="47"/>
                </a:lnTo>
                <a:lnTo>
                  <a:pt x="331" y="47"/>
                </a:lnTo>
                <a:lnTo>
                  <a:pt x="328" y="49"/>
                </a:lnTo>
                <a:lnTo>
                  <a:pt x="328" y="51"/>
                </a:lnTo>
                <a:lnTo>
                  <a:pt x="331" y="51"/>
                </a:lnTo>
                <a:lnTo>
                  <a:pt x="331" y="54"/>
                </a:lnTo>
                <a:lnTo>
                  <a:pt x="333" y="54"/>
                </a:lnTo>
                <a:lnTo>
                  <a:pt x="333" y="51"/>
                </a:lnTo>
                <a:lnTo>
                  <a:pt x="335" y="51"/>
                </a:lnTo>
                <a:lnTo>
                  <a:pt x="335" y="54"/>
                </a:lnTo>
                <a:lnTo>
                  <a:pt x="338" y="54"/>
                </a:lnTo>
                <a:lnTo>
                  <a:pt x="340" y="54"/>
                </a:lnTo>
                <a:lnTo>
                  <a:pt x="342" y="54"/>
                </a:lnTo>
                <a:lnTo>
                  <a:pt x="345" y="54"/>
                </a:lnTo>
                <a:lnTo>
                  <a:pt x="347" y="56"/>
                </a:lnTo>
                <a:lnTo>
                  <a:pt x="349" y="56"/>
                </a:lnTo>
                <a:lnTo>
                  <a:pt x="352" y="56"/>
                </a:lnTo>
                <a:lnTo>
                  <a:pt x="354" y="56"/>
                </a:lnTo>
                <a:lnTo>
                  <a:pt x="356" y="58"/>
                </a:lnTo>
                <a:lnTo>
                  <a:pt x="359" y="61"/>
                </a:lnTo>
                <a:lnTo>
                  <a:pt x="361" y="61"/>
                </a:lnTo>
                <a:lnTo>
                  <a:pt x="361" y="63"/>
                </a:lnTo>
                <a:lnTo>
                  <a:pt x="363" y="63"/>
                </a:lnTo>
                <a:lnTo>
                  <a:pt x="363" y="65"/>
                </a:lnTo>
                <a:lnTo>
                  <a:pt x="361" y="68"/>
                </a:lnTo>
                <a:lnTo>
                  <a:pt x="359" y="70"/>
                </a:lnTo>
                <a:lnTo>
                  <a:pt x="361" y="70"/>
                </a:lnTo>
                <a:lnTo>
                  <a:pt x="359" y="72"/>
                </a:lnTo>
                <a:lnTo>
                  <a:pt x="359" y="75"/>
                </a:lnTo>
                <a:lnTo>
                  <a:pt x="361" y="77"/>
                </a:lnTo>
                <a:lnTo>
                  <a:pt x="366" y="79"/>
                </a:lnTo>
                <a:lnTo>
                  <a:pt x="366" y="81"/>
                </a:lnTo>
                <a:lnTo>
                  <a:pt x="366" y="84"/>
                </a:lnTo>
                <a:lnTo>
                  <a:pt x="368" y="86"/>
                </a:lnTo>
                <a:lnTo>
                  <a:pt x="368" y="88"/>
                </a:lnTo>
                <a:lnTo>
                  <a:pt x="370" y="88"/>
                </a:lnTo>
                <a:lnTo>
                  <a:pt x="370" y="91"/>
                </a:lnTo>
                <a:lnTo>
                  <a:pt x="373" y="91"/>
                </a:lnTo>
                <a:lnTo>
                  <a:pt x="373" y="93"/>
                </a:lnTo>
                <a:lnTo>
                  <a:pt x="375" y="93"/>
                </a:lnTo>
                <a:lnTo>
                  <a:pt x="373" y="93"/>
                </a:lnTo>
                <a:lnTo>
                  <a:pt x="373" y="95"/>
                </a:lnTo>
                <a:lnTo>
                  <a:pt x="370" y="95"/>
                </a:lnTo>
                <a:lnTo>
                  <a:pt x="370" y="98"/>
                </a:lnTo>
                <a:lnTo>
                  <a:pt x="368" y="100"/>
                </a:lnTo>
                <a:lnTo>
                  <a:pt x="370" y="100"/>
                </a:lnTo>
                <a:lnTo>
                  <a:pt x="370" y="102"/>
                </a:lnTo>
                <a:lnTo>
                  <a:pt x="368" y="105"/>
                </a:lnTo>
                <a:lnTo>
                  <a:pt x="366" y="105"/>
                </a:lnTo>
                <a:lnTo>
                  <a:pt x="363" y="107"/>
                </a:lnTo>
                <a:lnTo>
                  <a:pt x="363" y="109"/>
                </a:lnTo>
                <a:lnTo>
                  <a:pt x="363" y="112"/>
                </a:lnTo>
                <a:lnTo>
                  <a:pt x="361" y="112"/>
                </a:lnTo>
                <a:lnTo>
                  <a:pt x="359" y="114"/>
                </a:lnTo>
                <a:lnTo>
                  <a:pt x="352" y="116"/>
                </a:lnTo>
                <a:lnTo>
                  <a:pt x="352" y="119"/>
                </a:lnTo>
                <a:lnTo>
                  <a:pt x="352" y="121"/>
                </a:lnTo>
                <a:lnTo>
                  <a:pt x="354" y="123"/>
                </a:lnTo>
                <a:lnTo>
                  <a:pt x="354" y="126"/>
                </a:lnTo>
                <a:lnTo>
                  <a:pt x="352" y="128"/>
                </a:lnTo>
                <a:lnTo>
                  <a:pt x="352" y="130"/>
                </a:lnTo>
                <a:lnTo>
                  <a:pt x="354" y="128"/>
                </a:lnTo>
                <a:lnTo>
                  <a:pt x="354" y="133"/>
                </a:lnTo>
                <a:lnTo>
                  <a:pt x="354" y="135"/>
                </a:lnTo>
                <a:lnTo>
                  <a:pt x="352" y="135"/>
                </a:lnTo>
                <a:lnTo>
                  <a:pt x="352" y="137"/>
                </a:lnTo>
                <a:lnTo>
                  <a:pt x="349" y="140"/>
                </a:lnTo>
                <a:lnTo>
                  <a:pt x="347" y="144"/>
                </a:lnTo>
                <a:lnTo>
                  <a:pt x="347" y="147"/>
                </a:lnTo>
                <a:lnTo>
                  <a:pt x="347" y="149"/>
                </a:lnTo>
                <a:lnTo>
                  <a:pt x="347" y="151"/>
                </a:lnTo>
                <a:lnTo>
                  <a:pt x="345" y="151"/>
                </a:lnTo>
                <a:lnTo>
                  <a:pt x="345" y="154"/>
                </a:lnTo>
                <a:lnTo>
                  <a:pt x="342" y="156"/>
                </a:lnTo>
                <a:lnTo>
                  <a:pt x="342" y="158"/>
                </a:lnTo>
                <a:lnTo>
                  <a:pt x="342" y="161"/>
                </a:lnTo>
                <a:lnTo>
                  <a:pt x="342" y="163"/>
                </a:lnTo>
                <a:lnTo>
                  <a:pt x="342" y="170"/>
                </a:lnTo>
                <a:lnTo>
                  <a:pt x="340" y="179"/>
                </a:lnTo>
                <a:lnTo>
                  <a:pt x="342" y="182"/>
                </a:lnTo>
                <a:lnTo>
                  <a:pt x="342" y="186"/>
                </a:lnTo>
                <a:lnTo>
                  <a:pt x="342" y="189"/>
                </a:lnTo>
                <a:lnTo>
                  <a:pt x="345" y="189"/>
                </a:lnTo>
                <a:lnTo>
                  <a:pt x="345" y="191"/>
                </a:lnTo>
                <a:lnTo>
                  <a:pt x="345" y="193"/>
                </a:lnTo>
                <a:lnTo>
                  <a:pt x="347" y="196"/>
                </a:lnTo>
                <a:lnTo>
                  <a:pt x="347" y="198"/>
                </a:lnTo>
                <a:lnTo>
                  <a:pt x="347" y="200"/>
                </a:lnTo>
                <a:lnTo>
                  <a:pt x="347" y="203"/>
                </a:lnTo>
                <a:lnTo>
                  <a:pt x="349" y="205"/>
                </a:lnTo>
                <a:lnTo>
                  <a:pt x="352" y="205"/>
                </a:lnTo>
                <a:lnTo>
                  <a:pt x="354" y="207"/>
                </a:lnTo>
                <a:lnTo>
                  <a:pt x="356" y="207"/>
                </a:lnTo>
                <a:lnTo>
                  <a:pt x="356" y="210"/>
                </a:lnTo>
                <a:lnTo>
                  <a:pt x="359" y="210"/>
                </a:lnTo>
                <a:lnTo>
                  <a:pt x="359" y="212"/>
                </a:lnTo>
                <a:lnTo>
                  <a:pt x="359" y="214"/>
                </a:lnTo>
                <a:lnTo>
                  <a:pt x="359" y="219"/>
                </a:lnTo>
                <a:lnTo>
                  <a:pt x="359" y="221"/>
                </a:lnTo>
                <a:lnTo>
                  <a:pt x="359" y="224"/>
                </a:lnTo>
                <a:lnTo>
                  <a:pt x="359" y="226"/>
                </a:lnTo>
                <a:lnTo>
                  <a:pt x="359" y="228"/>
                </a:lnTo>
                <a:lnTo>
                  <a:pt x="359" y="230"/>
                </a:lnTo>
                <a:lnTo>
                  <a:pt x="359" y="233"/>
                </a:lnTo>
                <a:lnTo>
                  <a:pt x="356" y="235"/>
                </a:lnTo>
                <a:lnTo>
                  <a:pt x="356" y="237"/>
                </a:lnTo>
                <a:lnTo>
                  <a:pt x="359" y="237"/>
                </a:lnTo>
                <a:lnTo>
                  <a:pt x="359" y="240"/>
                </a:lnTo>
                <a:lnTo>
                  <a:pt x="361" y="237"/>
                </a:lnTo>
                <a:lnTo>
                  <a:pt x="363" y="240"/>
                </a:lnTo>
                <a:lnTo>
                  <a:pt x="366" y="240"/>
                </a:lnTo>
                <a:lnTo>
                  <a:pt x="363" y="242"/>
                </a:lnTo>
                <a:lnTo>
                  <a:pt x="363" y="244"/>
                </a:lnTo>
                <a:lnTo>
                  <a:pt x="366" y="247"/>
                </a:lnTo>
                <a:lnTo>
                  <a:pt x="368" y="249"/>
                </a:lnTo>
                <a:lnTo>
                  <a:pt x="368" y="247"/>
                </a:lnTo>
                <a:lnTo>
                  <a:pt x="370" y="247"/>
                </a:lnTo>
                <a:lnTo>
                  <a:pt x="373" y="247"/>
                </a:lnTo>
                <a:lnTo>
                  <a:pt x="373" y="249"/>
                </a:lnTo>
                <a:lnTo>
                  <a:pt x="375" y="251"/>
                </a:lnTo>
                <a:lnTo>
                  <a:pt x="377" y="254"/>
                </a:lnTo>
                <a:lnTo>
                  <a:pt x="379" y="256"/>
                </a:lnTo>
                <a:lnTo>
                  <a:pt x="382" y="258"/>
                </a:lnTo>
                <a:lnTo>
                  <a:pt x="382" y="261"/>
                </a:lnTo>
                <a:lnTo>
                  <a:pt x="384" y="261"/>
                </a:lnTo>
                <a:lnTo>
                  <a:pt x="386" y="261"/>
                </a:lnTo>
                <a:lnTo>
                  <a:pt x="386" y="263"/>
                </a:lnTo>
                <a:lnTo>
                  <a:pt x="389" y="263"/>
                </a:lnTo>
                <a:lnTo>
                  <a:pt x="389" y="265"/>
                </a:lnTo>
                <a:lnTo>
                  <a:pt x="391" y="270"/>
                </a:lnTo>
                <a:lnTo>
                  <a:pt x="393" y="272"/>
                </a:lnTo>
                <a:lnTo>
                  <a:pt x="398" y="272"/>
                </a:lnTo>
                <a:lnTo>
                  <a:pt x="410" y="275"/>
                </a:lnTo>
                <a:lnTo>
                  <a:pt x="412" y="277"/>
                </a:lnTo>
                <a:lnTo>
                  <a:pt x="419" y="352"/>
                </a:lnTo>
                <a:lnTo>
                  <a:pt x="356" y="349"/>
                </a:lnTo>
                <a:lnTo>
                  <a:pt x="340" y="352"/>
                </a:lnTo>
                <a:lnTo>
                  <a:pt x="338" y="352"/>
                </a:lnTo>
                <a:lnTo>
                  <a:pt x="338" y="354"/>
                </a:lnTo>
                <a:lnTo>
                  <a:pt x="335" y="354"/>
                </a:lnTo>
                <a:lnTo>
                  <a:pt x="335" y="356"/>
                </a:lnTo>
                <a:lnTo>
                  <a:pt x="333" y="356"/>
                </a:lnTo>
                <a:lnTo>
                  <a:pt x="331" y="359"/>
                </a:lnTo>
                <a:lnTo>
                  <a:pt x="331" y="361"/>
                </a:lnTo>
                <a:lnTo>
                  <a:pt x="328" y="366"/>
                </a:lnTo>
                <a:lnTo>
                  <a:pt x="326" y="368"/>
                </a:lnTo>
                <a:lnTo>
                  <a:pt x="326" y="370"/>
                </a:lnTo>
                <a:lnTo>
                  <a:pt x="324" y="372"/>
                </a:lnTo>
                <a:lnTo>
                  <a:pt x="324" y="375"/>
                </a:lnTo>
                <a:lnTo>
                  <a:pt x="324" y="377"/>
                </a:lnTo>
                <a:lnTo>
                  <a:pt x="321" y="379"/>
                </a:lnTo>
                <a:lnTo>
                  <a:pt x="319" y="379"/>
                </a:lnTo>
                <a:lnTo>
                  <a:pt x="319" y="382"/>
                </a:lnTo>
                <a:lnTo>
                  <a:pt x="319" y="386"/>
                </a:lnTo>
                <a:lnTo>
                  <a:pt x="319" y="389"/>
                </a:lnTo>
                <a:lnTo>
                  <a:pt x="317" y="391"/>
                </a:lnTo>
                <a:lnTo>
                  <a:pt x="317" y="393"/>
                </a:lnTo>
                <a:lnTo>
                  <a:pt x="317" y="396"/>
                </a:lnTo>
                <a:lnTo>
                  <a:pt x="314" y="396"/>
                </a:lnTo>
                <a:lnTo>
                  <a:pt x="314" y="398"/>
                </a:lnTo>
                <a:lnTo>
                  <a:pt x="314" y="400"/>
                </a:lnTo>
                <a:lnTo>
                  <a:pt x="314" y="403"/>
                </a:lnTo>
                <a:lnTo>
                  <a:pt x="319" y="407"/>
                </a:lnTo>
                <a:lnTo>
                  <a:pt x="319" y="410"/>
                </a:lnTo>
                <a:lnTo>
                  <a:pt x="319" y="412"/>
                </a:lnTo>
                <a:lnTo>
                  <a:pt x="319" y="414"/>
                </a:lnTo>
                <a:lnTo>
                  <a:pt x="317" y="414"/>
                </a:lnTo>
                <a:lnTo>
                  <a:pt x="314" y="414"/>
                </a:lnTo>
                <a:lnTo>
                  <a:pt x="310" y="417"/>
                </a:lnTo>
                <a:lnTo>
                  <a:pt x="307" y="417"/>
                </a:lnTo>
                <a:lnTo>
                  <a:pt x="307" y="419"/>
                </a:lnTo>
                <a:lnTo>
                  <a:pt x="307" y="421"/>
                </a:lnTo>
                <a:lnTo>
                  <a:pt x="305" y="421"/>
                </a:lnTo>
                <a:lnTo>
                  <a:pt x="305" y="424"/>
                </a:lnTo>
                <a:lnTo>
                  <a:pt x="303" y="421"/>
                </a:lnTo>
                <a:lnTo>
                  <a:pt x="300" y="424"/>
                </a:lnTo>
                <a:lnTo>
                  <a:pt x="298" y="424"/>
                </a:lnTo>
                <a:lnTo>
                  <a:pt x="296" y="424"/>
                </a:lnTo>
                <a:lnTo>
                  <a:pt x="291" y="424"/>
                </a:lnTo>
                <a:lnTo>
                  <a:pt x="289" y="424"/>
                </a:lnTo>
                <a:lnTo>
                  <a:pt x="289" y="421"/>
                </a:lnTo>
                <a:lnTo>
                  <a:pt x="289" y="419"/>
                </a:lnTo>
                <a:lnTo>
                  <a:pt x="289" y="417"/>
                </a:lnTo>
                <a:lnTo>
                  <a:pt x="286" y="414"/>
                </a:lnTo>
                <a:lnTo>
                  <a:pt x="284" y="412"/>
                </a:lnTo>
                <a:lnTo>
                  <a:pt x="282" y="410"/>
                </a:lnTo>
                <a:lnTo>
                  <a:pt x="279" y="407"/>
                </a:lnTo>
                <a:lnTo>
                  <a:pt x="277" y="405"/>
                </a:lnTo>
                <a:lnTo>
                  <a:pt x="277" y="403"/>
                </a:lnTo>
                <a:lnTo>
                  <a:pt x="275" y="403"/>
                </a:lnTo>
                <a:lnTo>
                  <a:pt x="272" y="403"/>
                </a:lnTo>
                <a:lnTo>
                  <a:pt x="268" y="403"/>
                </a:lnTo>
                <a:lnTo>
                  <a:pt x="268" y="400"/>
                </a:lnTo>
                <a:lnTo>
                  <a:pt x="265" y="400"/>
                </a:lnTo>
                <a:lnTo>
                  <a:pt x="263" y="400"/>
                </a:lnTo>
                <a:lnTo>
                  <a:pt x="261" y="400"/>
                </a:lnTo>
                <a:lnTo>
                  <a:pt x="258" y="400"/>
                </a:lnTo>
                <a:lnTo>
                  <a:pt x="256" y="400"/>
                </a:lnTo>
                <a:lnTo>
                  <a:pt x="256" y="403"/>
                </a:lnTo>
                <a:lnTo>
                  <a:pt x="256" y="405"/>
                </a:lnTo>
                <a:lnTo>
                  <a:pt x="254" y="405"/>
                </a:lnTo>
                <a:lnTo>
                  <a:pt x="249" y="407"/>
                </a:lnTo>
                <a:lnTo>
                  <a:pt x="247" y="407"/>
                </a:lnTo>
                <a:lnTo>
                  <a:pt x="242" y="410"/>
                </a:lnTo>
                <a:lnTo>
                  <a:pt x="240" y="410"/>
                </a:lnTo>
                <a:lnTo>
                  <a:pt x="240" y="412"/>
                </a:lnTo>
                <a:lnTo>
                  <a:pt x="238" y="414"/>
                </a:lnTo>
                <a:lnTo>
                  <a:pt x="235" y="417"/>
                </a:lnTo>
                <a:lnTo>
                  <a:pt x="235" y="419"/>
                </a:lnTo>
                <a:lnTo>
                  <a:pt x="235" y="424"/>
                </a:lnTo>
                <a:lnTo>
                  <a:pt x="233" y="426"/>
                </a:lnTo>
                <a:lnTo>
                  <a:pt x="233" y="428"/>
                </a:lnTo>
                <a:lnTo>
                  <a:pt x="233" y="431"/>
                </a:lnTo>
                <a:lnTo>
                  <a:pt x="235" y="435"/>
                </a:lnTo>
                <a:lnTo>
                  <a:pt x="235" y="438"/>
                </a:lnTo>
                <a:lnTo>
                  <a:pt x="233" y="438"/>
                </a:lnTo>
                <a:lnTo>
                  <a:pt x="233" y="440"/>
                </a:lnTo>
                <a:lnTo>
                  <a:pt x="233" y="442"/>
                </a:lnTo>
                <a:lnTo>
                  <a:pt x="233" y="445"/>
                </a:lnTo>
                <a:lnTo>
                  <a:pt x="233" y="449"/>
                </a:lnTo>
                <a:lnTo>
                  <a:pt x="231" y="454"/>
                </a:lnTo>
                <a:lnTo>
                  <a:pt x="233" y="461"/>
                </a:lnTo>
                <a:lnTo>
                  <a:pt x="233" y="463"/>
                </a:lnTo>
                <a:lnTo>
                  <a:pt x="231" y="463"/>
                </a:lnTo>
                <a:lnTo>
                  <a:pt x="228" y="461"/>
                </a:lnTo>
                <a:lnTo>
                  <a:pt x="226" y="461"/>
                </a:lnTo>
                <a:lnTo>
                  <a:pt x="224" y="461"/>
                </a:lnTo>
                <a:lnTo>
                  <a:pt x="221" y="459"/>
                </a:lnTo>
                <a:lnTo>
                  <a:pt x="219" y="459"/>
                </a:lnTo>
                <a:lnTo>
                  <a:pt x="217" y="461"/>
                </a:lnTo>
                <a:lnTo>
                  <a:pt x="214" y="461"/>
                </a:lnTo>
                <a:lnTo>
                  <a:pt x="214" y="459"/>
                </a:lnTo>
                <a:lnTo>
                  <a:pt x="210" y="452"/>
                </a:lnTo>
                <a:lnTo>
                  <a:pt x="207" y="452"/>
                </a:lnTo>
                <a:lnTo>
                  <a:pt x="207" y="449"/>
                </a:lnTo>
                <a:lnTo>
                  <a:pt x="205" y="449"/>
                </a:lnTo>
                <a:lnTo>
                  <a:pt x="205" y="447"/>
                </a:lnTo>
                <a:lnTo>
                  <a:pt x="203" y="445"/>
                </a:lnTo>
                <a:lnTo>
                  <a:pt x="200" y="442"/>
                </a:lnTo>
                <a:lnTo>
                  <a:pt x="196" y="440"/>
                </a:lnTo>
                <a:lnTo>
                  <a:pt x="193" y="440"/>
                </a:lnTo>
                <a:lnTo>
                  <a:pt x="191" y="438"/>
                </a:lnTo>
                <a:lnTo>
                  <a:pt x="189" y="433"/>
                </a:lnTo>
                <a:lnTo>
                  <a:pt x="186" y="433"/>
                </a:lnTo>
                <a:lnTo>
                  <a:pt x="184" y="433"/>
                </a:lnTo>
                <a:lnTo>
                  <a:pt x="184" y="431"/>
                </a:lnTo>
                <a:lnTo>
                  <a:pt x="177" y="426"/>
                </a:lnTo>
                <a:lnTo>
                  <a:pt x="177" y="424"/>
                </a:lnTo>
                <a:lnTo>
                  <a:pt x="175" y="424"/>
                </a:lnTo>
                <a:lnTo>
                  <a:pt x="170" y="421"/>
                </a:lnTo>
                <a:lnTo>
                  <a:pt x="170" y="419"/>
                </a:lnTo>
                <a:lnTo>
                  <a:pt x="170" y="417"/>
                </a:lnTo>
                <a:lnTo>
                  <a:pt x="170" y="414"/>
                </a:lnTo>
                <a:lnTo>
                  <a:pt x="172" y="414"/>
                </a:lnTo>
                <a:lnTo>
                  <a:pt x="175" y="414"/>
                </a:lnTo>
                <a:lnTo>
                  <a:pt x="177" y="417"/>
                </a:lnTo>
                <a:lnTo>
                  <a:pt x="179" y="417"/>
                </a:lnTo>
                <a:lnTo>
                  <a:pt x="179" y="414"/>
                </a:lnTo>
                <a:lnTo>
                  <a:pt x="182" y="412"/>
                </a:lnTo>
                <a:lnTo>
                  <a:pt x="184" y="410"/>
                </a:lnTo>
                <a:lnTo>
                  <a:pt x="182" y="403"/>
                </a:lnTo>
                <a:lnTo>
                  <a:pt x="182" y="400"/>
                </a:lnTo>
                <a:lnTo>
                  <a:pt x="179" y="400"/>
                </a:lnTo>
                <a:lnTo>
                  <a:pt x="179" y="398"/>
                </a:lnTo>
                <a:lnTo>
                  <a:pt x="179" y="393"/>
                </a:lnTo>
                <a:lnTo>
                  <a:pt x="179" y="391"/>
                </a:lnTo>
                <a:lnTo>
                  <a:pt x="177" y="389"/>
                </a:lnTo>
                <a:lnTo>
                  <a:pt x="177" y="386"/>
                </a:lnTo>
                <a:lnTo>
                  <a:pt x="175" y="384"/>
                </a:lnTo>
                <a:lnTo>
                  <a:pt x="172" y="384"/>
                </a:lnTo>
                <a:lnTo>
                  <a:pt x="170" y="382"/>
                </a:lnTo>
                <a:lnTo>
                  <a:pt x="170" y="379"/>
                </a:lnTo>
                <a:lnTo>
                  <a:pt x="168" y="375"/>
                </a:lnTo>
                <a:lnTo>
                  <a:pt x="168" y="372"/>
                </a:lnTo>
                <a:lnTo>
                  <a:pt x="165" y="372"/>
                </a:lnTo>
                <a:lnTo>
                  <a:pt x="165" y="370"/>
                </a:lnTo>
                <a:lnTo>
                  <a:pt x="163" y="370"/>
                </a:lnTo>
                <a:lnTo>
                  <a:pt x="163" y="368"/>
                </a:lnTo>
                <a:lnTo>
                  <a:pt x="163" y="366"/>
                </a:lnTo>
                <a:lnTo>
                  <a:pt x="165" y="366"/>
                </a:lnTo>
                <a:lnTo>
                  <a:pt x="168" y="361"/>
                </a:lnTo>
                <a:lnTo>
                  <a:pt x="168" y="359"/>
                </a:lnTo>
                <a:lnTo>
                  <a:pt x="165" y="356"/>
                </a:lnTo>
                <a:lnTo>
                  <a:pt x="165" y="352"/>
                </a:lnTo>
                <a:lnTo>
                  <a:pt x="165" y="349"/>
                </a:lnTo>
                <a:lnTo>
                  <a:pt x="168" y="347"/>
                </a:lnTo>
                <a:lnTo>
                  <a:pt x="168" y="345"/>
                </a:lnTo>
                <a:lnTo>
                  <a:pt x="165" y="340"/>
                </a:lnTo>
                <a:lnTo>
                  <a:pt x="168" y="338"/>
                </a:lnTo>
                <a:lnTo>
                  <a:pt x="168" y="335"/>
                </a:lnTo>
                <a:lnTo>
                  <a:pt x="170" y="335"/>
                </a:lnTo>
                <a:lnTo>
                  <a:pt x="170" y="333"/>
                </a:lnTo>
                <a:lnTo>
                  <a:pt x="170" y="331"/>
                </a:lnTo>
                <a:lnTo>
                  <a:pt x="165" y="321"/>
                </a:lnTo>
                <a:lnTo>
                  <a:pt x="165" y="319"/>
                </a:lnTo>
                <a:lnTo>
                  <a:pt x="165" y="317"/>
                </a:lnTo>
                <a:lnTo>
                  <a:pt x="168" y="317"/>
                </a:lnTo>
                <a:lnTo>
                  <a:pt x="170" y="314"/>
                </a:lnTo>
                <a:lnTo>
                  <a:pt x="172" y="312"/>
                </a:lnTo>
                <a:lnTo>
                  <a:pt x="170" y="310"/>
                </a:lnTo>
                <a:lnTo>
                  <a:pt x="168" y="303"/>
                </a:lnTo>
                <a:lnTo>
                  <a:pt x="168" y="296"/>
                </a:lnTo>
                <a:lnTo>
                  <a:pt x="165" y="293"/>
                </a:lnTo>
                <a:lnTo>
                  <a:pt x="165" y="291"/>
                </a:lnTo>
                <a:lnTo>
                  <a:pt x="163" y="289"/>
                </a:lnTo>
                <a:lnTo>
                  <a:pt x="163" y="286"/>
                </a:lnTo>
                <a:lnTo>
                  <a:pt x="161" y="275"/>
                </a:lnTo>
                <a:lnTo>
                  <a:pt x="161" y="272"/>
                </a:lnTo>
                <a:lnTo>
                  <a:pt x="158" y="270"/>
                </a:lnTo>
                <a:lnTo>
                  <a:pt x="158" y="268"/>
                </a:lnTo>
                <a:lnTo>
                  <a:pt x="156" y="268"/>
                </a:lnTo>
                <a:lnTo>
                  <a:pt x="154" y="268"/>
                </a:lnTo>
                <a:lnTo>
                  <a:pt x="154" y="265"/>
                </a:lnTo>
                <a:lnTo>
                  <a:pt x="151" y="265"/>
                </a:lnTo>
                <a:lnTo>
                  <a:pt x="151" y="263"/>
                </a:lnTo>
                <a:lnTo>
                  <a:pt x="149" y="261"/>
                </a:lnTo>
                <a:lnTo>
                  <a:pt x="147" y="258"/>
                </a:lnTo>
                <a:lnTo>
                  <a:pt x="147" y="256"/>
                </a:lnTo>
                <a:lnTo>
                  <a:pt x="149" y="254"/>
                </a:lnTo>
                <a:lnTo>
                  <a:pt x="149" y="251"/>
                </a:lnTo>
                <a:lnTo>
                  <a:pt x="151" y="249"/>
                </a:lnTo>
                <a:lnTo>
                  <a:pt x="151" y="247"/>
                </a:lnTo>
                <a:lnTo>
                  <a:pt x="151" y="244"/>
                </a:lnTo>
                <a:lnTo>
                  <a:pt x="151" y="242"/>
                </a:lnTo>
                <a:lnTo>
                  <a:pt x="151" y="240"/>
                </a:lnTo>
                <a:lnTo>
                  <a:pt x="154" y="237"/>
                </a:lnTo>
                <a:lnTo>
                  <a:pt x="154" y="235"/>
                </a:lnTo>
                <a:lnTo>
                  <a:pt x="151" y="233"/>
                </a:lnTo>
                <a:lnTo>
                  <a:pt x="149" y="233"/>
                </a:lnTo>
                <a:lnTo>
                  <a:pt x="144" y="230"/>
                </a:lnTo>
                <a:lnTo>
                  <a:pt x="142" y="228"/>
                </a:lnTo>
                <a:lnTo>
                  <a:pt x="140" y="228"/>
                </a:lnTo>
                <a:lnTo>
                  <a:pt x="137" y="228"/>
                </a:lnTo>
                <a:lnTo>
                  <a:pt x="135" y="228"/>
                </a:lnTo>
                <a:lnTo>
                  <a:pt x="133" y="228"/>
                </a:lnTo>
                <a:lnTo>
                  <a:pt x="133" y="230"/>
                </a:lnTo>
                <a:lnTo>
                  <a:pt x="133" y="228"/>
                </a:lnTo>
                <a:lnTo>
                  <a:pt x="130" y="228"/>
                </a:lnTo>
                <a:lnTo>
                  <a:pt x="128" y="228"/>
                </a:lnTo>
                <a:lnTo>
                  <a:pt x="128" y="226"/>
                </a:lnTo>
                <a:lnTo>
                  <a:pt x="123" y="224"/>
                </a:lnTo>
                <a:lnTo>
                  <a:pt x="123" y="221"/>
                </a:lnTo>
                <a:lnTo>
                  <a:pt x="123" y="219"/>
                </a:lnTo>
                <a:lnTo>
                  <a:pt x="121" y="219"/>
                </a:lnTo>
                <a:lnTo>
                  <a:pt x="119" y="219"/>
                </a:lnTo>
                <a:lnTo>
                  <a:pt x="116" y="219"/>
                </a:lnTo>
                <a:lnTo>
                  <a:pt x="114" y="221"/>
                </a:lnTo>
                <a:lnTo>
                  <a:pt x="112" y="221"/>
                </a:lnTo>
                <a:lnTo>
                  <a:pt x="110" y="219"/>
                </a:lnTo>
                <a:lnTo>
                  <a:pt x="105" y="217"/>
                </a:lnTo>
                <a:lnTo>
                  <a:pt x="105" y="214"/>
                </a:lnTo>
                <a:lnTo>
                  <a:pt x="105" y="212"/>
                </a:lnTo>
                <a:lnTo>
                  <a:pt x="105" y="207"/>
                </a:lnTo>
                <a:lnTo>
                  <a:pt x="105" y="205"/>
                </a:lnTo>
                <a:lnTo>
                  <a:pt x="107" y="203"/>
                </a:lnTo>
                <a:lnTo>
                  <a:pt x="105" y="203"/>
                </a:lnTo>
                <a:lnTo>
                  <a:pt x="96" y="203"/>
                </a:lnTo>
                <a:lnTo>
                  <a:pt x="91" y="203"/>
                </a:lnTo>
                <a:lnTo>
                  <a:pt x="82" y="203"/>
                </a:lnTo>
                <a:lnTo>
                  <a:pt x="77" y="203"/>
                </a:lnTo>
                <a:lnTo>
                  <a:pt x="72" y="203"/>
                </a:lnTo>
                <a:lnTo>
                  <a:pt x="65" y="200"/>
                </a:lnTo>
                <a:lnTo>
                  <a:pt x="61" y="200"/>
                </a:lnTo>
                <a:lnTo>
                  <a:pt x="58" y="200"/>
                </a:lnTo>
                <a:lnTo>
                  <a:pt x="58" y="198"/>
                </a:lnTo>
                <a:lnTo>
                  <a:pt x="58" y="196"/>
                </a:lnTo>
                <a:lnTo>
                  <a:pt x="61" y="191"/>
                </a:lnTo>
                <a:lnTo>
                  <a:pt x="61" y="189"/>
                </a:lnTo>
                <a:lnTo>
                  <a:pt x="61" y="186"/>
                </a:lnTo>
                <a:lnTo>
                  <a:pt x="61" y="184"/>
                </a:lnTo>
                <a:lnTo>
                  <a:pt x="61" y="182"/>
                </a:lnTo>
                <a:lnTo>
                  <a:pt x="58" y="177"/>
                </a:lnTo>
                <a:lnTo>
                  <a:pt x="54" y="168"/>
                </a:lnTo>
                <a:lnTo>
                  <a:pt x="51" y="163"/>
                </a:lnTo>
                <a:lnTo>
                  <a:pt x="49" y="161"/>
                </a:lnTo>
                <a:lnTo>
                  <a:pt x="47" y="158"/>
                </a:lnTo>
                <a:lnTo>
                  <a:pt x="44" y="154"/>
                </a:lnTo>
                <a:lnTo>
                  <a:pt x="44" y="151"/>
                </a:lnTo>
                <a:lnTo>
                  <a:pt x="44" y="147"/>
                </a:lnTo>
                <a:lnTo>
                  <a:pt x="44" y="142"/>
                </a:lnTo>
                <a:lnTo>
                  <a:pt x="42" y="135"/>
                </a:lnTo>
                <a:lnTo>
                  <a:pt x="42" y="133"/>
                </a:lnTo>
                <a:lnTo>
                  <a:pt x="44" y="130"/>
                </a:lnTo>
                <a:lnTo>
                  <a:pt x="44" y="128"/>
                </a:lnTo>
                <a:lnTo>
                  <a:pt x="47" y="126"/>
                </a:lnTo>
                <a:lnTo>
                  <a:pt x="47" y="123"/>
                </a:lnTo>
                <a:lnTo>
                  <a:pt x="44" y="121"/>
                </a:lnTo>
                <a:lnTo>
                  <a:pt x="40" y="119"/>
                </a:lnTo>
                <a:lnTo>
                  <a:pt x="35" y="114"/>
                </a:lnTo>
                <a:lnTo>
                  <a:pt x="35" y="112"/>
                </a:lnTo>
                <a:lnTo>
                  <a:pt x="30" y="112"/>
                </a:lnTo>
                <a:lnTo>
                  <a:pt x="28" y="109"/>
                </a:lnTo>
                <a:lnTo>
                  <a:pt x="21" y="105"/>
                </a:lnTo>
                <a:lnTo>
                  <a:pt x="19" y="100"/>
                </a:lnTo>
                <a:lnTo>
                  <a:pt x="16" y="98"/>
                </a:lnTo>
                <a:lnTo>
                  <a:pt x="14" y="95"/>
                </a:lnTo>
                <a:lnTo>
                  <a:pt x="12" y="95"/>
                </a:lnTo>
                <a:lnTo>
                  <a:pt x="9" y="88"/>
                </a:lnTo>
                <a:lnTo>
                  <a:pt x="7" y="86"/>
                </a:lnTo>
                <a:lnTo>
                  <a:pt x="7" y="84"/>
                </a:lnTo>
                <a:lnTo>
                  <a:pt x="5" y="84"/>
                </a:lnTo>
                <a:lnTo>
                  <a:pt x="2" y="81"/>
                </a:lnTo>
                <a:lnTo>
                  <a:pt x="0" y="79"/>
                </a:lnTo>
                <a:lnTo>
                  <a:pt x="0" y="77"/>
                </a:lnTo>
                <a:lnTo>
                  <a:pt x="0" y="75"/>
                </a:lnTo>
                <a:lnTo>
                  <a:pt x="2" y="75"/>
                </a:lnTo>
                <a:lnTo>
                  <a:pt x="5" y="75"/>
                </a:lnTo>
                <a:lnTo>
                  <a:pt x="9" y="77"/>
                </a:lnTo>
                <a:lnTo>
                  <a:pt x="12" y="79"/>
                </a:lnTo>
                <a:lnTo>
                  <a:pt x="14" y="81"/>
                </a:lnTo>
                <a:lnTo>
                  <a:pt x="14" y="84"/>
                </a:lnTo>
                <a:lnTo>
                  <a:pt x="14" y="86"/>
                </a:lnTo>
                <a:lnTo>
                  <a:pt x="16" y="86"/>
                </a:lnTo>
                <a:lnTo>
                  <a:pt x="33" y="84"/>
                </a:lnTo>
                <a:lnTo>
                  <a:pt x="42" y="84"/>
                </a:lnTo>
                <a:lnTo>
                  <a:pt x="47" y="84"/>
                </a:lnTo>
                <a:lnTo>
                  <a:pt x="49" y="86"/>
                </a:lnTo>
                <a:lnTo>
                  <a:pt x="51" y="88"/>
                </a:lnTo>
                <a:lnTo>
                  <a:pt x="51" y="91"/>
                </a:lnTo>
                <a:lnTo>
                  <a:pt x="54" y="95"/>
                </a:lnTo>
                <a:lnTo>
                  <a:pt x="54" y="100"/>
                </a:lnTo>
                <a:lnTo>
                  <a:pt x="56" y="102"/>
                </a:lnTo>
                <a:lnTo>
                  <a:pt x="58" y="102"/>
                </a:lnTo>
                <a:lnTo>
                  <a:pt x="61" y="100"/>
                </a:lnTo>
                <a:lnTo>
                  <a:pt x="65" y="98"/>
                </a:lnTo>
                <a:lnTo>
                  <a:pt x="68" y="95"/>
                </a:lnTo>
                <a:lnTo>
                  <a:pt x="70" y="95"/>
                </a:lnTo>
                <a:lnTo>
                  <a:pt x="72" y="98"/>
                </a:lnTo>
                <a:lnTo>
                  <a:pt x="75" y="98"/>
                </a:lnTo>
                <a:lnTo>
                  <a:pt x="77" y="98"/>
                </a:lnTo>
                <a:lnTo>
                  <a:pt x="79" y="95"/>
                </a:lnTo>
                <a:lnTo>
                  <a:pt x="82" y="95"/>
                </a:lnTo>
                <a:lnTo>
                  <a:pt x="86" y="98"/>
                </a:lnTo>
                <a:lnTo>
                  <a:pt x="91" y="100"/>
                </a:lnTo>
                <a:lnTo>
                  <a:pt x="93" y="102"/>
                </a:lnTo>
                <a:lnTo>
                  <a:pt x="96" y="102"/>
                </a:lnTo>
                <a:lnTo>
                  <a:pt x="98" y="98"/>
                </a:lnTo>
                <a:lnTo>
                  <a:pt x="98" y="95"/>
                </a:lnTo>
                <a:lnTo>
                  <a:pt x="100" y="93"/>
                </a:lnTo>
                <a:lnTo>
                  <a:pt x="103" y="93"/>
                </a:lnTo>
                <a:lnTo>
                  <a:pt x="105" y="95"/>
                </a:lnTo>
                <a:lnTo>
                  <a:pt x="110" y="98"/>
                </a:lnTo>
                <a:lnTo>
                  <a:pt x="112" y="100"/>
                </a:lnTo>
                <a:lnTo>
                  <a:pt x="116" y="105"/>
                </a:lnTo>
                <a:lnTo>
                  <a:pt x="121" y="107"/>
                </a:lnTo>
                <a:lnTo>
                  <a:pt x="128" y="116"/>
                </a:lnTo>
                <a:lnTo>
                  <a:pt x="128" y="119"/>
                </a:lnTo>
                <a:lnTo>
                  <a:pt x="130" y="119"/>
                </a:lnTo>
                <a:lnTo>
                  <a:pt x="130" y="121"/>
                </a:lnTo>
                <a:lnTo>
                  <a:pt x="133" y="121"/>
                </a:lnTo>
                <a:lnTo>
                  <a:pt x="135" y="121"/>
                </a:lnTo>
                <a:lnTo>
                  <a:pt x="137" y="121"/>
                </a:lnTo>
                <a:lnTo>
                  <a:pt x="140" y="121"/>
                </a:lnTo>
                <a:lnTo>
                  <a:pt x="142" y="119"/>
                </a:lnTo>
                <a:lnTo>
                  <a:pt x="144" y="119"/>
                </a:lnTo>
                <a:lnTo>
                  <a:pt x="147" y="116"/>
                </a:lnTo>
                <a:lnTo>
                  <a:pt x="147" y="114"/>
                </a:lnTo>
                <a:lnTo>
                  <a:pt x="147" y="112"/>
                </a:lnTo>
                <a:lnTo>
                  <a:pt x="147" y="109"/>
                </a:lnTo>
                <a:lnTo>
                  <a:pt x="147" y="107"/>
                </a:lnTo>
                <a:lnTo>
                  <a:pt x="147" y="102"/>
                </a:lnTo>
                <a:lnTo>
                  <a:pt x="144" y="102"/>
                </a:lnTo>
                <a:lnTo>
                  <a:pt x="144" y="100"/>
                </a:lnTo>
                <a:lnTo>
                  <a:pt x="144" y="98"/>
                </a:lnTo>
                <a:lnTo>
                  <a:pt x="144" y="95"/>
                </a:lnTo>
                <a:lnTo>
                  <a:pt x="147" y="93"/>
                </a:lnTo>
                <a:lnTo>
                  <a:pt x="144" y="91"/>
                </a:lnTo>
                <a:lnTo>
                  <a:pt x="144" y="88"/>
                </a:lnTo>
                <a:lnTo>
                  <a:pt x="147" y="88"/>
                </a:lnTo>
                <a:lnTo>
                  <a:pt x="149" y="88"/>
                </a:lnTo>
                <a:lnTo>
                  <a:pt x="151" y="88"/>
                </a:lnTo>
                <a:lnTo>
                  <a:pt x="158" y="88"/>
                </a:lnTo>
                <a:lnTo>
                  <a:pt x="161" y="88"/>
                </a:lnTo>
                <a:lnTo>
                  <a:pt x="161" y="86"/>
                </a:lnTo>
                <a:lnTo>
                  <a:pt x="161" y="84"/>
                </a:lnTo>
                <a:lnTo>
                  <a:pt x="161" y="81"/>
                </a:lnTo>
                <a:lnTo>
                  <a:pt x="163" y="81"/>
                </a:lnTo>
                <a:lnTo>
                  <a:pt x="165" y="81"/>
                </a:lnTo>
                <a:lnTo>
                  <a:pt x="165" y="79"/>
                </a:lnTo>
                <a:lnTo>
                  <a:pt x="168" y="79"/>
                </a:lnTo>
                <a:lnTo>
                  <a:pt x="170" y="77"/>
                </a:lnTo>
                <a:lnTo>
                  <a:pt x="172" y="79"/>
                </a:lnTo>
                <a:lnTo>
                  <a:pt x="186" y="84"/>
                </a:lnTo>
                <a:lnTo>
                  <a:pt x="189" y="84"/>
                </a:lnTo>
                <a:lnTo>
                  <a:pt x="191" y="84"/>
                </a:lnTo>
                <a:lnTo>
                  <a:pt x="198" y="79"/>
                </a:lnTo>
                <a:lnTo>
                  <a:pt x="200" y="79"/>
                </a:lnTo>
                <a:lnTo>
                  <a:pt x="203" y="79"/>
                </a:lnTo>
                <a:lnTo>
                  <a:pt x="205" y="79"/>
                </a:lnTo>
                <a:lnTo>
                  <a:pt x="207" y="79"/>
                </a:lnTo>
                <a:lnTo>
                  <a:pt x="210" y="79"/>
                </a:lnTo>
                <a:lnTo>
                  <a:pt x="212" y="77"/>
                </a:lnTo>
                <a:lnTo>
                  <a:pt x="214" y="75"/>
                </a:lnTo>
                <a:lnTo>
                  <a:pt x="217" y="72"/>
                </a:lnTo>
                <a:lnTo>
                  <a:pt x="219" y="72"/>
                </a:lnTo>
                <a:lnTo>
                  <a:pt x="221" y="72"/>
                </a:lnTo>
                <a:lnTo>
                  <a:pt x="224" y="72"/>
                </a:lnTo>
                <a:lnTo>
                  <a:pt x="226" y="72"/>
                </a:lnTo>
                <a:lnTo>
                  <a:pt x="228" y="72"/>
                </a:lnTo>
                <a:lnTo>
                  <a:pt x="231" y="72"/>
                </a:lnTo>
                <a:lnTo>
                  <a:pt x="233" y="72"/>
                </a:lnTo>
                <a:lnTo>
                  <a:pt x="233" y="70"/>
                </a:lnTo>
                <a:lnTo>
                  <a:pt x="233" y="68"/>
                </a:lnTo>
                <a:lnTo>
                  <a:pt x="233" y="63"/>
                </a:lnTo>
                <a:lnTo>
                  <a:pt x="235" y="61"/>
                </a:lnTo>
                <a:lnTo>
                  <a:pt x="238" y="61"/>
                </a:lnTo>
                <a:lnTo>
                  <a:pt x="240" y="61"/>
                </a:lnTo>
                <a:lnTo>
                  <a:pt x="242" y="61"/>
                </a:lnTo>
                <a:lnTo>
                  <a:pt x="244" y="61"/>
                </a:lnTo>
                <a:lnTo>
                  <a:pt x="247" y="61"/>
                </a:lnTo>
                <a:lnTo>
                  <a:pt x="249" y="58"/>
                </a:lnTo>
                <a:lnTo>
                  <a:pt x="249" y="56"/>
                </a:lnTo>
                <a:lnTo>
                  <a:pt x="247" y="54"/>
                </a:lnTo>
                <a:lnTo>
                  <a:pt x="249" y="54"/>
                </a:lnTo>
                <a:lnTo>
                  <a:pt x="254" y="54"/>
                </a:lnTo>
                <a:lnTo>
                  <a:pt x="256" y="54"/>
                </a:lnTo>
                <a:lnTo>
                  <a:pt x="258" y="56"/>
                </a:lnTo>
                <a:lnTo>
                  <a:pt x="258" y="54"/>
                </a:lnTo>
                <a:lnTo>
                  <a:pt x="263" y="54"/>
                </a:lnTo>
                <a:lnTo>
                  <a:pt x="270" y="54"/>
                </a:lnTo>
                <a:lnTo>
                  <a:pt x="272" y="51"/>
                </a:lnTo>
                <a:lnTo>
                  <a:pt x="275" y="49"/>
                </a:lnTo>
                <a:lnTo>
                  <a:pt x="275" y="47"/>
                </a:lnTo>
                <a:lnTo>
                  <a:pt x="275" y="44"/>
                </a:lnTo>
                <a:lnTo>
                  <a:pt x="277" y="40"/>
                </a:lnTo>
                <a:lnTo>
                  <a:pt x="279" y="40"/>
                </a:lnTo>
                <a:lnTo>
                  <a:pt x="286" y="35"/>
                </a:lnTo>
                <a:lnTo>
                  <a:pt x="289" y="33"/>
                </a:lnTo>
                <a:lnTo>
                  <a:pt x="293" y="30"/>
                </a:lnTo>
                <a:lnTo>
                  <a:pt x="298" y="26"/>
                </a:lnTo>
                <a:lnTo>
                  <a:pt x="298" y="21"/>
                </a:lnTo>
                <a:lnTo>
                  <a:pt x="298" y="19"/>
                </a:lnTo>
                <a:lnTo>
                  <a:pt x="293" y="7"/>
                </a:lnTo>
                <a:lnTo>
                  <a:pt x="291" y="5"/>
                </a:lnTo>
                <a:lnTo>
                  <a:pt x="289" y="5"/>
                </a:lnTo>
                <a:lnTo>
                  <a:pt x="291" y="2"/>
                </a:lnTo>
                <a:lnTo>
                  <a:pt x="293" y="2"/>
                </a:lnTo>
                <a:lnTo>
                  <a:pt x="298" y="5"/>
                </a:lnTo>
                <a:lnTo>
                  <a:pt x="300" y="5"/>
                </a:lnTo>
                <a:lnTo>
                  <a:pt x="305" y="5"/>
                </a:lnTo>
                <a:lnTo>
                  <a:pt x="307" y="5"/>
                </a:lnTo>
                <a:lnTo>
                  <a:pt x="307" y="7"/>
                </a:lnTo>
                <a:lnTo>
                  <a:pt x="310" y="7"/>
                </a:lnTo>
                <a:lnTo>
                  <a:pt x="310" y="5"/>
                </a:lnTo>
                <a:lnTo>
                  <a:pt x="312" y="5"/>
                </a:lnTo>
                <a:lnTo>
                  <a:pt x="317" y="5"/>
                </a:lnTo>
                <a:lnTo>
                  <a:pt x="319" y="5"/>
                </a:lnTo>
                <a:lnTo>
                  <a:pt x="321" y="0"/>
                </a:lnTo>
                <a:lnTo>
                  <a:pt x="324" y="0"/>
                </a:lnTo>
                <a:lnTo>
                  <a:pt x="326" y="0"/>
                </a:lnTo>
                <a:lnTo>
                  <a:pt x="328" y="2"/>
                </a:lnTo>
                <a:lnTo>
                  <a:pt x="331" y="0"/>
                </a:lnTo>
                <a:lnTo>
                  <a:pt x="333" y="2"/>
                </a:lnTo>
                <a:lnTo>
                  <a:pt x="335" y="7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80" name="Freeform 31">
            <a:extLst>
              <a:ext uri="{FF2B5EF4-FFF2-40B4-BE49-F238E27FC236}">
                <a16:creationId xmlns:a16="http://schemas.microsoft.com/office/drawing/2014/main" id="{3FA6DECC-F82E-12C9-795B-B69B83F328EA}"/>
              </a:ext>
            </a:extLst>
          </p:cNvPr>
          <p:cNvSpPr>
            <a:spLocks noEditPoints="1"/>
          </p:cNvSpPr>
          <p:nvPr/>
        </p:nvSpPr>
        <p:spPr bwMode="auto">
          <a:xfrm>
            <a:off x="3021410" y="2788109"/>
            <a:ext cx="400605" cy="434122"/>
          </a:xfrm>
          <a:custGeom>
            <a:avLst/>
            <a:gdLst>
              <a:gd name="T0" fmla="*/ 319 w 340"/>
              <a:gd name="T1" fmla="*/ 261 h 386"/>
              <a:gd name="T2" fmla="*/ 321 w 340"/>
              <a:gd name="T3" fmla="*/ 249 h 386"/>
              <a:gd name="T4" fmla="*/ 328 w 340"/>
              <a:gd name="T5" fmla="*/ 242 h 386"/>
              <a:gd name="T6" fmla="*/ 307 w 340"/>
              <a:gd name="T7" fmla="*/ 167 h 386"/>
              <a:gd name="T8" fmla="*/ 303 w 340"/>
              <a:gd name="T9" fmla="*/ 184 h 386"/>
              <a:gd name="T10" fmla="*/ 305 w 340"/>
              <a:gd name="T11" fmla="*/ 167 h 386"/>
              <a:gd name="T12" fmla="*/ 300 w 340"/>
              <a:gd name="T13" fmla="*/ 165 h 386"/>
              <a:gd name="T14" fmla="*/ 258 w 340"/>
              <a:gd name="T15" fmla="*/ 56 h 386"/>
              <a:gd name="T16" fmla="*/ 263 w 340"/>
              <a:gd name="T17" fmla="*/ 70 h 386"/>
              <a:gd name="T18" fmla="*/ 270 w 340"/>
              <a:gd name="T19" fmla="*/ 105 h 386"/>
              <a:gd name="T20" fmla="*/ 277 w 340"/>
              <a:gd name="T21" fmla="*/ 121 h 386"/>
              <a:gd name="T22" fmla="*/ 282 w 340"/>
              <a:gd name="T23" fmla="*/ 137 h 386"/>
              <a:gd name="T24" fmla="*/ 286 w 340"/>
              <a:gd name="T25" fmla="*/ 158 h 386"/>
              <a:gd name="T26" fmla="*/ 279 w 340"/>
              <a:gd name="T27" fmla="*/ 167 h 386"/>
              <a:gd name="T28" fmla="*/ 296 w 340"/>
              <a:gd name="T29" fmla="*/ 177 h 386"/>
              <a:gd name="T30" fmla="*/ 310 w 340"/>
              <a:gd name="T31" fmla="*/ 186 h 386"/>
              <a:gd name="T32" fmla="*/ 337 w 340"/>
              <a:gd name="T33" fmla="*/ 198 h 386"/>
              <a:gd name="T34" fmla="*/ 337 w 340"/>
              <a:gd name="T35" fmla="*/ 223 h 386"/>
              <a:gd name="T36" fmla="*/ 319 w 340"/>
              <a:gd name="T37" fmla="*/ 230 h 386"/>
              <a:gd name="T38" fmla="*/ 337 w 340"/>
              <a:gd name="T39" fmla="*/ 233 h 386"/>
              <a:gd name="T40" fmla="*/ 321 w 340"/>
              <a:gd name="T41" fmla="*/ 244 h 386"/>
              <a:gd name="T42" fmla="*/ 296 w 340"/>
              <a:gd name="T43" fmla="*/ 268 h 386"/>
              <a:gd name="T44" fmla="*/ 254 w 340"/>
              <a:gd name="T45" fmla="*/ 305 h 386"/>
              <a:gd name="T46" fmla="*/ 235 w 340"/>
              <a:gd name="T47" fmla="*/ 314 h 386"/>
              <a:gd name="T48" fmla="*/ 223 w 340"/>
              <a:gd name="T49" fmla="*/ 337 h 386"/>
              <a:gd name="T50" fmla="*/ 214 w 340"/>
              <a:gd name="T51" fmla="*/ 347 h 386"/>
              <a:gd name="T52" fmla="*/ 200 w 340"/>
              <a:gd name="T53" fmla="*/ 377 h 386"/>
              <a:gd name="T54" fmla="*/ 182 w 340"/>
              <a:gd name="T55" fmla="*/ 384 h 386"/>
              <a:gd name="T56" fmla="*/ 158 w 340"/>
              <a:gd name="T57" fmla="*/ 377 h 386"/>
              <a:gd name="T58" fmla="*/ 154 w 340"/>
              <a:gd name="T59" fmla="*/ 361 h 386"/>
              <a:gd name="T60" fmla="*/ 144 w 340"/>
              <a:gd name="T61" fmla="*/ 344 h 386"/>
              <a:gd name="T62" fmla="*/ 133 w 340"/>
              <a:gd name="T63" fmla="*/ 314 h 386"/>
              <a:gd name="T64" fmla="*/ 119 w 340"/>
              <a:gd name="T65" fmla="*/ 293 h 386"/>
              <a:gd name="T66" fmla="*/ 109 w 340"/>
              <a:gd name="T67" fmla="*/ 263 h 386"/>
              <a:gd name="T68" fmla="*/ 100 w 340"/>
              <a:gd name="T69" fmla="*/ 244 h 386"/>
              <a:gd name="T70" fmla="*/ 91 w 340"/>
              <a:gd name="T71" fmla="*/ 221 h 386"/>
              <a:gd name="T72" fmla="*/ 84 w 340"/>
              <a:gd name="T73" fmla="*/ 212 h 386"/>
              <a:gd name="T74" fmla="*/ 77 w 340"/>
              <a:gd name="T75" fmla="*/ 202 h 386"/>
              <a:gd name="T76" fmla="*/ 65 w 340"/>
              <a:gd name="T77" fmla="*/ 202 h 386"/>
              <a:gd name="T78" fmla="*/ 51 w 340"/>
              <a:gd name="T79" fmla="*/ 195 h 386"/>
              <a:gd name="T80" fmla="*/ 40 w 340"/>
              <a:gd name="T81" fmla="*/ 184 h 386"/>
              <a:gd name="T82" fmla="*/ 26 w 340"/>
              <a:gd name="T83" fmla="*/ 177 h 386"/>
              <a:gd name="T84" fmla="*/ 5 w 340"/>
              <a:gd name="T85" fmla="*/ 174 h 386"/>
              <a:gd name="T86" fmla="*/ 2 w 340"/>
              <a:gd name="T87" fmla="*/ 149 h 386"/>
              <a:gd name="T88" fmla="*/ 2 w 340"/>
              <a:gd name="T89" fmla="*/ 126 h 386"/>
              <a:gd name="T90" fmla="*/ 14 w 340"/>
              <a:gd name="T91" fmla="*/ 137 h 386"/>
              <a:gd name="T92" fmla="*/ 33 w 340"/>
              <a:gd name="T93" fmla="*/ 149 h 386"/>
              <a:gd name="T94" fmla="*/ 54 w 340"/>
              <a:gd name="T95" fmla="*/ 147 h 386"/>
              <a:gd name="T96" fmla="*/ 70 w 340"/>
              <a:gd name="T97" fmla="*/ 140 h 386"/>
              <a:gd name="T98" fmla="*/ 88 w 340"/>
              <a:gd name="T99" fmla="*/ 144 h 386"/>
              <a:gd name="T100" fmla="*/ 105 w 340"/>
              <a:gd name="T101" fmla="*/ 142 h 386"/>
              <a:gd name="T102" fmla="*/ 133 w 340"/>
              <a:gd name="T103" fmla="*/ 149 h 386"/>
              <a:gd name="T104" fmla="*/ 156 w 340"/>
              <a:gd name="T105" fmla="*/ 130 h 386"/>
              <a:gd name="T106" fmla="*/ 170 w 340"/>
              <a:gd name="T107" fmla="*/ 102 h 386"/>
              <a:gd name="T108" fmla="*/ 184 w 340"/>
              <a:gd name="T109" fmla="*/ 79 h 386"/>
              <a:gd name="T110" fmla="*/ 205 w 340"/>
              <a:gd name="T111" fmla="*/ 46 h 386"/>
              <a:gd name="T112" fmla="*/ 228 w 340"/>
              <a:gd name="T113" fmla="*/ 25 h 386"/>
              <a:gd name="T114" fmla="*/ 240 w 340"/>
              <a:gd name="T115" fmla="*/ 28 h 386"/>
              <a:gd name="T116" fmla="*/ 258 w 340"/>
              <a:gd name="T117" fmla="*/ 21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40" h="386">
                <a:moveTo>
                  <a:pt x="321" y="251"/>
                </a:moveTo>
                <a:lnTo>
                  <a:pt x="323" y="251"/>
                </a:lnTo>
                <a:lnTo>
                  <a:pt x="326" y="251"/>
                </a:lnTo>
                <a:lnTo>
                  <a:pt x="328" y="251"/>
                </a:lnTo>
                <a:lnTo>
                  <a:pt x="326" y="254"/>
                </a:lnTo>
                <a:lnTo>
                  <a:pt x="326" y="256"/>
                </a:lnTo>
                <a:lnTo>
                  <a:pt x="323" y="256"/>
                </a:lnTo>
                <a:lnTo>
                  <a:pt x="323" y="258"/>
                </a:lnTo>
                <a:lnTo>
                  <a:pt x="321" y="261"/>
                </a:lnTo>
                <a:lnTo>
                  <a:pt x="319" y="261"/>
                </a:lnTo>
                <a:lnTo>
                  <a:pt x="316" y="261"/>
                </a:lnTo>
                <a:lnTo>
                  <a:pt x="314" y="261"/>
                </a:lnTo>
                <a:lnTo>
                  <a:pt x="312" y="261"/>
                </a:lnTo>
                <a:lnTo>
                  <a:pt x="310" y="261"/>
                </a:lnTo>
                <a:lnTo>
                  <a:pt x="307" y="258"/>
                </a:lnTo>
                <a:lnTo>
                  <a:pt x="310" y="256"/>
                </a:lnTo>
                <a:lnTo>
                  <a:pt x="312" y="254"/>
                </a:lnTo>
                <a:lnTo>
                  <a:pt x="316" y="251"/>
                </a:lnTo>
                <a:lnTo>
                  <a:pt x="319" y="251"/>
                </a:lnTo>
                <a:lnTo>
                  <a:pt x="321" y="249"/>
                </a:lnTo>
                <a:lnTo>
                  <a:pt x="321" y="251"/>
                </a:lnTo>
                <a:close/>
                <a:moveTo>
                  <a:pt x="326" y="249"/>
                </a:moveTo>
                <a:lnTo>
                  <a:pt x="323" y="249"/>
                </a:lnTo>
                <a:lnTo>
                  <a:pt x="321" y="249"/>
                </a:lnTo>
                <a:lnTo>
                  <a:pt x="321" y="247"/>
                </a:lnTo>
                <a:lnTo>
                  <a:pt x="323" y="247"/>
                </a:lnTo>
                <a:lnTo>
                  <a:pt x="326" y="247"/>
                </a:lnTo>
                <a:lnTo>
                  <a:pt x="326" y="244"/>
                </a:lnTo>
                <a:lnTo>
                  <a:pt x="328" y="244"/>
                </a:lnTo>
                <a:lnTo>
                  <a:pt x="328" y="242"/>
                </a:lnTo>
                <a:lnTo>
                  <a:pt x="330" y="242"/>
                </a:lnTo>
                <a:lnTo>
                  <a:pt x="333" y="242"/>
                </a:lnTo>
                <a:lnTo>
                  <a:pt x="335" y="240"/>
                </a:lnTo>
                <a:lnTo>
                  <a:pt x="335" y="242"/>
                </a:lnTo>
                <a:lnTo>
                  <a:pt x="333" y="244"/>
                </a:lnTo>
                <a:lnTo>
                  <a:pt x="330" y="247"/>
                </a:lnTo>
                <a:lnTo>
                  <a:pt x="328" y="249"/>
                </a:lnTo>
                <a:lnTo>
                  <a:pt x="326" y="249"/>
                </a:lnTo>
                <a:close/>
                <a:moveTo>
                  <a:pt x="307" y="165"/>
                </a:moveTo>
                <a:lnTo>
                  <a:pt x="307" y="167"/>
                </a:lnTo>
                <a:lnTo>
                  <a:pt x="310" y="170"/>
                </a:lnTo>
                <a:lnTo>
                  <a:pt x="310" y="172"/>
                </a:lnTo>
                <a:lnTo>
                  <a:pt x="310" y="174"/>
                </a:lnTo>
                <a:lnTo>
                  <a:pt x="312" y="174"/>
                </a:lnTo>
                <a:lnTo>
                  <a:pt x="312" y="177"/>
                </a:lnTo>
                <a:lnTo>
                  <a:pt x="312" y="179"/>
                </a:lnTo>
                <a:lnTo>
                  <a:pt x="310" y="181"/>
                </a:lnTo>
                <a:lnTo>
                  <a:pt x="307" y="184"/>
                </a:lnTo>
                <a:lnTo>
                  <a:pt x="305" y="184"/>
                </a:lnTo>
                <a:lnTo>
                  <a:pt x="303" y="184"/>
                </a:lnTo>
                <a:lnTo>
                  <a:pt x="300" y="181"/>
                </a:lnTo>
                <a:lnTo>
                  <a:pt x="300" y="177"/>
                </a:lnTo>
                <a:lnTo>
                  <a:pt x="298" y="177"/>
                </a:lnTo>
                <a:lnTo>
                  <a:pt x="298" y="174"/>
                </a:lnTo>
                <a:lnTo>
                  <a:pt x="298" y="172"/>
                </a:lnTo>
                <a:lnTo>
                  <a:pt x="298" y="170"/>
                </a:lnTo>
                <a:lnTo>
                  <a:pt x="298" y="167"/>
                </a:lnTo>
                <a:lnTo>
                  <a:pt x="300" y="167"/>
                </a:lnTo>
                <a:lnTo>
                  <a:pt x="303" y="167"/>
                </a:lnTo>
                <a:lnTo>
                  <a:pt x="305" y="167"/>
                </a:lnTo>
                <a:lnTo>
                  <a:pt x="307" y="165"/>
                </a:lnTo>
                <a:close/>
                <a:moveTo>
                  <a:pt x="298" y="160"/>
                </a:moveTo>
                <a:lnTo>
                  <a:pt x="300" y="160"/>
                </a:lnTo>
                <a:lnTo>
                  <a:pt x="303" y="160"/>
                </a:lnTo>
                <a:lnTo>
                  <a:pt x="303" y="163"/>
                </a:lnTo>
                <a:lnTo>
                  <a:pt x="305" y="163"/>
                </a:lnTo>
                <a:lnTo>
                  <a:pt x="305" y="165"/>
                </a:lnTo>
                <a:lnTo>
                  <a:pt x="303" y="165"/>
                </a:lnTo>
                <a:lnTo>
                  <a:pt x="300" y="167"/>
                </a:lnTo>
                <a:lnTo>
                  <a:pt x="300" y="165"/>
                </a:lnTo>
                <a:lnTo>
                  <a:pt x="300" y="167"/>
                </a:lnTo>
                <a:lnTo>
                  <a:pt x="298" y="165"/>
                </a:lnTo>
                <a:lnTo>
                  <a:pt x="298" y="163"/>
                </a:lnTo>
                <a:lnTo>
                  <a:pt x="296" y="163"/>
                </a:lnTo>
                <a:lnTo>
                  <a:pt x="298" y="160"/>
                </a:lnTo>
                <a:close/>
                <a:moveTo>
                  <a:pt x="261" y="30"/>
                </a:moveTo>
                <a:lnTo>
                  <a:pt x="261" y="37"/>
                </a:lnTo>
                <a:lnTo>
                  <a:pt x="258" y="44"/>
                </a:lnTo>
                <a:lnTo>
                  <a:pt x="258" y="53"/>
                </a:lnTo>
                <a:lnTo>
                  <a:pt x="258" y="56"/>
                </a:lnTo>
                <a:lnTo>
                  <a:pt x="258" y="53"/>
                </a:lnTo>
                <a:lnTo>
                  <a:pt x="261" y="51"/>
                </a:lnTo>
                <a:lnTo>
                  <a:pt x="261" y="44"/>
                </a:lnTo>
                <a:lnTo>
                  <a:pt x="263" y="42"/>
                </a:lnTo>
                <a:lnTo>
                  <a:pt x="265" y="39"/>
                </a:lnTo>
                <a:lnTo>
                  <a:pt x="268" y="39"/>
                </a:lnTo>
                <a:lnTo>
                  <a:pt x="265" y="51"/>
                </a:lnTo>
                <a:lnTo>
                  <a:pt x="265" y="60"/>
                </a:lnTo>
                <a:lnTo>
                  <a:pt x="265" y="67"/>
                </a:lnTo>
                <a:lnTo>
                  <a:pt x="263" y="70"/>
                </a:lnTo>
                <a:lnTo>
                  <a:pt x="263" y="74"/>
                </a:lnTo>
                <a:lnTo>
                  <a:pt x="268" y="86"/>
                </a:lnTo>
                <a:lnTo>
                  <a:pt x="268" y="88"/>
                </a:lnTo>
                <a:lnTo>
                  <a:pt x="265" y="91"/>
                </a:lnTo>
                <a:lnTo>
                  <a:pt x="268" y="93"/>
                </a:lnTo>
                <a:lnTo>
                  <a:pt x="268" y="95"/>
                </a:lnTo>
                <a:lnTo>
                  <a:pt x="268" y="98"/>
                </a:lnTo>
                <a:lnTo>
                  <a:pt x="268" y="100"/>
                </a:lnTo>
                <a:lnTo>
                  <a:pt x="268" y="102"/>
                </a:lnTo>
                <a:lnTo>
                  <a:pt x="270" y="105"/>
                </a:lnTo>
                <a:lnTo>
                  <a:pt x="270" y="107"/>
                </a:lnTo>
                <a:lnTo>
                  <a:pt x="270" y="109"/>
                </a:lnTo>
                <a:lnTo>
                  <a:pt x="272" y="109"/>
                </a:lnTo>
                <a:lnTo>
                  <a:pt x="272" y="112"/>
                </a:lnTo>
                <a:lnTo>
                  <a:pt x="272" y="114"/>
                </a:lnTo>
                <a:lnTo>
                  <a:pt x="272" y="116"/>
                </a:lnTo>
                <a:lnTo>
                  <a:pt x="275" y="116"/>
                </a:lnTo>
                <a:lnTo>
                  <a:pt x="275" y="119"/>
                </a:lnTo>
                <a:lnTo>
                  <a:pt x="275" y="121"/>
                </a:lnTo>
                <a:lnTo>
                  <a:pt x="277" y="121"/>
                </a:lnTo>
                <a:lnTo>
                  <a:pt x="277" y="123"/>
                </a:lnTo>
                <a:lnTo>
                  <a:pt x="277" y="126"/>
                </a:lnTo>
                <a:lnTo>
                  <a:pt x="277" y="128"/>
                </a:lnTo>
                <a:lnTo>
                  <a:pt x="279" y="130"/>
                </a:lnTo>
                <a:lnTo>
                  <a:pt x="279" y="135"/>
                </a:lnTo>
                <a:lnTo>
                  <a:pt x="279" y="137"/>
                </a:lnTo>
                <a:lnTo>
                  <a:pt x="277" y="137"/>
                </a:lnTo>
                <a:lnTo>
                  <a:pt x="279" y="140"/>
                </a:lnTo>
                <a:lnTo>
                  <a:pt x="279" y="137"/>
                </a:lnTo>
                <a:lnTo>
                  <a:pt x="282" y="137"/>
                </a:lnTo>
                <a:lnTo>
                  <a:pt x="282" y="140"/>
                </a:lnTo>
                <a:lnTo>
                  <a:pt x="282" y="142"/>
                </a:lnTo>
                <a:lnTo>
                  <a:pt x="282" y="144"/>
                </a:lnTo>
                <a:lnTo>
                  <a:pt x="284" y="144"/>
                </a:lnTo>
                <a:lnTo>
                  <a:pt x="284" y="147"/>
                </a:lnTo>
                <a:lnTo>
                  <a:pt x="284" y="149"/>
                </a:lnTo>
                <a:lnTo>
                  <a:pt x="284" y="151"/>
                </a:lnTo>
                <a:lnTo>
                  <a:pt x="284" y="153"/>
                </a:lnTo>
                <a:lnTo>
                  <a:pt x="284" y="156"/>
                </a:lnTo>
                <a:lnTo>
                  <a:pt x="286" y="158"/>
                </a:lnTo>
                <a:lnTo>
                  <a:pt x="286" y="160"/>
                </a:lnTo>
                <a:lnTo>
                  <a:pt x="286" y="163"/>
                </a:lnTo>
                <a:lnTo>
                  <a:pt x="284" y="163"/>
                </a:lnTo>
                <a:lnTo>
                  <a:pt x="282" y="163"/>
                </a:lnTo>
                <a:lnTo>
                  <a:pt x="279" y="163"/>
                </a:lnTo>
                <a:lnTo>
                  <a:pt x="279" y="160"/>
                </a:lnTo>
                <a:lnTo>
                  <a:pt x="279" y="163"/>
                </a:lnTo>
                <a:lnTo>
                  <a:pt x="282" y="163"/>
                </a:lnTo>
                <a:lnTo>
                  <a:pt x="282" y="165"/>
                </a:lnTo>
                <a:lnTo>
                  <a:pt x="279" y="167"/>
                </a:lnTo>
                <a:lnTo>
                  <a:pt x="279" y="170"/>
                </a:lnTo>
                <a:lnTo>
                  <a:pt x="282" y="170"/>
                </a:lnTo>
                <a:lnTo>
                  <a:pt x="282" y="167"/>
                </a:lnTo>
                <a:lnTo>
                  <a:pt x="284" y="165"/>
                </a:lnTo>
                <a:lnTo>
                  <a:pt x="286" y="163"/>
                </a:lnTo>
                <a:lnTo>
                  <a:pt x="289" y="165"/>
                </a:lnTo>
                <a:lnTo>
                  <a:pt x="291" y="165"/>
                </a:lnTo>
                <a:lnTo>
                  <a:pt x="293" y="167"/>
                </a:lnTo>
                <a:lnTo>
                  <a:pt x="293" y="172"/>
                </a:lnTo>
                <a:lnTo>
                  <a:pt x="296" y="177"/>
                </a:lnTo>
                <a:lnTo>
                  <a:pt x="296" y="179"/>
                </a:lnTo>
                <a:lnTo>
                  <a:pt x="298" y="179"/>
                </a:lnTo>
                <a:lnTo>
                  <a:pt x="298" y="181"/>
                </a:lnTo>
                <a:lnTo>
                  <a:pt x="298" y="184"/>
                </a:lnTo>
                <a:lnTo>
                  <a:pt x="298" y="186"/>
                </a:lnTo>
                <a:lnTo>
                  <a:pt x="300" y="186"/>
                </a:lnTo>
                <a:lnTo>
                  <a:pt x="303" y="188"/>
                </a:lnTo>
                <a:lnTo>
                  <a:pt x="305" y="188"/>
                </a:lnTo>
                <a:lnTo>
                  <a:pt x="307" y="188"/>
                </a:lnTo>
                <a:lnTo>
                  <a:pt x="310" y="186"/>
                </a:lnTo>
                <a:lnTo>
                  <a:pt x="312" y="188"/>
                </a:lnTo>
                <a:lnTo>
                  <a:pt x="314" y="188"/>
                </a:lnTo>
                <a:lnTo>
                  <a:pt x="316" y="188"/>
                </a:lnTo>
                <a:lnTo>
                  <a:pt x="319" y="188"/>
                </a:lnTo>
                <a:lnTo>
                  <a:pt x="321" y="188"/>
                </a:lnTo>
                <a:lnTo>
                  <a:pt x="323" y="188"/>
                </a:lnTo>
                <a:lnTo>
                  <a:pt x="326" y="191"/>
                </a:lnTo>
                <a:lnTo>
                  <a:pt x="333" y="193"/>
                </a:lnTo>
                <a:lnTo>
                  <a:pt x="335" y="195"/>
                </a:lnTo>
                <a:lnTo>
                  <a:pt x="337" y="198"/>
                </a:lnTo>
                <a:lnTo>
                  <a:pt x="337" y="200"/>
                </a:lnTo>
                <a:lnTo>
                  <a:pt x="337" y="202"/>
                </a:lnTo>
                <a:lnTo>
                  <a:pt x="337" y="205"/>
                </a:lnTo>
                <a:lnTo>
                  <a:pt x="337" y="207"/>
                </a:lnTo>
                <a:lnTo>
                  <a:pt x="337" y="209"/>
                </a:lnTo>
                <a:lnTo>
                  <a:pt x="340" y="214"/>
                </a:lnTo>
                <a:lnTo>
                  <a:pt x="340" y="216"/>
                </a:lnTo>
                <a:lnTo>
                  <a:pt x="340" y="219"/>
                </a:lnTo>
                <a:lnTo>
                  <a:pt x="340" y="221"/>
                </a:lnTo>
                <a:lnTo>
                  <a:pt x="337" y="223"/>
                </a:lnTo>
                <a:lnTo>
                  <a:pt x="337" y="226"/>
                </a:lnTo>
                <a:lnTo>
                  <a:pt x="335" y="226"/>
                </a:lnTo>
                <a:lnTo>
                  <a:pt x="335" y="228"/>
                </a:lnTo>
                <a:lnTo>
                  <a:pt x="330" y="228"/>
                </a:lnTo>
                <a:lnTo>
                  <a:pt x="328" y="228"/>
                </a:lnTo>
                <a:lnTo>
                  <a:pt x="326" y="230"/>
                </a:lnTo>
                <a:lnTo>
                  <a:pt x="323" y="230"/>
                </a:lnTo>
                <a:lnTo>
                  <a:pt x="321" y="230"/>
                </a:lnTo>
                <a:lnTo>
                  <a:pt x="319" y="228"/>
                </a:lnTo>
                <a:lnTo>
                  <a:pt x="319" y="230"/>
                </a:lnTo>
                <a:lnTo>
                  <a:pt x="321" y="230"/>
                </a:lnTo>
                <a:lnTo>
                  <a:pt x="321" y="233"/>
                </a:lnTo>
                <a:lnTo>
                  <a:pt x="323" y="230"/>
                </a:lnTo>
                <a:lnTo>
                  <a:pt x="326" y="233"/>
                </a:lnTo>
                <a:lnTo>
                  <a:pt x="328" y="230"/>
                </a:lnTo>
                <a:lnTo>
                  <a:pt x="330" y="230"/>
                </a:lnTo>
                <a:lnTo>
                  <a:pt x="330" y="233"/>
                </a:lnTo>
                <a:lnTo>
                  <a:pt x="333" y="230"/>
                </a:lnTo>
                <a:lnTo>
                  <a:pt x="335" y="230"/>
                </a:lnTo>
                <a:lnTo>
                  <a:pt x="337" y="233"/>
                </a:lnTo>
                <a:lnTo>
                  <a:pt x="337" y="235"/>
                </a:lnTo>
                <a:lnTo>
                  <a:pt x="335" y="237"/>
                </a:lnTo>
                <a:lnTo>
                  <a:pt x="333" y="240"/>
                </a:lnTo>
                <a:lnTo>
                  <a:pt x="330" y="240"/>
                </a:lnTo>
                <a:lnTo>
                  <a:pt x="328" y="240"/>
                </a:lnTo>
                <a:lnTo>
                  <a:pt x="326" y="237"/>
                </a:lnTo>
                <a:lnTo>
                  <a:pt x="326" y="240"/>
                </a:lnTo>
                <a:lnTo>
                  <a:pt x="326" y="242"/>
                </a:lnTo>
                <a:lnTo>
                  <a:pt x="323" y="244"/>
                </a:lnTo>
                <a:lnTo>
                  <a:pt x="321" y="244"/>
                </a:lnTo>
                <a:lnTo>
                  <a:pt x="319" y="249"/>
                </a:lnTo>
                <a:lnTo>
                  <a:pt x="316" y="249"/>
                </a:lnTo>
                <a:lnTo>
                  <a:pt x="312" y="251"/>
                </a:lnTo>
                <a:lnTo>
                  <a:pt x="310" y="254"/>
                </a:lnTo>
                <a:lnTo>
                  <a:pt x="307" y="256"/>
                </a:lnTo>
                <a:lnTo>
                  <a:pt x="303" y="261"/>
                </a:lnTo>
                <a:lnTo>
                  <a:pt x="303" y="263"/>
                </a:lnTo>
                <a:lnTo>
                  <a:pt x="298" y="265"/>
                </a:lnTo>
                <a:lnTo>
                  <a:pt x="296" y="265"/>
                </a:lnTo>
                <a:lnTo>
                  <a:pt x="296" y="268"/>
                </a:lnTo>
                <a:lnTo>
                  <a:pt x="293" y="272"/>
                </a:lnTo>
                <a:lnTo>
                  <a:pt x="286" y="279"/>
                </a:lnTo>
                <a:lnTo>
                  <a:pt x="284" y="284"/>
                </a:lnTo>
                <a:lnTo>
                  <a:pt x="277" y="291"/>
                </a:lnTo>
                <a:lnTo>
                  <a:pt x="270" y="298"/>
                </a:lnTo>
                <a:lnTo>
                  <a:pt x="268" y="298"/>
                </a:lnTo>
                <a:lnTo>
                  <a:pt x="265" y="298"/>
                </a:lnTo>
                <a:lnTo>
                  <a:pt x="261" y="298"/>
                </a:lnTo>
                <a:lnTo>
                  <a:pt x="258" y="300"/>
                </a:lnTo>
                <a:lnTo>
                  <a:pt x="254" y="305"/>
                </a:lnTo>
                <a:lnTo>
                  <a:pt x="251" y="309"/>
                </a:lnTo>
                <a:lnTo>
                  <a:pt x="249" y="309"/>
                </a:lnTo>
                <a:lnTo>
                  <a:pt x="249" y="312"/>
                </a:lnTo>
                <a:lnTo>
                  <a:pt x="244" y="309"/>
                </a:lnTo>
                <a:lnTo>
                  <a:pt x="242" y="312"/>
                </a:lnTo>
                <a:lnTo>
                  <a:pt x="240" y="312"/>
                </a:lnTo>
                <a:lnTo>
                  <a:pt x="237" y="314"/>
                </a:lnTo>
                <a:lnTo>
                  <a:pt x="233" y="312"/>
                </a:lnTo>
                <a:lnTo>
                  <a:pt x="233" y="314"/>
                </a:lnTo>
                <a:lnTo>
                  <a:pt x="235" y="314"/>
                </a:lnTo>
                <a:lnTo>
                  <a:pt x="235" y="316"/>
                </a:lnTo>
                <a:lnTo>
                  <a:pt x="237" y="316"/>
                </a:lnTo>
                <a:lnTo>
                  <a:pt x="233" y="321"/>
                </a:lnTo>
                <a:lnTo>
                  <a:pt x="230" y="326"/>
                </a:lnTo>
                <a:lnTo>
                  <a:pt x="228" y="328"/>
                </a:lnTo>
                <a:lnTo>
                  <a:pt x="228" y="330"/>
                </a:lnTo>
                <a:lnTo>
                  <a:pt x="228" y="333"/>
                </a:lnTo>
                <a:lnTo>
                  <a:pt x="226" y="333"/>
                </a:lnTo>
                <a:lnTo>
                  <a:pt x="223" y="335"/>
                </a:lnTo>
                <a:lnTo>
                  <a:pt x="223" y="337"/>
                </a:lnTo>
                <a:lnTo>
                  <a:pt x="223" y="340"/>
                </a:lnTo>
                <a:lnTo>
                  <a:pt x="221" y="340"/>
                </a:lnTo>
                <a:lnTo>
                  <a:pt x="219" y="342"/>
                </a:lnTo>
                <a:lnTo>
                  <a:pt x="216" y="342"/>
                </a:lnTo>
                <a:lnTo>
                  <a:pt x="214" y="342"/>
                </a:lnTo>
                <a:lnTo>
                  <a:pt x="214" y="344"/>
                </a:lnTo>
                <a:lnTo>
                  <a:pt x="212" y="344"/>
                </a:lnTo>
                <a:lnTo>
                  <a:pt x="214" y="344"/>
                </a:lnTo>
                <a:lnTo>
                  <a:pt x="216" y="344"/>
                </a:lnTo>
                <a:lnTo>
                  <a:pt x="214" y="347"/>
                </a:lnTo>
                <a:lnTo>
                  <a:pt x="209" y="351"/>
                </a:lnTo>
                <a:lnTo>
                  <a:pt x="207" y="354"/>
                </a:lnTo>
                <a:lnTo>
                  <a:pt x="205" y="356"/>
                </a:lnTo>
                <a:lnTo>
                  <a:pt x="205" y="358"/>
                </a:lnTo>
                <a:lnTo>
                  <a:pt x="202" y="358"/>
                </a:lnTo>
                <a:lnTo>
                  <a:pt x="202" y="365"/>
                </a:lnTo>
                <a:lnTo>
                  <a:pt x="202" y="372"/>
                </a:lnTo>
                <a:lnTo>
                  <a:pt x="202" y="375"/>
                </a:lnTo>
                <a:lnTo>
                  <a:pt x="202" y="377"/>
                </a:lnTo>
                <a:lnTo>
                  <a:pt x="200" y="377"/>
                </a:lnTo>
                <a:lnTo>
                  <a:pt x="198" y="379"/>
                </a:lnTo>
                <a:lnTo>
                  <a:pt x="195" y="379"/>
                </a:lnTo>
                <a:lnTo>
                  <a:pt x="195" y="382"/>
                </a:lnTo>
                <a:lnTo>
                  <a:pt x="193" y="382"/>
                </a:lnTo>
                <a:lnTo>
                  <a:pt x="188" y="384"/>
                </a:lnTo>
                <a:lnTo>
                  <a:pt x="186" y="382"/>
                </a:lnTo>
                <a:lnTo>
                  <a:pt x="186" y="384"/>
                </a:lnTo>
                <a:lnTo>
                  <a:pt x="184" y="382"/>
                </a:lnTo>
                <a:lnTo>
                  <a:pt x="184" y="384"/>
                </a:lnTo>
                <a:lnTo>
                  <a:pt x="182" y="384"/>
                </a:lnTo>
                <a:lnTo>
                  <a:pt x="179" y="384"/>
                </a:lnTo>
                <a:lnTo>
                  <a:pt x="179" y="386"/>
                </a:lnTo>
                <a:lnTo>
                  <a:pt x="177" y="386"/>
                </a:lnTo>
                <a:lnTo>
                  <a:pt x="177" y="384"/>
                </a:lnTo>
                <a:lnTo>
                  <a:pt x="175" y="384"/>
                </a:lnTo>
                <a:lnTo>
                  <a:pt x="175" y="382"/>
                </a:lnTo>
                <a:lnTo>
                  <a:pt x="165" y="382"/>
                </a:lnTo>
                <a:lnTo>
                  <a:pt x="163" y="379"/>
                </a:lnTo>
                <a:lnTo>
                  <a:pt x="161" y="377"/>
                </a:lnTo>
                <a:lnTo>
                  <a:pt x="158" y="377"/>
                </a:lnTo>
                <a:lnTo>
                  <a:pt x="158" y="375"/>
                </a:lnTo>
                <a:lnTo>
                  <a:pt x="158" y="372"/>
                </a:lnTo>
                <a:lnTo>
                  <a:pt x="158" y="370"/>
                </a:lnTo>
                <a:lnTo>
                  <a:pt x="156" y="370"/>
                </a:lnTo>
                <a:lnTo>
                  <a:pt x="156" y="368"/>
                </a:lnTo>
                <a:lnTo>
                  <a:pt x="158" y="365"/>
                </a:lnTo>
                <a:lnTo>
                  <a:pt x="158" y="363"/>
                </a:lnTo>
                <a:lnTo>
                  <a:pt x="156" y="363"/>
                </a:lnTo>
                <a:lnTo>
                  <a:pt x="156" y="361"/>
                </a:lnTo>
                <a:lnTo>
                  <a:pt x="154" y="361"/>
                </a:lnTo>
                <a:lnTo>
                  <a:pt x="149" y="363"/>
                </a:lnTo>
                <a:lnTo>
                  <a:pt x="149" y="361"/>
                </a:lnTo>
                <a:lnTo>
                  <a:pt x="149" y="358"/>
                </a:lnTo>
                <a:lnTo>
                  <a:pt x="149" y="356"/>
                </a:lnTo>
                <a:lnTo>
                  <a:pt x="149" y="354"/>
                </a:lnTo>
                <a:lnTo>
                  <a:pt x="149" y="351"/>
                </a:lnTo>
                <a:lnTo>
                  <a:pt x="149" y="349"/>
                </a:lnTo>
                <a:lnTo>
                  <a:pt x="149" y="347"/>
                </a:lnTo>
                <a:lnTo>
                  <a:pt x="147" y="344"/>
                </a:lnTo>
                <a:lnTo>
                  <a:pt x="144" y="344"/>
                </a:lnTo>
                <a:lnTo>
                  <a:pt x="142" y="344"/>
                </a:lnTo>
                <a:lnTo>
                  <a:pt x="142" y="342"/>
                </a:lnTo>
                <a:lnTo>
                  <a:pt x="142" y="340"/>
                </a:lnTo>
                <a:lnTo>
                  <a:pt x="142" y="337"/>
                </a:lnTo>
                <a:lnTo>
                  <a:pt x="142" y="335"/>
                </a:lnTo>
                <a:lnTo>
                  <a:pt x="142" y="328"/>
                </a:lnTo>
                <a:lnTo>
                  <a:pt x="140" y="326"/>
                </a:lnTo>
                <a:lnTo>
                  <a:pt x="137" y="323"/>
                </a:lnTo>
                <a:lnTo>
                  <a:pt x="133" y="316"/>
                </a:lnTo>
                <a:lnTo>
                  <a:pt x="133" y="314"/>
                </a:lnTo>
                <a:lnTo>
                  <a:pt x="130" y="314"/>
                </a:lnTo>
                <a:lnTo>
                  <a:pt x="128" y="314"/>
                </a:lnTo>
                <a:lnTo>
                  <a:pt x="126" y="314"/>
                </a:lnTo>
                <a:lnTo>
                  <a:pt x="123" y="314"/>
                </a:lnTo>
                <a:lnTo>
                  <a:pt x="121" y="302"/>
                </a:lnTo>
                <a:lnTo>
                  <a:pt x="119" y="300"/>
                </a:lnTo>
                <a:lnTo>
                  <a:pt x="119" y="298"/>
                </a:lnTo>
                <a:lnTo>
                  <a:pt x="116" y="298"/>
                </a:lnTo>
                <a:lnTo>
                  <a:pt x="119" y="295"/>
                </a:lnTo>
                <a:lnTo>
                  <a:pt x="119" y="293"/>
                </a:lnTo>
                <a:lnTo>
                  <a:pt x="119" y="291"/>
                </a:lnTo>
                <a:lnTo>
                  <a:pt x="116" y="286"/>
                </a:lnTo>
                <a:lnTo>
                  <a:pt x="116" y="284"/>
                </a:lnTo>
                <a:lnTo>
                  <a:pt x="114" y="282"/>
                </a:lnTo>
                <a:lnTo>
                  <a:pt x="112" y="275"/>
                </a:lnTo>
                <a:lnTo>
                  <a:pt x="112" y="272"/>
                </a:lnTo>
                <a:lnTo>
                  <a:pt x="112" y="270"/>
                </a:lnTo>
                <a:lnTo>
                  <a:pt x="112" y="268"/>
                </a:lnTo>
                <a:lnTo>
                  <a:pt x="109" y="265"/>
                </a:lnTo>
                <a:lnTo>
                  <a:pt x="109" y="263"/>
                </a:lnTo>
                <a:lnTo>
                  <a:pt x="112" y="261"/>
                </a:lnTo>
                <a:lnTo>
                  <a:pt x="112" y="258"/>
                </a:lnTo>
                <a:lnTo>
                  <a:pt x="112" y="254"/>
                </a:lnTo>
                <a:lnTo>
                  <a:pt x="114" y="254"/>
                </a:lnTo>
                <a:lnTo>
                  <a:pt x="114" y="251"/>
                </a:lnTo>
                <a:lnTo>
                  <a:pt x="112" y="251"/>
                </a:lnTo>
                <a:lnTo>
                  <a:pt x="112" y="249"/>
                </a:lnTo>
                <a:lnTo>
                  <a:pt x="105" y="247"/>
                </a:lnTo>
                <a:lnTo>
                  <a:pt x="102" y="247"/>
                </a:lnTo>
                <a:lnTo>
                  <a:pt x="100" y="244"/>
                </a:lnTo>
                <a:lnTo>
                  <a:pt x="98" y="242"/>
                </a:lnTo>
                <a:lnTo>
                  <a:pt x="98" y="240"/>
                </a:lnTo>
                <a:lnTo>
                  <a:pt x="93" y="237"/>
                </a:lnTo>
                <a:lnTo>
                  <a:pt x="93" y="235"/>
                </a:lnTo>
                <a:lnTo>
                  <a:pt x="93" y="233"/>
                </a:lnTo>
                <a:lnTo>
                  <a:pt x="93" y="230"/>
                </a:lnTo>
                <a:lnTo>
                  <a:pt x="91" y="230"/>
                </a:lnTo>
                <a:lnTo>
                  <a:pt x="91" y="228"/>
                </a:lnTo>
                <a:lnTo>
                  <a:pt x="91" y="223"/>
                </a:lnTo>
                <a:lnTo>
                  <a:pt x="91" y="221"/>
                </a:lnTo>
                <a:lnTo>
                  <a:pt x="91" y="219"/>
                </a:lnTo>
                <a:lnTo>
                  <a:pt x="93" y="219"/>
                </a:lnTo>
                <a:lnTo>
                  <a:pt x="93" y="216"/>
                </a:lnTo>
                <a:lnTo>
                  <a:pt x="93" y="214"/>
                </a:lnTo>
                <a:lnTo>
                  <a:pt x="91" y="214"/>
                </a:lnTo>
                <a:lnTo>
                  <a:pt x="91" y="212"/>
                </a:lnTo>
                <a:lnTo>
                  <a:pt x="88" y="214"/>
                </a:lnTo>
                <a:lnTo>
                  <a:pt x="86" y="214"/>
                </a:lnTo>
                <a:lnTo>
                  <a:pt x="84" y="214"/>
                </a:lnTo>
                <a:lnTo>
                  <a:pt x="84" y="212"/>
                </a:lnTo>
                <a:lnTo>
                  <a:pt x="86" y="212"/>
                </a:lnTo>
                <a:lnTo>
                  <a:pt x="84" y="209"/>
                </a:lnTo>
                <a:lnTo>
                  <a:pt x="84" y="207"/>
                </a:lnTo>
                <a:lnTo>
                  <a:pt x="84" y="205"/>
                </a:lnTo>
                <a:lnTo>
                  <a:pt x="81" y="205"/>
                </a:lnTo>
                <a:lnTo>
                  <a:pt x="79" y="205"/>
                </a:lnTo>
                <a:lnTo>
                  <a:pt x="77" y="205"/>
                </a:lnTo>
                <a:lnTo>
                  <a:pt x="77" y="202"/>
                </a:lnTo>
                <a:lnTo>
                  <a:pt x="77" y="200"/>
                </a:lnTo>
                <a:lnTo>
                  <a:pt x="77" y="202"/>
                </a:lnTo>
                <a:lnTo>
                  <a:pt x="74" y="202"/>
                </a:lnTo>
                <a:lnTo>
                  <a:pt x="72" y="202"/>
                </a:lnTo>
                <a:lnTo>
                  <a:pt x="72" y="200"/>
                </a:lnTo>
                <a:lnTo>
                  <a:pt x="74" y="200"/>
                </a:lnTo>
                <a:lnTo>
                  <a:pt x="72" y="200"/>
                </a:lnTo>
                <a:lnTo>
                  <a:pt x="72" y="202"/>
                </a:lnTo>
                <a:lnTo>
                  <a:pt x="70" y="202"/>
                </a:lnTo>
                <a:lnTo>
                  <a:pt x="67" y="202"/>
                </a:lnTo>
                <a:lnTo>
                  <a:pt x="67" y="200"/>
                </a:lnTo>
                <a:lnTo>
                  <a:pt x="65" y="202"/>
                </a:lnTo>
                <a:lnTo>
                  <a:pt x="63" y="202"/>
                </a:lnTo>
                <a:lnTo>
                  <a:pt x="60" y="202"/>
                </a:lnTo>
                <a:lnTo>
                  <a:pt x="60" y="200"/>
                </a:lnTo>
                <a:lnTo>
                  <a:pt x="58" y="200"/>
                </a:lnTo>
                <a:lnTo>
                  <a:pt x="58" y="198"/>
                </a:lnTo>
                <a:lnTo>
                  <a:pt x="58" y="195"/>
                </a:lnTo>
                <a:lnTo>
                  <a:pt x="56" y="195"/>
                </a:lnTo>
                <a:lnTo>
                  <a:pt x="56" y="193"/>
                </a:lnTo>
                <a:lnTo>
                  <a:pt x="54" y="193"/>
                </a:lnTo>
                <a:lnTo>
                  <a:pt x="51" y="195"/>
                </a:lnTo>
                <a:lnTo>
                  <a:pt x="49" y="195"/>
                </a:lnTo>
                <a:lnTo>
                  <a:pt x="49" y="193"/>
                </a:lnTo>
                <a:lnTo>
                  <a:pt x="49" y="191"/>
                </a:lnTo>
                <a:lnTo>
                  <a:pt x="47" y="191"/>
                </a:lnTo>
                <a:lnTo>
                  <a:pt x="47" y="188"/>
                </a:lnTo>
                <a:lnTo>
                  <a:pt x="47" y="186"/>
                </a:lnTo>
                <a:lnTo>
                  <a:pt x="44" y="186"/>
                </a:lnTo>
                <a:lnTo>
                  <a:pt x="44" y="184"/>
                </a:lnTo>
                <a:lnTo>
                  <a:pt x="42" y="184"/>
                </a:lnTo>
                <a:lnTo>
                  <a:pt x="40" y="184"/>
                </a:lnTo>
                <a:lnTo>
                  <a:pt x="40" y="181"/>
                </a:lnTo>
                <a:lnTo>
                  <a:pt x="37" y="181"/>
                </a:lnTo>
                <a:lnTo>
                  <a:pt x="37" y="179"/>
                </a:lnTo>
                <a:lnTo>
                  <a:pt x="35" y="179"/>
                </a:lnTo>
                <a:lnTo>
                  <a:pt x="33" y="179"/>
                </a:lnTo>
                <a:lnTo>
                  <a:pt x="33" y="177"/>
                </a:lnTo>
                <a:lnTo>
                  <a:pt x="30" y="177"/>
                </a:lnTo>
                <a:lnTo>
                  <a:pt x="28" y="177"/>
                </a:lnTo>
                <a:lnTo>
                  <a:pt x="26" y="174"/>
                </a:lnTo>
                <a:lnTo>
                  <a:pt x="26" y="177"/>
                </a:lnTo>
                <a:lnTo>
                  <a:pt x="23" y="177"/>
                </a:lnTo>
                <a:lnTo>
                  <a:pt x="21" y="177"/>
                </a:lnTo>
                <a:lnTo>
                  <a:pt x="19" y="177"/>
                </a:lnTo>
                <a:lnTo>
                  <a:pt x="19" y="174"/>
                </a:lnTo>
                <a:lnTo>
                  <a:pt x="16" y="174"/>
                </a:lnTo>
                <a:lnTo>
                  <a:pt x="14" y="174"/>
                </a:lnTo>
                <a:lnTo>
                  <a:pt x="12" y="174"/>
                </a:lnTo>
                <a:lnTo>
                  <a:pt x="9" y="174"/>
                </a:lnTo>
                <a:lnTo>
                  <a:pt x="7" y="174"/>
                </a:lnTo>
                <a:lnTo>
                  <a:pt x="5" y="174"/>
                </a:lnTo>
                <a:lnTo>
                  <a:pt x="2" y="172"/>
                </a:lnTo>
                <a:lnTo>
                  <a:pt x="2" y="167"/>
                </a:lnTo>
                <a:lnTo>
                  <a:pt x="2" y="165"/>
                </a:lnTo>
                <a:lnTo>
                  <a:pt x="2" y="160"/>
                </a:lnTo>
                <a:lnTo>
                  <a:pt x="2" y="158"/>
                </a:lnTo>
                <a:lnTo>
                  <a:pt x="0" y="158"/>
                </a:lnTo>
                <a:lnTo>
                  <a:pt x="0" y="156"/>
                </a:lnTo>
                <a:lnTo>
                  <a:pt x="2" y="153"/>
                </a:lnTo>
                <a:lnTo>
                  <a:pt x="2" y="151"/>
                </a:lnTo>
                <a:lnTo>
                  <a:pt x="2" y="149"/>
                </a:lnTo>
                <a:lnTo>
                  <a:pt x="0" y="149"/>
                </a:lnTo>
                <a:lnTo>
                  <a:pt x="2" y="147"/>
                </a:lnTo>
                <a:lnTo>
                  <a:pt x="5" y="144"/>
                </a:lnTo>
                <a:lnTo>
                  <a:pt x="5" y="142"/>
                </a:lnTo>
                <a:lnTo>
                  <a:pt x="7" y="140"/>
                </a:lnTo>
                <a:lnTo>
                  <a:pt x="7" y="137"/>
                </a:lnTo>
                <a:lnTo>
                  <a:pt x="5" y="133"/>
                </a:lnTo>
                <a:lnTo>
                  <a:pt x="5" y="130"/>
                </a:lnTo>
                <a:lnTo>
                  <a:pt x="5" y="128"/>
                </a:lnTo>
                <a:lnTo>
                  <a:pt x="2" y="126"/>
                </a:lnTo>
                <a:lnTo>
                  <a:pt x="5" y="126"/>
                </a:lnTo>
                <a:lnTo>
                  <a:pt x="7" y="126"/>
                </a:lnTo>
                <a:lnTo>
                  <a:pt x="7" y="128"/>
                </a:lnTo>
                <a:lnTo>
                  <a:pt x="7" y="130"/>
                </a:lnTo>
                <a:lnTo>
                  <a:pt x="7" y="133"/>
                </a:lnTo>
                <a:lnTo>
                  <a:pt x="7" y="135"/>
                </a:lnTo>
                <a:lnTo>
                  <a:pt x="7" y="137"/>
                </a:lnTo>
                <a:lnTo>
                  <a:pt x="9" y="137"/>
                </a:lnTo>
                <a:lnTo>
                  <a:pt x="12" y="137"/>
                </a:lnTo>
                <a:lnTo>
                  <a:pt x="14" y="137"/>
                </a:lnTo>
                <a:lnTo>
                  <a:pt x="16" y="137"/>
                </a:lnTo>
                <a:lnTo>
                  <a:pt x="19" y="137"/>
                </a:lnTo>
                <a:lnTo>
                  <a:pt x="19" y="140"/>
                </a:lnTo>
                <a:lnTo>
                  <a:pt x="21" y="142"/>
                </a:lnTo>
                <a:lnTo>
                  <a:pt x="21" y="144"/>
                </a:lnTo>
                <a:lnTo>
                  <a:pt x="23" y="144"/>
                </a:lnTo>
                <a:lnTo>
                  <a:pt x="26" y="144"/>
                </a:lnTo>
                <a:lnTo>
                  <a:pt x="28" y="147"/>
                </a:lnTo>
                <a:lnTo>
                  <a:pt x="30" y="147"/>
                </a:lnTo>
                <a:lnTo>
                  <a:pt x="33" y="149"/>
                </a:lnTo>
                <a:lnTo>
                  <a:pt x="35" y="149"/>
                </a:lnTo>
                <a:lnTo>
                  <a:pt x="37" y="149"/>
                </a:lnTo>
                <a:lnTo>
                  <a:pt x="40" y="149"/>
                </a:lnTo>
                <a:lnTo>
                  <a:pt x="42" y="149"/>
                </a:lnTo>
                <a:lnTo>
                  <a:pt x="44" y="151"/>
                </a:lnTo>
                <a:lnTo>
                  <a:pt x="47" y="151"/>
                </a:lnTo>
                <a:lnTo>
                  <a:pt x="49" y="151"/>
                </a:lnTo>
                <a:lnTo>
                  <a:pt x="51" y="149"/>
                </a:lnTo>
                <a:lnTo>
                  <a:pt x="51" y="147"/>
                </a:lnTo>
                <a:lnTo>
                  <a:pt x="54" y="147"/>
                </a:lnTo>
                <a:lnTo>
                  <a:pt x="54" y="149"/>
                </a:lnTo>
                <a:lnTo>
                  <a:pt x="56" y="147"/>
                </a:lnTo>
                <a:lnTo>
                  <a:pt x="58" y="147"/>
                </a:lnTo>
                <a:lnTo>
                  <a:pt x="60" y="144"/>
                </a:lnTo>
                <a:lnTo>
                  <a:pt x="60" y="142"/>
                </a:lnTo>
                <a:lnTo>
                  <a:pt x="63" y="142"/>
                </a:lnTo>
                <a:lnTo>
                  <a:pt x="65" y="142"/>
                </a:lnTo>
                <a:lnTo>
                  <a:pt x="65" y="140"/>
                </a:lnTo>
                <a:lnTo>
                  <a:pt x="67" y="140"/>
                </a:lnTo>
                <a:lnTo>
                  <a:pt x="70" y="140"/>
                </a:lnTo>
                <a:lnTo>
                  <a:pt x="70" y="137"/>
                </a:lnTo>
                <a:lnTo>
                  <a:pt x="72" y="135"/>
                </a:lnTo>
                <a:lnTo>
                  <a:pt x="74" y="135"/>
                </a:lnTo>
                <a:lnTo>
                  <a:pt x="74" y="137"/>
                </a:lnTo>
                <a:lnTo>
                  <a:pt x="74" y="140"/>
                </a:lnTo>
                <a:lnTo>
                  <a:pt x="77" y="140"/>
                </a:lnTo>
                <a:lnTo>
                  <a:pt x="81" y="142"/>
                </a:lnTo>
                <a:lnTo>
                  <a:pt x="84" y="142"/>
                </a:lnTo>
                <a:lnTo>
                  <a:pt x="86" y="142"/>
                </a:lnTo>
                <a:lnTo>
                  <a:pt x="88" y="144"/>
                </a:lnTo>
                <a:lnTo>
                  <a:pt x="91" y="144"/>
                </a:lnTo>
                <a:lnTo>
                  <a:pt x="93" y="144"/>
                </a:lnTo>
                <a:lnTo>
                  <a:pt x="95" y="142"/>
                </a:lnTo>
                <a:lnTo>
                  <a:pt x="98" y="142"/>
                </a:lnTo>
                <a:lnTo>
                  <a:pt x="100" y="142"/>
                </a:lnTo>
                <a:lnTo>
                  <a:pt x="102" y="140"/>
                </a:lnTo>
                <a:lnTo>
                  <a:pt x="102" y="137"/>
                </a:lnTo>
                <a:lnTo>
                  <a:pt x="102" y="140"/>
                </a:lnTo>
                <a:lnTo>
                  <a:pt x="105" y="140"/>
                </a:lnTo>
                <a:lnTo>
                  <a:pt x="105" y="142"/>
                </a:lnTo>
                <a:lnTo>
                  <a:pt x="109" y="147"/>
                </a:lnTo>
                <a:lnTo>
                  <a:pt x="107" y="147"/>
                </a:lnTo>
                <a:lnTo>
                  <a:pt x="107" y="149"/>
                </a:lnTo>
                <a:lnTo>
                  <a:pt x="116" y="149"/>
                </a:lnTo>
                <a:lnTo>
                  <a:pt x="119" y="149"/>
                </a:lnTo>
                <a:lnTo>
                  <a:pt x="121" y="151"/>
                </a:lnTo>
                <a:lnTo>
                  <a:pt x="123" y="151"/>
                </a:lnTo>
                <a:lnTo>
                  <a:pt x="128" y="151"/>
                </a:lnTo>
                <a:lnTo>
                  <a:pt x="130" y="151"/>
                </a:lnTo>
                <a:lnTo>
                  <a:pt x="133" y="149"/>
                </a:lnTo>
                <a:lnTo>
                  <a:pt x="133" y="147"/>
                </a:lnTo>
                <a:lnTo>
                  <a:pt x="135" y="147"/>
                </a:lnTo>
                <a:lnTo>
                  <a:pt x="135" y="144"/>
                </a:lnTo>
                <a:lnTo>
                  <a:pt x="140" y="144"/>
                </a:lnTo>
                <a:lnTo>
                  <a:pt x="147" y="140"/>
                </a:lnTo>
                <a:lnTo>
                  <a:pt x="149" y="140"/>
                </a:lnTo>
                <a:lnTo>
                  <a:pt x="149" y="137"/>
                </a:lnTo>
                <a:lnTo>
                  <a:pt x="151" y="135"/>
                </a:lnTo>
                <a:lnTo>
                  <a:pt x="154" y="133"/>
                </a:lnTo>
                <a:lnTo>
                  <a:pt x="156" y="130"/>
                </a:lnTo>
                <a:lnTo>
                  <a:pt x="156" y="128"/>
                </a:lnTo>
                <a:lnTo>
                  <a:pt x="158" y="126"/>
                </a:lnTo>
                <a:lnTo>
                  <a:pt x="158" y="123"/>
                </a:lnTo>
                <a:lnTo>
                  <a:pt x="156" y="121"/>
                </a:lnTo>
                <a:lnTo>
                  <a:pt x="158" y="121"/>
                </a:lnTo>
                <a:lnTo>
                  <a:pt x="161" y="119"/>
                </a:lnTo>
                <a:lnTo>
                  <a:pt x="165" y="105"/>
                </a:lnTo>
                <a:lnTo>
                  <a:pt x="168" y="105"/>
                </a:lnTo>
                <a:lnTo>
                  <a:pt x="170" y="105"/>
                </a:lnTo>
                <a:lnTo>
                  <a:pt x="170" y="102"/>
                </a:lnTo>
                <a:lnTo>
                  <a:pt x="168" y="102"/>
                </a:lnTo>
                <a:lnTo>
                  <a:pt x="170" y="100"/>
                </a:lnTo>
                <a:lnTo>
                  <a:pt x="175" y="93"/>
                </a:lnTo>
                <a:lnTo>
                  <a:pt x="175" y="88"/>
                </a:lnTo>
                <a:lnTo>
                  <a:pt x="175" y="86"/>
                </a:lnTo>
                <a:lnTo>
                  <a:pt x="177" y="84"/>
                </a:lnTo>
                <a:lnTo>
                  <a:pt x="179" y="81"/>
                </a:lnTo>
                <a:lnTo>
                  <a:pt x="179" y="79"/>
                </a:lnTo>
                <a:lnTo>
                  <a:pt x="182" y="79"/>
                </a:lnTo>
                <a:lnTo>
                  <a:pt x="184" y="79"/>
                </a:lnTo>
                <a:lnTo>
                  <a:pt x="193" y="65"/>
                </a:lnTo>
                <a:lnTo>
                  <a:pt x="193" y="63"/>
                </a:lnTo>
                <a:lnTo>
                  <a:pt x="195" y="63"/>
                </a:lnTo>
                <a:lnTo>
                  <a:pt x="195" y="60"/>
                </a:lnTo>
                <a:lnTo>
                  <a:pt x="198" y="58"/>
                </a:lnTo>
                <a:lnTo>
                  <a:pt x="200" y="56"/>
                </a:lnTo>
                <a:lnTo>
                  <a:pt x="200" y="53"/>
                </a:lnTo>
                <a:lnTo>
                  <a:pt x="202" y="51"/>
                </a:lnTo>
                <a:lnTo>
                  <a:pt x="202" y="49"/>
                </a:lnTo>
                <a:lnTo>
                  <a:pt x="205" y="46"/>
                </a:lnTo>
                <a:lnTo>
                  <a:pt x="205" y="44"/>
                </a:lnTo>
                <a:lnTo>
                  <a:pt x="207" y="44"/>
                </a:lnTo>
                <a:lnTo>
                  <a:pt x="209" y="42"/>
                </a:lnTo>
                <a:lnTo>
                  <a:pt x="214" y="37"/>
                </a:lnTo>
                <a:lnTo>
                  <a:pt x="216" y="35"/>
                </a:lnTo>
                <a:lnTo>
                  <a:pt x="216" y="32"/>
                </a:lnTo>
                <a:lnTo>
                  <a:pt x="219" y="30"/>
                </a:lnTo>
                <a:lnTo>
                  <a:pt x="219" y="28"/>
                </a:lnTo>
                <a:lnTo>
                  <a:pt x="226" y="25"/>
                </a:lnTo>
                <a:lnTo>
                  <a:pt x="228" y="25"/>
                </a:lnTo>
                <a:lnTo>
                  <a:pt x="233" y="18"/>
                </a:lnTo>
                <a:lnTo>
                  <a:pt x="233" y="14"/>
                </a:lnTo>
                <a:lnTo>
                  <a:pt x="235" y="14"/>
                </a:lnTo>
                <a:lnTo>
                  <a:pt x="235" y="16"/>
                </a:lnTo>
                <a:lnTo>
                  <a:pt x="235" y="18"/>
                </a:lnTo>
                <a:lnTo>
                  <a:pt x="237" y="25"/>
                </a:lnTo>
                <a:lnTo>
                  <a:pt x="242" y="32"/>
                </a:lnTo>
                <a:lnTo>
                  <a:pt x="242" y="35"/>
                </a:lnTo>
                <a:lnTo>
                  <a:pt x="242" y="32"/>
                </a:lnTo>
                <a:lnTo>
                  <a:pt x="240" y="28"/>
                </a:lnTo>
                <a:lnTo>
                  <a:pt x="237" y="23"/>
                </a:lnTo>
                <a:lnTo>
                  <a:pt x="235" y="11"/>
                </a:lnTo>
                <a:lnTo>
                  <a:pt x="235" y="4"/>
                </a:lnTo>
                <a:lnTo>
                  <a:pt x="235" y="0"/>
                </a:lnTo>
                <a:lnTo>
                  <a:pt x="237" y="0"/>
                </a:lnTo>
                <a:lnTo>
                  <a:pt x="240" y="0"/>
                </a:lnTo>
                <a:lnTo>
                  <a:pt x="242" y="2"/>
                </a:lnTo>
                <a:lnTo>
                  <a:pt x="247" y="4"/>
                </a:lnTo>
                <a:lnTo>
                  <a:pt x="254" y="14"/>
                </a:lnTo>
                <a:lnTo>
                  <a:pt x="258" y="21"/>
                </a:lnTo>
                <a:lnTo>
                  <a:pt x="261" y="25"/>
                </a:lnTo>
                <a:lnTo>
                  <a:pt x="261" y="30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C2970E33-B56F-4F67-3C50-8F80B02D3709}"/>
              </a:ext>
            </a:extLst>
          </p:cNvPr>
          <p:cNvSpPr/>
          <p:nvPr/>
        </p:nvSpPr>
        <p:spPr>
          <a:xfrm>
            <a:off x="1836274" y="3871628"/>
            <a:ext cx="397752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00" noProof="0">
                <a:solidFill>
                  <a:srgbClr val="575757"/>
                </a:solidFill>
                <a:cs typeface="Arial" panose="020B0604020202020204" pitchFamily="34" charset="0"/>
              </a:rPr>
              <a:t>Aging 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5471208E-AB7A-ECCE-906B-80EB9E2DA2B0}"/>
              </a:ext>
            </a:extLst>
          </p:cNvPr>
          <p:cNvSpPr/>
          <p:nvPr/>
        </p:nvSpPr>
        <p:spPr>
          <a:xfrm>
            <a:off x="2283588" y="3871628"/>
            <a:ext cx="204044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C9E7C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400" noProof="0">
                <a:solidFill>
                  <a:srgbClr val="585858"/>
                </a:solidFill>
                <a:cs typeface="Arial" panose="020B0604020202020204" pitchFamily="34" charset="0"/>
              </a:rPr>
              <a:t>R$ 1,8M</a:t>
            </a:r>
          </a:p>
        </p:txBody>
      </p:sp>
      <p:sp>
        <p:nvSpPr>
          <p:cNvPr id="266" name="Freeform 19">
            <a:extLst>
              <a:ext uri="{FF2B5EF4-FFF2-40B4-BE49-F238E27FC236}">
                <a16:creationId xmlns:a16="http://schemas.microsoft.com/office/drawing/2014/main" id="{C051483D-7765-7933-9344-1BBD5CACE3F5}"/>
              </a:ext>
            </a:extLst>
          </p:cNvPr>
          <p:cNvSpPr>
            <a:spLocks/>
          </p:cNvSpPr>
          <p:nvPr/>
        </p:nvSpPr>
        <p:spPr bwMode="auto">
          <a:xfrm>
            <a:off x="2530411" y="3886384"/>
            <a:ext cx="40524" cy="44970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E71C5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noProof="0"/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875DF738-6551-F16E-9E45-649E218508B0}"/>
              </a:ext>
            </a:extLst>
          </p:cNvPr>
          <p:cNvSpPr/>
          <p:nvPr/>
        </p:nvSpPr>
        <p:spPr>
          <a:xfrm>
            <a:off x="1836274" y="4106812"/>
            <a:ext cx="397752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00" noProof="0" err="1">
                <a:solidFill>
                  <a:srgbClr val="575757"/>
                </a:solidFill>
                <a:cs typeface="Arial" panose="020B0604020202020204" pitchFamily="34" charset="0"/>
              </a:rPr>
              <a:t>Ruptura</a:t>
            </a:r>
            <a:r>
              <a:rPr lang="en-US" sz="400" noProof="0">
                <a:solidFill>
                  <a:srgbClr val="575757"/>
                </a:solidFill>
                <a:cs typeface="Arial" panose="020B0604020202020204" pitchFamily="34" charset="0"/>
              </a:rPr>
              <a:t> </a:t>
            </a:r>
            <a:r>
              <a:rPr lang="en-US" sz="300" noProof="0">
                <a:solidFill>
                  <a:srgbClr val="575757"/>
                </a:solidFill>
                <a:cs typeface="Arial" panose="020B0604020202020204" pitchFamily="34" charset="0"/>
              </a:rPr>
              <a:t>($)</a:t>
            </a:r>
            <a:endParaRPr lang="en-US" sz="4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85D63AFB-5586-EB47-B785-0A06B5E753E9}"/>
              </a:ext>
            </a:extLst>
          </p:cNvPr>
          <p:cNvSpPr/>
          <p:nvPr/>
        </p:nvSpPr>
        <p:spPr>
          <a:xfrm>
            <a:off x="2283588" y="4106812"/>
            <a:ext cx="204044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400" noProof="0">
                <a:solidFill>
                  <a:srgbClr val="E71C57"/>
                </a:solidFill>
                <a:cs typeface="Arial" panose="020B0604020202020204" pitchFamily="34" charset="0"/>
              </a:rPr>
              <a:t>25%</a:t>
            </a:r>
          </a:p>
        </p:txBody>
      </p:sp>
      <p:sp>
        <p:nvSpPr>
          <p:cNvPr id="267" name="Freeform 19">
            <a:extLst>
              <a:ext uri="{FF2B5EF4-FFF2-40B4-BE49-F238E27FC236}">
                <a16:creationId xmlns:a16="http://schemas.microsoft.com/office/drawing/2014/main" id="{05E9175B-6479-A6BE-3D77-BDF420DCABB9}"/>
              </a:ext>
            </a:extLst>
          </p:cNvPr>
          <p:cNvSpPr>
            <a:spLocks/>
          </p:cNvSpPr>
          <p:nvPr/>
        </p:nvSpPr>
        <p:spPr bwMode="auto">
          <a:xfrm>
            <a:off x="2530411" y="4121570"/>
            <a:ext cx="40524" cy="44969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E71C5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noProof="0"/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314F5087-BF73-AEB2-A607-267C498B2991}"/>
              </a:ext>
            </a:extLst>
          </p:cNvPr>
          <p:cNvSpPr/>
          <p:nvPr/>
        </p:nvSpPr>
        <p:spPr>
          <a:xfrm>
            <a:off x="1836274" y="3989220"/>
            <a:ext cx="397752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00" noProof="0">
                <a:solidFill>
                  <a:srgbClr val="575757"/>
                </a:solidFill>
                <a:cs typeface="Arial" panose="020B0604020202020204" pitchFamily="34" charset="0"/>
              </a:rPr>
              <a:t>DDE </a:t>
            </a:r>
            <a:r>
              <a:rPr lang="en-US" sz="400" noProof="0" err="1">
                <a:solidFill>
                  <a:srgbClr val="575757"/>
                </a:solidFill>
                <a:cs typeface="Arial" panose="020B0604020202020204" pitchFamily="34" charset="0"/>
              </a:rPr>
              <a:t>médio</a:t>
            </a:r>
            <a:endParaRPr lang="en-US" sz="4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2D2DB2A4-889E-C0D8-2EF5-4F278BE4FC44}"/>
              </a:ext>
            </a:extLst>
          </p:cNvPr>
          <p:cNvSpPr/>
          <p:nvPr/>
        </p:nvSpPr>
        <p:spPr>
          <a:xfrm>
            <a:off x="2283588" y="3989220"/>
            <a:ext cx="204044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400" noProof="0">
                <a:solidFill>
                  <a:srgbClr val="F18D1E"/>
                </a:solidFill>
                <a:cs typeface="Arial" panose="020B0604020202020204" pitchFamily="34" charset="0"/>
              </a:rPr>
              <a:t>8 </a:t>
            </a:r>
            <a:r>
              <a:rPr lang="en-US" sz="400" noProof="0" err="1">
                <a:solidFill>
                  <a:srgbClr val="F18D1E"/>
                </a:solidFill>
                <a:cs typeface="Arial" panose="020B0604020202020204" pitchFamily="34" charset="0"/>
              </a:rPr>
              <a:t>dias</a:t>
            </a:r>
            <a:endParaRPr lang="en-US" sz="400" noProof="0">
              <a:solidFill>
                <a:srgbClr val="F18D1E"/>
              </a:solidFill>
              <a:cs typeface="Arial" panose="020B0604020202020204" pitchFamily="34" charset="0"/>
            </a:endParaRPr>
          </a:p>
        </p:txBody>
      </p:sp>
      <p:sp>
        <p:nvSpPr>
          <p:cNvPr id="270" name="Freeform 9">
            <a:extLst>
              <a:ext uri="{FF2B5EF4-FFF2-40B4-BE49-F238E27FC236}">
                <a16:creationId xmlns:a16="http://schemas.microsoft.com/office/drawing/2014/main" id="{A388A148-1FB3-1651-723D-ABF7E5E150C4}"/>
              </a:ext>
            </a:extLst>
          </p:cNvPr>
          <p:cNvSpPr>
            <a:spLocks noEditPoints="1"/>
          </p:cNvSpPr>
          <p:nvPr/>
        </p:nvSpPr>
        <p:spPr bwMode="auto">
          <a:xfrm>
            <a:off x="2518009" y="3998144"/>
            <a:ext cx="65330" cy="56634"/>
          </a:xfrm>
          <a:custGeom>
            <a:avLst/>
            <a:gdLst>
              <a:gd name="T0" fmla="*/ 866 w 874"/>
              <a:gd name="T1" fmla="*/ 724 h 757"/>
              <a:gd name="T2" fmla="*/ 456 w 874"/>
              <a:gd name="T3" fmla="*/ 14 h 757"/>
              <a:gd name="T4" fmla="*/ 418 w 874"/>
              <a:gd name="T5" fmla="*/ 14 h 757"/>
              <a:gd name="T6" fmla="*/ 8 w 874"/>
              <a:gd name="T7" fmla="*/ 724 h 757"/>
              <a:gd name="T8" fmla="*/ 27 w 874"/>
              <a:gd name="T9" fmla="*/ 757 h 757"/>
              <a:gd name="T10" fmla="*/ 847 w 874"/>
              <a:gd name="T11" fmla="*/ 757 h 757"/>
              <a:gd name="T12" fmla="*/ 866 w 874"/>
              <a:gd name="T13" fmla="*/ 724 h 757"/>
              <a:gd name="T14" fmla="*/ 397 w 874"/>
              <a:gd name="T15" fmla="*/ 206 h 757"/>
              <a:gd name="T16" fmla="*/ 477 w 874"/>
              <a:gd name="T17" fmla="*/ 206 h 757"/>
              <a:gd name="T18" fmla="*/ 477 w 874"/>
              <a:gd name="T19" fmla="*/ 332 h 757"/>
              <a:gd name="T20" fmla="*/ 453 w 874"/>
              <a:gd name="T21" fmla="*/ 548 h 757"/>
              <a:gd name="T22" fmla="*/ 421 w 874"/>
              <a:gd name="T23" fmla="*/ 548 h 757"/>
              <a:gd name="T24" fmla="*/ 397 w 874"/>
              <a:gd name="T25" fmla="*/ 332 h 757"/>
              <a:gd name="T26" fmla="*/ 397 w 874"/>
              <a:gd name="T27" fmla="*/ 206 h 757"/>
              <a:gd name="T28" fmla="*/ 473 w 874"/>
              <a:gd name="T29" fmla="*/ 658 h 757"/>
              <a:gd name="T30" fmla="*/ 438 w 874"/>
              <a:gd name="T31" fmla="*/ 673 h 757"/>
              <a:gd name="T32" fmla="*/ 402 w 874"/>
              <a:gd name="T33" fmla="*/ 658 h 757"/>
              <a:gd name="T34" fmla="*/ 386 w 874"/>
              <a:gd name="T35" fmla="*/ 622 h 757"/>
              <a:gd name="T36" fmla="*/ 402 w 874"/>
              <a:gd name="T37" fmla="*/ 586 h 757"/>
              <a:gd name="T38" fmla="*/ 438 w 874"/>
              <a:gd name="T39" fmla="*/ 571 h 757"/>
              <a:gd name="T40" fmla="*/ 473 w 874"/>
              <a:gd name="T41" fmla="*/ 586 h 757"/>
              <a:gd name="T42" fmla="*/ 488 w 874"/>
              <a:gd name="T43" fmla="*/ 622 h 757"/>
              <a:gd name="T44" fmla="*/ 473 w 874"/>
              <a:gd name="T45" fmla="*/ 658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74" h="757">
                <a:moveTo>
                  <a:pt x="866" y="724"/>
                </a:moveTo>
                <a:cubicBezTo>
                  <a:pt x="456" y="14"/>
                  <a:pt x="456" y="14"/>
                  <a:pt x="456" y="14"/>
                </a:cubicBezTo>
                <a:cubicBezTo>
                  <a:pt x="448" y="0"/>
                  <a:pt x="426" y="0"/>
                  <a:pt x="418" y="14"/>
                </a:cubicBezTo>
                <a:cubicBezTo>
                  <a:pt x="8" y="724"/>
                  <a:pt x="8" y="724"/>
                  <a:pt x="8" y="724"/>
                </a:cubicBezTo>
                <a:cubicBezTo>
                  <a:pt x="0" y="738"/>
                  <a:pt x="10" y="757"/>
                  <a:pt x="27" y="757"/>
                </a:cubicBezTo>
                <a:cubicBezTo>
                  <a:pt x="847" y="757"/>
                  <a:pt x="847" y="757"/>
                  <a:pt x="847" y="757"/>
                </a:cubicBezTo>
                <a:cubicBezTo>
                  <a:pt x="864" y="757"/>
                  <a:pt x="874" y="738"/>
                  <a:pt x="866" y="724"/>
                </a:cubicBezTo>
                <a:close/>
                <a:moveTo>
                  <a:pt x="397" y="206"/>
                </a:moveTo>
                <a:cubicBezTo>
                  <a:pt x="477" y="206"/>
                  <a:pt x="477" y="206"/>
                  <a:pt x="477" y="206"/>
                </a:cubicBezTo>
                <a:cubicBezTo>
                  <a:pt x="477" y="332"/>
                  <a:pt x="477" y="332"/>
                  <a:pt x="477" y="332"/>
                </a:cubicBezTo>
                <a:cubicBezTo>
                  <a:pt x="477" y="373"/>
                  <a:pt x="470" y="446"/>
                  <a:pt x="453" y="548"/>
                </a:cubicBezTo>
                <a:cubicBezTo>
                  <a:pt x="421" y="548"/>
                  <a:pt x="421" y="548"/>
                  <a:pt x="421" y="548"/>
                </a:cubicBezTo>
                <a:cubicBezTo>
                  <a:pt x="405" y="446"/>
                  <a:pt x="397" y="373"/>
                  <a:pt x="397" y="332"/>
                </a:cubicBezTo>
                <a:lnTo>
                  <a:pt x="397" y="206"/>
                </a:lnTo>
                <a:close/>
                <a:moveTo>
                  <a:pt x="473" y="658"/>
                </a:moveTo>
                <a:cubicBezTo>
                  <a:pt x="464" y="668"/>
                  <a:pt x="452" y="673"/>
                  <a:pt x="438" y="673"/>
                </a:cubicBezTo>
                <a:cubicBezTo>
                  <a:pt x="423" y="673"/>
                  <a:pt x="411" y="668"/>
                  <a:pt x="402" y="658"/>
                </a:cubicBezTo>
                <a:cubicBezTo>
                  <a:pt x="392" y="648"/>
                  <a:pt x="386" y="636"/>
                  <a:pt x="386" y="622"/>
                </a:cubicBezTo>
                <a:cubicBezTo>
                  <a:pt x="386" y="608"/>
                  <a:pt x="392" y="596"/>
                  <a:pt x="402" y="586"/>
                </a:cubicBezTo>
                <a:cubicBezTo>
                  <a:pt x="411" y="576"/>
                  <a:pt x="423" y="571"/>
                  <a:pt x="438" y="571"/>
                </a:cubicBezTo>
                <a:cubicBezTo>
                  <a:pt x="452" y="571"/>
                  <a:pt x="464" y="576"/>
                  <a:pt x="473" y="586"/>
                </a:cubicBezTo>
                <a:cubicBezTo>
                  <a:pt x="483" y="596"/>
                  <a:pt x="488" y="608"/>
                  <a:pt x="488" y="622"/>
                </a:cubicBezTo>
                <a:cubicBezTo>
                  <a:pt x="488" y="636"/>
                  <a:pt x="483" y="648"/>
                  <a:pt x="473" y="658"/>
                </a:cubicBezTo>
                <a:close/>
              </a:path>
            </a:pathLst>
          </a:custGeom>
          <a:solidFill>
            <a:srgbClr val="F18D1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noProof="0"/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51B36668-00B8-74DB-1B3C-B66550F4471A}"/>
              </a:ext>
            </a:extLst>
          </p:cNvPr>
          <p:cNvSpPr/>
          <p:nvPr/>
        </p:nvSpPr>
        <p:spPr>
          <a:xfrm>
            <a:off x="1836274" y="4341994"/>
            <a:ext cx="397752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00" noProof="0" err="1">
                <a:solidFill>
                  <a:srgbClr val="575757"/>
                </a:solidFill>
                <a:cs typeface="Arial" panose="020B0604020202020204" pitchFamily="34" charset="0"/>
              </a:rPr>
              <a:t>Nível</a:t>
            </a:r>
            <a:r>
              <a:rPr lang="en-US" sz="400" noProof="0">
                <a:solidFill>
                  <a:srgbClr val="575757"/>
                </a:solidFill>
                <a:cs typeface="Arial" panose="020B0604020202020204" pitchFamily="34" charset="0"/>
              </a:rPr>
              <a:t> de </a:t>
            </a:r>
            <a:r>
              <a:rPr lang="en-US" sz="400" noProof="0" err="1">
                <a:solidFill>
                  <a:srgbClr val="575757"/>
                </a:solidFill>
                <a:cs typeface="Arial" panose="020B0604020202020204" pitchFamily="34" charset="0"/>
              </a:rPr>
              <a:t>saúde</a:t>
            </a:r>
            <a:endParaRPr lang="en-US" sz="4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027C4A31-5D32-624D-39B7-8F148BBB53BC}"/>
              </a:ext>
            </a:extLst>
          </p:cNvPr>
          <p:cNvSpPr/>
          <p:nvPr/>
        </p:nvSpPr>
        <p:spPr>
          <a:xfrm>
            <a:off x="2283587" y="4341994"/>
            <a:ext cx="283099" cy="840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400" noProof="0" err="1">
                <a:solidFill>
                  <a:srgbClr val="F18D1E"/>
                </a:solidFill>
                <a:cs typeface="Arial" panose="020B0604020202020204" pitchFamily="34" charset="0"/>
              </a:rPr>
              <a:t>Médio</a:t>
            </a:r>
            <a:endParaRPr lang="en-US" sz="400" noProof="0">
              <a:solidFill>
                <a:srgbClr val="F18D1E"/>
              </a:solidFill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845FB53-C9A7-AC67-FCBB-B8697E8D4E41}"/>
              </a:ext>
            </a:extLst>
          </p:cNvPr>
          <p:cNvSpPr/>
          <p:nvPr/>
        </p:nvSpPr>
        <p:spPr>
          <a:xfrm>
            <a:off x="1836274" y="4224403"/>
            <a:ext cx="397752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00" noProof="0" err="1">
                <a:solidFill>
                  <a:srgbClr val="575757"/>
                </a:solidFill>
                <a:cs typeface="Arial" panose="020B0604020202020204" pitchFamily="34" charset="0"/>
              </a:rPr>
              <a:t>Cobertura</a:t>
            </a:r>
            <a:r>
              <a:rPr lang="en-US" sz="400" noProof="0">
                <a:solidFill>
                  <a:srgbClr val="575757"/>
                </a:solidFill>
                <a:cs typeface="Arial" panose="020B0604020202020204" pitchFamily="34" charset="0"/>
              </a:rPr>
              <a:t> </a:t>
            </a:r>
            <a:r>
              <a:rPr lang="en-US" sz="300" noProof="0">
                <a:solidFill>
                  <a:srgbClr val="575757"/>
                </a:solidFill>
                <a:cs typeface="Arial" panose="020B0604020202020204" pitchFamily="34" charset="0"/>
              </a:rPr>
              <a:t>(</a:t>
            </a:r>
            <a:r>
              <a:rPr lang="en-US" sz="300" noProof="0" err="1">
                <a:solidFill>
                  <a:srgbClr val="575757"/>
                </a:solidFill>
                <a:cs typeface="Arial" panose="020B0604020202020204" pitchFamily="34" charset="0"/>
              </a:rPr>
              <a:t>futuro</a:t>
            </a:r>
            <a:r>
              <a:rPr lang="en-US" sz="300" noProof="0">
                <a:solidFill>
                  <a:srgbClr val="575757"/>
                </a:solidFill>
                <a:cs typeface="Arial" panose="020B0604020202020204" pitchFamily="34" charset="0"/>
              </a:rPr>
              <a:t>)</a:t>
            </a:r>
            <a:endParaRPr lang="en-US" sz="4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838F45-91A8-C12C-AF8B-78923E2FB635}"/>
              </a:ext>
            </a:extLst>
          </p:cNvPr>
          <p:cNvSpPr/>
          <p:nvPr/>
        </p:nvSpPr>
        <p:spPr>
          <a:xfrm>
            <a:off x="2283588" y="4224403"/>
            <a:ext cx="204044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400" noProof="0">
                <a:solidFill>
                  <a:srgbClr val="29BA74"/>
                </a:solidFill>
                <a:cs typeface="Arial" panose="020B0604020202020204" pitchFamily="34" charset="0"/>
              </a:rPr>
              <a:t>14 </a:t>
            </a:r>
            <a:r>
              <a:rPr lang="en-US" sz="400" noProof="0" err="1">
                <a:solidFill>
                  <a:srgbClr val="29BA74"/>
                </a:solidFill>
                <a:cs typeface="Arial" panose="020B0604020202020204" pitchFamily="34" charset="0"/>
              </a:rPr>
              <a:t>dias</a:t>
            </a:r>
            <a:endParaRPr lang="en-US" sz="400" noProof="0">
              <a:solidFill>
                <a:srgbClr val="29BA74"/>
              </a:solidFill>
              <a:cs typeface="Arial" panose="020B0604020202020204" pitchFamily="34" charset="0"/>
            </a:endParaRPr>
          </a:p>
        </p:txBody>
      </p:sp>
      <p:sp>
        <p:nvSpPr>
          <p:cNvPr id="26" name="Freeform 19">
            <a:extLst>
              <a:ext uri="{FF2B5EF4-FFF2-40B4-BE49-F238E27FC236}">
                <a16:creationId xmlns:a16="http://schemas.microsoft.com/office/drawing/2014/main" id="{D5E1F0E3-65F6-3278-3733-944733F6C53F}"/>
              </a:ext>
            </a:extLst>
          </p:cNvPr>
          <p:cNvSpPr>
            <a:spLocks/>
          </p:cNvSpPr>
          <p:nvPr/>
        </p:nvSpPr>
        <p:spPr bwMode="auto">
          <a:xfrm>
            <a:off x="2530411" y="4239161"/>
            <a:ext cx="40524" cy="44969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29BA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noProof="0"/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5A2818C5-2332-BC6C-0A3F-2D59C58DD792}"/>
              </a:ext>
            </a:extLst>
          </p:cNvPr>
          <p:cNvCxnSpPr>
            <a:cxnSpLocks/>
          </p:cNvCxnSpPr>
          <p:nvPr/>
        </p:nvCxnSpPr>
        <p:spPr>
          <a:xfrm>
            <a:off x="1836274" y="3967665"/>
            <a:ext cx="730412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108D12B8-564D-0911-17C6-4B05005837E4}"/>
              </a:ext>
            </a:extLst>
          </p:cNvPr>
          <p:cNvCxnSpPr>
            <a:cxnSpLocks/>
          </p:cNvCxnSpPr>
          <p:nvPr/>
        </p:nvCxnSpPr>
        <p:spPr>
          <a:xfrm>
            <a:off x="1836274" y="4085257"/>
            <a:ext cx="730412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73F0E6FE-51CE-CAFC-362C-06445AC0421E}"/>
              </a:ext>
            </a:extLst>
          </p:cNvPr>
          <p:cNvCxnSpPr>
            <a:cxnSpLocks/>
          </p:cNvCxnSpPr>
          <p:nvPr/>
        </p:nvCxnSpPr>
        <p:spPr>
          <a:xfrm>
            <a:off x="1836274" y="4202849"/>
            <a:ext cx="730412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9093879E-4D84-E8BF-7167-C0605B2E6679}"/>
              </a:ext>
            </a:extLst>
          </p:cNvPr>
          <p:cNvCxnSpPr>
            <a:cxnSpLocks/>
          </p:cNvCxnSpPr>
          <p:nvPr/>
        </p:nvCxnSpPr>
        <p:spPr>
          <a:xfrm>
            <a:off x="1836274" y="4320439"/>
            <a:ext cx="730412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678F2298-0875-71C1-2BBE-14C1937A3C47}"/>
              </a:ext>
            </a:extLst>
          </p:cNvPr>
          <p:cNvSpPr/>
          <p:nvPr/>
        </p:nvSpPr>
        <p:spPr>
          <a:xfrm>
            <a:off x="0" y="1911862"/>
            <a:ext cx="12192000" cy="147943"/>
          </a:xfrm>
          <a:prstGeom prst="rect">
            <a:avLst/>
          </a:prstGeom>
          <a:solidFill>
            <a:srgbClr val="C8C8C8"/>
          </a:solidFill>
          <a:ln w="10795" cap="flat" cmpd="sng" algn="ctr">
            <a:noFill/>
            <a:prstDash val="solid"/>
          </a:ln>
          <a:effectLst/>
        </p:spPr>
        <p:txBody>
          <a:bodyPr l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sz="2000" kern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FC978C-A385-4A44-C9FA-FE1E6E88F1C5}"/>
              </a:ext>
            </a:extLst>
          </p:cNvPr>
          <p:cNvGrpSpPr/>
          <p:nvPr/>
        </p:nvGrpSpPr>
        <p:grpSpPr>
          <a:xfrm>
            <a:off x="1814782" y="1780447"/>
            <a:ext cx="8562436" cy="363677"/>
            <a:chOff x="838903" y="3484036"/>
            <a:chExt cx="4365228" cy="440050"/>
          </a:xfrm>
        </p:grpSpPr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EBF47FED-CDDA-CA77-1E70-38D366D9F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838903" y="3484152"/>
              <a:ext cx="181873" cy="166451"/>
            </a:xfrm>
            <a:custGeom>
              <a:avLst/>
              <a:gdLst>
                <a:gd name="T0" fmla="*/ 512 w 512"/>
                <a:gd name="T1" fmla="*/ 318 h 318"/>
                <a:gd name="T2" fmla="*/ 512 w 512"/>
                <a:gd name="T3" fmla="*/ 316 h 318"/>
                <a:gd name="T4" fmla="*/ 512 w 512"/>
                <a:gd name="T5" fmla="*/ 316 h 318"/>
                <a:gd name="T6" fmla="*/ 510 w 512"/>
                <a:gd name="T7" fmla="*/ 290 h 318"/>
                <a:gd name="T8" fmla="*/ 506 w 512"/>
                <a:gd name="T9" fmla="*/ 262 h 318"/>
                <a:gd name="T10" fmla="*/ 500 w 512"/>
                <a:gd name="T11" fmla="*/ 234 h 318"/>
                <a:gd name="T12" fmla="*/ 492 w 512"/>
                <a:gd name="T13" fmla="*/ 206 h 318"/>
                <a:gd name="T14" fmla="*/ 480 w 512"/>
                <a:gd name="T15" fmla="*/ 180 h 318"/>
                <a:gd name="T16" fmla="*/ 468 w 512"/>
                <a:gd name="T17" fmla="*/ 154 h 318"/>
                <a:gd name="T18" fmla="*/ 454 w 512"/>
                <a:gd name="T19" fmla="*/ 128 h 318"/>
                <a:gd name="T20" fmla="*/ 436 w 512"/>
                <a:gd name="T21" fmla="*/ 104 h 318"/>
                <a:gd name="T22" fmla="*/ 418 w 512"/>
                <a:gd name="T23" fmla="*/ 82 h 318"/>
                <a:gd name="T24" fmla="*/ 398 w 512"/>
                <a:gd name="T25" fmla="*/ 62 h 318"/>
                <a:gd name="T26" fmla="*/ 378 w 512"/>
                <a:gd name="T27" fmla="*/ 44 h 318"/>
                <a:gd name="T28" fmla="*/ 356 w 512"/>
                <a:gd name="T29" fmla="*/ 28 h 318"/>
                <a:gd name="T30" fmla="*/ 332 w 512"/>
                <a:gd name="T31" fmla="*/ 16 h 318"/>
                <a:gd name="T32" fmla="*/ 308 w 512"/>
                <a:gd name="T33" fmla="*/ 8 h 318"/>
                <a:gd name="T34" fmla="*/ 282 w 512"/>
                <a:gd name="T35" fmla="*/ 2 h 318"/>
                <a:gd name="T36" fmla="*/ 256 w 512"/>
                <a:gd name="T37" fmla="*/ 0 h 318"/>
                <a:gd name="T38" fmla="*/ 256 w 512"/>
                <a:gd name="T39" fmla="*/ 0 h 318"/>
                <a:gd name="T40" fmla="*/ 230 w 512"/>
                <a:gd name="T41" fmla="*/ 2 h 318"/>
                <a:gd name="T42" fmla="*/ 204 w 512"/>
                <a:gd name="T43" fmla="*/ 8 h 318"/>
                <a:gd name="T44" fmla="*/ 180 w 512"/>
                <a:gd name="T45" fmla="*/ 16 h 318"/>
                <a:gd name="T46" fmla="*/ 156 w 512"/>
                <a:gd name="T47" fmla="*/ 28 h 318"/>
                <a:gd name="T48" fmla="*/ 134 w 512"/>
                <a:gd name="T49" fmla="*/ 44 h 318"/>
                <a:gd name="T50" fmla="*/ 114 w 512"/>
                <a:gd name="T51" fmla="*/ 62 h 318"/>
                <a:gd name="T52" fmla="*/ 94 w 512"/>
                <a:gd name="T53" fmla="*/ 82 h 318"/>
                <a:gd name="T54" fmla="*/ 76 w 512"/>
                <a:gd name="T55" fmla="*/ 104 h 318"/>
                <a:gd name="T56" fmla="*/ 60 w 512"/>
                <a:gd name="T57" fmla="*/ 128 h 318"/>
                <a:gd name="T58" fmla="*/ 44 w 512"/>
                <a:gd name="T59" fmla="*/ 154 h 318"/>
                <a:gd name="T60" fmla="*/ 32 w 512"/>
                <a:gd name="T61" fmla="*/ 180 h 318"/>
                <a:gd name="T62" fmla="*/ 20 w 512"/>
                <a:gd name="T63" fmla="*/ 206 h 318"/>
                <a:gd name="T64" fmla="*/ 12 w 512"/>
                <a:gd name="T65" fmla="*/ 234 h 318"/>
                <a:gd name="T66" fmla="*/ 6 w 512"/>
                <a:gd name="T67" fmla="*/ 262 h 318"/>
                <a:gd name="T68" fmla="*/ 2 w 512"/>
                <a:gd name="T69" fmla="*/ 290 h 318"/>
                <a:gd name="T70" fmla="*/ 0 w 512"/>
                <a:gd name="T71" fmla="*/ 316 h 318"/>
                <a:gd name="T72" fmla="*/ 0 w 512"/>
                <a:gd name="T73" fmla="*/ 318 h 318"/>
                <a:gd name="T74" fmla="*/ 512 w 512"/>
                <a:gd name="T75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2" h="318">
                  <a:moveTo>
                    <a:pt x="512" y="318"/>
                  </a:moveTo>
                  <a:lnTo>
                    <a:pt x="512" y="316"/>
                  </a:lnTo>
                  <a:lnTo>
                    <a:pt x="512" y="316"/>
                  </a:lnTo>
                  <a:lnTo>
                    <a:pt x="510" y="290"/>
                  </a:lnTo>
                  <a:lnTo>
                    <a:pt x="506" y="262"/>
                  </a:lnTo>
                  <a:lnTo>
                    <a:pt x="500" y="234"/>
                  </a:lnTo>
                  <a:lnTo>
                    <a:pt x="492" y="206"/>
                  </a:lnTo>
                  <a:lnTo>
                    <a:pt x="480" y="180"/>
                  </a:lnTo>
                  <a:lnTo>
                    <a:pt x="468" y="154"/>
                  </a:lnTo>
                  <a:lnTo>
                    <a:pt x="454" y="128"/>
                  </a:lnTo>
                  <a:lnTo>
                    <a:pt x="436" y="104"/>
                  </a:lnTo>
                  <a:lnTo>
                    <a:pt x="418" y="82"/>
                  </a:lnTo>
                  <a:lnTo>
                    <a:pt x="398" y="62"/>
                  </a:lnTo>
                  <a:lnTo>
                    <a:pt x="378" y="44"/>
                  </a:lnTo>
                  <a:lnTo>
                    <a:pt x="356" y="28"/>
                  </a:lnTo>
                  <a:lnTo>
                    <a:pt x="332" y="16"/>
                  </a:lnTo>
                  <a:lnTo>
                    <a:pt x="308" y="8"/>
                  </a:lnTo>
                  <a:lnTo>
                    <a:pt x="282" y="2"/>
                  </a:lnTo>
                  <a:lnTo>
                    <a:pt x="256" y="0"/>
                  </a:lnTo>
                  <a:lnTo>
                    <a:pt x="256" y="0"/>
                  </a:lnTo>
                  <a:lnTo>
                    <a:pt x="230" y="2"/>
                  </a:lnTo>
                  <a:lnTo>
                    <a:pt x="204" y="8"/>
                  </a:lnTo>
                  <a:lnTo>
                    <a:pt x="180" y="16"/>
                  </a:lnTo>
                  <a:lnTo>
                    <a:pt x="156" y="28"/>
                  </a:lnTo>
                  <a:lnTo>
                    <a:pt x="134" y="44"/>
                  </a:lnTo>
                  <a:lnTo>
                    <a:pt x="114" y="62"/>
                  </a:lnTo>
                  <a:lnTo>
                    <a:pt x="94" y="82"/>
                  </a:lnTo>
                  <a:lnTo>
                    <a:pt x="76" y="104"/>
                  </a:lnTo>
                  <a:lnTo>
                    <a:pt x="60" y="128"/>
                  </a:lnTo>
                  <a:lnTo>
                    <a:pt x="44" y="154"/>
                  </a:lnTo>
                  <a:lnTo>
                    <a:pt x="32" y="180"/>
                  </a:lnTo>
                  <a:lnTo>
                    <a:pt x="20" y="206"/>
                  </a:lnTo>
                  <a:lnTo>
                    <a:pt x="12" y="234"/>
                  </a:lnTo>
                  <a:lnTo>
                    <a:pt x="6" y="262"/>
                  </a:lnTo>
                  <a:lnTo>
                    <a:pt x="2" y="290"/>
                  </a:lnTo>
                  <a:lnTo>
                    <a:pt x="0" y="316"/>
                  </a:lnTo>
                  <a:lnTo>
                    <a:pt x="0" y="318"/>
                  </a:lnTo>
                  <a:lnTo>
                    <a:pt x="512" y="3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67291" tIns="33644" rIns="67291" bIns="336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09A2258D-B792-D525-AFC2-0D11CADF408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2258" y="3484152"/>
              <a:ext cx="181873" cy="166451"/>
            </a:xfrm>
            <a:custGeom>
              <a:avLst/>
              <a:gdLst>
                <a:gd name="T0" fmla="*/ 512 w 512"/>
                <a:gd name="T1" fmla="*/ 318 h 318"/>
                <a:gd name="T2" fmla="*/ 512 w 512"/>
                <a:gd name="T3" fmla="*/ 316 h 318"/>
                <a:gd name="T4" fmla="*/ 512 w 512"/>
                <a:gd name="T5" fmla="*/ 316 h 318"/>
                <a:gd name="T6" fmla="*/ 510 w 512"/>
                <a:gd name="T7" fmla="*/ 290 h 318"/>
                <a:gd name="T8" fmla="*/ 506 w 512"/>
                <a:gd name="T9" fmla="*/ 262 h 318"/>
                <a:gd name="T10" fmla="*/ 500 w 512"/>
                <a:gd name="T11" fmla="*/ 234 h 318"/>
                <a:gd name="T12" fmla="*/ 492 w 512"/>
                <a:gd name="T13" fmla="*/ 206 h 318"/>
                <a:gd name="T14" fmla="*/ 480 w 512"/>
                <a:gd name="T15" fmla="*/ 180 h 318"/>
                <a:gd name="T16" fmla="*/ 468 w 512"/>
                <a:gd name="T17" fmla="*/ 154 h 318"/>
                <a:gd name="T18" fmla="*/ 454 w 512"/>
                <a:gd name="T19" fmla="*/ 128 h 318"/>
                <a:gd name="T20" fmla="*/ 436 w 512"/>
                <a:gd name="T21" fmla="*/ 104 h 318"/>
                <a:gd name="T22" fmla="*/ 418 w 512"/>
                <a:gd name="T23" fmla="*/ 82 h 318"/>
                <a:gd name="T24" fmla="*/ 398 w 512"/>
                <a:gd name="T25" fmla="*/ 62 h 318"/>
                <a:gd name="T26" fmla="*/ 378 w 512"/>
                <a:gd name="T27" fmla="*/ 44 h 318"/>
                <a:gd name="T28" fmla="*/ 356 w 512"/>
                <a:gd name="T29" fmla="*/ 28 h 318"/>
                <a:gd name="T30" fmla="*/ 332 w 512"/>
                <a:gd name="T31" fmla="*/ 16 h 318"/>
                <a:gd name="T32" fmla="*/ 308 w 512"/>
                <a:gd name="T33" fmla="*/ 8 h 318"/>
                <a:gd name="T34" fmla="*/ 282 w 512"/>
                <a:gd name="T35" fmla="*/ 2 h 318"/>
                <a:gd name="T36" fmla="*/ 256 w 512"/>
                <a:gd name="T37" fmla="*/ 0 h 318"/>
                <a:gd name="T38" fmla="*/ 256 w 512"/>
                <a:gd name="T39" fmla="*/ 0 h 318"/>
                <a:gd name="T40" fmla="*/ 230 w 512"/>
                <a:gd name="T41" fmla="*/ 2 h 318"/>
                <a:gd name="T42" fmla="*/ 204 w 512"/>
                <a:gd name="T43" fmla="*/ 8 h 318"/>
                <a:gd name="T44" fmla="*/ 180 w 512"/>
                <a:gd name="T45" fmla="*/ 16 h 318"/>
                <a:gd name="T46" fmla="*/ 156 w 512"/>
                <a:gd name="T47" fmla="*/ 28 h 318"/>
                <a:gd name="T48" fmla="*/ 134 w 512"/>
                <a:gd name="T49" fmla="*/ 44 h 318"/>
                <a:gd name="T50" fmla="*/ 114 w 512"/>
                <a:gd name="T51" fmla="*/ 62 h 318"/>
                <a:gd name="T52" fmla="*/ 94 w 512"/>
                <a:gd name="T53" fmla="*/ 82 h 318"/>
                <a:gd name="T54" fmla="*/ 76 w 512"/>
                <a:gd name="T55" fmla="*/ 104 h 318"/>
                <a:gd name="T56" fmla="*/ 60 w 512"/>
                <a:gd name="T57" fmla="*/ 128 h 318"/>
                <a:gd name="T58" fmla="*/ 44 w 512"/>
                <a:gd name="T59" fmla="*/ 154 h 318"/>
                <a:gd name="T60" fmla="*/ 32 w 512"/>
                <a:gd name="T61" fmla="*/ 180 h 318"/>
                <a:gd name="T62" fmla="*/ 20 w 512"/>
                <a:gd name="T63" fmla="*/ 206 h 318"/>
                <a:gd name="T64" fmla="*/ 12 w 512"/>
                <a:gd name="T65" fmla="*/ 234 h 318"/>
                <a:gd name="T66" fmla="*/ 6 w 512"/>
                <a:gd name="T67" fmla="*/ 262 h 318"/>
                <a:gd name="T68" fmla="*/ 2 w 512"/>
                <a:gd name="T69" fmla="*/ 290 h 318"/>
                <a:gd name="T70" fmla="*/ 0 w 512"/>
                <a:gd name="T71" fmla="*/ 316 h 318"/>
                <a:gd name="T72" fmla="*/ 0 w 512"/>
                <a:gd name="T73" fmla="*/ 318 h 318"/>
                <a:gd name="T74" fmla="*/ 512 w 512"/>
                <a:gd name="T75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2" h="318">
                  <a:moveTo>
                    <a:pt x="512" y="318"/>
                  </a:moveTo>
                  <a:lnTo>
                    <a:pt x="512" y="316"/>
                  </a:lnTo>
                  <a:lnTo>
                    <a:pt x="512" y="316"/>
                  </a:lnTo>
                  <a:lnTo>
                    <a:pt x="510" y="290"/>
                  </a:lnTo>
                  <a:lnTo>
                    <a:pt x="506" y="262"/>
                  </a:lnTo>
                  <a:lnTo>
                    <a:pt x="500" y="234"/>
                  </a:lnTo>
                  <a:lnTo>
                    <a:pt x="492" y="206"/>
                  </a:lnTo>
                  <a:lnTo>
                    <a:pt x="480" y="180"/>
                  </a:lnTo>
                  <a:lnTo>
                    <a:pt x="468" y="154"/>
                  </a:lnTo>
                  <a:lnTo>
                    <a:pt x="454" y="128"/>
                  </a:lnTo>
                  <a:lnTo>
                    <a:pt x="436" y="104"/>
                  </a:lnTo>
                  <a:lnTo>
                    <a:pt x="418" y="82"/>
                  </a:lnTo>
                  <a:lnTo>
                    <a:pt x="398" y="62"/>
                  </a:lnTo>
                  <a:lnTo>
                    <a:pt x="378" y="44"/>
                  </a:lnTo>
                  <a:lnTo>
                    <a:pt x="356" y="28"/>
                  </a:lnTo>
                  <a:lnTo>
                    <a:pt x="332" y="16"/>
                  </a:lnTo>
                  <a:lnTo>
                    <a:pt x="308" y="8"/>
                  </a:lnTo>
                  <a:lnTo>
                    <a:pt x="282" y="2"/>
                  </a:lnTo>
                  <a:lnTo>
                    <a:pt x="256" y="0"/>
                  </a:lnTo>
                  <a:lnTo>
                    <a:pt x="256" y="0"/>
                  </a:lnTo>
                  <a:lnTo>
                    <a:pt x="230" y="2"/>
                  </a:lnTo>
                  <a:lnTo>
                    <a:pt x="204" y="8"/>
                  </a:lnTo>
                  <a:lnTo>
                    <a:pt x="180" y="16"/>
                  </a:lnTo>
                  <a:lnTo>
                    <a:pt x="156" y="28"/>
                  </a:lnTo>
                  <a:lnTo>
                    <a:pt x="134" y="44"/>
                  </a:lnTo>
                  <a:lnTo>
                    <a:pt x="114" y="62"/>
                  </a:lnTo>
                  <a:lnTo>
                    <a:pt x="94" y="82"/>
                  </a:lnTo>
                  <a:lnTo>
                    <a:pt x="76" y="104"/>
                  </a:lnTo>
                  <a:lnTo>
                    <a:pt x="60" y="128"/>
                  </a:lnTo>
                  <a:lnTo>
                    <a:pt x="44" y="154"/>
                  </a:lnTo>
                  <a:lnTo>
                    <a:pt x="32" y="180"/>
                  </a:lnTo>
                  <a:lnTo>
                    <a:pt x="20" y="206"/>
                  </a:lnTo>
                  <a:lnTo>
                    <a:pt x="12" y="234"/>
                  </a:lnTo>
                  <a:lnTo>
                    <a:pt x="6" y="262"/>
                  </a:lnTo>
                  <a:lnTo>
                    <a:pt x="2" y="290"/>
                  </a:lnTo>
                  <a:lnTo>
                    <a:pt x="0" y="316"/>
                  </a:lnTo>
                  <a:lnTo>
                    <a:pt x="0" y="318"/>
                  </a:lnTo>
                  <a:lnTo>
                    <a:pt x="512" y="3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67291" tIns="33644" rIns="67291" bIns="336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Open Sans" panose="020B0606030504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0FE8C0F-2178-11C2-9140-B5962CB0AA7E}"/>
                </a:ext>
              </a:extLst>
            </p:cNvPr>
            <p:cNvSpPr/>
            <p:nvPr/>
          </p:nvSpPr>
          <p:spPr>
            <a:xfrm rot="5400000">
              <a:off x="2801447" y="1612429"/>
              <a:ext cx="440050" cy="4183264"/>
            </a:xfrm>
            <a:custGeom>
              <a:avLst/>
              <a:gdLst>
                <a:gd name="connsiteX0" fmla="*/ 0 w 623593"/>
                <a:gd name="connsiteY0" fmla="*/ 1206428 h 4735437"/>
                <a:gd name="connsiteX1" fmla="*/ 1900 w 623593"/>
                <a:gd name="connsiteY1" fmla="*/ 1208216 h 4735437"/>
                <a:gd name="connsiteX2" fmla="*/ 0 w 623593"/>
                <a:gd name="connsiteY2" fmla="*/ 518465 h 4735437"/>
                <a:gd name="connsiteX3" fmla="*/ 1431 w 623593"/>
                <a:gd name="connsiteY3" fmla="*/ 519812 h 4735437"/>
                <a:gd name="connsiteX4" fmla="*/ 0 w 623593"/>
                <a:gd name="connsiteY4" fmla="*/ 0 h 4735437"/>
                <a:gd name="connsiteX5" fmla="*/ 117719 w 623593"/>
                <a:gd name="connsiteY5" fmla="*/ 52346 h 4735437"/>
                <a:gd name="connsiteX6" fmla="*/ 477240 w 623593"/>
                <a:gd name="connsiteY6" fmla="*/ 123384 h 4735437"/>
                <a:gd name="connsiteX7" fmla="*/ 623592 w 623593"/>
                <a:gd name="connsiteY7" fmla="*/ 340243 h 4735437"/>
                <a:gd name="connsiteX8" fmla="*/ 623592 w 623593"/>
                <a:gd name="connsiteY8" fmla="*/ 858708 h 4735437"/>
                <a:gd name="connsiteX9" fmla="*/ 623592 w 623593"/>
                <a:gd name="connsiteY9" fmla="*/ 1155329 h 4735437"/>
                <a:gd name="connsiteX10" fmla="*/ 623592 w 623593"/>
                <a:gd name="connsiteY10" fmla="*/ 1546671 h 4735437"/>
                <a:gd name="connsiteX11" fmla="*/ 623592 w 623593"/>
                <a:gd name="connsiteY11" fmla="*/ 1673794 h 4735437"/>
                <a:gd name="connsiteX12" fmla="*/ 623592 w 623593"/>
                <a:gd name="connsiteY12" fmla="*/ 2051627 h 4735437"/>
                <a:gd name="connsiteX13" fmla="*/ 623593 w 623593"/>
                <a:gd name="connsiteY13" fmla="*/ 2051627 h 4735437"/>
                <a:gd name="connsiteX14" fmla="*/ 623593 w 623593"/>
                <a:gd name="connsiteY14" fmla="*/ 2413215 h 4735437"/>
                <a:gd name="connsiteX15" fmla="*/ 623593 w 623593"/>
                <a:gd name="connsiteY15" fmla="*/ 2612877 h 4735437"/>
                <a:gd name="connsiteX16" fmla="*/ 623593 w 623593"/>
                <a:gd name="connsiteY16" fmla="*/ 4064577 h 4735437"/>
                <a:gd name="connsiteX17" fmla="*/ 623593 w 623593"/>
                <a:gd name="connsiteY17" fmla="*/ 4395194 h 4735437"/>
                <a:gd name="connsiteX18" fmla="*/ 477241 w 623593"/>
                <a:gd name="connsiteY18" fmla="*/ 4612053 h 4735437"/>
                <a:gd name="connsiteX19" fmla="*/ 117720 w 623593"/>
                <a:gd name="connsiteY19" fmla="*/ 4683091 h 4735437"/>
                <a:gd name="connsiteX20" fmla="*/ 1 w 623593"/>
                <a:gd name="connsiteY20" fmla="*/ 4735437 h 4735437"/>
                <a:gd name="connsiteX21" fmla="*/ 1849 w 623593"/>
                <a:gd name="connsiteY21" fmla="*/ 4064577 h 4735437"/>
                <a:gd name="connsiteX22" fmla="*/ 3102 w 623593"/>
                <a:gd name="connsiteY22" fmla="*/ 2513046 h 4735437"/>
                <a:gd name="connsiteX23" fmla="*/ 2847 w 623593"/>
                <a:gd name="connsiteY23" fmla="*/ 2197100 h 4735437"/>
                <a:gd name="connsiteX24" fmla="*/ 2728 w 623593"/>
                <a:gd name="connsiteY24" fmla="*/ 2197100 h 473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3593" h="4735437">
                  <a:moveTo>
                    <a:pt x="0" y="1206428"/>
                  </a:moveTo>
                  <a:lnTo>
                    <a:pt x="1900" y="1208216"/>
                  </a:lnTo>
                  <a:cubicBezTo>
                    <a:pt x="1267" y="978299"/>
                    <a:pt x="633" y="748383"/>
                    <a:pt x="0" y="518465"/>
                  </a:cubicBezTo>
                  <a:lnTo>
                    <a:pt x="1431" y="519812"/>
                  </a:lnTo>
                  <a:cubicBezTo>
                    <a:pt x="954" y="346542"/>
                    <a:pt x="477" y="173271"/>
                    <a:pt x="0" y="0"/>
                  </a:cubicBezTo>
                  <a:cubicBezTo>
                    <a:pt x="29696" y="39883"/>
                    <a:pt x="72115" y="38637"/>
                    <a:pt x="117719" y="52346"/>
                  </a:cubicBezTo>
                  <a:lnTo>
                    <a:pt x="477240" y="123384"/>
                  </a:lnTo>
                  <a:cubicBezTo>
                    <a:pt x="561020" y="154542"/>
                    <a:pt x="622533" y="174483"/>
                    <a:pt x="623592" y="340243"/>
                  </a:cubicBezTo>
                  <a:lnTo>
                    <a:pt x="623592" y="858708"/>
                  </a:lnTo>
                  <a:lnTo>
                    <a:pt x="623592" y="1155329"/>
                  </a:lnTo>
                  <a:lnTo>
                    <a:pt x="623592" y="1546671"/>
                  </a:lnTo>
                  <a:lnTo>
                    <a:pt x="623592" y="1673794"/>
                  </a:lnTo>
                  <a:lnTo>
                    <a:pt x="623592" y="2051627"/>
                  </a:lnTo>
                  <a:lnTo>
                    <a:pt x="623593" y="2051627"/>
                  </a:lnTo>
                  <a:lnTo>
                    <a:pt x="623593" y="2413215"/>
                  </a:lnTo>
                  <a:lnTo>
                    <a:pt x="623593" y="2612877"/>
                  </a:lnTo>
                  <a:lnTo>
                    <a:pt x="623593" y="4064577"/>
                  </a:lnTo>
                  <a:lnTo>
                    <a:pt x="623593" y="4395194"/>
                  </a:lnTo>
                  <a:cubicBezTo>
                    <a:pt x="622534" y="4560953"/>
                    <a:pt x="561021" y="4580894"/>
                    <a:pt x="477241" y="4612053"/>
                  </a:cubicBezTo>
                  <a:lnTo>
                    <a:pt x="117720" y="4683091"/>
                  </a:lnTo>
                  <a:cubicBezTo>
                    <a:pt x="72116" y="4696800"/>
                    <a:pt x="29697" y="4695553"/>
                    <a:pt x="1" y="4735437"/>
                  </a:cubicBezTo>
                  <a:lnTo>
                    <a:pt x="1849" y="4064577"/>
                  </a:lnTo>
                  <a:lnTo>
                    <a:pt x="3102" y="2513046"/>
                  </a:lnTo>
                  <a:lnTo>
                    <a:pt x="2847" y="2197100"/>
                  </a:lnTo>
                  <a:lnTo>
                    <a:pt x="2728" y="21971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91440" r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Visão geral de alocação de estoque - CDs e lojas (UFs)</a:t>
              </a:r>
            </a:p>
          </p:txBody>
        </p:sp>
      </p:grpSp>
      <p:sp>
        <p:nvSpPr>
          <p:cNvPr id="219" name="Rectangle 218">
            <a:extLst>
              <a:ext uri="{FF2B5EF4-FFF2-40B4-BE49-F238E27FC236}">
                <a16:creationId xmlns:a16="http://schemas.microsoft.com/office/drawing/2014/main" id="{9B32DA65-18FF-EA6F-D541-FD1E701C3D5F}"/>
              </a:ext>
            </a:extLst>
          </p:cNvPr>
          <p:cNvSpPr>
            <a:spLocks/>
          </p:cNvSpPr>
          <p:nvPr/>
        </p:nvSpPr>
        <p:spPr>
          <a:xfrm>
            <a:off x="9813501" y="304571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120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1,3%)</a:t>
            </a: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48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220" name="Rectangle: Top Corners Rounded 64">
            <a:extLst>
              <a:ext uri="{FF2B5EF4-FFF2-40B4-BE49-F238E27FC236}">
                <a16:creationId xmlns:a16="http://schemas.microsoft.com/office/drawing/2014/main" id="{04AA8A5B-E46D-160C-FBB0-B01FB134F8B3}"/>
              </a:ext>
            </a:extLst>
          </p:cNvPr>
          <p:cNvSpPr>
            <a:spLocks/>
          </p:cNvSpPr>
          <p:nvPr/>
        </p:nvSpPr>
        <p:spPr>
          <a:xfrm>
            <a:off x="9758539" y="2854059"/>
            <a:ext cx="765407" cy="128839"/>
          </a:xfrm>
          <a:prstGeom prst="round2Same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00" noProof="0">
                <a:solidFill>
                  <a:schemeClr val="bg1"/>
                </a:solidFill>
              </a:rPr>
              <a:t>Aging (R$)</a:t>
            </a:r>
          </a:p>
        </p:txBody>
      </p:sp>
      <p:sp>
        <p:nvSpPr>
          <p:cNvPr id="224" name="Freeform 19">
            <a:extLst>
              <a:ext uri="{FF2B5EF4-FFF2-40B4-BE49-F238E27FC236}">
                <a16:creationId xmlns:a16="http://schemas.microsoft.com/office/drawing/2014/main" id="{CEAD3F1D-46BB-C0FB-BBC4-4682C87885E2}"/>
              </a:ext>
            </a:extLst>
          </p:cNvPr>
          <p:cNvSpPr>
            <a:spLocks/>
          </p:cNvSpPr>
          <p:nvPr/>
        </p:nvSpPr>
        <p:spPr bwMode="auto">
          <a:xfrm rot="10800000">
            <a:off x="10384941" y="3183231"/>
            <a:ext cx="32674" cy="46414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1F22C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noProof="0"/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97C18B00-CC39-257C-B2E7-0D549BDE47DB}"/>
              </a:ext>
            </a:extLst>
          </p:cNvPr>
          <p:cNvSpPr>
            <a:spLocks/>
          </p:cNvSpPr>
          <p:nvPr/>
        </p:nvSpPr>
        <p:spPr>
          <a:xfrm>
            <a:off x="10643912" y="304571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7%</a:t>
            </a:r>
          </a:p>
          <a:p>
            <a:pPr algn="ctr"/>
            <a:r>
              <a:rPr lang="en-US" sz="300" noProof="0">
                <a:solidFill>
                  <a:srgbClr val="E71A3A"/>
                </a:solidFill>
              </a:rPr>
              <a:t>(+0,3pp)</a:t>
            </a: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48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303" name="Rectangle: Top Corners Rounded 64">
            <a:extLst>
              <a:ext uri="{FF2B5EF4-FFF2-40B4-BE49-F238E27FC236}">
                <a16:creationId xmlns:a16="http://schemas.microsoft.com/office/drawing/2014/main" id="{B6F3A2EA-6DF7-BC19-706E-5E36D4CEEDAE}"/>
              </a:ext>
            </a:extLst>
          </p:cNvPr>
          <p:cNvSpPr>
            <a:spLocks/>
          </p:cNvSpPr>
          <p:nvPr/>
        </p:nvSpPr>
        <p:spPr>
          <a:xfrm>
            <a:off x="10588949" y="2854059"/>
            <a:ext cx="765407" cy="128839"/>
          </a:xfrm>
          <a:prstGeom prst="round2Same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00" noProof="0" err="1">
                <a:solidFill>
                  <a:schemeClr val="bg1"/>
                </a:solidFill>
              </a:rPr>
              <a:t>Ruptura</a:t>
            </a:r>
            <a:r>
              <a:rPr lang="en-US" sz="600" noProof="0">
                <a:solidFill>
                  <a:schemeClr val="bg1"/>
                </a:solidFill>
              </a:rPr>
              <a:t> (% R$)</a:t>
            </a:r>
          </a:p>
        </p:txBody>
      </p:sp>
      <p:sp>
        <p:nvSpPr>
          <p:cNvPr id="308" name="Freeform 19">
            <a:extLst>
              <a:ext uri="{FF2B5EF4-FFF2-40B4-BE49-F238E27FC236}">
                <a16:creationId xmlns:a16="http://schemas.microsoft.com/office/drawing/2014/main" id="{6BCEB958-0286-1EAD-A611-C5462C9AD50C}"/>
              </a:ext>
            </a:extLst>
          </p:cNvPr>
          <p:cNvSpPr>
            <a:spLocks/>
          </p:cNvSpPr>
          <p:nvPr/>
        </p:nvSpPr>
        <p:spPr bwMode="auto">
          <a:xfrm>
            <a:off x="11128008" y="3183231"/>
            <a:ext cx="32674" cy="46414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E71A3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noProof="0">
              <a:solidFill>
                <a:srgbClr val="B2122D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7B648146-226D-0A99-E866-0C80C7699E3E}"/>
              </a:ext>
            </a:extLst>
          </p:cNvPr>
          <p:cNvSpPr>
            <a:spLocks/>
          </p:cNvSpPr>
          <p:nvPr/>
        </p:nvSpPr>
        <p:spPr>
          <a:xfrm>
            <a:off x="8152678" y="304571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750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10,6%)</a:t>
            </a: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820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103" name="Rectangle: Top Corners Rounded 64">
            <a:extLst>
              <a:ext uri="{FF2B5EF4-FFF2-40B4-BE49-F238E27FC236}">
                <a16:creationId xmlns:a16="http://schemas.microsoft.com/office/drawing/2014/main" id="{542C210F-FB1B-4EF3-0F69-B5214670969D}"/>
              </a:ext>
            </a:extLst>
          </p:cNvPr>
          <p:cNvSpPr>
            <a:spLocks/>
          </p:cNvSpPr>
          <p:nvPr/>
        </p:nvSpPr>
        <p:spPr>
          <a:xfrm>
            <a:off x="8097715" y="2854059"/>
            <a:ext cx="765407" cy="128839"/>
          </a:xfrm>
          <a:prstGeom prst="round2Same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00" noProof="0" err="1">
                <a:solidFill>
                  <a:schemeClr val="bg1"/>
                </a:solidFill>
              </a:rPr>
              <a:t>Estq</a:t>
            </a:r>
            <a:r>
              <a:rPr lang="en-US" sz="600" noProof="0">
                <a:solidFill>
                  <a:schemeClr val="bg1"/>
                </a:solidFill>
              </a:rPr>
              <a:t> Tot. (R$)</a:t>
            </a:r>
          </a:p>
        </p:txBody>
      </p:sp>
      <p:sp>
        <p:nvSpPr>
          <p:cNvPr id="110" name="Freeform 19">
            <a:extLst>
              <a:ext uri="{FF2B5EF4-FFF2-40B4-BE49-F238E27FC236}">
                <a16:creationId xmlns:a16="http://schemas.microsoft.com/office/drawing/2014/main" id="{91B9DC64-EEDD-061F-06B1-261270AF3FD5}"/>
              </a:ext>
            </a:extLst>
          </p:cNvPr>
          <p:cNvSpPr>
            <a:spLocks/>
          </p:cNvSpPr>
          <p:nvPr/>
        </p:nvSpPr>
        <p:spPr bwMode="auto">
          <a:xfrm rot="10800000">
            <a:off x="8713355" y="3183231"/>
            <a:ext cx="32674" cy="46414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1F22C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noProof="0"/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D162A755-70B5-9720-D160-02185DA4B539}"/>
              </a:ext>
            </a:extLst>
          </p:cNvPr>
          <p:cNvSpPr>
            <a:spLocks/>
          </p:cNvSpPr>
          <p:nvPr/>
        </p:nvSpPr>
        <p:spPr>
          <a:xfrm>
            <a:off x="8983077" y="304571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42 </a:t>
            </a:r>
            <a:r>
              <a:rPr lang="en-US" sz="1000" noProof="0" err="1">
                <a:solidFill>
                  <a:schemeClr val="tx1"/>
                </a:solidFill>
              </a:rPr>
              <a:t>dias</a:t>
            </a:r>
            <a:r>
              <a:rPr lang="en-US" sz="1000" noProof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3,2%)</a:t>
            </a: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44d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201" name="Rectangle: Top Corners Rounded 64">
            <a:extLst>
              <a:ext uri="{FF2B5EF4-FFF2-40B4-BE49-F238E27FC236}">
                <a16:creationId xmlns:a16="http://schemas.microsoft.com/office/drawing/2014/main" id="{3245ED82-2C97-5D26-F34A-540FBC629EC8}"/>
              </a:ext>
            </a:extLst>
          </p:cNvPr>
          <p:cNvSpPr>
            <a:spLocks/>
          </p:cNvSpPr>
          <p:nvPr/>
        </p:nvSpPr>
        <p:spPr>
          <a:xfrm>
            <a:off x="8928115" y="2854059"/>
            <a:ext cx="765407" cy="128839"/>
          </a:xfrm>
          <a:prstGeom prst="round2Same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00" noProof="0" err="1">
                <a:solidFill>
                  <a:schemeClr val="bg1"/>
                </a:solidFill>
              </a:rPr>
              <a:t>Cobertura</a:t>
            </a:r>
            <a:endParaRPr lang="en-US" sz="600" noProof="0">
              <a:solidFill>
                <a:schemeClr val="bg1"/>
              </a:solidFill>
            </a:endParaRPr>
          </a:p>
        </p:txBody>
      </p:sp>
      <p:sp>
        <p:nvSpPr>
          <p:cNvPr id="210" name="Freeform 19">
            <a:extLst>
              <a:ext uri="{FF2B5EF4-FFF2-40B4-BE49-F238E27FC236}">
                <a16:creationId xmlns:a16="http://schemas.microsoft.com/office/drawing/2014/main" id="{396BA320-1117-4A98-DC4E-910046C07DEC}"/>
              </a:ext>
            </a:extLst>
          </p:cNvPr>
          <p:cNvSpPr>
            <a:spLocks/>
          </p:cNvSpPr>
          <p:nvPr/>
        </p:nvSpPr>
        <p:spPr bwMode="auto">
          <a:xfrm rot="10800000">
            <a:off x="9549463" y="3183231"/>
            <a:ext cx="32674" cy="46414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1F22C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noProof="0"/>
          </a:p>
        </p:txBody>
      </p:sp>
      <p:sp>
        <p:nvSpPr>
          <p:cNvPr id="191" name="Rounded Rectangle 354">
            <a:extLst>
              <a:ext uri="{FF2B5EF4-FFF2-40B4-BE49-F238E27FC236}">
                <a16:creationId xmlns:a16="http://schemas.microsoft.com/office/drawing/2014/main" id="{66A71104-E487-FA1B-ADCC-DF77A3D65685}"/>
              </a:ext>
            </a:extLst>
          </p:cNvPr>
          <p:cNvSpPr>
            <a:spLocks/>
          </p:cNvSpPr>
          <p:nvPr/>
        </p:nvSpPr>
        <p:spPr>
          <a:xfrm>
            <a:off x="8097714" y="2981937"/>
            <a:ext cx="765407" cy="380388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192" name="Rounded Rectangle 382">
            <a:extLst>
              <a:ext uri="{FF2B5EF4-FFF2-40B4-BE49-F238E27FC236}">
                <a16:creationId xmlns:a16="http://schemas.microsoft.com/office/drawing/2014/main" id="{89EBD897-3333-DFFE-A18F-FC919B8BF59C}"/>
              </a:ext>
            </a:extLst>
          </p:cNvPr>
          <p:cNvSpPr>
            <a:spLocks/>
          </p:cNvSpPr>
          <p:nvPr/>
        </p:nvSpPr>
        <p:spPr>
          <a:xfrm>
            <a:off x="8928114" y="2981937"/>
            <a:ext cx="765407" cy="380388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193" name="Rounded Rectangle 389">
            <a:extLst>
              <a:ext uri="{FF2B5EF4-FFF2-40B4-BE49-F238E27FC236}">
                <a16:creationId xmlns:a16="http://schemas.microsoft.com/office/drawing/2014/main" id="{51B555E8-3240-BB54-30CD-49B7A75C934B}"/>
              </a:ext>
            </a:extLst>
          </p:cNvPr>
          <p:cNvSpPr>
            <a:spLocks/>
          </p:cNvSpPr>
          <p:nvPr/>
        </p:nvSpPr>
        <p:spPr>
          <a:xfrm>
            <a:off x="9758538" y="2981937"/>
            <a:ext cx="765407" cy="380388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194" name="Rounded Rectangle 396">
            <a:extLst>
              <a:ext uri="{FF2B5EF4-FFF2-40B4-BE49-F238E27FC236}">
                <a16:creationId xmlns:a16="http://schemas.microsoft.com/office/drawing/2014/main" id="{7A89082B-ED1C-1CCB-E64F-E4A729221620}"/>
              </a:ext>
            </a:extLst>
          </p:cNvPr>
          <p:cNvSpPr>
            <a:spLocks/>
          </p:cNvSpPr>
          <p:nvPr/>
        </p:nvSpPr>
        <p:spPr>
          <a:xfrm>
            <a:off x="10588948" y="2981937"/>
            <a:ext cx="765407" cy="380388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132EA4C6-801E-A323-DC90-AC2FBC9AC167}"/>
              </a:ext>
            </a:extLst>
          </p:cNvPr>
          <p:cNvGrpSpPr/>
          <p:nvPr/>
        </p:nvGrpSpPr>
        <p:grpSpPr>
          <a:xfrm>
            <a:off x="7981045" y="3495077"/>
            <a:ext cx="3467766" cy="820527"/>
            <a:chOff x="7981045" y="3516923"/>
            <a:chExt cx="3467766" cy="820527"/>
          </a:xfrm>
        </p:grpSpPr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DDC8A0E9-FE0F-58B7-3D25-BAB7F38355F0}"/>
                </a:ext>
              </a:extLst>
            </p:cNvPr>
            <p:cNvSpPr/>
            <p:nvPr/>
          </p:nvSpPr>
          <p:spPr>
            <a:xfrm>
              <a:off x="7981045" y="3603501"/>
              <a:ext cx="3467766" cy="733949"/>
            </a:xfrm>
            <a:prstGeom prst="rect">
              <a:avLst/>
            </a:prstGeom>
            <a:noFill/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351" name="Rectangle: Rounded Corners 238">
              <a:extLst>
                <a:ext uri="{FF2B5EF4-FFF2-40B4-BE49-F238E27FC236}">
                  <a16:creationId xmlns:a16="http://schemas.microsoft.com/office/drawing/2014/main" id="{1E7ED9EE-B6F8-F7F6-165F-DB1E7EE22EAB}"/>
                </a:ext>
              </a:extLst>
            </p:cNvPr>
            <p:cNvSpPr>
              <a:spLocks/>
            </p:cNvSpPr>
            <p:nvPr/>
          </p:nvSpPr>
          <p:spPr>
            <a:xfrm>
              <a:off x="8048372" y="3516923"/>
              <a:ext cx="3355320" cy="150812"/>
            </a:xfrm>
            <a:prstGeom prst="parallelogram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noProof="0">
                  <a:solidFill>
                    <a:schemeClr val="tx2"/>
                  </a:solidFill>
                </a:rPr>
                <a:t>Localização do estoque</a:t>
              </a:r>
            </a:p>
          </p:txBody>
        </p:sp>
      </p:grpSp>
      <p:sp>
        <p:nvSpPr>
          <p:cNvPr id="355" name="Rounded Rectangle 354">
            <a:extLst>
              <a:ext uri="{FF2B5EF4-FFF2-40B4-BE49-F238E27FC236}">
                <a16:creationId xmlns:a16="http://schemas.microsoft.com/office/drawing/2014/main" id="{C9031D1B-0D26-E55D-2EB1-3A2354772CBD}"/>
              </a:ext>
            </a:extLst>
          </p:cNvPr>
          <p:cNvSpPr>
            <a:spLocks/>
          </p:cNvSpPr>
          <p:nvPr/>
        </p:nvSpPr>
        <p:spPr>
          <a:xfrm>
            <a:off x="8097714" y="3744669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F9161408-5970-6611-9879-97F700767B00}"/>
              </a:ext>
            </a:extLst>
          </p:cNvPr>
          <p:cNvSpPr txBox="1">
            <a:spLocks/>
          </p:cNvSpPr>
          <p:nvPr/>
        </p:nvSpPr>
        <p:spPr>
          <a:xfrm>
            <a:off x="8357374" y="3779479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Em </a:t>
            </a:r>
            <a:r>
              <a:rPr lang="en-US" sz="600" noProof="0" err="1">
                <a:solidFill>
                  <a:srgbClr val="1F22CF"/>
                </a:solidFill>
              </a:rPr>
              <a:t>trânsito</a:t>
            </a:r>
            <a:endParaRPr lang="en-US" sz="600" noProof="0">
              <a:solidFill>
                <a:srgbClr val="1F22CF"/>
              </a:solidFill>
            </a:endParaRP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6F6C0257-9E92-39BE-2BE5-E73A141BBEF2}"/>
              </a:ext>
            </a:extLst>
          </p:cNvPr>
          <p:cNvSpPr txBox="1">
            <a:spLocks/>
          </p:cNvSpPr>
          <p:nvPr/>
        </p:nvSpPr>
        <p:spPr>
          <a:xfrm>
            <a:off x="8152678" y="391467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120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8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42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383" name="Rounded Rectangle 382">
            <a:extLst>
              <a:ext uri="{FF2B5EF4-FFF2-40B4-BE49-F238E27FC236}">
                <a16:creationId xmlns:a16="http://schemas.microsoft.com/office/drawing/2014/main" id="{FDAF34B7-2879-97DD-7A75-ACC88A5906B0}"/>
              </a:ext>
            </a:extLst>
          </p:cNvPr>
          <p:cNvSpPr>
            <a:spLocks/>
          </p:cNvSpPr>
          <p:nvPr/>
        </p:nvSpPr>
        <p:spPr>
          <a:xfrm>
            <a:off x="8928114" y="3744669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386" name="TextBox 385">
            <a:extLst>
              <a:ext uri="{FF2B5EF4-FFF2-40B4-BE49-F238E27FC236}">
                <a16:creationId xmlns:a16="http://schemas.microsoft.com/office/drawing/2014/main" id="{4BD2B3B3-11C1-0B84-94E6-D822203B8329}"/>
              </a:ext>
            </a:extLst>
          </p:cNvPr>
          <p:cNvSpPr txBox="1">
            <a:spLocks/>
          </p:cNvSpPr>
          <p:nvPr/>
        </p:nvSpPr>
        <p:spPr>
          <a:xfrm>
            <a:off x="8983077" y="391467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448M </a:t>
            </a:r>
          </a:p>
          <a:p>
            <a:pPr algn="ctr"/>
            <a:r>
              <a:rPr lang="en-US" sz="300" noProof="0">
                <a:solidFill>
                  <a:srgbClr val="E71A3A"/>
                </a:solidFill>
              </a:rPr>
              <a:t>(+3,4%)</a:t>
            </a:r>
            <a:endParaRPr lang="en-US" sz="1600" noProof="0">
              <a:solidFill>
                <a:srgbClr val="E71A3A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432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BD2BCA7B-E014-8E63-3632-05454E04A9E2}"/>
              </a:ext>
            </a:extLst>
          </p:cNvPr>
          <p:cNvSpPr txBox="1">
            <a:spLocks/>
          </p:cNvSpPr>
          <p:nvPr/>
        </p:nvSpPr>
        <p:spPr>
          <a:xfrm>
            <a:off x="9187773" y="3779480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Em Lojas</a:t>
            </a:r>
          </a:p>
        </p:txBody>
      </p:sp>
      <p:sp>
        <p:nvSpPr>
          <p:cNvPr id="390" name="Rounded Rectangle 389">
            <a:extLst>
              <a:ext uri="{FF2B5EF4-FFF2-40B4-BE49-F238E27FC236}">
                <a16:creationId xmlns:a16="http://schemas.microsoft.com/office/drawing/2014/main" id="{4E07E7C7-EFCC-096D-CA13-EE2F0FFE8359}"/>
              </a:ext>
            </a:extLst>
          </p:cNvPr>
          <p:cNvSpPr>
            <a:spLocks/>
          </p:cNvSpPr>
          <p:nvPr/>
        </p:nvSpPr>
        <p:spPr>
          <a:xfrm>
            <a:off x="9758538" y="3744669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28B512F6-B922-F2B3-1016-3F8407C6B6CF}"/>
              </a:ext>
            </a:extLst>
          </p:cNvPr>
          <p:cNvSpPr txBox="1">
            <a:spLocks/>
          </p:cNvSpPr>
          <p:nvPr/>
        </p:nvSpPr>
        <p:spPr>
          <a:xfrm>
            <a:off x="10018196" y="3779479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Em CDs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49C8314E-3683-55A9-431C-64CECEB15CE0}"/>
              </a:ext>
            </a:extLst>
          </p:cNvPr>
          <p:cNvSpPr txBox="1">
            <a:spLocks/>
          </p:cNvSpPr>
          <p:nvPr/>
        </p:nvSpPr>
        <p:spPr>
          <a:xfrm>
            <a:off x="9813500" y="391467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182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8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93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397" name="Rounded Rectangle 396">
            <a:extLst>
              <a:ext uri="{FF2B5EF4-FFF2-40B4-BE49-F238E27FC236}">
                <a16:creationId xmlns:a16="http://schemas.microsoft.com/office/drawing/2014/main" id="{A9890EB7-C418-1FA9-D21B-D53CBF18CBCB}"/>
              </a:ext>
            </a:extLst>
          </p:cNvPr>
          <p:cNvSpPr>
            <a:spLocks/>
          </p:cNvSpPr>
          <p:nvPr/>
        </p:nvSpPr>
        <p:spPr>
          <a:xfrm>
            <a:off x="10588948" y="3744669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4F2EEA34-14F8-2112-38D0-2C7F46A89BCF}"/>
              </a:ext>
            </a:extLst>
          </p:cNvPr>
          <p:cNvSpPr txBox="1">
            <a:spLocks/>
          </p:cNvSpPr>
          <p:nvPr/>
        </p:nvSpPr>
        <p:spPr>
          <a:xfrm>
            <a:off x="10848608" y="3779479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</a:rPr>
              <a:t>Agendado</a:t>
            </a:r>
            <a:endParaRPr lang="en-US" sz="600" noProof="0">
              <a:solidFill>
                <a:srgbClr val="1F22CF"/>
              </a:solidFill>
            </a:endParaRP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7C66D4CE-A3BC-E991-A0B2-2F394A7049DF}"/>
              </a:ext>
            </a:extLst>
          </p:cNvPr>
          <p:cNvSpPr txBox="1">
            <a:spLocks/>
          </p:cNvSpPr>
          <p:nvPr/>
        </p:nvSpPr>
        <p:spPr>
          <a:xfrm>
            <a:off x="10643912" y="391467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320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1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324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grpSp>
        <p:nvGrpSpPr>
          <p:cNvPr id="196" name="bcgIcons_Long truck ">
            <a:extLst>
              <a:ext uri="{FF2B5EF4-FFF2-40B4-BE49-F238E27FC236}">
                <a16:creationId xmlns:a16="http://schemas.microsoft.com/office/drawing/2014/main" id="{1FF75BB6-F064-C9F0-B793-4A2C412DED1D}"/>
              </a:ext>
            </a:extLst>
          </p:cNvPr>
          <p:cNvGrpSpPr>
            <a:grpSpLocks noChangeAspect="1"/>
          </p:cNvGrpSpPr>
          <p:nvPr/>
        </p:nvGrpSpPr>
        <p:grpSpPr>
          <a:xfrm>
            <a:off x="8152678" y="3762921"/>
            <a:ext cx="125450" cy="125450"/>
            <a:chOff x="5273675" y="2606675"/>
            <a:chExt cx="1644650" cy="1644650"/>
          </a:xfrm>
        </p:grpSpPr>
        <p:sp>
          <p:nvSpPr>
            <p:cNvPr id="197" name="AutoShape 3">
              <a:extLst>
                <a:ext uri="{FF2B5EF4-FFF2-40B4-BE49-F238E27FC236}">
                  <a16:creationId xmlns:a16="http://schemas.microsoft.com/office/drawing/2014/main" id="{88A6363E-34E3-FC5F-5A8D-CFCF8D1953C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5DB0BF19-9FFD-BF7C-C337-66A4B8845080}"/>
                </a:ext>
              </a:extLst>
            </p:cNvPr>
            <p:cNvGrpSpPr/>
            <p:nvPr/>
          </p:nvGrpSpPr>
          <p:grpSpPr>
            <a:xfrm>
              <a:off x="5341938" y="3120232"/>
              <a:ext cx="1508125" cy="617537"/>
              <a:chOff x="5341938" y="3201988"/>
              <a:chExt cx="1508125" cy="617537"/>
            </a:xfrm>
          </p:grpSpPr>
          <p:sp>
            <p:nvSpPr>
              <p:cNvPr id="205" name="Freeform 5">
                <a:extLst>
                  <a:ext uri="{FF2B5EF4-FFF2-40B4-BE49-F238E27FC236}">
                    <a16:creationId xmlns:a16="http://schemas.microsoft.com/office/drawing/2014/main" id="{703DD25E-9A3B-FA09-FF0E-CF85B23AC6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938" y="3201988"/>
                <a:ext cx="1431214" cy="569913"/>
              </a:xfrm>
              <a:custGeom>
                <a:avLst/>
                <a:gdLst>
                  <a:gd name="connsiteX0" fmla="*/ 391682 w 1431214"/>
                  <a:gd name="connsiteY0" fmla="*/ 512762 h 569913"/>
                  <a:gd name="connsiteX1" fmla="*/ 420688 w 1431214"/>
                  <a:gd name="connsiteY1" fmla="*/ 541337 h 569913"/>
                  <a:gd name="connsiteX2" fmla="*/ 391682 w 1431214"/>
                  <a:gd name="connsiteY2" fmla="*/ 569912 h 569913"/>
                  <a:gd name="connsiteX3" fmla="*/ 361950 w 1431214"/>
                  <a:gd name="connsiteY3" fmla="*/ 541337 h 569913"/>
                  <a:gd name="connsiteX4" fmla="*/ 391682 w 1431214"/>
                  <a:gd name="connsiteY4" fmla="*/ 512762 h 569913"/>
                  <a:gd name="connsiteX5" fmla="*/ 158750 w 1431214"/>
                  <a:gd name="connsiteY5" fmla="*/ 512762 h 569913"/>
                  <a:gd name="connsiteX6" fmla="*/ 187325 w 1431214"/>
                  <a:gd name="connsiteY6" fmla="*/ 541337 h 569913"/>
                  <a:gd name="connsiteX7" fmla="*/ 158750 w 1431214"/>
                  <a:gd name="connsiteY7" fmla="*/ 569912 h 569913"/>
                  <a:gd name="connsiteX8" fmla="*/ 130175 w 1431214"/>
                  <a:gd name="connsiteY8" fmla="*/ 541337 h 569913"/>
                  <a:gd name="connsiteX9" fmla="*/ 158750 w 1431214"/>
                  <a:gd name="connsiteY9" fmla="*/ 512762 h 569913"/>
                  <a:gd name="connsiteX10" fmla="*/ 1316831 w 1431214"/>
                  <a:gd name="connsiteY10" fmla="*/ 511175 h 569913"/>
                  <a:gd name="connsiteX11" fmla="*/ 1346200 w 1431214"/>
                  <a:gd name="connsiteY11" fmla="*/ 540544 h 569913"/>
                  <a:gd name="connsiteX12" fmla="*/ 1316831 w 1431214"/>
                  <a:gd name="connsiteY12" fmla="*/ 569913 h 569913"/>
                  <a:gd name="connsiteX13" fmla="*/ 1287462 w 1431214"/>
                  <a:gd name="connsiteY13" fmla="*/ 540544 h 569913"/>
                  <a:gd name="connsiteX14" fmla="*/ 1316831 w 1431214"/>
                  <a:gd name="connsiteY14" fmla="*/ 511175 h 569913"/>
                  <a:gd name="connsiteX15" fmla="*/ 1023937 w 1431214"/>
                  <a:gd name="connsiteY15" fmla="*/ 511175 h 569913"/>
                  <a:gd name="connsiteX16" fmla="*/ 1052512 w 1431214"/>
                  <a:gd name="connsiteY16" fmla="*/ 540544 h 569913"/>
                  <a:gd name="connsiteX17" fmla="*/ 1023937 w 1431214"/>
                  <a:gd name="connsiteY17" fmla="*/ 569913 h 569913"/>
                  <a:gd name="connsiteX18" fmla="*/ 995362 w 1431214"/>
                  <a:gd name="connsiteY18" fmla="*/ 540544 h 569913"/>
                  <a:gd name="connsiteX19" fmla="*/ 1023937 w 1431214"/>
                  <a:gd name="connsiteY19" fmla="*/ 511175 h 569913"/>
                  <a:gd name="connsiteX20" fmla="*/ 1226474 w 1431214"/>
                  <a:gd name="connsiteY20" fmla="*/ 176212 h 569913"/>
                  <a:gd name="connsiteX21" fmla="*/ 1346617 w 1431214"/>
                  <a:gd name="connsiteY21" fmla="*/ 176212 h 569913"/>
                  <a:gd name="connsiteX22" fmla="*/ 1357991 w 1431214"/>
                  <a:gd name="connsiteY22" fmla="*/ 187611 h 569913"/>
                  <a:gd name="connsiteX23" fmla="*/ 1429082 w 1431214"/>
                  <a:gd name="connsiteY23" fmla="*/ 300176 h 569913"/>
                  <a:gd name="connsiteX24" fmla="*/ 1429082 w 1431214"/>
                  <a:gd name="connsiteY24" fmla="*/ 315137 h 569913"/>
                  <a:gd name="connsiteX25" fmla="*/ 1413442 w 1431214"/>
                  <a:gd name="connsiteY25" fmla="*/ 322262 h 569913"/>
                  <a:gd name="connsiteX26" fmla="*/ 1226474 w 1431214"/>
                  <a:gd name="connsiteY26" fmla="*/ 322262 h 569913"/>
                  <a:gd name="connsiteX27" fmla="*/ 1220787 w 1431214"/>
                  <a:gd name="connsiteY27" fmla="*/ 315850 h 569913"/>
                  <a:gd name="connsiteX28" fmla="*/ 1220787 w 1431214"/>
                  <a:gd name="connsiteY28" fmla="*/ 181911 h 569913"/>
                  <a:gd name="connsiteX29" fmla="*/ 1226474 w 1431214"/>
                  <a:gd name="connsiteY29" fmla="*/ 176212 h 569913"/>
                  <a:gd name="connsiteX30" fmla="*/ 17855 w 1431214"/>
                  <a:gd name="connsiteY30" fmla="*/ 0 h 569913"/>
                  <a:gd name="connsiteX31" fmla="*/ 1101333 w 1431214"/>
                  <a:gd name="connsiteY31" fmla="*/ 0 h 569913"/>
                  <a:gd name="connsiteX32" fmla="*/ 1119188 w 1431214"/>
                  <a:gd name="connsiteY32" fmla="*/ 17855 h 569913"/>
                  <a:gd name="connsiteX33" fmla="*/ 1119188 w 1431214"/>
                  <a:gd name="connsiteY33" fmla="*/ 377825 h 569913"/>
                  <a:gd name="connsiteX34" fmla="*/ 17855 w 1431214"/>
                  <a:gd name="connsiteY34" fmla="*/ 377825 h 569913"/>
                  <a:gd name="connsiteX35" fmla="*/ 0 w 1431214"/>
                  <a:gd name="connsiteY35" fmla="*/ 359255 h 569913"/>
                  <a:gd name="connsiteX36" fmla="*/ 0 w 1431214"/>
                  <a:gd name="connsiteY36" fmla="*/ 17855 h 569913"/>
                  <a:gd name="connsiteX37" fmla="*/ 17855 w 1431214"/>
                  <a:gd name="connsiteY37" fmla="*/ 0 h 56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31214" h="569913">
                    <a:moveTo>
                      <a:pt x="391682" y="512762"/>
                    </a:moveTo>
                    <a:cubicBezTo>
                      <a:pt x="407635" y="512762"/>
                      <a:pt x="420688" y="525621"/>
                      <a:pt x="420688" y="541337"/>
                    </a:cubicBezTo>
                    <a:cubicBezTo>
                      <a:pt x="420688" y="557768"/>
                      <a:pt x="407635" y="569912"/>
                      <a:pt x="391682" y="569912"/>
                    </a:cubicBezTo>
                    <a:cubicBezTo>
                      <a:pt x="374278" y="569912"/>
                      <a:pt x="361950" y="557768"/>
                      <a:pt x="361950" y="541337"/>
                    </a:cubicBezTo>
                    <a:cubicBezTo>
                      <a:pt x="361950" y="525621"/>
                      <a:pt x="374278" y="512762"/>
                      <a:pt x="391682" y="512762"/>
                    </a:cubicBezTo>
                    <a:close/>
                    <a:moveTo>
                      <a:pt x="158750" y="512762"/>
                    </a:moveTo>
                    <a:cubicBezTo>
                      <a:pt x="174532" y="512762"/>
                      <a:pt x="187325" y="525555"/>
                      <a:pt x="187325" y="541337"/>
                    </a:cubicBezTo>
                    <a:cubicBezTo>
                      <a:pt x="187325" y="557119"/>
                      <a:pt x="174532" y="569912"/>
                      <a:pt x="158750" y="569912"/>
                    </a:cubicBezTo>
                    <a:cubicBezTo>
                      <a:pt x="142968" y="569912"/>
                      <a:pt x="130175" y="557119"/>
                      <a:pt x="130175" y="541337"/>
                    </a:cubicBezTo>
                    <a:cubicBezTo>
                      <a:pt x="130175" y="525555"/>
                      <a:pt x="142968" y="512762"/>
                      <a:pt x="158750" y="512762"/>
                    </a:cubicBezTo>
                    <a:close/>
                    <a:moveTo>
                      <a:pt x="1316831" y="511175"/>
                    </a:moveTo>
                    <a:cubicBezTo>
                      <a:pt x="1333051" y="511175"/>
                      <a:pt x="1346200" y="524324"/>
                      <a:pt x="1346200" y="540544"/>
                    </a:cubicBezTo>
                    <a:cubicBezTo>
                      <a:pt x="1346200" y="556764"/>
                      <a:pt x="1333051" y="569913"/>
                      <a:pt x="1316831" y="569913"/>
                    </a:cubicBezTo>
                    <a:cubicBezTo>
                      <a:pt x="1300611" y="569913"/>
                      <a:pt x="1287462" y="556764"/>
                      <a:pt x="1287462" y="540544"/>
                    </a:cubicBezTo>
                    <a:cubicBezTo>
                      <a:pt x="1287462" y="524324"/>
                      <a:pt x="1300611" y="511175"/>
                      <a:pt x="1316831" y="511175"/>
                    </a:cubicBezTo>
                    <a:close/>
                    <a:moveTo>
                      <a:pt x="1023937" y="511175"/>
                    </a:moveTo>
                    <a:cubicBezTo>
                      <a:pt x="1039719" y="511175"/>
                      <a:pt x="1052512" y="524324"/>
                      <a:pt x="1052512" y="540544"/>
                    </a:cubicBezTo>
                    <a:cubicBezTo>
                      <a:pt x="1052512" y="556764"/>
                      <a:pt x="1039719" y="569913"/>
                      <a:pt x="1023937" y="569913"/>
                    </a:cubicBezTo>
                    <a:cubicBezTo>
                      <a:pt x="1008155" y="569913"/>
                      <a:pt x="995362" y="556764"/>
                      <a:pt x="995362" y="540544"/>
                    </a:cubicBezTo>
                    <a:cubicBezTo>
                      <a:pt x="995362" y="524324"/>
                      <a:pt x="1008155" y="511175"/>
                      <a:pt x="1023937" y="511175"/>
                    </a:cubicBezTo>
                    <a:close/>
                    <a:moveTo>
                      <a:pt x="1226474" y="176212"/>
                    </a:moveTo>
                    <a:cubicBezTo>
                      <a:pt x="1226474" y="176212"/>
                      <a:pt x="1226474" y="176212"/>
                      <a:pt x="1346617" y="176212"/>
                    </a:cubicBezTo>
                    <a:cubicBezTo>
                      <a:pt x="1352304" y="176212"/>
                      <a:pt x="1355148" y="181199"/>
                      <a:pt x="1357991" y="187611"/>
                    </a:cubicBezTo>
                    <a:cubicBezTo>
                      <a:pt x="1357991" y="187611"/>
                      <a:pt x="1357991" y="187611"/>
                      <a:pt x="1429082" y="300176"/>
                    </a:cubicBezTo>
                    <a:cubicBezTo>
                      <a:pt x="1431925" y="305163"/>
                      <a:pt x="1431925" y="311575"/>
                      <a:pt x="1429082" y="315137"/>
                    </a:cubicBezTo>
                    <a:cubicBezTo>
                      <a:pt x="1426238" y="320125"/>
                      <a:pt x="1416285" y="322262"/>
                      <a:pt x="1413442" y="322262"/>
                    </a:cubicBezTo>
                    <a:cubicBezTo>
                      <a:pt x="1413442" y="322262"/>
                      <a:pt x="1413442" y="322262"/>
                      <a:pt x="1226474" y="322262"/>
                    </a:cubicBezTo>
                    <a:cubicBezTo>
                      <a:pt x="1223631" y="322262"/>
                      <a:pt x="1220787" y="319412"/>
                      <a:pt x="1220787" y="315850"/>
                    </a:cubicBezTo>
                    <a:cubicBezTo>
                      <a:pt x="1220787" y="315850"/>
                      <a:pt x="1220787" y="315850"/>
                      <a:pt x="1220787" y="181911"/>
                    </a:cubicBezTo>
                    <a:cubicBezTo>
                      <a:pt x="1220787" y="179062"/>
                      <a:pt x="1223631" y="176212"/>
                      <a:pt x="1226474" y="176212"/>
                    </a:cubicBezTo>
                    <a:close/>
                    <a:moveTo>
                      <a:pt x="17855" y="0"/>
                    </a:moveTo>
                    <a:cubicBezTo>
                      <a:pt x="17855" y="0"/>
                      <a:pt x="17855" y="0"/>
                      <a:pt x="1101333" y="0"/>
                    </a:cubicBezTo>
                    <a:cubicBezTo>
                      <a:pt x="1110618" y="0"/>
                      <a:pt x="1119188" y="7856"/>
                      <a:pt x="1119188" y="17855"/>
                    </a:cubicBezTo>
                    <a:cubicBezTo>
                      <a:pt x="1119188" y="17855"/>
                      <a:pt x="1119188" y="17855"/>
                      <a:pt x="1119188" y="377825"/>
                    </a:cubicBezTo>
                    <a:cubicBezTo>
                      <a:pt x="1119188" y="377825"/>
                      <a:pt x="1119188" y="377825"/>
                      <a:pt x="17855" y="377825"/>
                    </a:cubicBezTo>
                    <a:cubicBezTo>
                      <a:pt x="7856" y="377825"/>
                      <a:pt x="0" y="369254"/>
                      <a:pt x="0" y="359255"/>
                    </a:cubicBezTo>
                    <a:cubicBezTo>
                      <a:pt x="0" y="359255"/>
                      <a:pt x="0" y="359255"/>
                      <a:pt x="0" y="17855"/>
                    </a:cubicBezTo>
                    <a:cubicBezTo>
                      <a:pt x="0" y="7856"/>
                      <a:pt x="7856" y="0"/>
                      <a:pt x="1785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07" name="Freeform 6">
                <a:extLst>
                  <a:ext uri="{FF2B5EF4-FFF2-40B4-BE49-F238E27FC236}">
                    <a16:creationId xmlns:a16="http://schemas.microsoft.com/office/drawing/2014/main" id="{A7E0FA64-87B3-C02E-0F22-7C750CAFD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5113" y="3317875"/>
                <a:ext cx="1504950" cy="501650"/>
              </a:xfrm>
              <a:custGeom>
                <a:avLst/>
                <a:gdLst>
                  <a:gd name="connsiteX0" fmla="*/ 1312069 w 1504950"/>
                  <a:gd name="connsiteY0" fmla="*/ 373063 h 501650"/>
                  <a:gd name="connsiteX1" fmla="*/ 1260475 w 1504950"/>
                  <a:gd name="connsiteY1" fmla="*/ 423863 h 501650"/>
                  <a:gd name="connsiteX2" fmla="*/ 1312069 w 1504950"/>
                  <a:gd name="connsiteY2" fmla="*/ 474663 h 501650"/>
                  <a:gd name="connsiteX3" fmla="*/ 1363663 w 1504950"/>
                  <a:gd name="connsiteY3" fmla="*/ 423863 h 501650"/>
                  <a:gd name="connsiteX4" fmla="*/ 1312069 w 1504950"/>
                  <a:gd name="connsiteY4" fmla="*/ 373063 h 501650"/>
                  <a:gd name="connsiteX5" fmla="*/ 1019969 w 1504950"/>
                  <a:gd name="connsiteY5" fmla="*/ 373063 h 501650"/>
                  <a:gd name="connsiteX6" fmla="*/ 968375 w 1504950"/>
                  <a:gd name="connsiteY6" fmla="*/ 423863 h 501650"/>
                  <a:gd name="connsiteX7" fmla="*/ 1019969 w 1504950"/>
                  <a:gd name="connsiteY7" fmla="*/ 474663 h 501650"/>
                  <a:gd name="connsiteX8" fmla="*/ 1071563 w 1504950"/>
                  <a:gd name="connsiteY8" fmla="*/ 423863 h 501650"/>
                  <a:gd name="connsiteX9" fmla="*/ 1019969 w 1504950"/>
                  <a:gd name="connsiteY9" fmla="*/ 373063 h 501650"/>
                  <a:gd name="connsiteX10" fmla="*/ 386556 w 1504950"/>
                  <a:gd name="connsiteY10" fmla="*/ 373063 h 501650"/>
                  <a:gd name="connsiteX11" fmla="*/ 334962 w 1504950"/>
                  <a:gd name="connsiteY11" fmla="*/ 423863 h 501650"/>
                  <a:gd name="connsiteX12" fmla="*/ 386556 w 1504950"/>
                  <a:gd name="connsiteY12" fmla="*/ 474663 h 501650"/>
                  <a:gd name="connsiteX13" fmla="*/ 438150 w 1504950"/>
                  <a:gd name="connsiteY13" fmla="*/ 423863 h 501650"/>
                  <a:gd name="connsiteX14" fmla="*/ 386556 w 1504950"/>
                  <a:gd name="connsiteY14" fmla="*/ 373063 h 501650"/>
                  <a:gd name="connsiteX15" fmla="*/ 153987 w 1504950"/>
                  <a:gd name="connsiteY15" fmla="*/ 373063 h 501650"/>
                  <a:gd name="connsiteX16" fmla="*/ 103187 w 1504950"/>
                  <a:gd name="connsiteY16" fmla="*/ 423863 h 501650"/>
                  <a:gd name="connsiteX17" fmla="*/ 153987 w 1504950"/>
                  <a:gd name="connsiteY17" fmla="*/ 474663 h 501650"/>
                  <a:gd name="connsiteX18" fmla="*/ 204787 w 1504950"/>
                  <a:gd name="connsiteY18" fmla="*/ 423863 h 501650"/>
                  <a:gd name="connsiteX19" fmla="*/ 153987 w 1504950"/>
                  <a:gd name="connsiteY19" fmla="*/ 373063 h 501650"/>
                  <a:gd name="connsiteX20" fmla="*/ 1311710 w 1504950"/>
                  <a:gd name="connsiteY20" fmla="*/ 346075 h 501650"/>
                  <a:gd name="connsiteX21" fmla="*/ 1390650 w 1504950"/>
                  <a:gd name="connsiteY21" fmla="*/ 423863 h 501650"/>
                  <a:gd name="connsiteX22" fmla="*/ 1314580 w 1504950"/>
                  <a:gd name="connsiteY22" fmla="*/ 501650 h 501650"/>
                  <a:gd name="connsiteX23" fmla="*/ 1233487 w 1504950"/>
                  <a:gd name="connsiteY23" fmla="*/ 423863 h 501650"/>
                  <a:gd name="connsiteX24" fmla="*/ 1311710 w 1504950"/>
                  <a:gd name="connsiteY24" fmla="*/ 346075 h 501650"/>
                  <a:gd name="connsiteX25" fmla="*/ 1020328 w 1504950"/>
                  <a:gd name="connsiteY25" fmla="*/ 346075 h 501650"/>
                  <a:gd name="connsiteX26" fmla="*/ 1098550 w 1504950"/>
                  <a:gd name="connsiteY26" fmla="*/ 423863 h 501650"/>
                  <a:gd name="connsiteX27" fmla="*/ 1022480 w 1504950"/>
                  <a:gd name="connsiteY27" fmla="*/ 501650 h 501650"/>
                  <a:gd name="connsiteX28" fmla="*/ 941387 w 1504950"/>
                  <a:gd name="connsiteY28" fmla="*/ 423863 h 501650"/>
                  <a:gd name="connsiteX29" fmla="*/ 1020328 w 1504950"/>
                  <a:gd name="connsiteY29" fmla="*/ 346075 h 501650"/>
                  <a:gd name="connsiteX30" fmla="*/ 387271 w 1504950"/>
                  <a:gd name="connsiteY30" fmla="*/ 346075 h 501650"/>
                  <a:gd name="connsiteX31" fmla="*/ 465138 w 1504950"/>
                  <a:gd name="connsiteY31" fmla="*/ 423507 h 501650"/>
                  <a:gd name="connsiteX32" fmla="*/ 389414 w 1504950"/>
                  <a:gd name="connsiteY32" fmla="*/ 501650 h 501650"/>
                  <a:gd name="connsiteX33" fmla="*/ 307975 w 1504950"/>
                  <a:gd name="connsiteY33" fmla="*/ 423507 h 501650"/>
                  <a:gd name="connsiteX34" fmla="*/ 387271 w 1504950"/>
                  <a:gd name="connsiteY34" fmla="*/ 346075 h 501650"/>
                  <a:gd name="connsiteX35" fmla="*/ 154343 w 1504950"/>
                  <a:gd name="connsiteY35" fmla="*/ 346075 h 501650"/>
                  <a:gd name="connsiteX36" fmla="*/ 231775 w 1504950"/>
                  <a:gd name="connsiteY36" fmla="*/ 423507 h 501650"/>
                  <a:gd name="connsiteX37" fmla="*/ 157184 w 1504950"/>
                  <a:gd name="connsiteY37" fmla="*/ 501650 h 501650"/>
                  <a:gd name="connsiteX38" fmla="*/ 76200 w 1504950"/>
                  <a:gd name="connsiteY38" fmla="*/ 423507 h 501650"/>
                  <a:gd name="connsiteX39" fmla="*/ 154343 w 1504950"/>
                  <a:gd name="connsiteY39" fmla="*/ 346075 h 501650"/>
                  <a:gd name="connsiteX40" fmla="*/ 17854 w 1504950"/>
                  <a:gd name="connsiteY40" fmla="*/ 277813 h 501650"/>
                  <a:gd name="connsiteX41" fmla="*/ 523484 w 1504950"/>
                  <a:gd name="connsiteY41" fmla="*/ 277813 h 501650"/>
                  <a:gd name="connsiteX42" fmla="*/ 541338 w 1504950"/>
                  <a:gd name="connsiteY42" fmla="*/ 296375 h 501650"/>
                  <a:gd name="connsiteX43" fmla="*/ 541338 w 1504950"/>
                  <a:gd name="connsiteY43" fmla="*/ 380615 h 501650"/>
                  <a:gd name="connsiteX44" fmla="*/ 523484 w 1504950"/>
                  <a:gd name="connsiteY44" fmla="*/ 398463 h 501650"/>
                  <a:gd name="connsiteX45" fmla="*/ 487062 w 1504950"/>
                  <a:gd name="connsiteY45" fmla="*/ 398463 h 501650"/>
                  <a:gd name="connsiteX46" fmla="*/ 387078 w 1504950"/>
                  <a:gd name="connsiteY46" fmla="*/ 321361 h 501650"/>
                  <a:gd name="connsiteX47" fmla="*/ 287095 w 1504950"/>
                  <a:gd name="connsiteY47" fmla="*/ 398463 h 501650"/>
                  <a:gd name="connsiteX48" fmla="*/ 254243 w 1504950"/>
                  <a:gd name="connsiteY48" fmla="*/ 398463 h 501650"/>
                  <a:gd name="connsiteX49" fmla="*/ 154260 w 1504950"/>
                  <a:gd name="connsiteY49" fmla="*/ 321361 h 501650"/>
                  <a:gd name="connsiteX50" fmla="*/ 54277 w 1504950"/>
                  <a:gd name="connsiteY50" fmla="*/ 398463 h 501650"/>
                  <a:gd name="connsiteX51" fmla="*/ 17854 w 1504950"/>
                  <a:gd name="connsiteY51" fmla="*/ 398463 h 501650"/>
                  <a:gd name="connsiteX52" fmla="*/ 0 w 1504950"/>
                  <a:gd name="connsiteY52" fmla="*/ 380615 h 501650"/>
                  <a:gd name="connsiteX53" fmla="*/ 0 w 1504950"/>
                  <a:gd name="connsiteY53" fmla="*/ 296375 h 501650"/>
                  <a:gd name="connsiteX54" fmla="*/ 17854 w 1504950"/>
                  <a:gd name="connsiteY54" fmla="*/ 277813 h 501650"/>
                  <a:gd name="connsiteX55" fmla="*/ 1163436 w 1504950"/>
                  <a:gd name="connsiteY55" fmla="*/ 0 h 501650"/>
                  <a:gd name="connsiteX56" fmla="*/ 1371345 w 1504950"/>
                  <a:gd name="connsiteY56" fmla="*/ 0 h 501650"/>
                  <a:gd name="connsiteX57" fmla="*/ 1387064 w 1504950"/>
                  <a:gd name="connsiteY57" fmla="*/ 8572 h 501650"/>
                  <a:gd name="connsiteX58" fmla="*/ 1502807 w 1504950"/>
                  <a:gd name="connsiteY58" fmla="*/ 185737 h 501650"/>
                  <a:gd name="connsiteX59" fmla="*/ 1504950 w 1504950"/>
                  <a:gd name="connsiteY59" fmla="*/ 195024 h 501650"/>
                  <a:gd name="connsiteX60" fmla="*/ 1504950 w 1504950"/>
                  <a:gd name="connsiteY60" fmla="*/ 370046 h 501650"/>
                  <a:gd name="connsiteX61" fmla="*/ 1474943 w 1504950"/>
                  <a:gd name="connsiteY61" fmla="*/ 400050 h 501650"/>
                  <a:gd name="connsiteX62" fmla="*/ 1412070 w 1504950"/>
                  <a:gd name="connsiteY62" fmla="*/ 400050 h 501650"/>
                  <a:gd name="connsiteX63" fmla="*/ 1395637 w 1504950"/>
                  <a:gd name="connsiteY63" fmla="*/ 363617 h 501650"/>
                  <a:gd name="connsiteX64" fmla="*/ 1468513 w 1504950"/>
                  <a:gd name="connsiteY64" fmla="*/ 363617 h 501650"/>
                  <a:gd name="connsiteX65" fmla="*/ 1468513 w 1504950"/>
                  <a:gd name="connsiteY65" fmla="*/ 200025 h 501650"/>
                  <a:gd name="connsiteX66" fmla="*/ 1361343 w 1504950"/>
                  <a:gd name="connsiteY66" fmla="*/ 37147 h 501650"/>
                  <a:gd name="connsiteX67" fmla="*/ 1169152 w 1504950"/>
                  <a:gd name="connsiteY67" fmla="*/ 37147 h 501650"/>
                  <a:gd name="connsiteX68" fmla="*/ 1169152 w 1504950"/>
                  <a:gd name="connsiteY68" fmla="*/ 363617 h 501650"/>
                  <a:gd name="connsiteX69" fmla="*/ 1229167 w 1504950"/>
                  <a:gd name="connsiteY69" fmla="*/ 363617 h 501650"/>
                  <a:gd name="connsiteX70" fmla="*/ 1212734 w 1504950"/>
                  <a:gd name="connsiteY70" fmla="*/ 400050 h 501650"/>
                  <a:gd name="connsiteX71" fmla="*/ 1132714 w 1504950"/>
                  <a:gd name="connsiteY71" fmla="*/ 399336 h 501650"/>
                  <a:gd name="connsiteX72" fmla="*/ 1119139 w 1504950"/>
                  <a:gd name="connsiteY72" fmla="*/ 399336 h 501650"/>
                  <a:gd name="connsiteX73" fmla="*/ 1019829 w 1504950"/>
                  <a:gd name="connsiteY73" fmla="*/ 321469 h 501650"/>
                  <a:gd name="connsiteX74" fmla="*/ 919804 w 1504950"/>
                  <a:gd name="connsiteY74" fmla="*/ 399336 h 501650"/>
                  <a:gd name="connsiteX75" fmla="*/ 886224 w 1504950"/>
                  <a:gd name="connsiteY75" fmla="*/ 399336 h 501650"/>
                  <a:gd name="connsiteX76" fmla="*/ 868362 w 1504950"/>
                  <a:gd name="connsiteY76" fmla="*/ 381476 h 501650"/>
                  <a:gd name="connsiteX77" fmla="*/ 868362 w 1504950"/>
                  <a:gd name="connsiteY77" fmla="*/ 297180 h 501650"/>
                  <a:gd name="connsiteX78" fmla="*/ 886224 w 1504950"/>
                  <a:gd name="connsiteY78" fmla="*/ 278606 h 501650"/>
                  <a:gd name="connsiteX79" fmla="*/ 1132714 w 1504950"/>
                  <a:gd name="connsiteY79" fmla="*/ 278606 h 501650"/>
                  <a:gd name="connsiteX80" fmla="*/ 1132714 w 1504950"/>
                  <a:gd name="connsiteY80" fmla="*/ 30004 h 501650"/>
                  <a:gd name="connsiteX81" fmla="*/ 1163436 w 1504950"/>
                  <a:gd name="connsiteY81" fmla="*/ 0 h 50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1504950" h="501650">
                    <a:moveTo>
                      <a:pt x="1312069" y="373063"/>
                    </a:moveTo>
                    <a:cubicBezTo>
                      <a:pt x="1283574" y="373063"/>
                      <a:pt x="1260475" y="395807"/>
                      <a:pt x="1260475" y="423863"/>
                    </a:cubicBezTo>
                    <a:cubicBezTo>
                      <a:pt x="1260475" y="451919"/>
                      <a:pt x="1283574" y="474663"/>
                      <a:pt x="1312069" y="474663"/>
                    </a:cubicBezTo>
                    <a:cubicBezTo>
                      <a:pt x="1340564" y="474663"/>
                      <a:pt x="1363663" y="451919"/>
                      <a:pt x="1363663" y="423863"/>
                    </a:cubicBezTo>
                    <a:cubicBezTo>
                      <a:pt x="1363663" y="395807"/>
                      <a:pt x="1340564" y="373063"/>
                      <a:pt x="1312069" y="373063"/>
                    </a:cubicBezTo>
                    <a:close/>
                    <a:moveTo>
                      <a:pt x="1019969" y="373063"/>
                    </a:moveTo>
                    <a:cubicBezTo>
                      <a:pt x="991474" y="373063"/>
                      <a:pt x="968375" y="395807"/>
                      <a:pt x="968375" y="423863"/>
                    </a:cubicBezTo>
                    <a:cubicBezTo>
                      <a:pt x="968375" y="451919"/>
                      <a:pt x="991474" y="474663"/>
                      <a:pt x="1019969" y="474663"/>
                    </a:cubicBezTo>
                    <a:cubicBezTo>
                      <a:pt x="1048464" y="474663"/>
                      <a:pt x="1071563" y="451919"/>
                      <a:pt x="1071563" y="423863"/>
                    </a:cubicBezTo>
                    <a:cubicBezTo>
                      <a:pt x="1071563" y="395807"/>
                      <a:pt x="1048464" y="373063"/>
                      <a:pt x="1019969" y="373063"/>
                    </a:cubicBezTo>
                    <a:close/>
                    <a:moveTo>
                      <a:pt x="386556" y="373063"/>
                    </a:moveTo>
                    <a:cubicBezTo>
                      <a:pt x="358061" y="373063"/>
                      <a:pt x="334962" y="395807"/>
                      <a:pt x="334962" y="423863"/>
                    </a:cubicBezTo>
                    <a:cubicBezTo>
                      <a:pt x="334962" y="451919"/>
                      <a:pt x="358061" y="474663"/>
                      <a:pt x="386556" y="474663"/>
                    </a:cubicBezTo>
                    <a:cubicBezTo>
                      <a:pt x="415051" y="474663"/>
                      <a:pt x="438150" y="451919"/>
                      <a:pt x="438150" y="423863"/>
                    </a:cubicBezTo>
                    <a:cubicBezTo>
                      <a:pt x="438150" y="395807"/>
                      <a:pt x="415051" y="373063"/>
                      <a:pt x="386556" y="373063"/>
                    </a:cubicBezTo>
                    <a:close/>
                    <a:moveTo>
                      <a:pt x="153987" y="373063"/>
                    </a:moveTo>
                    <a:cubicBezTo>
                      <a:pt x="125931" y="373063"/>
                      <a:pt x="103187" y="395807"/>
                      <a:pt x="103187" y="423863"/>
                    </a:cubicBezTo>
                    <a:cubicBezTo>
                      <a:pt x="103187" y="451919"/>
                      <a:pt x="125931" y="474663"/>
                      <a:pt x="153987" y="474663"/>
                    </a:cubicBezTo>
                    <a:cubicBezTo>
                      <a:pt x="182043" y="474663"/>
                      <a:pt x="204787" y="451919"/>
                      <a:pt x="204787" y="423863"/>
                    </a:cubicBezTo>
                    <a:cubicBezTo>
                      <a:pt x="204787" y="395807"/>
                      <a:pt x="182043" y="373063"/>
                      <a:pt x="153987" y="373063"/>
                    </a:cubicBezTo>
                    <a:close/>
                    <a:moveTo>
                      <a:pt x="1311710" y="346075"/>
                    </a:moveTo>
                    <a:cubicBezTo>
                      <a:pt x="1355486" y="346075"/>
                      <a:pt x="1390650" y="381044"/>
                      <a:pt x="1390650" y="423863"/>
                    </a:cubicBezTo>
                    <a:cubicBezTo>
                      <a:pt x="1390650" y="466681"/>
                      <a:pt x="1357639" y="501650"/>
                      <a:pt x="1314580" y="501650"/>
                    </a:cubicBezTo>
                    <a:cubicBezTo>
                      <a:pt x="1270804" y="501650"/>
                      <a:pt x="1233487" y="466681"/>
                      <a:pt x="1233487" y="423863"/>
                    </a:cubicBezTo>
                    <a:cubicBezTo>
                      <a:pt x="1233487" y="381044"/>
                      <a:pt x="1268652" y="346075"/>
                      <a:pt x="1311710" y="346075"/>
                    </a:cubicBezTo>
                    <a:close/>
                    <a:moveTo>
                      <a:pt x="1020328" y="346075"/>
                    </a:moveTo>
                    <a:cubicBezTo>
                      <a:pt x="1063386" y="346075"/>
                      <a:pt x="1098550" y="381044"/>
                      <a:pt x="1098550" y="423863"/>
                    </a:cubicBezTo>
                    <a:cubicBezTo>
                      <a:pt x="1098550" y="466681"/>
                      <a:pt x="1066256" y="501650"/>
                      <a:pt x="1022480" y="501650"/>
                    </a:cubicBezTo>
                    <a:cubicBezTo>
                      <a:pt x="979422" y="501650"/>
                      <a:pt x="941387" y="466681"/>
                      <a:pt x="941387" y="423863"/>
                    </a:cubicBezTo>
                    <a:cubicBezTo>
                      <a:pt x="941387" y="381044"/>
                      <a:pt x="976552" y="346075"/>
                      <a:pt x="1020328" y="346075"/>
                    </a:cubicBezTo>
                    <a:close/>
                    <a:moveTo>
                      <a:pt x="387271" y="346075"/>
                    </a:moveTo>
                    <a:cubicBezTo>
                      <a:pt x="430134" y="346075"/>
                      <a:pt x="465138" y="380884"/>
                      <a:pt x="465138" y="423507"/>
                    </a:cubicBezTo>
                    <a:cubicBezTo>
                      <a:pt x="465138" y="466131"/>
                      <a:pt x="432991" y="501650"/>
                      <a:pt x="389414" y="501650"/>
                    </a:cubicBezTo>
                    <a:cubicBezTo>
                      <a:pt x="346552" y="501650"/>
                      <a:pt x="307975" y="466131"/>
                      <a:pt x="307975" y="423507"/>
                    </a:cubicBezTo>
                    <a:cubicBezTo>
                      <a:pt x="307975" y="380884"/>
                      <a:pt x="343694" y="346075"/>
                      <a:pt x="387271" y="346075"/>
                    </a:cubicBezTo>
                    <a:close/>
                    <a:moveTo>
                      <a:pt x="154343" y="346075"/>
                    </a:moveTo>
                    <a:cubicBezTo>
                      <a:pt x="197677" y="346075"/>
                      <a:pt x="231775" y="380884"/>
                      <a:pt x="231775" y="423507"/>
                    </a:cubicBezTo>
                    <a:cubicBezTo>
                      <a:pt x="231775" y="466131"/>
                      <a:pt x="199808" y="501650"/>
                      <a:pt x="157184" y="501650"/>
                    </a:cubicBezTo>
                    <a:cubicBezTo>
                      <a:pt x="113851" y="501650"/>
                      <a:pt x="76200" y="466131"/>
                      <a:pt x="76200" y="423507"/>
                    </a:cubicBezTo>
                    <a:cubicBezTo>
                      <a:pt x="76200" y="380884"/>
                      <a:pt x="111720" y="346075"/>
                      <a:pt x="154343" y="346075"/>
                    </a:cubicBezTo>
                    <a:close/>
                    <a:moveTo>
                      <a:pt x="17854" y="277813"/>
                    </a:moveTo>
                    <a:cubicBezTo>
                      <a:pt x="17854" y="277813"/>
                      <a:pt x="17854" y="277813"/>
                      <a:pt x="523484" y="277813"/>
                    </a:cubicBezTo>
                    <a:cubicBezTo>
                      <a:pt x="533482" y="277813"/>
                      <a:pt x="541338" y="286380"/>
                      <a:pt x="541338" y="296375"/>
                    </a:cubicBezTo>
                    <a:cubicBezTo>
                      <a:pt x="541338" y="296375"/>
                      <a:pt x="541338" y="296375"/>
                      <a:pt x="541338" y="380615"/>
                    </a:cubicBezTo>
                    <a:cubicBezTo>
                      <a:pt x="541338" y="391324"/>
                      <a:pt x="533482" y="398463"/>
                      <a:pt x="523484" y="398463"/>
                    </a:cubicBezTo>
                    <a:cubicBezTo>
                      <a:pt x="523484" y="398463"/>
                      <a:pt x="523484" y="398463"/>
                      <a:pt x="487062" y="398463"/>
                    </a:cubicBezTo>
                    <a:cubicBezTo>
                      <a:pt x="474921" y="354201"/>
                      <a:pt x="434927" y="321361"/>
                      <a:pt x="387078" y="321361"/>
                    </a:cubicBezTo>
                    <a:cubicBezTo>
                      <a:pt x="338515" y="321361"/>
                      <a:pt x="297808" y="354201"/>
                      <a:pt x="287095" y="398463"/>
                    </a:cubicBezTo>
                    <a:cubicBezTo>
                      <a:pt x="287095" y="398463"/>
                      <a:pt x="287095" y="398463"/>
                      <a:pt x="254243" y="398463"/>
                    </a:cubicBezTo>
                    <a:cubicBezTo>
                      <a:pt x="242103" y="354201"/>
                      <a:pt x="202823" y="321361"/>
                      <a:pt x="154260" y="321361"/>
                    </a:cubicBezTo>
                    <a:cubicBezTo>
                      <a:pt x="106411" y="321361"/>
                      <a:pt x="65704" y="354201"/>
                      <a:pt x="54277" y="398463"/>
                    </a:cubicBezTo>
                    <a:cubicBezTo>
                      <a:pt x="54277" y="398463"/>
                      <a:pt x="54277" y="398463"/>
                      <a:pt x="17854" y="398463"/>
                    </a:cubicBezTo>
                    <a:cubicBezTo>
                      <a:pt x="7856" y="398463"/>
                      <a:pt x="0" y="391324"/>
                      <a:pt x="0" y="380615"/>
                    </a:cubicBezTo>
                    <a:cubicBezTo>
                      <a:pt x="0" y="380615"/>
                      <a:pt x="0" y="380615"/>
                      <a:pt x="0" y="296375"/>
                    </a:cubicBezTo>
                    <a:cubicBezTo>
                      <a:pt x="0" y="286380"/>
                      <a:pt x="7856" y="277813"/>
                      <a:pt x="17854" y="277813"/>
                    </a:cubicBezTo>
                    <a:close/>
                    <a:moveTo>
                      <a:pt x="1163436" y="0"/>
                    </a:moveTo>
                    <a:cubicBezTo>
                      <a:pt x="1163436" y="0"/>
                      <a:pt x="1163436" y="0"/>
                      <a:pt x="1371345" y="0"/>
                    </a:cubicBezTo>
                    <a:cubicBezTo>
                      <a:pt x="1377776" y="0"/>
                      <a:pt x="1382777" y="2857"/>
                      <a:pt x="1387064" y="8572"/>
                    </a:cubicBezTo>
                    <a:cubicBezTo>
                      <a:pt x="1387064" y="8572"/>
                      <a:pt x="1387064" y="8572"/>
                      <a:pt x="1502807" y="185737"/>
                    </a:cubicBezTo>
                    <a:cubicBezTo>
                      <a:pt x="1504236" y="188595"/>
                      <a:pt x="1504950" y="192881"/>
                      <a:pt x="1504950" y="195024"/>
                    </a:cubicBezTo>
                    <a:cubicBezTo>
                      <a:pt x="1504950" y="195024"/>
                      <a:pt x="1504950" y="195024"/>
                      <a:pt x="1504950" y="370046"/>
                    </a:cubicBezTo>
                    <a:cubicBezTo>
                      <a:pt x="1504950" y="387191"/>
                      <a:pt x="1492090" y="400050"/>
                      <a:pt x="1474943" y="400050"/>
                    </a:cubicBezTo>
                    <a:cubicBezTo>
                      <a:pt x="1474943" y="400050"/>
                      <a:pt x="1474943" y="400050"/>
                      <a:pt x="1412070" y="400050"/>
                    </a:cubicBezTo>
                    <a:cubicBezTo>
                      <a:pt x="1408497" y="387191"/>
                      <a:pt x="1402782" y="374333"/>
                      <a:pt x="1395637" y="363617"/>
                    </a:cubicBezTo>
                    <a:cubicBezTo>
                      <a:pt x="1395637" y="363617"/>
                      <a:pt x="1395637" y="363617"/>
                      <a:pt x="1468513" y="363617"/>
                    </a:cubicBezTo>
                    <a:cubicBezTo>
                      <a:pt x="1468513" y="363617"/>
                      <a:pt x="1468513" y="363617"/>
                      <a:pt x="1468513" y="200025"/>
                    </a:cubicBezTo>
                    <a:cubicBezTo>
                      <a:pt x="1468513" y="200025"/>
                      <a:pt x="1468513" y="200025"/>
                      <a:pt x="1361343" y="37147"/>
                    </a:cubicBezTo>
                    <a:cubicBezTo>
                      <a:pt x="1361343" y="37147"/>
                      <a:pt x="1361343" y="37147"/>
                      <a:pt x="1169152" y="37147"/>
                    </a:cubicBezTo>
                    <a:cubicBezTo>
                      <a:pt x="1169152" y="37147"/>
                      <a:pt x="1169152" y="37147"/>
                      <a:pt x="1169152" y="363617"/>
                    </a:cubicBezTo>
                    <a:cubicBezTo>
                      <a:pt x="1169152" y="363617"/>
                      <a:pt x="1169152" y="363617"/>
                      <a:pt x="1229167" y="363617"/>
                    </a:cubicBezTo>
                    <a:cubicBezTo>
                      <a:pt x="1222022" y="374333"/>
                      <a:pt x="1215592" y="387191"/>
                      <a:pt x="1212734" y="400050"/>
                    </a:cubicBezTo>
                    <a:cubicBezTo>
                      <a:pt x="1212734" y="400050"/>
                      <a:pt x="1212734" y="400050"/>
                      <a:pt x="1132714" y="399336"/>
                    </a:cubicBezTo>
                    <a:cubicBezTo>
                      <a:pt x="1132714" y="399336"/>
                      <a:pt x="1132714" y="399336"/>
                      <a:pt x="1119139" y="399336"/>
                    </a:cubicBezTo>
                    <a:cubicBezTo>
                      <a:pt x="1108422" y="354330"/>
                      <a:pt x="1067698" y="321469"/>
                      <a:pt x="1019829" y="321469"/>
                    </a:cubicBezTo>
                    <a:cubicBezTo>
                      <a:pt x="971245" y="321469"/>
                      <a:pt x="930521" y="354330"/>
                      <a:pt x="919804" y="399336"/>
                    </a:cubicBezTo>
                    <a:cubicBezTo>
                      <a:pt x="919804" y="399336"/>
                      <a:pt x="919804" y="399336"/>
                      <a:pt x="886224" y="399336"/>
                    </a:cubicBezTo>
                    <a:cubicBezTo>
                      <a:pt x="876221" y="399336"/>
                      <a:pt x="868362" y="392192"/>
                      <a:pt x="868362" y="381476"/>
                    </a:cubicBezTo>
                    <a:cubicBezTo>
                      <a:pt x="868362" y="381476"/>
                      <a:pt x="868362" y="381476"/>
                      <a:pt x="868362" y="297180"/>
                    </a:cubicBezTo>
                    <a:cubicBezTo>
                      <a:pt x="868362" y="287179"/>
                      <a:pt x="876221" y="278606"/>
                      <a:pt x="886224" y="278606"/>
                    </a:cubicBezTo>
                    <a:cubicBezTo>
                      <a:pt x="886224" y="278606"/>
                      <a:pt x="886224" y="278606"/>
                      <a:pt x="1132714" y="278606"/>
                    </a:cubicBezTo>
                    <a:cubicBezTo>
                      <a:pt x="1132714" y="278606"/>
                      <a:pt x="1132714" y="278606"/>
                      <a:pt x="1132714" y="30004"/>
                    </a:cubicBezTo>
                    <a:cubicBezTo>
                      <a:pt x="1132714" y="13573"/>
                      <a:pt x="1147003" y="0"/>
                      <a:pt x="116343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49" name="bcgIcons_Retail storage stock">
            <a:extLst>
              <a:ext uri="{FF2B5EF4-FFF2-40B4-BE49-F238E27FC236}">
                <a16:creationId xmlns:a16="http://schemas.microsoft.com/office/drawing/2014/main" id="{967133CB-A5B0-6B2B-5EF6-CF568D85F7DA}"/>
              </a:ext>
            </a:extLst>
          </p:cNvPr>
          <p:cNvGrpSpPr>
            <a:grpSpLocks noChangeAspect="1"/>
          </p:cNvGrpSpPr>
          <p:nvPr/>
        </p:nvGrpSpPr>
        <p:grpSpPr>
          <a:xfrm>
            <a:off x="8983077" y="3762922"/>
            <a:ext cx="125450" cy="125450"/>
            <a:chOff x="5273675" y="2606675"/>
            <a:chExt cx="1644650" cy="1644650"/>
          </a:xfrm>
        </p:grpSpPr>
        <p:sp>
          <p:nvSpPr>
            <p:cNvPr id="252" name="AutoShape 14">
              <a:extLst>
                <a:ext uri="{FF2B5EF4-FFF2-40B4-BE49-F238E27FC236}">
                  <a16:creationId xmlns:a16="http://schemas.microsoft.com/office/drawing/2014/main" id="{21796869-23C4-E006-26F0-5DC425702FA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6033F91F-5C83-4D49-3C83-36CEF916D6FF}"/>
                </a:ext>
              </a:extLst>
            </p:cNvPr>
            <p:cNvGrpSpPr/>
            <p:nvPr/>
          </p:nvGrpSpPr>
          <p:grpSpPr>
            <a:xfrm>
              <a:off x="5521325" y="2901950"/>
              <a:ext cx="1147763" cy="1181100"/>
              <a:chOff x="5521325" y="2901950"/>
              <a:chExt cx="1147763" cy="1181100"/>
            </a:xfrm>
          </p:grpSpPr>
          <p:sp>
            <p:nvSpPr>
              <p:cNvPr id="254" name="Freeform 29">
                <a:extLst>
                  <a:ext uri="{FF2B5EF4-FFF2-40B4-BE49-F238E27FC236}">
                    <a16:creationId xmlns:a16="http://schemas.microsoft.com/office/drawing/2014/main" id="{4BA105C4-3D1D-1810-5471-72C9359B9D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1973" y="2965450"/>
                <a:ext cx="1108140" cy="960438"/>
              </a:xfrm>
              <a:custGeom>
                <a:avLst/>
                <a:gdLst>
                  <a:gd name="connsiteX0" fmla="*/ 811201 w 1108140"/>
                  <a:gd name="connsiteY0" fmla="*/ 836613 h 960438"/>
                  <a:gd name="connsiteX1" fmla="*/ 930264 w 1108140"/>
                  <a:gd name="connsiteY1" fmla="*/ 836613 h 960438"/>
                  <a:gd name="connsiteX2" fmla="*/ 930264 w 1108140"/>
                  <a:gd name="connsiteY2" fmla="*/ 960438 h 960438"/>
                  <a:gd name="connsiteX3" fmla="*/ 811201 w 1108140"/>
                  <a:gd name="connsiteY3" fmla="*/ 960438 h 960438"/>
                  <a:gd name="connsiteX4" fmla="*/ 720279 w 1108140"/>
                  <a:gd name="connsiteY4" fmla="*/ 827088 h 960438"/>
                  <a:gd name="connsiteX5" fmla="*/ 714547 w 1108140"/>
                  <a:gd name="connsiteY5" fmla="*/ 829231 h 960438"/>
                  <a:gd name="connsiteX6" fmla="*/ 683022 w 1108140"/>
                  <a:gd name="connsiteY6" fmla="*/ 860664 h 960438"/>
                  <a:gd name="connsiteX7" fmla="*/ 683022 w 1108140"/>
                  <a:gd name="connsiteY7" fmla="*/ 872094 h 960438"/>
                  <a:gd name="connsiteX8" fmla="*/ 693769 w 1108140"/>
                  <a:gd name="connsiteY8" fmla="*/ 872094 h 960438"/>
                  <a:gd name="connsiteX9" fmla="*/ 712398 w 1108140"/>
                  <a:gd name="connsiteY9" fmla="*/ 853520 h 960438"/>
                  <a:gd name="connsiteX10" fmla="*/ 712398 w 1108140"/>
                  <a:gd name="connsiteY10" fmla="*/ 904955 h 960438"/>
                  <a:gd name="connsiteX11" fmla="*/ 720279 w 1108140"/>
                  <a:gd name="connsiteY11" fmla="*/ 912813 h 960438"/>
                  <a:gd name="connsiteX12" fmla="*/ 728160 w 1108140"/>
                  <a:gd name="connsiteY12" fmla="*/ 904955 h 960438"/>
                  <a:gd name="connsiteX13" fmla="*/ 728160 w 1108140"/>
                  <a:gd name="connsiteY13" fmla="*/ 853520 h 960438"/>
                  <a:gd name="connsiteX14" fmla="*/ 746073 w 1108140"/>
                  <a:gd name="connsiteY14" fmla="*/ 872094 h 960438"/>
                  <a:gd name="connsiteX15" fmla="*/ 751804 w 1108140"/>
                  <a:gd name="connsiteY15" fmla="*/ 874237 h 960438"/>
                  <a:gd name="connsiteX16" fmla="*/ 757536 w 1108140"/>
                  <a:gd name="connsiteY16" fmla="*/ 872094 h 960438"/>
                  <a:gd name="connsiteX17" fmla="*/ 757536 w 1108140"/>
                  <a:gd name="connsiteY17" fmla="*/ 860664 h 960438"/>
                  <a:gd name="connsiteX18" fmla="*/ 726011 w 1108140"/>
                  <a:gd name="connsiteY18" fmla="*/ 829231 h 960438"/>
                  <a:gd name="connsiteX19" fmla="*/ 720279 w 1108140"/>
                  <a:gd name="connsiteY19" fmla="*/ 827088 h 960438"/>
                  <a:gd name="connsiteX20" fmla="*/ 359916 w 1108140"/>
                  <a:gd name="connsiteY20" fmla="*/ 827088 h 960438"/>
                  <a:gd name="connsiteX21" fmla="*/ 354184 w 1108140"/>
                  <a:gd name="connsiteY21" fmla="*/ 829231 h 960438"/>
                  <a:gd name="connsiteX22" fmla="*/ 322659 w 1108140"/>
                  <a:gd name="connsiteY22" fmla="*/ 860664 h 960438"/>
                  <a:gd name="connsiteX23" fmla="*/ 322659 w 1108140"/>
                  <a:gd name="connsiteY23" fmla="*/ 872094 h 960438"/>
                  <a:gd name="connsiteX24" fmla="*/ 333406 w 1108140"/>
                  <a:gd name="connsiteY24" fmla="*/ 872094 h 960438"/>
                  <a:gd name="connsiteX25" fmla="*/ 352035 w 1108140"/>
                  <a:gd name="connsiteY25" fmla="*/ 853520 h 960438"/>
                  <a:gd name="connsiteX26" fmla="*/ 352035 w 1108140"/>
                  <a:gd name="connsiteY26" fmla="*/ 904955 h 960438"/>
                  <a:gd name="connsiteX27" fmla="*/ 359916 w 1108140"/>
                  <a:gd name="connsiteY27" fmla="*/ 912813 h 960438"/>
                  <a:gd name="connsiteX28" fmla="*/ 367797 w 1108140"/>
                  <a:gd name="connsiteY28" fmla="*/ 904955 h 960438"/>
                  <a:gd name="connsiteX29" fmla="*/ 367797 w 1108140"/>
                  <a:gd name="connsiteY29" fmla="*/ 853520 h 960438"/>
                  <a:gd name="connsiteX30" fmla="*/ 386426 w 1108140"/>
                  <a:gd name="connsiteY30" fmla="*/ 872094 h 960438"/>
                  <a:gd name="connsiteX31" fmla="*/ 391441 w 1108140"/>
                  <a:gd name="connsiteY31" fmla="*/ 874237 h 960438"/>
                  <a:gd name="connsiteX32" fmla="*/ 397173 w 1108140"/>
                  <a:gd name="connsiteY32" fmla="*/ 872094 h 960438"/>
                  <a:gd name="connsiteX33" fmla="*/ 397173 w 1108140"/>
                  <a:gd name="connsiteY33" fmla="*/ 860664 h 960438"/>
                  <a:gd name="connsiteX34" fmla="*/ 365648 w 1108140"/>
                  <a:gd name="connsiteY34" fmla="*/ 829231 h 960438"/>
                  <a:gd name="connsiteX35" fmla="*/ 359916 w 1108140"/>
                  <a:gd name="connsiteY35" fmla="*/ 827088 h 960438"/>
                  <a:gd name="connsiteX36" fmla="*/ 176201 w 1108140"/>
                  <a:gd name="connsiteY36" fmla="*/ 744538 h 960438"/>
                  <a:gd name="connsiteX37" fmla="*/ 427026 w 1108140"/>
                  <a:gd name="connsiteY37" fmla="*/ 744538 h 960438"/>
                  <a:gd name="connsiteX38" fmla="*/ 427026 w 1108140"/>
                  <a:gd name="connsiteY38" fmla="*/ 960438 h 960438"/>
                  <a:gd name="connsiteX39" fmla="*/ 176201 w 1108140"/>
                  <a:gd name="connsiteY39" fmla="*/ 960438 h 960438"/>
                  <a:gd name="connsiteX40" fmla="*/ 176201 w 1108140"/>
                  <a:gd name="connsiteY40" fmla="*/ 744538 h 960438"/>
                  <a:gd name="connsiteX41" fmla="*/ 811201 w 1108140"/>
                  <a:gd name="connsiteY41" fmla="*/ 688975 h 960438"/>
                  <a:gd name="connsiteX42" fmla="*/ 930264 w 1108140"/>
                  <a:gd name="connsiteY42" fmla="*/ 688975 h 960438"/>
                  <a:gd name="connsiteX43" fmla="*/ 930264 w 1108140"/>
                  <a:gd name="connsiteY43" fmla="*/ 811213 h 960438"/>
                  <a:gd name="connsiteX44" fmla="*/ 811201 w 1108140"/>
                  <a:gd name="connsiteY44" fmla="*/ 811213 h 960438"/>
                  <a:gd name="connsiteX45" fmla="*/ 449251 w 1108140"/>
                  <a:gd name="connsiteY45" fmla="*/ 606425 h 960438"/>
                  <a:gd name="connsiteX46" fmla="*/ 788976 w 1108140"/>
                  <a:gd name="connsiteY46" fmla="*/ 606425 h 960438"/>
                  <a:gd name="connsiteX47" fmla="*/ 788976 w 1108140"/>
                  <a:gd name="connsiteY47" fmla="*/ 678367 h 960438"/>
                  <a:gd name="connsiteX48" fmla="*/ 788976 w 1108140"/>
                  <a:gd name="connsiteY48" fmla="*/ 825101 h 960438"/>
                  <a:gd name="connsiteX49" fmla="*/ 788976 w 1108140"/>
                  <a:gd name="connsiteY49" fmla="*/ 960438 h 960438"/>
                  <a:gd name="connsiteX50" fmla="*/ 449251 w 1108140"/>
                  <a:gd name="connsiteY50" fmla="*/ 960438 h 960438"/>
                  <a:gd name="connsiteX51" fmla="*/ 449251 w 1108140"/>
                  <a:gd name="connsiteY51" fmla="*/ 734639 h 960438"/>
                  <a:gd name="connsiteX52" fmla="*/ 449251 w 1108140"/>
                  <a:gd name="connsiteY52" fmla="*/ 606425 h 960438"/>
                  <a:gd name="connsiteX53" fmla="*/ 141527 w 1108140"/>
                  <a:gd name="connsiteY53" fmla="*/ 0 h 960438"/>
                  <a:gd name="connsiteX54" fmla="*/ 967238 w 1108140"/>
                  <a:gd name="connsiteY54" fmla="*/ 0 h 960438"/>
                  <a:gd name="connsiteX55" fmla="*/ 984366 w 1108140"/>
                  <a:gd name="connsiteY55" fmla="*/ 12809 h 960438"/>
                  <a:gd name="connsiteX56" fmla="*/ 1105690 w 1108140"/>
                  <a:gd name="connsiteY56" fmla="*/ 263306 h 960438"/>
                  <a:gd name="connsiteX57" fmla="*/ 1088562 w 1108140"/>
                  <a:gd name="connsiteY57" fmla="*/ 288925 h 960438"/>
                  <a:gd name="connsiteX58" fmla="*/ 19490 w 1108140"/>
                  <a:gd name="connsiteY58" fmla="*/ 288925 h 960438"/>
                  <a:gd name="connsiteX59" fmla="*/ 2362 w 1108140"/>
                  <a:gd name="connsiteY59" fmla="*/ 261883 h 960438"/>
                  <a:gd name="connsiteX60" fmla="*/ 123686 w 1108140"/>
                  <a:gd name="connsiteY60" fmla="*/ 14233 h 960438"/>
                  <a:gd name="connsiteX61" fmla="*/ 141527 w 1108140"/>
                  <a:gd name="connsiteY61" fmla="*/ 0 h 960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108140" h="960438">
                    <a:moveTo>
                      <a:pt x="811201" y="836613"/>
                    </a:moveTo>
                    <a:lnTo>
                      <a:pt x="930264" y="836613"/>
                    </a:lnTo>
                    <a:lnTo>
                      <a:pt x="930264" y="960438"/>
                    </a:lnTo>
                    <a:lnTo>
                      <a:pt x="811201" y="960438"/>
                    </a:lnTo>
                    <a:close/>
                    <a:moveTo>
                      <a:pt x="720279" y="827088"/>
                    </a:moveTo>
                    <a:cubicBezTo>
                      <a:pt x="718130" y="827088"/>
                      <a:pt x="715980" y="827803"/>
                      <a:pt x="714547" y="829231"/>
                    </a:cubicBezTo>
                    <a:cubicBezTo>
                      <a:pt x="714547" y="829231"/>
                      <a:pt x="714547" y="829231"/>
                      <a:pt x="683022" y="860664"/>
                    </a:cubicBezTo>
                    <a:cubicBezTo>
                      <a:pt x="679439" y="864236"/>
                      <a:pt x="679439" y="869236"/>
                      <a:pt x="683022" y="872094"/>
                    </a:cubicBezTo>
                    <a:cubicBezTo>
                      <a:pt x="685888" y="874951"/>
                      <a:pt x="690903" y="874951"/>
                      <a:pt x="693769" y="872094"/>
                    </a:cubicBezTo>
                    <a:cubicBezTo>
                      <a:pt x="693769" y="872094"/>
                      <a:pt x="693769" y="872094"/>
                      <a:pt x="712398" y="853520"/>
                    </a:cubicBezTo>
                    <a:cubicBezTo>
                      <a:pt x="712398" y="853520"/>
                      <a:pt x="712398" y="853520"/>
                      <a:pt x="712398" y="904955"/>
                    </a:cubicBezTo>
                    <a:cubicBezTo>
                      <a:pt x="712398" y="909956"/>
                      <a:pt x="715980" y="912813"/>
                      <a:pt x="720279" y="912813"/>
                    </a:cubicBezTo>
                    <a:cubicBezTo>
                      <a:pt x="724578" y="912813"/>
                      <a:pt x="728160" y="909956"/>
                      <a:pt x="728160" y="904955"/>
                    </a:cubicBezTo>
                    <a:cubicBezTo>
                      <a:pt x="728160" y="904955"/>
                      <a:pt x="728160" y="904955"/>
                      <a:pt x="728160" y="853520"/>
                    </a:cubicBezTo>
                    <a:cubicBezTo>
                      <a:pt x="728160" y="853520"/>
                      <a:pt x="728160" y="853520"/>
                      <a:pt x="746073" y="872094"/>
                    </a:cubicBezTo>
                    <a:cubicBezTo>
                      <a:pt x="748222" y="873523"/>
                      <a:pt x="749655" y="874237"/>
                      <a:pt x="751804" y="874237"/>
                    </a:cubicBezTo>
                    <a:cubicBezTo>
                      <a:pt x="753954" y="874237"/>
                      <a:pt x="756103" y="873523"/>
                      <a:pt x="757536" y="872094"/>
                    </a:cubicBezTo>
                    <a:cubicBezTo>
                      <a:pt x="760402" y="869236"/>
                      <a:pt x="760402" y="864236"/>
                      <a:pt x="757536" y="860664"/>
                    </a:cubicBezTo>
                    <a:cubicBezTo>
                      <a:pt x="757536" y="860664"/>
                      <a:pt x="757536" y="860664"/>
                      <a:pt x="726011" y="829231"/>
                    </a:cubicBezTo>
                    <a:cubicBezTo>
                      <a:pt x="724578" y="827803"/>
                      <a:pt x="722428" y="827088"/>
                      <a:pt x="720279" y="827088"/>
                    </a:cubicBezTo>
                    <a:close/>
                    <a:moveTo>
                      <a:pt x="359916" y="827088"/>
                    </a:moveTo>
                    <a:cubicBezTo>
                      <a:pt x="357767" y="827088"/>
                      <a:pt x="355617" y="827803"/>
                      <a:pt x="354184" y="829231"/>
                    </a:cubicBezTo>
                    <a:cubicBezTo>
                      <a:pt x="354184" y="829231"/>
                      <a:pt x="354184" y="829231"/>
                      <a:pt x="322659" y="860664"/>
                    </a:cubicBezTo>
                    <a:cubicBezTo>
                      <a:pt x="319076" y="864236"/>
                      <a:pt x="319076" y="869236"/>
                      <a:pt x="322659" y="872094"/>
                    </a:cubicBezTo>
                    <a:cubicBezTo>
                      <a:pt x="325525" y="874951"/>
                      <a:pt x="330540" y="874951"/>
                      <a:pt x="333406" y="872094"/>
                    </a:cubicBezTo>
                    <a:cubicBezTo>
                      <a:pt x="333406" y="872094"/>
                      <a:pt x="333406" y="872094"/>
                      <a:pt x="352035" y="853520"/>
                    </a:cubicBezTo>
                    <a:cubicBezTo>
                      <a:pt x="352035" y="853520"/>
                      <a:pt x="352035" y="853520"/>
                      <a:pt x="352035" y="904955"/>
                    </a:cubicBezTo>
                    <a:cubicBezTo>
                      <a:pt x="352035" y="909956"/>
                      <a:pt x="355617" y="912813"/>
                      <a:pt x="359916" y="912813"/>
                    </a:cubicBezTo>
                    <a:cubicBezTo>
                      <a:pt x="364215" y="912813"/>
                      <a:pt x="367797" y="909956"/>
                      <a:pt x="367797" y="904955"/>
                    </a:cubicBezTo>
                    <a:cubicBezTo>
                      <a:pt x="367797" y="904955"/>
                      <a:pt x="367797" y="904955"/>
                      <a:pt x="367797" y="853520"/>
                    </a:cubicBezTo>
                    <a:cubicBezTo>
                      <a:pt x="367797" y="853520"/>
                      <a:pt x="367797" y="853520"/>
                      <a:pt x="386426" y="872094"/>
                    </a:cubicBezTo>
                    <a:cubicBezTo>
                      <a:pt x="387859" y="873523"/>
                      <a:pt x="389292" y="874237"/>
                      <a:pt x="391441" y="874237"/>
                    </a:cubicBezTo>
                    <a:cubicBezTo>
                      <a:pt x="393591" y="874237"/>
                      <a:pt x="395740" y="873523"/>
                      <a:pt x="397173" y="872094"/>
                    </a:cubicBezTo>
                    <a:cubicBezTo>
                      <a:pt x="400039" y="869236"/>
                      <a:pt x="400039" y="864236"/>
                      <a:pt x="397173" y="860664"/>
                    </a:cubicBezTo>
                    <a:cubicBezTo>
                      <a:pt x="397173" y="860664"/>
                      <a:pt x="397173" y="860664"/>
                      <a:pt x="365648" y="829231"/>
                    </a:cubicBezTo>
                    <a:cubicBezTo>
                      <a:pt x="364215" y="827803"/>
                      <a:pt x="362065" y="827088"/>
                      <a:pt x="359916" y="827088"/>
                    </a:cubicBezTo>
                    <a:close/>
                    <a:moveTo>
                      <a:pt x="176201" y="744538"/>
                    </a:moveTo>
                    <a:cubicBezTo>
                      <a:pt x="176201" y="744538"/>
                      <a:pt x="176201" y="744538"/>
                      <a:pt x="427026" y="744538"/>
                    </a:cubicBezTo>
                    <a:cubicBezTo>
                      <a:pt x="427026" y="744538"/>
                      <a:pt x="427026" y="744538"/>
                      <a:pt x="427026" y="960438"/>
                    </a:cubicBezTo>
                    <a:cubicBezTo>
                      <a:pt x="427026" y="960438"/>
                      <a:pt x="427026" y="960438"/>
                      <a:pt x="176201" y="960438"/>
                    </a:cubicBezTo>
                    <a:cubicBezTo>
                      <a:pt x="176201" y="960438"/>
                      <a:pt x="176201" y="960438"/>
                      <a:pt x="176201" y="744538"/>
                    </a:cubicBezTo>
                    <a:close/>
                    <a:moveTo>
                      <a:pt x="811201" y="688975"/>
                    </a:moveTo>
                    <a:lnTo>
                      <a:pt x="930264" y="688975"/>
                    </a:lnTo>
                    <a:lnTo>
                      <a:pt x="930264" y="811213"/>
                    </a:lnTo>
                    <a:lnTo>
                      <a:pt x="811201" y="811213"/>
                    </a:lnTo>
                    <a:close/>
                    <a:moveTo>
                      <a:pt x="449251" y="606425"/>
                    </a:moveTo>
                    <a:cubicBezTo>
                      <a:pt x="449251" y="606425"/>
                      <a:pt x="449251" y="606425"/>
                      <a:pt x="788976" y="606425"/>
                    </a:cubicBezTo>
                    <a:cubicBezTo>
                      <a:pt x="788976" y="606425"/>
                      <a:pt x="788976" y="606425"/>
                      <a:pt x="788976" y="678367"/>
                    </a:cubicBezTo>
                    <a:cubicBezTo>
                      <a:pt x="788976" y="678367"/>
                      <a:pt x="788976" y="678367"/>
                      <a:pt x="788976" y="825101"/>
                    </a:cubicBezTo>
                    <a:cubicBezTo>
                      <a:pt x="788976" y="825101"/>
                      <a:pt x="788976" y="825101"/>
                      <a:pt x="788976" y="960438"/>
                    </a:cubicBezTo>
                    <a:cubicBezTo>
                      <a:pt x="788976" y="960438"/>
                      <a:pt x="788976" y="960438"/>
                      <a:pt x="449251" y="960438"/>
                    </a:cubicBezTo>
                    <a:cubicBezTo>
                      <a:pt x="449251" y="960438"/>
                      <a:pt x="449251" y="960438"/>
                      <a:pt x="449251" y="734639"/>
                    </a:cubicBezTo>
                    <a:cubicBezTo>
                      <a:pt x="449251" y="734639"/>
                      <a:pt x="449251" y="734639"/>
                      <a:pt x="449251" y="606425"/>
                    </a:cubicBezTo>
                    <a:close/>
                    <a:moveTo>
                      <a:pt x="141527" y="0"/>
                    </a:moveTo>
                    <a:cubicBezTo>
                      <a:pt x="141527" y="0"/>
                      <a:pt x="141527" y="0"/>
                      <a:pt x="967238" y="0"/>
                    </a:cubicBezTo>
                    <a:cubicBezTo>
                      <a:pt x="974375" y="0"/>
                      <a:pt x="980798" y="6405"/>
                      <a:pt x="984366" y="12809"/>
                    </a:cubicBezTo>
                    <a:cubicBezTo>
                      <a:pt x="984366" y="12809"/>
                      <a:pt x="984366" y="12809"/>
                      <a:pt x="1105690" y="263306"/>
                    </a:cubicBezTo>
                    <a:cubicBezTo>
                      <a:pt x="1112826" y="276827"/>
                      <a:pt x="1103549" y="288925"/>
                      <a:pt x="1088562" y="288925"/>
                    </a:cubicBezTo>
                    <a:cubicBezTo>
                      <a:pt x="1088562" y="288925"/>
                      <a:pt x="1088562" y="288925"/>
                      <a:pt x="19490" y="288925"/>
                    </a:cubicBezTo>
                    <a:cubicBezTo>
                      <a:pt x="5217" y="288925"/>
                      <a:pt x="-4774" y="274692"/>
                      <a:pt x="2362" y="261883"/>
                    </a:cubicBezTo>
                    <a:cubicBezTo>
                      <a:pt x="2362" y="261883"/>
                      <a:pt x="2362" y="261883"/>
                      <a:pt x="123686" y="14233"/>
                    </a:cubicBezTo>
                    <a:cubicBezTo>
                      <a:pt x="127254" y="7828"/>
                      <a:pt x="133677" y="0"/>
                      <a:pt x="14152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5" name="Freeform 30">
                <a:extLst>
                  <a:ext uri="{FF2B5EF4-FFF2-40B4-BE49-F238E27FC236}">
                    <a16:creationId xmlns:a16="http://schemas.microsoft.com/office/drawing/2014/main" id="{9105F156-6F73-86DF-B35E-95C09999F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1325" y="2901950"/>
                <a:ext cx="1147763" cy="1181100"/>
              </a:xfrm>
              <a:custGeom>
                <a:avLst/>
                <a:gdLst>
                  <a:gd name="connsiteX0" fmla="*/ 107462 w 1147763"/>
                  <a:gd name="connsiteY0" fmla="*/ 1054100 h 1181100"/>
                  <a:gd name="connsiteX1" fmla="*/ 1040301 w 1147763"/>
                  <a:gd name="connsiteY1" fmla="*/ 1054100 h 1181100"/>
                  <a:gd name="connsiteX2" fmla="*/ 1055300 w 1147763"/>
                  <a:gd name="connsiteY2" fmla="*/ 1069885 h 1181100"/>
                  <a:gd name="connsiteX3" fmla="*/ 1055300 w 1147763"/>
                  <a:gd name="connsiteY3" fmla="*/ 1090693 h 1181100"/>
                  <a:gd name="connsiteX4" fmla="*/ 1101728 w 1147763"/>
                  <a:gd name="connsiteY4" fmla="*/ 1090693 h 1181100"/>
                  <a:gd name="connsiteX5" fmla="*/ 1116013 w 1147763"/>
                  <a:gd name="connsiteY5" fmla="*/ 1106479 h 1181100"/>
                  <a:gd name="connsiteX6" fmla="*/ 1116013 w 1147763"/>
                  <a:gd name="connsiteY6" fmla="*/ 1166032 h 1181100"/>
                  <a:gd name="connsiteX7" fmla="*/ 1101728 w 1147763"/>
                  <a:gd name="connsiteY7" fmla="*/ 1181100 h 1181100"/>
                  <a:gd name="connsiteX8" fmla="*/ 46035 w 1147763"/>
                  <a:gd name="connsiteY8" fmla="*/ 1181100 h 1181100"/>
                  <a:gd name="connsiteX9" fmla="*/ 31750 w 1147763"/>
                  <a:gd name="connsiteY9" fmla="*/ 1166032 h 1181100"/>
                  <a:gd name="connsiteX10" fmla="*/ 31750 w 1147763"/>
                  <a:gd name="connsiteY10" fmla="*/ 1106479 h 1181100"/>
                  <a:gd name="connsiteX11" fmla="*/ 46035 w 1147763"/>
                  <a:gd name="connsiteY11" fmla="*/ 1090693 h 1181100"/>
                  <a:gd name="connsiteX12" fmla="*/ 92463 w 1147763"/>
                  <a:gd name="connsiteY12" fmla="*/ 1090693 h 1181100"/>
                  <a:gd name="connsiteX13" fmla="*/ 92463 w 1147763"/>
                  <a:gd name="connsiteY13" fmla="*/ 1069885 h 1181100"/>
                  <a:gd name="connsiteX14" fmla="*/ 107462 w 1147763"/>
                  <a:gd name="connsiteY14" fmla="*/ 1054100 h 1181100"/>
                  <a:gd name="connsiteX15" fmla="*/ 15703 w 1147763"/>
                  <a:gd name="connsiteY15" fmla="*/ 384175 h 1181100"/>
                  <a:gd name="connsiteX16" fmla="*/ 1132060 w 1147763"/>
                  <a:gd name="connsiteY16" fmla="*/ 384175 h 1181100"/>
                  <a:gd name="connsiteX17" fmla="*/ 1147763 w 1147763"/>
                  <a:gd name="connsiteY17" fmla="*/ 399880 h 1181100"/>
                  <a:gd name="connsiteX18" fmla="*/ 1132060 w 1147763"/>
                  <a:gd name="connsiteY18" fmla="*/ 415584 h 1181100"/>
                  <a:gd name="connsiteX19" fmla="*/ 1008576 w 1147763"/>
                  <a:gd name="connsiteY19" fmla="*/ 415584 h 1181100"/>
                  <a:gd name="connsiteX20" fmla="*/ 1008576 w 1147763"/>
                  <a:gd name="connsiteY20" fmla="*/ 1022350 h 1181100"/>
                  <a:gd name="connsiteX21" fmla="*/ 977169 w 1147763"/>
                  <a:gd name="connsiteY21" fmla="*/ 1022350 h 1181100"/>
                  <a:gd name="connsiteX22" fmla="*/ 977169 w 1147763"/>
                  <a:gd name="connsiteY22" fmla="*/ 415584 h 1181100"/>
                  <a:gd name="connsiteX23" fmla="*/ 170594 w 1147763"/>
                  <a:gd name="connsiteY23" fmla="*/ 415584 h 1181100"/>
                  <a:gd name="connsiteX24" fmla="*/ 170594 w 1147763"/>
                  <a:gd name="connsiteY24" fmla="*/ 1022350 h 1181100"/>
                  <a:gd name="connsiteX25" fmla="*/ 139187 w 1147763"/>
                  <a:gd name="connsiteY25" fmla="*/ 1022350 h 1181100"/>
                  <a:gd name="connsiteX26" fmla="*/ 139187 w 1147763"/>
                  <a:gd name="connsiteY26" fmla="*/ 415584 h 1181100"/>
                  <a:gd name="connsiteX27" fmla="*/ 15703 w 1147763"/>
                  <a:gd name="connsiteY27" fmla="*/ 415584 h 1181100"/>
                  <a:gd name="connsiteX28" fmla="*/ 0 w 1147763"/>
                  <a:gd name="connsiteY28" fmla="*/ 399880 h 1181100"/>
                  <a:gd name="connsiteX29" fmla="*/ 15703 w 1147763"/>
                  <a:gd name="connsiteY29" fmla="*/ 384175 h 1181100"/>
                  <a:gd name="connsiteX30" fmla="*/ 168090 w 1147763"/>
                  <a:gd name="connsiteY30" fmla="*/ 0 h 1181100"/>
                  <a:gd name="connsiteX31" fmla="*/ 979674 w 1147763"/>
                  <a:gd name="connsiteY31" fmla="*/ 0 h 1181100"/>
                  <a:gd name="connsiteX32" fmla="*/ 995363 w 1147763"/>
                  <a:gd name="connsiteY32" fmla="*/ 15522 h 1181100"/>
                  <a:gd name="connsiteX33" fmla="*/ 979674 w 1147763"/>
                  <a:gd name="connsiteY33" fmla="*/ 31750 h 1181100"/>
                  <a:gd name="connsiteX34" fmla="*/ 168090 w 1147763"/>
                  <a:gd name="connsiteY34" fmla="*/ 31750 h 1181100"/>
                  <a:gd name="connsiteX35" fmla="*/ 152400 w 1147763"/>
                  <a:gd name="connsiteY35" fmla="*/ 15522 h 1181100"/>
                  <a:gd name="connsiteX36" fmla="*/ 168090 w 1147763"/>
                  <a:gd name="connsiteY36" fmla="*/ 0 h 1181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147763" h="1181100">
                    <a:moveTo>
                      <a:pt x="107462" y="1054100"/>
                    </a:moveTo>
                    <a:cubicBezTo>
                      <a:pt x="107462" y="1054100"/>
                      <a:pt x="107462" y="1054100"/>
                      <a:pt x="1040301" y="1054100"/>
                    </a:cubicBezTo>
                    <a:cubicBezTo>
                      <a:pt x="1048872" y="1054100"/>
                      <a:pt x="1055300" y="1061275"/>
                      <a:pt x="1055300" y="1069885"/>
                    </a:cubicBezTo>
                    <a:cubicBezTo>
                      <a:pt x="1055300" y="1069885"/>
                      <a:pt x="1055300" y="1069885"/>
                      <a:pt x="1055300" y="1090693"/>
                    </a:cubicBezTo>
                    <a:cubicBezTo>
                      <a:pt x="1055300" y="1090693"/>
                      <a:pt x="1055300" y="1090693"/>
                      <a:pt x="1101728" y="1090693"/>
                    </a:cubicBezTo>
                    <a:cubicBezTo>
                      <a:pt x="1109585" y="1090693"/>
                      <a:pt x="1116013" y="1097868"/>
                      <a:pt x="1116013" y="1106479"/>
                    </a:cubicBezTo>
                    <a:cubicBezTo>
                      <a:pt x="1116013" y="1106479"/>
                      <a:pt x="1116013" y="1106479"/>
                      <a:pt x="1116013" y="1166032"/>
                    </a:cubicBezTo>
                    <a:cubicBezTo>
                      <a:pt x="1116013" y="1174643"/>
                      <a:pt x="1109585" y="1181100"/>
                      <a:pt x="1101728" y="1181100"/>
                    </a:cubicBezTo>
                    <a:cubicBezTo>
                      <a:pt x="1101728" y="1181100"/>
                      <a:pt x="1101728" y="1181100"/>
                      <a:pt x="46035" y="1181100"/>
                    </a:cubicBezTo>
                    <a:cubicBezTo>
                      <a:pt x="38178" y="1181100"/>
                      <a:pt x="31750" y="1174643"/>
                      <a:pt x="31750" y="1166032"/>
                    </a:cubicBezTo>
                    <a:cubicBezTo>
                      <a:pt x="31750" y="1166032"/>
                      <a:pt x="31750" y="1166032"/>
                      <a:pt x="31750" y="1106479"/>
                    </a:cubicBezTo>
                    <a:cubicBezTo>
                      <a:pt x="31750" y="1097868"/>
                      <a:pt x="38178" y="1090693"/>
                      <a:pt x="46035" y="1090693"/>
                    </a:cubicBezTo>
                    <a:cubicBezTo>
                      <a:pt x="46035" y="1090693"/>
                      <a:pt x="46035" y="1090693"/>
                      <a:pt x="92463" y="1090693"/>
                    </a:cubicBezTo>
                    <a:cubicBezTo>
                      <a:pt x="92463" y="1090693"/>
                      <a:pt x="92463" y="1090693"/>
                      <a:pt x="92463" y="1069885"/>
                    </a:cubicBezTo>
                    <a:cubicBezTo>
                      <a:pt x="92463" y="1061275"/>
                      <a:pt x="98891" y="1054100"/>
                      <a:pt x="107462" y="1054100"/>
                    </a:cubicBezTo>
                    <a:close/>
                    <a:moveTo>
                      <a:pt x="15703" y="384175"/>
                    </a:moveTo>
                    <a:cubicBezTo>
                      <a:pt x="15703" y="384175"/>
                      <a:pt x="15703" y="384175"/>
                      <a:pt x="1132060" y="384175"/>
                    </a:cubicBezTo>
                    <a:cubicBezTo>
                      <a:pt x="1140625" y="384175"/>
                      <a:pt x="1147763" y="390600"/>
                      <a:pt x="1147763" y="399880"/>
                    </a:cubicBezTo>
                    <a:cubicBezTo>
                      <a:pt x="1147763" y="408446"/>
                      <a:pt x="1140625" y="415584"/>
                      <a:pt x="1132060" y="415584"/>
                    </a:cubicBezTo>
                    <a:cubicBezTo>
                      <a:pt x="1132060" y="415584"/>
                      <a:pt x="1132060" y="415584"/>
                      <a:pt x="1008576" y="415584"/>
                    </a:cubicBezTo>
                    <a:cubicBezTo>
                      <a:pt x="1008576" y="415584"/>
                      <a:pt x="1008576" y="415584"/>
                      <a:pt x="1008576" y="1022350"/>
                    </a:cubicBezTo>
                    <a:cubicBezTo>
                      <a:pt x="1008576" y="1022350"/>
                      <a:pt x="1008576" y="1022350"/>
                      <a:pt x="977169" y="1022350"/>
                    </a:cubicBezTo>
                    <a:cubicBezTo>
                      <a:pt x="977169" y="1022350"/>
                      <a:pt x="977169" y="1022350"/>
                      <a:pt x="977169" y="415584"/>
                    </a:cubicBezTo>
                    <a:cubicBezTo>
                      <a:pt x="977169" y="415584"/>
                      <a:pt x="977169" y="415584"/>
                      <a:pt x="170594" y="415584"/>
                    </a:cubicBezTo>
                    <a:cubicBezTo>
                      <a:pt x="170594" y="415584"/>
                      <a:pt x="170594" y="415584"/>
                      <a:pt x="170594" y="1022350"/>
                    </a:cubicBezTo>
                    <a:cubicBezTo>
                      <a:pt x="170594" y="1022350"/>
                      <a:pt x="170594" y="1022350"/>
                      <a:pt x="139187" y="1022350"/>
                    </a:cubicBezTo>
                    <a:cubicBezTo>
                      <a:pt x="139187" y="1022350"/>
                      <a:pt x="139187" y="1022350"/>
                      <a:pt x="139187" y="415584"/>
                    </a:cubicBezTo>
                    <a:cubicBezTo>
                      <a:pt x="139187" y="415584"/>
                      <a:pt x="139187" y="415584"/>
                      <a:pt x="15703" y="415584"/>
                    </a:cubicBezTo>
                    <a:cubicBezTo>
                      <a:pt x="7138" y="415584"/>
                      <a:pt x="0" y="408446"/>
                      <a:pt x="0" y="399880"/>
                    </a:cubicBezTo>
                    <a:cubicBezTo>
                      <a:pt x="0" y="390600"/>
                      <a:pt x="7138" y="384175"/>
                      <a:pt x="15703" y="384175"/>
                    </a:cubicBezTo>
                    <a:close/>
                    <a:moveTo>
                      <a:pt x="168090" y="0"/>
                    </a:moveTo>
                    <a:cubicBezTo>
                      <a:pt x="168090" y="0"/>
                      <a:pt x="168090" y="0"/>
                      <a:pt x="979674" y="0"/>
                    </a:cubicBezTo>
                    <a:cubicBezTo>
                      <a:pt x="988232" y="0"/>
                      <a:pt x="995363" y="7056"/>
                      <a:pt x="995363" y="15522"/>
                    </a:cubicBezTo>
                    <a:cubicBezTo>
                      <a:pt x="995363" y="23989"/>
                      <a:pt x="988232" y="31750"/>
                      <a:pt x="979674" y="31750"/>
                    </a:cubicBezTo>
                    <a:cubicBezTo>
                      <a:pt x="979674" y="31750"/>
                      <a:pt x="979674" y="31750"/>
                      <a:pt x="168090" y="31750"/>
                    </a:cubicBezTo>
                    <a:cubicBezTo>
                      <a:pt x="159532" y="31750"/>
                      <a:pt x="152400" y="23989"/>
                      <a:pt x="152400" y="15522"/>
                    </a:cubicBezTo>
                    <a:cubicBezTo>
                      <a:pt x="152400" y="7056"/>
                      <a:pt x="159532" y="0"/>
                      <a:pt x="16809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7" name="bcgIcons_Warehouse">
            <a:extLst>
              <a:ext uri="{FF2B5EF4-FFF2-40B4-BE49-F238E27FC236}">
                <a16:creationId xmlns:a16="http://schemas.microsoft.com/office/drawing/2014/main" id="{A819DFCA-2131-8599-43F6-878E6AE76AB9}"/>
              </a:ext>
            </a:extLst>
          </p:cNvPr>
          <p:cNvGrpSpPr>
            <a:grpSpLocks noChangeAspect="1"/>
          </p:cNvGrpSpPr>
          <p:nvPr/>
        </p:nvGrpSpPr>
        <p:grpSpPr>
          <a:xfrm>
            <a:off x="9813500" y="3762922"/>
            <a:ext cx="125450" cy="125450"/>
            <a:chOff x="5273675" y="2606675"/>
            <a:chExt cx="1644650" cy="1644650"/>
          </a:xfrm>
        </p:grpSpPr>
        <p:sp>
          <p:nvSpPr>
            <p:cNvPr id="259" name="AutoShape 3">
              <a:extLst>
                <a:ext uri="{FF2B5EF4-FFF2-40B4-BE49-F238E27FC236}">
                  <a16:creationId xmlns:a16="http://schemas.microsoft.com/office/drawing/2014/main" id="{971743BF-66B4-88A3-9FBC-94C9E9E1BDA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203371CC-4063-6CF1-1B9F-1419184621E0}"/>
                </a:ext>
              </a:extLst>
            </p:cNvPr>
            <p:cNvGrpSpPr/>
            <p:nvPr/>
          </p:nvGrpSpPr>
          <p:grpSpPr>
            <a:xfrm>
              <a:off x="5443538" y="3341688"/>
              <a:ext cx="1304925" cy="739775"/>
              <a:chOff x="5443538" y="3341688"/>
              <a:chExt cx="1304925" cy="739775"/>
            </a:xfrm>
          </p:grpSpPr>
          <p:sp>
            <p:nvSpPr>
              <p:cNvPr id="261" name="Freeform 15">
                <a:extLst>
                  <a:ext uri="{FF2B5EF4-FFF2-40B4-BE49-F238E27FC236}">
                    <a16:creationId xmlns:a16="http://schemas.microsoft.com/office/drawing/2014/main" id="{EF9AC71F-6DCB-5109-7329-DFF4745C01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8325" y="3421063"/>
                <a:ext cx="887413" cy="501650"/>
              </a:xfrm>
              <a:custGeom>
                <a:avLst/>
                <a:gdLst>
                  <a:gd name="connsiteX0" fmla="*/ 506214 w 887413"/>
                  <a:gd name="connsiteY0" fmla="*/ 139700 h 501650"/>
                  <a:gd name="connsiteX1" fmla="*/ 871738 w 887413"/>
                  <a:gd name="connsiteY1" fmla="*/ 139700 h 501650"/>
                  <a:gd name="connsiteX2" fmla="*/ 887413 w 887413"/>
                  <a:gd name="connsiteY2" fmla="*/ 155375 h 501650"/>
                  <a:gd name="connsiteX3" fmla="*/ 887413 w 887413"/>
                  <a:gd name="connsiteY3" fmla="*/ 501650 h 501650"/>
                  <a:gd name="connsiteX4" fmla="*/ 490538 w 887413"/>
                  <a:gd name="connsiteY4" fmla="*/ 501650 h 501650"/>
                  <a:gd name="connsiteX5" fmla="*/ 490538 w 887413"/>
                  <a:gd name="connsiteY5" fmla="*/ 155375 h 501650"/>
                  <a:gd name="connsiteX6" fmla="*/ 506214 w 887413"/>
                  <a:gd name="connsiteY6" fmla="*/ 139700 h 501650"/>
                  <a:gd name="connsiteX7" fmla="*/ 15738 w 887413"/>
                  <a:gd name="connsiteY7" fmla="*/ 139700 h 501650"/>
                  <a:gd name="connsiteX8" fmla="*/ 382725 w 887413"/>
                  <a:gd name="connsiteY8" fmla="*/ 139700 h 501650"/>
                  <a:gd name="connsiteX9" fmla="*/ 398463 w 887413"/>
                  <a:gd name="connsiteY9" fmla="*/ 155375 h 501650"/>
                  <a:gd name="connsiteX10" fmla="*/ 398463 w 887413"/>
                  <a:gd name="connsiteY10" fmla="*/ 501650 h 501650"/>
                  <a:gd name="connsiteX11" fmla="*/ 0 w 887413"/>
                  <a:gd name="connsiteY11" fmla="*/ 501650 h 501650"/>
                  <a:gd name="connsiteX12" fmla="*/ 0 w 887413"/>
                  <a:gd name="connsiteY12" fmla="*/ 155375 h 501650"/>
                  <a:gd name="connsiteX13" fmla="*/ 15738 w 887413"/>
                  <a:gd name="connsiteY13" fmla="*/ 139700 h 501650"/>
                  <a:gd name="connsiteX14" fmla="*/ 750681 w 887413"/>
                  <a:gd name="connsiteY14" fmla="*/ 0 h 501650"/>
                  <a:gd name="connsiteX15" fmla="*/ 871746 w 887413"/>
                  <a:gd name="connsiteY15" fmla="*/ 0 h 501650"/>
                  <a:gd name="connsiteX16" fmla="*/ 887413 w 887413"/>
                  <a:gd name="connsiteY16" fmla="*/ 15732 h 501650"/>
                  <a:gd name="connsiteX17" fmla="*/ 887413 w 887413"/>
                  <a:gd name="connsiteY17" fmla="*/ 63643 h 501650"/>
                  <a:gd name="connsiteX18" fmla="*/ 871746 w 887413"/>
                  <a:gd name="connsiteY18" fmla="*/ 79375 h 501650"/>
                  <a:gd name="connsiteX19" fmla="*/ 750681 w 887413"/>
                  <a:gd name="connsiteY19" fmla="*/ 79375 h 501650"/>
                  <a:gd name="connsiteX20" fmla="*/ 735013 w 887413"/>
                  <a:gd name="connsiteY20" fmla="*/ 63643 h 501650"/>
                  <a:gd name="connsiteX21" fmla="*/ 735013 w 887413"/>
                  <a:gd name="connsiteY21" fmla="*/ 15732 h 501650"/>
                  <a:gd name="connsiteX22" fmla="*/ 750681 w 887413"/>
                  <a:gd name="connsiteY22" fmla="*/ 0 h 501650"/>
                  <a:gd name="connsiteX23" fmla="*/ 506279 w 887413"/>
                  <a:gd name="connsiteY23" fmla="*/ 0 h 501650"/>
                  <a:gd name="connsiteX24" fmla="*/ 627197 w 887413"/>
                  <a:gd name="connsiteY24" fmla="*/ 0 h 501650"/>
                  <a:gd name="connsiteX25" fmla="*/ 642938 w 887413"/>
                  <a:gd name="connsiteY25" fmla="*/ 15732 h 501650"/>
                  <a:gd name="connsiteX26" fmla="*/ 642938 w 887413"/>
                  <a:gd name="connsiteY26" fmla="*/ 63643 h 501650"/>
                  <a:gd name="connsiteX27" fmla="*/ 627197 w 887413"/>
                  <a:gd name="connsiteY27" fmla="*/ 79375 h 501650"/>
                  <a:gd name="connsiteX28" fmla="*/ 506279 w 887413"/>
                  <a:gd name="connsiteY28" fmla="*/ 79375 h 501650"/>
                  <a:gd name="connsiteX29" fmla="*/ 490538 w 887413"/>
                  <a:gd name="connsiteY29" fmla="*/ 63643 h 501650"/>
                  <a:gd name="connsiteX30" fmla="*/ 490538 w 887413"/>
                  <a:gd name="connsiteY30" fmla="*/ 15732 h 501650"/>
                  <a:gd name="connsiteX31" fmla="*/ 506279 w 887413"/>
                  <a:gd name="connsiteY31" fmla="*/ 0 h 501650"/>
                  <a:gd name="connsiteX32" fmla="*/ 260305 w 887413"/>
                  <a:gd name="connsiteY32" fmla="*/ 0 h 501650"/>
                  <a:gd name="connsiteX33" fmla="*/ 382632 w 887413"/>
                  <a:gd name="connsiteY33" fmla="*/ 0 h 501650"/>
                  <a:gd name="connsiteX34" fmla="*/ 398463 w 887413"/>
                  <a:gd name="connsiteY34" fmla="*/ 15732 h 501650"/>
                  <a:gd name="connsiteX35" fmla="*/ 398463 w 887413"/>
                  <a:gd name="connsiteY35" fmla="*/ 63643 h 501650"/>
                  <a:gd name="connsiteX36" fmla="*/ 382632 w 887413"/>
                  <a:gd name="connsiteY36" fmla="*/ 79375 h 501650"/>
                  <a:gd name="connsiteX37" fmla="*/ 260305 w 887413"/>
                  <a:gd name="connsiteY37" fmla="*/ 79375 h 501650"/>
                  <a:gd name="connsiteX38" fmla="*/ 244475 w 887413"/>
                  <a:gd name="connsiteY38" fmla="*/ 63643 h 501650"/>
                  <a:gd name="connsiteX39" fmla="*/ 244475 w 887413"/>
                  <a:gd name="connsiteY39" fmla="*/ 15732 h 501650"/>
                  <a:gd name="connsiteX40" fmla="*/ 260305 w 887413"/>
                  <a:gd name="connsiteY40" fmla="*/ 0 h 501650"/>
                  <a:gd name="connsiteX41" fmla="*/ 15741 w 887413"/>
                  <a:gd name="connsiteY41" fmla="*/ 0 h 501650"/>
                  <a:gd name="connsiteX42" fmla="*/ 136659 w 887413"/>
                  <a:gd name="connsiteY42" fmla="*/ 0 h 501650"/>
                  <a:gd name="connsiteX43" fmla="*/ 152400 w 887413"/>
                  <a:gd name="connsiteY43" fmla="*/ 15732 h 501650"/>
                  <a:gd name="connsiteX44" fmla="*/ 152400 w 887413"/>
                  <a:gd name="connsiteY44" fmla="*/ 63643 h 501650"/>
                  <a:gd name="connsiteX45" fmla="*/ 136659 w 887413"/>
                  <a:gd name="connsiteY45" fmla="*/ 79375 h 501650"/>
                  <a:gd name="connsiteX46" fmla="*/ 15741 w 887413"/>
                  <a:gd name="connsiteY46" fmla="*/ 79375 h 501650"/>
                  <a:gd name="connsiteX47" fmla="*/ 0 w 887413"/>
                  <a:gd name="connsiteY47" fmla="*/ 63643 h 501650"/>
                  <a:gd name="connsiteX48" fmla="*/ 0 w 887413"/>
                  <a:gd name="connsiteY48" fmla="*/ 15732 h 501650"/>
                  <a:gd name="connsiteX49" fmla="*/ 15741 w 887413"/>
                  <a:gd name="connsiteY49" fmla="*/ 0 h 50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887413" h="501650">
                    <a:moveTo>
                      <a:pt x="506214" y="139700"/>
                    </a:moveTo>
                    <a:cubicBezTo>
                      <a:pt x="506214" y="139700"/>
                      <a:pt x="506214" y="139700"/>
                      <a:pt x="871738" y="139700"/>
                    </a:cubicBezTo>
                    <a:cubicBezTo>
                      <a:pt x="880288" y="139700"/>
                      <a:pt x="887413" y="146825"/>
                      <a:pt x="887413" y="155375"/>
                    </a:cubicBezTo>
                    <a:cubicBezTo>
                      <a:pt x="887413" y="155375"/>
                      <a:pt x="887413" y="155375"/>
                      <a:pt x="887413" y="501650"/>
                    </a:cubicBezTo>
                    <a:cubicBezTo>
                      <a:pt x="887413" y="501650"/>
                      <a:pt x="887413" y="501650"/>
                      <a:pt x="490538" y="501650"/>
                    </a:cubicBezTo>
                    <a:cubicBezTo>
                      <a:pt x="490538" y="501650"/>
                      <a:pt x="490538" y="501650"/>
                      <a:pt x="490538" y="155375"/>
                    </a:cubicBezTo>
                    <a:cubicBezTo>
                      <a:pt x="490538" y="146825"/>
                      <a:pt x="497663" y="139700"/>
                      <a:pt x="506214" y="139700"/>
                    </a:cubicBezTo>
                    <a:close/>
                    <a:moveTo>
                      <a:pt x="15738" y="139700"/>
                    </a:moveTo>
                    <a:cubicBezTo>
                      <a:pt x="15738" y="139700"/>
                      <a:pt x="15738" y="139700"/>
                      <a:pt x="382725" y="139700"/>
                    </a:cubicBezTo>
                    <a:cubicBezTo>
                      <a:pt x="391309" y="139700"/>
                      <a:pt x="398463" y="146825"/>
                      <a:pt x="398463" y="155375"/>
                    </a:cubicBezTo>
                    <a:cubicBezTo>
                      <a:pt x="398463" y="155375"/>
                      <a:pt x="398463" y="155375"/>
                      <a:pt x="398463" y="501650"/>
                    </a:cubicBezTo>
                    <a:cubicBezTo>
                      <a:pt x="398463" y="501650"/>
                      <a:pt x="398463" y="501650"/>
                      <a:pt x="0" y="501650"/>
                    </a:cubicBezTo>
                    <a:cubicBezTo>
                      <a:pt x="0" y="501650"/>
                      <a:pt x="0" y="501650"/>
                      <a:pt x="0" y="155375"/>
                    </a:cubicBezTo>
                    <a:cubicBezTo>
                      <a:pt x="0" y="146825"/>
                      <a:pt x="7153" y="139700"/>
                      <a:pt x="15738" y="139700"/>
                    </a:cubicBezTo>
                    <a:close/>
                    <a:moveTo>
                      <a:pt x="750681" y="0"/>
                    </a:moveTo>
                    <a:cubicBezTo>
                      <a:pt x="750681" y="0"/>
                      <a:pt x="750681" y="0"/>
                      <a:pt x="871746" y="0"/>
                    </a:cubicBezTo>
                    <a:cubicBezTo>
                      <a:pt x="880292" y="0"/>
                      <a:pt x="887413" y="6436"/>
                      <a:pt x="887413" y="15732"/>
                    </a:cubicBezTo>
                    <a:cubicBezTo>
                      <a:pt x="887413" y="15732"/>
                      <a:pt x="887413" y="15732"/>
                      <a:pt x="887413" y="63643"/>
                    </a:cubicBezTo>
                    <a:cubicBezTo>
                      <a:pt x="887413" y="72939"/>
                      <a:pt x="880292" y="79375"/>
                      <a:pt x="871746" y="79375"/>
                    </a:cubicBezTo>
                    <a:cubicBezTo>
                      <a:pt x="871746" y="79375"/>
                      <a:pt x="871746" y="79375"/>
                      <a:pt x="750681" y="79375"/>
                    </a:cubicBezTo>
                    <a:cubicBezTo>
                      <a:pt x="742135" y="79375"/>
                      <a:pt x="735013" y="72939"/>
                      <a:pt x="735013" y="63643"/>
                    </a:cubicBezTo>
                    <a:cubicBezTo>
                      <a:pt x="735013" y="63643"/>
                      <a:pt x="735013" y="63643"/>
                      <a:pt x="735013" y="15732"/>
                    </a:cubicBezTo>
                    <a:cubicBezTo>
                      <a:pt x="735013" y="6436"/>
                      <a:pt x="742135" y="0"/>
                      <a:pt x="750681" y="0"/>
                    </a:cubicBezTo>
                    <a:close/>
                    <a:moveTo>
                      <a:pt x="506279" y="0"/>
                    </a:moveTo>
                    <a:cubicBezTo>
                      <a:pt x="506279" y="0"/>
                      <a:pt x="506279" y="0"/>
                      <a:pt x="627197" y="0"/>
                    </a:cubicBezTo>
                    <a:cubicBezTo>
                      <a:pt x="635783" y="0"/>
                      <a:pt x="642938" y="6436"/>
                      <a:pt x="642938" y="15732"/>
                    </a:cubicBezTo>
                    <a:cubicBezTo>
                      <a:pt x="642938" y="15732"/>
                      <a:pt x="642938" y="15732"/>
                      <a:pt x="642938" y="63643"/>
                    </a:cubicBezTo>
                    <a:cubicBezTo>
                      <a:pt x="642938" y="72939"/>
                      <a:pt x="635783" y="79375"/>
                      <a:pt x="627197" y="79375"/>
                    </a:cubicBezTo>
                    <a:cubicBezTo>
                      <a:pt x="627197" y="79375"/>
                      <a:pt x="627197" y="79375"/>
                      <a:pt x="506279" y="79375"/>
                    </a:cubicBezTo>
                    <a:cubicBezTo>
                      <a:pt x="497693" y="79375"/>
                      <a:pt x="490538" y="72939"/>
                      <a:pt x="490538" y="63643"/>
                    </a:cubicBezTo>
                    <a:cubicBezTo>
                      <a:pt x="490538" y="63643"/>
                      <a:pt x="490538" y="63643"/>
                      <a:pt x="490538" y="15732"/>
                    </a:cubicBezTo>
                    <a:cubicBezTo>
                      <a:pt x="490538" y="6436"/>
                      <a:pt x="497693" y="0"/>
                      <a:pt x="506279" y="0"/>
                    </a:cubicBezTo>
                    <a:close/>
                    <a:moveTo>
                      <a:pt x="260305" y="0"/>
                    </a:moveTo>
                    <a:cubicBezTo>
                      <a:pt x="260305" y="0"/>
                      <a:pt x="260305" y="0"/>
                      <a:pt x="382632" y="0"/>
                    </a:cubicBezTo>
                    <a:cubicBezTo>
                      <a:pt x="391267" y="0"/>
                      <a:pt x="398463" y="6436"/>
                      <a:pt x="398463" y="15732"/>
                    </a:cubicBezTo>
                    <a:cubicBezTo>
                      <a:pt x="398463" y="15732"/>
                      <a:pt x="398463" y="15732"/>
                      <a:pt x="398463" y="63643"/>
                    </a:cubicBezTo>
                    <a:cubicBezTo>
                      <a:pt x="398463" y="72939"/>
                      <a:pt x="391267" y="79375"/>
                      <a:pt x="382632" y="79375"/>
                    </a:cubicBezTo>
                    <a:cubicBezTo>
                      <a:pt x="382632" y="79375"/>
                      <a:pt x="382632" y="79375"/>
                      <a:pt x="260305" y="79375"/>
                    </a:cubicBezTo>
                    <a:cubicBezTo>
                      <a:pt x="251670" y="79375"/>
                      <a:pt x="244475" y="72939"/>
                      <a:pt x="244475" y="63643"/>
                    </a:cubicBezTo>
                    <a:cubicBezTo>
                      <a:pt x="244475" y="63643"/>
                      <a:pt x="244475" y="63643"/>
                      <a:pt x="244475" y="15732"/>
                    </a:cubicBezTo>
                    <a:cubicBezTo>
                      <a:pt x="244475" y="6436"/>
                      <a:pt x="251670" y="0"/>
                      <a:pt x="260305" y="0"/>
                    </a:cubicBezTo>
                    <a:close/>
                    <a:moveTo>
                      <a:pt x="15741" y="0"/>
                    </a:moveTo>
                    <a:cubicBezTo>
                      <a:pt x="15741" y="0"/>
                      <a:pt x="15741" y="0"/>
                      <a:pt x="136659" y="0"/>
                    </a:cubicBezTo>
                    <a:cubicBezTo>
                      <a:pt x="145960" y="0"/>
                      <a:pt x="152400" y="6436"/>
                      <a:pt x="152400" y="15732"/>
                    </a:cubicBezTo>
                    <a:cubicBezTo>
                      <a:pt x="152400" y="15732"/>
                      <a:pt x="152400" y="15732"/>
                      <a:pt x="152400" y="63643"/>
                    </a:cubicBezTo>
                    <a:cubicBezTo>
                      <a:pt x="152400" y="72939"/>
                      <a:pt x="145960" y="79375"/>
                      <a:pt x="136659" y="79375"/>
                    </a:cubicBezTo>
                    <a:cubicBezTo>
                      <a:pt x="136659" y="79375"/>
                      <a:pt x="136659" y="79375"/>
                      <a:pt x="15741" y="79375"/>
                    </a:cubicBezTo>
                    <a:cubicBezTo>
                      <a:pt x="7155" y="79375"/>
                      <a:pt x="0" y="72939"/>
                      <a:pt x="0" y="63643"/>
                    </a:cubicBezTo>
                    <a:cubicBezTo>
                      <a:pt x="0" y="63643"/>
                      <a:pt x="0" y="63643"/>
                      <a:pt x="0" y="15732"/>
                    </a:cubicBezTo>
                    <a:cubicBezTo>
                      <a:pt x="0" y="6436"/>
                      <a:pt x="7155" y="0"/>
                      <a:pt x="15741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Freeform 14">
                <a:extLst>
                  <a:ext uri="{FF2B5EF4-FFF2-40B4-BE49-F238E27FC236}">
                    <a16:creationId xmlns:a16="http://schemas.microsoft.com/office/drawing/2014/main" id="{30F62F1A-085F-BEC8-2B7E-4B2C58BC56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3341688"/>
                <a:ext cx="1304925" cy="739775"/>
              </a:xfrm>
              <a:custGeom>
                <a:avLst/>
                <a:gdLst>
                  <a:gd name="connsiteX0" fmla="*/ 77096 w 1304925"/>
                  <a:gd name="connsiteY0" fmla="*/ 612775 h 739775"/>
                  <a:gd name="connsiteX1" fmla="*/ 103509 w 1304925"/>
                  <a:gd name="connsiteY1" fmla="*/ 612775 h 739775"/>
                  <a:gd name="connsiteX2" fmla="*/ 134919 w 1304925"/>
                  <a:gd name="connsiteY2" fmla="*/ 612775 h 739775"/>
                  <a:gd name="connsiteX3" fmla="*/ 220581 w 1304925"/>
                  <a:gd name="connsiteY3" fmla="*/ 612775 h 739775"/>
                  <a:gd name="connsiteX4" fmla="*/ 586788 w 1304925"/>
                  <a:gd name="connsiteY4" fmla="*/ 612775 h 739775"/>
                  <a:gd name="connsiteX5" fmla="*/ 710999 w 1304925"/>
                  <a:gd name="connsiteY5" fmla="*/ 612775 h 739775"/>
                  <a:gd name="connsiteX6" fmla="*/ 1077206 w 1304925"/>
                  <a:gd name="connsiteY6" fmla="*/ 612775 h 739775"/>
                  <a:gd name="connsiteX7" fmla="*/ 1170007 w 1304925"/>
                  <a:gd name="connsiteY7" fmla="*/ 612775 h 739775"/>
                  <a:gd name="connsiteX8" fmla="*/ 1201416 w 1304925"/>
                  <a:gd name="connsiteY8" fmla="*/ 612775 h 739775"/>
                  <a:gd name="connsiteX9" fmla="*/ 1227829 w 1304925"/>
                  <a:gd name="connsiteY9" fmla="*/ 612775 h 739775"/>
                  <a:gd name="connsiteX10" fmla="*/ 1243534 w 1304925"/>
                  <a:gd name="connsiteY10" fmla="*/ 628560 h 739775"/>
                  <a:gd name="connsiteX11" fmla="*/ 1243534 w 1304925"/>
                  <a:gd name="connsiteY11" fmla="*/ 649368 h 739775"/>
                  <a:gd name="connsiteX12" fmla="*/ 1289220 w 1304925"/>
                  <a:gd name="connsiteY12" fmla="*/ 649368 h 739775"/>
                  <a:gd name="connsiteX13" fmla="*/ 1304925 w 1304925"/>
                  <a:gd name="connsiteY13" fmla="*/ 665154 h 739775"/>
                  <a:gd name="connsiteX14" fmla="*/ 1304925 w 1304925"/>
                  <a:gd name="connsiteY14" fmla="*/ 724707 h 739775"/>
                  <a:gd name="connsiteX15" fmla="*/ 1289220 w 1304925"/>
                  <a:gd name="connsiteY15" fmla="*/ 739775 h 739775"/>
                  <a:gd name="connsiteX16" fmla="*/ 15705 w 1304925"/>
                  <a:gd name="connsiteY16" fmla="*/ 739775 h 739775"/>
                  <a:gd name="connsiteX17" fmla="*/ 0 w 1304925"/>
                  <a:gd name="connsiteY17" fmla="*/ 724707 h 739775"/>
                  <a:gd name="connsiteX18" fmla="*/ 0 w 1304925"/>
                  <a:gd name="connsiteY18" fmla="*/ 665154 h 739775"/>
                  <a:gd name="connsiteX19" fmla="*/ 15705 w 1304925"/>
                  <a:gd name="connsiteY19" fmla="*/ 649368 h 739775"/>
                  <a:gd name="connsiteX20" fmla="*/ 61392 w 1304925"/>
                  <a:gd name="connsiteY20" fmla="*/ 649368 h 739775"/>
                  <a:gd name="connsiteX21" fmla="*/ 61392 w 1304925"/>
                  <a:gd name="connsiteY21" fmla="*/ 628560 h 739775"/>
                  <a:gd name="connsiteX22" fmla="*/ 77096 w 1304925"/>
                  <a:gd name="connsiteY22" fmla="*/ 612775 h 739775"/>
                  <a:gd name="connsiteX23" fmla="*/ 118901 w 1304925"/>
                  <a:gd name="connsiteY23" fmla="*/ 0 h 739775"/>
                  <a:gd name="connsiteX24" fmla="*/ 1186023 w 1304925"/>
                  <a:gd name="connsiteY24" fmla="*/ 0 h 739775"/>
                  <a:gd name="connsiteX25" fmla="*/ 1201737 w 1304925"/>
                  <a:gd name="connsiteY25" fmla="*/ 15684 h 739775"/>
                  <a:gd name="connsiteX26" fmla="*/ 1201737 w 1304925"/>
                  <a:gd name="connsiteY26" fmla="*/ 581025 h 739775"/>
                  <a:gd name="connsiteX27" fmla="*/ 1170309 w 1304925"/>
                  <a:gd name="connsiteY27" fmla="*/ 581025 h 739775"/>
                  <a:gd name="connsiteX28" fmla="*/ 1170309 w 1304925"/>
                  <a:gd name="connsiteY28" fmla="*/ 31368 h 739775"/>
                  <a:gd name="connsiteX29" fmla="*/ 134615 w 1304925"/>
                  <a:gd name="connsiteY29" fmla="*/ 31368 h 739775"/>
                  <a:gd name="connsiteX30" fmla="*/ 134615 w 1304925"/>
                  <a:gd name="connsiteY30" fmla="*/ 581025 h 739775"/>
                  <a:gd name="connsiteX31" fmla="*/ 103187 w 1304925"/>
                  <a:gd name="connsiteY31" fmla="*/ 581025 h 739775"/>
                  <a:gd name="connsiteX32" fmla="*/ 103187 w 1304925"/>
                  <a:gd name="connsiteY32" fmla="*/ 15684 h 739775"/>
                  <a:gd name="connsiteX33" fmla="*/ 118901 w 1304925"/>
                  <a:gd name="connsiteY33" fmla="*/ 0 h 739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304925" h="739775">
                    <a:moveTo>
                      <a:pt x="77096" y="612775"/>
                    </a:moveTo>
                    <a:cubicBezTo>
                      <a:pt x="77096" y="612775"/>
                      <a:pt x="77096" y="612775"/>
                      <a:pt x="103509" y="612775"/>
                    </a:cubicBezTo>
                    <a:cubicBezTo>
                      <a:pt x="103509" y="612775"/>
                      <a:pt x="103509" y="612775"/>
                      <a:pt x="134919" y="612775"/>
                    </a:cubicBezTo>
                    <a:cubicBezTo>
                      <a:pt x="134919" y="612775"/>
                      <a:pt x="134919" y="612775"/>
                      <a:pt x="220581" y="612775"/>
                    </a:cubicBezTo>
                    <a:cubicBezTo>
                      <a:pt x="220581" y="612775"/>
                      <a:pt x="220581" y="612775"/>
                      <a:pt x="586788" y="612775"/>
                    </a:cubicBezTo>
                    <a:cubicBezTo>
                      <a:pt x="586788" y="612775"/>
                      <a:pt x="586788" y="612775"/>
                      <a:pt x="710999" y="612775"/>
                    </a:cubicBezTo>
                    <a:cubicBezTo>
                      <a:pt x="710999" y="612775"/>
                      <a:pt x="710999" y="612775"/>
                      <a:pt x="1077206" y="612775"/>
                    </a:cubicBezTo>
                    <a:cubicBezTo>
                      <a:pt x="1077206" y="612775"/>
                      <a:pt x="1077206" y="612775"/>
                      <a:pt x="1170007" y="612775"/>
                    </a:cubicBezTo>
                    <a:cubicBezTo>
                      <a:pt x="1170007" y="612775"/>
                      <a:pt x="1170007" y="612775"/>
                      <a:pt x="1201416" y="612775"/>
                    </a:cubicBezTo>
                    <a:cubicBezTo>
                      <a:pt x="1201416" y="612775"/>
                      <a:pt x="1201416" y="612775"/>
                      <a:pt x="1227829" y="612775"/>
                    </a:cubicBezTo>
                    <a:cubicBezTo>
                      <a:pt x="1236395" y="612775"/>
                      <a:pt x="1243534" y="619950"/>
                      <a:pt x="1243534" y="628560"/>
                    </a:cubicBezTo>
                    <a:cubicBezTo>
                      <a:pt x="1243534" y="628560"/>
                      <a:pt x="1243534" y="628560"/>
                      <a:pt x="1243534" y="649368"/>
                    </a:cubicBezTo>
                    <a:cubicBezTo>
                      <a:pt x="1243534" y="649368"/>
                      <a:pt x="1243534" y="649368"/>
                      <a:pt x="1289220" y="649368"/>
                    </a:cubicBezTo>
                    <a:cubicBezTo>
                      <a:pt x="1297787" y="649368"/>
                      <a:pt x="1304925" y="656543"/>
                      <a:pt x="1304925" y="665154"/>
                    </a:cubicBezTo>
                    <a:cubicBezTo>
                      <a:pt x="1304925" y="665154"/>
                      <a:pt x="1304925" y="665154"/>
                      <a:pt x="1304925" y="724707"/>
                    </a:cubicBezTo>
                    <a:cubicBezTo>
                      <a:pt x="1304925" y="733318"/>
                      <a:pt x="1297787" y="739775"/>
                      <a:pt x="1289220" y="739775"/>
                    </a:cubicBezTo>
                    <a:cubicBezTo>
                      <a:pt x="1289220" y="739775"/>
                      <a:pt x="1289220" y="739775"/>
                      <a:pt x="15705" y="739775"/>
                    </a:cubicBezTo>
                    <a:cubicBezTo>
                      <a:pt x="7139" y="739775"/>
                      <a:pt x="0" y="733318"/>
                      <a:pt x="0" y="724707"/>
                    </a:cubicBezTo>
                    <a:cubicBezTo>
                      <a:pt x="0" y="724707"/>
                      <a:pt x="0" y="724707"/>
                      <a:pt x="0" y="665154"/>
                    </a:cubicBezTo>
                    <a:cubicBezTo>
                      <a:pt x="0" y="656543"/>
                      <a:pt x="7139" y="649368"/>
                      <a:pt x="15705" y="649368"/>
                    </a:cubicBezTo>
                    <a:cubicBezTo>
                      <a:pt x="15705" y="649368"/>
                      <a:pt x="15705" y="649368"/>
                      <a:pt x="61392" y="649368"/>
                    </a:cubicBezTo>
                    <a:cubicBezTo>
                      <a:pt x="61392" y="649368"/>
                      <a:pt x="61392" y="649368"/>
                      <a:pt x="61392" y="628560"/>
                    </a:cubicBezTo>
                    <a:cubicBezTo>
                      <a:pt x="61392" y="619950"/>
                      <a:pt x="68530" y="612775"/>
                      <a:pt x="77096" y="612775"/>
                    </a:cubicBezTo>
                    <a:close/>
                    <a:moveTo>
                      <a:pt x="118901" y="0"/>
                    </a:moveTo>
                    <a:cubicBezTo>
                      <a:pt x="118901" y="0"/>
                      <a:pt x="118901" y="0"/>
                      <a:pt x="1186023" y="0"/>
                    </a:cubicBezTo>
                    <a:cubicBezTo>
                      <a:pt x="1194594" y="0"/>
                      <a:pt x="1201737" y="7129"/>
                      <a:pt x="1201737" y="15684"/>
                    </a:cubicBezTo>
                    <a:cubicBezTo>
                      <a:pt x="1201737" y="15684"/>
                      <a:pt x="1201737" y="15684"/>
                      <a:pt x="1201737" y="581025"/>
                    </a:cubicBezTo>
                    <a:cubicBezTo>
                      <a:pt x="1201737" y="581025"/>
                      <a:pt x="1201737" y="581025"/>
                      <a:pt x="1170309" y="581025"/>
                    </a:cubicBezTo>
                    <a:cubicBezTo>
                      <a:pt x="1170309" y="581025"/>
                      <a:pt x="1170309" y="581025"/>
                      <a:pt x="1170309" y="31368"/>
                    </a:cubicBezTo>
                    <a:cubicBezTo>
                      <a:pt x="1170309" y="31368"/>
                      <a:pt x="1170309" y="31368"/>
                      <a:pt x="134615" y="31368"/>
                    </a:cubicBezTo>
                    <a:lnTo>
                      <a:pt x="134615" y="581025"/>
                    </a:lnTo>
                    <a:cubicBezTo>
                      <a:pt x="134615" y="581025"/>
                      <a:pt x="134615" y="581025"/>
                      <a:pt x="103187" y="581025"/>
                    </a:cubicBezTo>
                    <a:cubicBezTo>
                      <a:pt x="103187" y="581025"/>
                      <a:pt x="103187" y="581025"/>
                      <a:pt x="103187" y="15684"/>
                    </a:cubicBezTo>
                    <a:cubicBezTo>
                      <a:pt x="103187" y="7129"/>
                      <a:pt x="110330" y="0"/>
                      <a:pt x="11890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63" name="bcgIcons_Calendar, Year ">
            <a:extLst>
              <a:ext uri="{FF2B5EF4-FFF2-40B4-BE49-F238E27FC236}">
                <a16:creationId xmlns:a16="http://schemas.microsoft.com/office/drawing/2014/main" id="{602AF6E0-5A91-C188-EDE6-7ECB6F55FAD2}"/>
              </a:ext>
            </a:extLst>
          </p:cNvPr>
          <p:cNvGrpSpPr>
            <a:grpSpLocks noChangeAspect="1"/>
          </p:cNvGrpSpPr>
          <p:nvPr/>
        </p:nvGrpSpPr>
        <p:grpSpPr>
          <a:xfrm>
            <a:off x="10643912" y="3762922"/>
            <a:ext cx="125571" cy="125450"/>
            <a:chOff x="5273675" y="2606675"/>
            <a:chExt cx="1646238" cy="1644650"/>
          </a:xfrm>
        </p:grpSpPr>
        <p:sp>
          <p:nvSpPr>
            <p:cNvPr id="264" name="AutoShape 3">
              <a:extLst>
                <a:ext uri="{FF2B5EF4-FFF2-40B4-BE49-F238E27FC236}">
                  <a16:creationId xmlns:a16="http://schemas.microsoft.com/office/drawing/2014/main" id="{1AA594DA-AFA9-458A-343C-2444319AF40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5" name="Group 264">
              <a:extLst>
                <a:ext uri="{FF2B5EF4-FFF2-40B4-BE49-F238E27FC236}">
                  <a16:creationId xmlns:a16="http://schemas.microsoft.com/office/drawing/2014/main" id="{C4892A2A-F903-55E6-8F0F-4AAB1D30DCE4}"/>
                </a:ext>
              </a:extLst>
            </p:cNvPr>
            <p:cNvGrpSpPr/>
            <p:nvPr/>
          </p:nvGrpSpPr>
          <p:grpSpPr>
            <a:xfrm>
              <a:off x="5519738" y="2911475"/>
              <a:ext cx="1154113" cy="963613"/>
              <a:chOff x="5519738" y="2911475"/>
              <a:chExt cx="1154113" cy="963613"/>
            </a:xfrm>
          </p:grpSpPr>
          <p:sp>
            <p:nvSpPr>
              <p:cNvPr id="268" name="Freeform 25">
                <a:extLst>
                  <a:ext uri="{FF2B5EF4-FFF2-40B4-BE49-F238E27FC236}">
                    <a16:creationId xmlns:a16="http://schemas.microsoft.com/office/drawing/2014/main" id="{3E316D59-871E-5FA3-19AD-33E299048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5462" y="3319463"/>
                <a:ext cx="982662" cy="474662"/>
              </a:xfrm>
              <a:custGeom>
                <a:avLst/>
                <a:gdLst>
                  <a:gd name="connsiteX0" fmla="*/ 770723 w 982662"/>
                  <a:gd name="connsiteY0" fmla="*/ 255587 h 474662"/>
                  <a:gd name="connsiteX1" fmla="*/ 975526 w 982662"/>
                  <a:gd name="connsiteY1" fmla="*/ 255587 h 474662"/>
                  <a:gd name="connsiteX2" fmla="*/ 982662 w 982662"/>
                  <a:gd name="connsiteY2" fmla="*/ 262723 h 474662"/>
                  <a:gd name="connsiteX3" fmla="*/ 982662 w 982662"/>
                  <a:gd name="connsiteY3" fmla="*/ 467526 h 474662"/>
                  <a:gd name="connsiteX4" fmla="*/ 975526 w 982662"/>
                  <a:gd name="connsiteY4" fmla="*/ 474662 h 474662"/>
                  <a:gd name="connsiteX5" fmla="*/ 770723 w 982662"/>
                  <a:gd name="connsiteY5" fmla="*/ 474662 h 474662"/>
                  <a:gd name="connsiteX6" fmla="*/ 763587 w 982662"/>
                  <a:gd name="connsiteY6" fmla="*/ 467526 h 474662"/>
                  <a:gd name="connsiteX7" fmla="*/ 763587 w 982662"/>
                  <a:gd name="connsiteY7" fmla="*/ 262723 h 474662"/>
                  <a:gd name="connsiteX8" fmla="*/ 770723 w 982662"/>
                  <a:gd name="connsiteY8" fmla="*/ 255587 h 474662"/>
                  <a:gd name="connsiteX9" fmla="*/ 516723 w 982662"/>
                  <a:gd name="connsiteY9" fmla="*/ 255587 h 474662"/>
                  <a:gd name="connsiteX10" fmla="*/ 721526 w 982662"/>
                  <a:gd name="connsiteY10" fmla="*/ 255587 h 474662"/>
                  <a:gd name="connsiteX11" fmla="*/ 728662 w 982662"/>
                  <a:gd name="connsiteY11" fmla="*/ 262723 h 474662"/>
                  <a:gd name="connsiteX12" fmla="*/ 728662 w 982662"/>
                  <a:gd name="connsiteY12" fmla="*/ 467526 h 474662"/>
                  <a:gd name="connsiteX13" fmla="*/ 721526 w 982662"/>
                  <a:gd name="connsiteY13" fmla="*/ 474662 h 474662"/>
                  <a:gd name="connsiteX14" fmla="*/ 516723 w 982662"/>
                  <a:gd name="connsiteY14" fmla="*/ 474662 h 474662"/>
                  <a:gd name="connsiteX15" fmla="*/ 509587 w 982662"/>
                  <a:gd name="connsiteY15" fmla="*/ 467526 h 474662"/>
                  <a:gd name="connsiteX16" fmla="*/ 509587 w 982662"/>
                  <a:gd name="connsiteY16" fmla="*/ 262723 h 474662"/>
                  <a:gd name="connsiteX17" fmla="*/ 516723 w 982662"/>
                  <a:gd name="connsiteY17" fmla="*/ 255587 h 474662"/>
                  <a:gd name="connsiteX18" fmla="*/ 261136 w 982662"/>
                  <a:gd name="connsiteY18" fmla="*/ 255587 h 474662"/>
                  <a:gd name="connsiteX19" fmla="*/ 465939 w 982662"/>
                  <a:gd name="connsiteY19" fmla="*/ 255587 h 474662"/>
                  <a:gd name="connsiteX20" fmla="*/ 473075 w 982662"/>
                  <a:gd name="connsiteY20" fmla="*/ 262723 h 474662"/>
                  <a:gd name="connsiteX21" fmla="*/ 473075 w 982662"/>
                  <a:gd name="connsiteY21" fmla="*/ 467526 h 474662"/>
                  <a:gd name="connsiteX22" fmla="*/ 465939 w 982662"/>
                  <a:gd name="connsiteY22" fmla="*/ 474662 h 474662"/>
                  <a:gd name="connsiteX23" fmla="*/ 261136 w 982662"/>
                  <a:gd name="connsiteY23" fmla="*/ 474662 h 474662"/>
                  <a:gd name="connsiteX24" fmla="*/ 254000 w 982662"/>
                  <a:gd name="connsiteY24" fmla="*/ 467526 h 474662"/>
                  <a:gd name="connsiteX25" fmla="*/ 254000 w 982662"/>
                  <a:gd name="connsiteY25" fmla="*/ 262723 h 474662"/>
                  <a:gd name="connsiteX26" fmla="*/ 261136 w 982662"/>
                  <a:gd name="connsiteY26" fmla="*/ 255587 h 474662"/>
                  <a:gd name="connsiteX27" fmla="*/ 7136 w 982662"/>
                  <a:gd name="connsiteY27" fmla="*/ 255587 h 474662"/>
                  <a:gd name="connsiteX28" fmla="*/ 211939 w 982662"/>
                  <a:gd name="connsiteY28" fmla="*/ 255587 h 474662"/>
                  <a:gd name="connsiteX29" fmla="*/ 219075 w 982662"/>
                  <a:gd name="connsiteY29" fmla="*/ 262723 h 474662"/>
                  <a:gd name="connsiteX30" fmla="*/ 219075 w 982662"/>
                  <a:gd name="connsiteY30" fmla="*/ 467526 h 474662"/>
                  <a:gd name="connsiteX31" fmla="*/ 211939 w 982662"/>
                  <a:gd name="connsiteY31" fmla="*/ 474662 h 474662"/>
                  <a:gd name="connsiteX32" fmla="*/ 7136 w 982662"/>
                  <a:gd name="connsiteY32" fmla="*/ 474662 h 474662"/>
                  <a:gd name="connsiteX33" fmla="*/ 0 w 982662"/>
                  <a:gd name="connsiteY33" fmla="*/ 467526 h 474662"/>
                  <a:gd name="connsiteX34" fmla="*/ 0 w 982662"/>
                  <a:gd name="connsiteY34" fmla="*/ 262723 h 474662"/>
                  <a:gd name="connsiteX35" fmla="*/ 7136 w 982662"/>
                  <a:gd name="connsiteY35" fmla="*/ 255587 h 474662"/>
                  <a:gd name="connsiteX36" fmla="*/ 770723 w 982662"/>
                  <a:gd name="connsiteY36" fmla="*/ 0 h 474662"/>
                  <a:gd name="connsiteX37" fmla="*/ 975526 w 982662"/>
                  <a:gd name="connsiteY37" fmla="*/ 0 h 474662"/>
                  <a:gd name="connsiteX38" fmla="*/ 982662 w 982662"/>
                  <a:gd name="connsiteY38" fmla="*/ 7108 h 474662"/>
                  <a:gd name="connsiteX39" fmla="*/ 982662 w 982662"/>
                  <a:gd name="connsiteY39" fmla="*/ 210381 h 474662"/>
                  <a:gd name="connsiteX40" fmla="*/ 975526 w 982662"/>
                  <a:gd name="connsiteY40" fmla="*/ 217488 h 474662"/>
                  <a:gd name="connsiteX41" fmla="*/ 770723 w 982662"/>
                  <a:gd name="connsiteY41" fmla="*/ 217488 h 474662"/>
                  <a:gd name="connsiteX42" fmla="*/ 763587 w 982662"/>
                  <a:gd name="connsiteY42" fmla="*/ 210381 h 474662"/>
                  <a:gd name="connsiteX43" fmla="*/ 763587 w 982662"/>
                  <a:gd name="connsiteY43" fmla="*/ 7108 h 474662"/>
                  <a:gd name="connsiteX44" fmla="*/ 770723 w 982662"/>
                  <a:gd name="connsiteY44" fmla="*/ 0 h 474662"/>
                  <a:gd name="connsiteX45" fmla="*/ 516723 w 982662"/>
                  <a:gd name="connsiteY45" fmla="*/ 0 h 474662"/>
                  <a:gd name="connsiteX46" fmla="*/ 721526 w 982662"/>
                  <a:gd name="connsiteY46" fmla="*/ 0 h 474662"/>
                  <a:gd name="connsiteX47" fmla="*/ 728662 w 982662"/>
                  <a:gd name="connsiteY47" fmla="*/ 7108 h 474662"/>
                  <a:gd name="connsiteX48" fmla="*/ 728662 w 982662"/>
                  <a:gd name="connsiteY48" fmla="*/ 210381 h 474662"/>
                  <a:gd name="connsiteX49" fmla="*/ 721526 w 982662"/>
                  <a:gd name="connsiteY49" fmla="*/ 217488 h 474662"/>
                  <a:gd name="connsiteX50" fmla="*/ 516723 w 982662"/>
                  <a:gd name="connsiteY50" fmla="*/ 217488 h 474662"/>
                  <a:gd name="connsiteX51" fmla="*/ 509587 w 982662"/>
                  <a:gd name="connsiteY51" fmla="*/ 210381 h 474662"/>
                  <a:gd name="connsiteX52" fmla="*/ 509587 w 982662"/>
                  <a:gd name="connsiteY52" fmla="*/ 7108 h 474662"/>
                  <a:gd name="connsiteX53" fmla="*/ 516723 w 982662"/>
                  <a:gd name="connsiteY53" fmla="*/ 0 h 474662"/>
                  <a:gd name="connsiteX54" fmla="*/ 261136 w 982662"/>
                  <a:gd name="connsiteY54" fmla="*/ 0 h 474662"/>
                  <a:gd name="connsiteX55" fmla="*/ 465939 w 982662"/>
                  <a:gd name="connsiteY55" fmla="*/ 0 h 474662"/>
                  <a:gd name="connsiteX56" fmla="*/ 473075 w 982662"/>
                  <a:gd name="connsiteY56" fmla="*/ 7108 h 474662"/>
                  <a:gd name="connsiteX57" fmla="*/ 473075 w 982662"/>
                  <a:gd name="connsiteY57" fmla="*/ 210381 h 474662"/>
                  <a:gd name="connsiteX58" fmla="*/ 465939 w 982662"/>
                  <a:gd name="connsiteY58" fmla="*/ 217488 h 474662"/>
                  <a:gd name="connsiteX59" fmla="*/ 261136 w 982662"/>
                  <a:gd name="connsiteY59" fmla="*/ 217488 h 474662"/>
                  <a:gd name="connsiteX60" fmla="*/ 254000 w 982662"/>
                  <a:gd name="connsiteY60" fmla="*/ 210381 h 474662"/>
                  <a:gd name="connsiteX61" fmla="*/ 254000 w 982662"/>
                  <a:gd name="connsiteY61" fmla="*/ 7108 h 474662"/>
                  <a:gd name="connsiteX62" fmla="*/ 261136 w 982662"/>
                  <a:gd name="connsiteY62" fmla="*/ 0 h 474662"/>
                  <a:gd name="connsiteX63" fmla="*/ 7136 w 982662"/>
                  <a:gd name="connsiteY63" fmla="*/ 0 h 474662"/>
                  <a:gd name="connsiteX64" fmla="*/ 211939 w 982662"/>
                  <a:gd name="connsiteY64" fmla="*/ 0 h 474662"/>
                  <a:gd name="connsiteX65" fmla="*/ 219075 w 982662"/>
                  <a:gd name="connsiteY65" fmla="*/ 7108 h 474662"/>
                  <a:gd name="connsiteX66" fmla="*/ 219075 w 982662"/>
                  <a:gd name="connsiteY66" fmla="*/ 210381 h 474662"/>
                  <a:gd name="connsiteX67" fmla="*/ 211939 w 982662"/>
                  <a:gd name="connsiteY67" fmla="*/ 217488 h 474662"/>
                  <a:gd name="connsiteX68" fmla="*/ 7136 w 982662"/>
                  <a:gd name="connsiteY68" fmla="*/ 217488 h 474662"/>
                  <a:gd name="connsiteX69" fmla="*/ 0 w 982662"/>
                  <a:gd name="connsiteY69" fmla="*/ 210381 h 474662"/>
                  <a:gd name="connsiteX70" fmla="*/ 0 w 982662"/>
                  <a:gd name="connsiteY70" fmla="*/ 7108 h 474662"/>
                  <a:gd name="connsiteX71" fmla="*/ 7136 w 982662"/>
                  <a:gd name="connsiteY71" fmla="*/ 0 h 474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982662" h="474662">
                    <a:moveTo>
                      <a:pt x="770723" y="255587"/>
                    </a:moveTo>
                    <a:cubicBezTo>
                      <a:pt x="770723" y="255587"/>
                      <a:pt x="770723" y="255587"/>
                      <a:pt x="975526" y="255587"/>
                    </a:cubicBezTo>
                    <a:cubicBezTo>
                      <a:pt x="979808" y="255587"/>
                      <a:pt x="982662" y="258442"/>
                      <a:pt x="982662" y="262723"/>
                    </a:cubicBezTo>
                    <a:cubicBezTo>
                      <a:pt x="982662" y="262723"/>
                      <a:pt x="982662" y="262723"/>
                      <a:pt x="982662" y="467526"/>
                    </a:cubicBezTo>
                    <a:cubicBezTo>
                      <a:pt x="982662" y="471094"/>
                      <a:pt x="979808" y="474662"/>
                      <a:pt x="975526" y="474662"/>
                    </a:cubicBezTo>
                    <a:cubicBezTo>
                      <a:pt x="975526" y="474662"/>
                      <a:pt x="975526" y="474662"/>
                      <a:pt x="770723" y="474662"/>
                    </a:cubicBezTo>
                    <a:cubicBezTo>
                      <a:pt x="767155" y="474662"/>
                      <a:pt x="763587" y="471094"/>
                      <a:pt x="763587" y="467526"/>
                    </a:cubicBezTo>
                    <a:cubicBezTo>
                      <a:pt x="763587" y="467526"/>
                      <a:pt x="763587" y="467526"/>
                      <a:pt x="763587" y="262723"/>
                    </a:cubicBezTo>
                    <a:cubicBezTo>
                      <a:pt x="763587" y="258442"/>
                      <a:pt x="767155" y="255587"/>
                      <a:pt x="770723" y="255587"/>
                    </a:cubicBezTo>
                    <a:close/>
                    <a:moveTo>
                      <a:pt x="516723" y="255587"/>
                    </a:moveTo>
                    <a:cubicBezTo>
                      <a:pt x="516723" y="255587"/>
                      <a:pt x="516723" y="255587"/>
                      <a:pt x="721526" y="255587"/>
                    </a:cubicBezTo>
                    <a:cubicBezTo>
                      <a:pt x="725094" y="255587"/>
                      <a:pt x="728662" y="258442"/>
                      <a:pt x="728662" y="262723"/>
                    </a:cubicBezTo>
                    <a:cubicBezTo>
                      <a:pt x="728662" y="262723"/>
                      <a:pt x="728662" y="262723"/>
                      <a:pt x="728662" y="467526"/>
                    </a:cubicBezTo>
                    <a:cubicBezTo>
                      <a:pt x="728662" y="471094"/>
                      <a:pt x="725094" y="474662"/>
                      <a:pt x="721526" y="474662"/>
                    </a:cubicBezTo>
                    <a:cubicBezTo>
                      <a:pt x="721526" y="474662"/>
                      <a:pt x="721526" y="474662"/>
                      <a:pt x="516723" y="474662"/>
                    </a:cubicBezTo>
                    <a:cubicBezTo>
                      <a:pt x="512442" y="474662"/>
                      <a:pt x="509587" y="471094"/>
                      <a:pt x="509587" y="467526"/>
                    </a:cubicBezTo>
                    <a:cubicBezTo>
                      <a:pt x="509587" y="467526"/>
                      <a:pt x="509587" y="467526"/>
                      <a:pt x="509587" y="262723"/>
                    </a:cubicBezTo>
                    <a:cubicBezTo>
                      <a:pt x="509587" y="258442"/>
                      <a:pt x="512442" y="255587"/>
                      <a:pt x="516723" y="255587"/>
                    </a:cubicBezTo>
                    <a:close/>
                    <a:moveTo>
                      <a:pt x="261136" y="255587"/>
                    </a:moveTo>
                    <a:cubicBezTo>
                      <a:pt x="261136" y="255587"/>
                      <a:pt x="261136" y="255587"/>
                      <a:pt x="465939" y="255587"/>
                    </a:cubicBezTo>
                    <a:cubicBezTo>
                      <a:pt x="470220" y="255587"/>
                      <a:pt x="473075" y="258442"/>
                      <a:pt x="473075" y="262723"/>
                    </a:cubicBezTo>
                    <a:cubicBezTo>
                      <a:pt x="473075" y="262723"/>
                      <a:pt x="473075" y="262723"/>
                      <a:pt x="473075" y="467526"/>
                    </a:cubicBezTo>
                    <a:cubicBezTo>
                      <a:pt x="473075" y="471094"/>
                      <a:pt x="470220" y="474662"/>
                      <a:pt x="465939" y="474662"/>
                    </a:cubicBezTo>
                    <a:cubicBezTo>
                      <a:pt x="465939" y="474662"/>
                      <a:pt x="465939" y="474662"/>
                      <a:pt x="261136" y="474662"/>
                    </a:cubicBezTo>
                    <a:cubicBezTo>
                      <a:pt x="257568" y="474662"/>
                      <a:pt x="254000" y="471094"/>
                      <a:pt x="254000" y="467526"/>
                    </a:cubicBezTo>
                    <a:cubicBezTo>
                      <a:pt x="254000" y="467526"/>
                      <a:pt x="254000" y="467526"/>
                      <a:pt x="254000" y="262723"/>
                    </a:cubicBezTo>
                    <a:cubicBezTo>
                      <a:pt x="254000" y="258442"/>
                      <a:pt x="257568" y="255587"/>
                      <a:pt x="261136" y="255587"/>
                    </a:cubicBezTo>
                    <a:close/>
                    <a:moveTo>
                      <a:pt x="7136" y="255587"/>
                    </a:moveTo>
                    <a:cubicBezTo>
                      <a:pt x="7136" y="255587"/>
                      <a:pt x="7136" y="255587"/>
                      <a:pt x="211939" y="255587"/>
                    </a:cubicBezTo>
                    <a:cubicBezTo>
                      <a:pt x="215507" y="255587"/>
                      <a:pt x="219075" y="258442"/>
                      <a:pt x="219075" y="262723"/>
                    </a:cubicBezTo>
                    <a:cubicBezTo>
                      <a:pt x="219075" y="262723"/>
                      <a:pt x="219075" y="262723"/>
                      <a:pt x="219075" y="467526"/>
                    </a:cubicBezTo>
                    <a:cubicBezTo>
                      <a:pt x="219075" y="471094"/>
                      <a:pt x="215507" y="474662"/>
                      <a:pt x="211939" y="474662"/>
                    </a:cubicBezTo>
                    <a:cubicBezTo>
                      <a:pt x="211939" y="474662"/>
                      <a:pt x="211939" y="474662"/>
                      <a:pt x="7136" y="474662"/>
                    </a:cubicBezTo>
                    <a:cubicBezTo>
                      <a:pt x="2854" y="474662"/>
                      <a:pt x="0" y="471094"/>
                      <a:pt x="0" y="467526"/>
                    </a:cubicBezTo>
                    <a:cubicBezTo>
                      <a:pt x="0" y="467526"/>
                      <a:pt x="0" y="467526"/>
                      <a:pt x="0" y="262723"/>
                    </a:cubicBezTo>
                    <a:cubicBezTo>
                      <a:pt x="0" y="258442"/>
                      <a:pt x="2854" y="255587"/>
                      <a:pt x="7136" y="255587"/>
                    </a:cubicBezTo>
                    <a:close/>
                    <a:moveTo>
                      <a:pt x="770723" y="0"/>
                    </a:moveTo>
                    <a:cubicBezTo>
                      <a:pt x="770723" y="0"/>
                      <a:pt x="770723" y="0"/>
                      <a:pt x="975526" y="0"/>
                    </a:cubicBezTo>
                    <a:cubicBezTo>
                      <a:pt x="979808" y="0"/>
                      <a:pt x="982662" y="2843"/>
                      <a:pt x="982662" y="7108"/>
                    </a:cubicBezTo>
                    <a:cubicBezTo>
                      <a:pt x="982662" y="7108"/>
                      <a:pt x="982662" y="7108"/>
                      <a:pt x="982662" y="210381"/>
                    </a:cubicBezTo>
                    <a:cubicBezTo>
                      <a:pt x="982662" y="214645"/>
                      <a:pt x="979808" y="217488"/>
                      <a:pt x="975526" y="217488"/>
                    </a:cubicBezTo>
                    <a:cubicBezTo>
                      <a:pt x="975526" y="217488"/>
                      <a:pt x="975526" y="217488"/>
                      <a:pt x="770723" y="217488"/>
                    </a:cubicBezTo>
                    <a:cubicBezTo>
                      <a:pt x="767155" y="217488"/>
                      <a:pt x="763587" y="214645"/>
                      <a:pt x="763587" y="210381"/>
                    </a:cubicBezTo>
                    <a:cubicBezTo>
                      <a:pt x="763587" y="210381"/>
                      <a:pt x="763587" y="210381"/>
                      <a:pt x="763587" y="7108"/>
                    </a:cubicBezTo>
                    <a:cubicBezTo>
                      <a:pt x="763587" y="2843"/>
                      <a:pt x="767155" y="0"/>
                      <a:pt x="770723" y="0"/>
                    </a:cubicBezTo>
                    <a:close/>
                    <a:moveTo>
                      <a:pt x="516723" y="0"/>
                    </a:moveTo>
                    <a:cubicBezTo>
                      <a:pt x="516723" y="0"/>
                      <a:pt x="516723" y="0"/>
                      <a:pt x="721526" y="0"/>
                    </a:cubicBezTo>
                    <a:cubicBezTo>
                      <a:pt x="725094" y="0"/>
                      <a:pt x="728662" y="2843"/>
                      <a:pt x="728662" y="7108"/>
                    </a:cubicBezTo>
                    <a:cubicBezTo>
                      <a:pt x="728662" y="7108"/>
                      <a:pt x="728662" y="7108"/>
                      <a:pt x="728662" y="210381"/>
                    </a:cubicBezTo>
                    <a:cubicBezTo>
                      <a:pt x="728662" y="214645"/>
                      <a:pt x="725094" y="217488"/>
                      <a:pt x="721526" y="217488"/>
                    </a:cubicBezTo>
                    <a:cubicBezTo>
                      <a:pt x="721526" y="217488"/>
                      <a:pt x="721526" y="217488"/>
                      <a:pt x="516723" y="217488"/>
                    </a:cubicBezTo>
                    <a:cubicBezTo>
                      <a:pt x="512442" y="217488"/>
                      <a:pt x="509587" y="214645"/>
                      <a:pt x="509587" y="210381"/>
                    </a:cubicBezTo>
                    <a:cubicBezTo>
                      <a:pt x="509587" y="210381"/>
                      <a:pt x="509587" y="210381"/>
                      <a:pt x="509587" y="7108"/>
                    </a:cubicBezTo>
                    <a:cubicBezTo>
                      <a:pt x="509587" y="2843"/>
                      <a:pt x="512442" y="0"/>
                      <a:pt x="516723" y="0"/>
                    </a:cubicBezTo>
                    <a:close/>
                    <a:moveTo>
                      <a:pt x="261136" y="0"/>
                    </a:moveTo>
                    <a:cubicBezTo>
                      <a:pt x="261136" y="0"/>
                      <a:pt x="261136" y="0"/>
                      <a:pt x="465939" y="0"/>
                    </a:cubicBezTo>
                    <a:cubicBezTo>
                      <a:pt x="470220" y="0"/>
                      <a:pt x="473075" y="2843"/>
                      <a:pt x="473075" y="7108"/>
                    </a:cubicBezTo>
                    <a:cubicBezTo>
                      <a:pt x="473075" y="7108"/>
                      <a:pt x="473075" y="7108"/>
                      <a:pt x="473075" y="210381"/>
                    </a:cubicBezTo>
                    <a:cubicBezTo>
                      <a:pt x="473075" y="214645"/>
                      <a:pt x="470220" y="217488"/>
                      <a:pt x="465939" y="217488"/>
                    </a:cubicBezTo>
                    <a:cubicBezTo>
                      <a:pt x="465939" y="217488"/>
                      <a:pt x="465939" y="217488"/>
                      <a:pt x="261136" y="217488"/>
                    </a:cubicBezTo>
                    <a:cubicBezTo>
                      <a:pt x="257568" y="217488"/>
                      <a:pt x="254000" y="214645"/>
                      <a:pt x="254000" y="210381"/>
                    </a:cubicBezTo>
                    <a:cubicBezTo>
                      <a:pt x="254000" y="210381"/>
                      <a:pt x="254000" y="210381"/>
                      <a:pt x="254000" y="7108"/>
                    </a:cubicBezTo>
                    <a:cubicBezTo>
                      <a:pt x="254000" y="2843"/>
                      <a:pt x="257568" y="0"/>
                      <a:pt x="261136" y="0"/>
                    </a:cubicBezTo>
                    <a:close/>
                    <a:moveTo>
                      <a:pt x="7136" y="0"/>
                    </a:moveTo>
                    <a:cubicBezTo>
                      <a:pt x="7136" y="0"/>
                      <a:pt x="7136" y="0"/>
                      <a:pt x="211939" y="0"/>
                    </a:cubicBezTo>
                    <a:cubicBezTo>
                      <a:pt x="215507" y="0"/>
                      <a:pt x="219075" y="2843"/>
                      <a:pt x="219075" y="7108"/>
                    </a:cubicBezTo>
                    <a:cubicBezTo>
                      <a:pt x="219075" y="7108"/>
                      <a:pt x="219075" y="7108"/>
                      <a:pt x="219075" y="210381"/>
                    </a:cubicBezTo>
                    <a:cubicBezTo>
                      <a:pt x="219075" y="214645"/>
                      <a:pt x="215507" y="217488"/>
                      <a:pt x="211939" y="217488"/>
                    </a:cubicBezTo>
                    <a:cubicBezTo>
                      <a:pt x="211939" y="217488"/>
                      <a:pt x="211939" y="217488"/>
                      <a:pt x="7136" y="217488"/>
                    </a:cubicBezTo>
                    <a:cubicBezTo>
                      <a:pt x="2854" y="217488"/>
                      <a:pt x="0" y="214645"/>
                      <a:pt x="0" y="210381"/>
                    </a:cubicBezTo>
                    <a:cubicBezTo>
                      <a:pt x="0" y="210381"/>
                      <a:pt x="0" y="210381"/>
                      <a:pt x="0" y="7108"/>
                    </a:cubicBezTo>
                    <a:cubicBezTo>
                      <a:pt x="0" y="2843"/>
                      <a:pt x="2854" y="0"/>
                      <a:pt x="713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9" name="Freeform 24">
                <a:extLst>
                  <a:ext uri="{FF2B5EF4-FFF2-40B4-BE49-F238E27FC236}">
                    <a16:creationId xmlns:a16="http://schemas.microsoft.com/office/drawing/2014/main" id="{2E2992F5-FA67-DD1A-CE92-9A1EB547A7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738" y="2911475"/>
                <a:ext cx="1154113" cy="963613"/>
              </a:xfrm>
              <a:custGeom>
                <a:avLst/>
                <a:gdLst>
                  <a:gd name="connsiteX0" fmla="*/ 92866 w 1154113"/>
                  <a:gd name="connsiteY0" fmla="*/ 150813 h 963613"/>
                  <a:gd name="connsiteX1" fmla="*/ 163567 w 1154113"/>
                  <a:gd name="connsiteY1" fmla="*/ 150813 h 963613"/>
                  <a:gd name="connsiteX2" fmla="*/ 163567 w 1154113"/>
                  <a:gd name="connsiteY2" fmla="*/ 211469 h 963613"/>
                  <a:gd name="connsiteX3" fmla="*/ 179278 w 1154113"/>
                  <a:gd name="connsiteY3" fmla="*/ 227168 h 963613"/>
                  <a:gd name="connsiteX4" fmla="*/ 320678 w 1154113"/>
                  <a:gd name="connsiteY4" fmla="*/ 227168 h 963613"/>
                  <a:gd name="connsiteX5" fmla="*/ 336390 w 1154113"/>
                  <a:gd name="connsiteY5" fmla="*/ 211469 h 963613"/>
                  <a:gd name="connsiteX6" fmla="*/ 336390 w 1154113"/>
                  <a:gd name="connsiteY6" fmla="*/ 150813 h 963613"/>
                  <a:gd name="connsiteX7" fmla="*/ 817723 w 1154113"/>
                  <a:gd name="connsiteY7" fmla="*/ 150813 h 963613"/>
                  <a:gd name="connsiteX8" fmla="*/ 817723 w 1154113"/>
                  <a:gd name="connsiteY8" fmla="*/ 211469 h 963613"/>
                  <a:gd name="connsiteX9" fmla="*/ 833434 w 1154113"/>
                  <a:gd name="connsiteY9" fmla="*/ 227168 h 963613"/>
                  <a:gd name="connsiteX10" fmla="*/ 974835 w 1154113"/>
                  <a:gd name="connsiteY10" fmla="*/ 227168 h 963613"/>
                  <a:gd name="connsiteX11" fmla="*/ 990546 w 1154113"/>
                  <a:gd name="connsiteY11" fmla="*/ 211469 h 963613"/>
                  <a:gd name="connsiteX12" fmla="*/ 990546 w 1154113"/>
                  <a:gd name="connsiteY12" fmla="*/ 150813 h 963613"/>
                  <a:gd name="connsiteX13" fmla="*/ 1061247 w 1154113"/>
                  <a:gd name="connsiteY13" fmla="*/ 150813 h 963613"/>
                  <a:gd name="connsiteX14" fmla="*/ 1068388 w 1154113"/>
                  <a:gd name="connsiteY14" fmla="*/ 157949 h 963613"/>
                  <a:gd name="connsiteX15" fmla="*/ 1068388 w 1154113"/>
                  <a:gd name="connsiteY15" fmla="*/ 362752 h 963613"/>
                  <a:gd name="connsiteX16" fmla="*/ 1061247 w 1154113"/>
                  <a:gd name="connsiteY16" fmla="*/ 369888 h 963613"/>
                  <a:gd name="connsiteX17" fmla="*/ 92866 w 1154113"/>
                  <a:gd name="connsiteY17" fmla="*/ 369888 h 963613"/>
                  <a:gd name="connsiteX18" fmla="*/ 85725 w 1154113"/>
                  <a:gd name="connsiteY18" fmla="*/ 362752 h 963613"/>
                  <a:gd name="connsiteX19" fmla="*/ 85725 w 1154113"/>
                  <a:gd name="connsiteY19" fmla="*/ 157949 h 963613"/>
                  <a:gd name="connsiteX20" fmla="*/ 92866 w 1154113"/>
                  <a:gd name="connsiteY20" fmla="*/ 150813 h 963613"/>
                  <a:gd name="connsiteX21" fmla="*/ 336550 w 1154113"/>
                  <a:gd name="connsiteY21" fmla="*/ 71438 h 963613"/>
                  <a:gd name="connsiteX22" fmla="*/ 817563 w 1154113"/>
                  <a:gd name="connsiteY22" fmla="*/ 71438 h 963613"/>
                  <a:gd name="connsiteX23" fmla="*/ 817563 w 1154113"/>
                  <a:gd name="connsiteY23" fmla="*/ 101601 h 963613"/>
                  <a:gd name="connsiteX24" fmla="*/ 336550 w 1154113"/>
                  <a:gd name="connsiteY24" fmla="*/ 101601 h 963613"/>
                  <a:gd name="connsiteX25" fmla="*/ 15712 w 1154113"/>
                  <a:gd name="connsiteY25" fmla="*/ 71438 h 963613"/>
                  <a:gd name="connsiteX26" fmla="*/ 163547 w 1154113"/>
                  <a:gd name="connsiteY26" fmla="*/ 71438 h 963613"/>
                  <a:gd name="connsiteX27" fmla="*/ 163547 w 1154113"/>
                  <a:gd name="connsiteY27" fmla="*/ 102843 h 963613"/>
                  <a:gd name="connsiteX28" fmla="*/ 31424 w 1154113"/>
                  <a:gd name="connsiteY28" fmla="*/ 102843 h 963613"/>
                  <a:gd name="connsiteX29" fmla="*/ 31424 w 1154113"/>
                  <a:gd name="connsiteY29" fmla="*/ 932209 h 963613"/>
                  <a:gd name="connsiteX30" fmla="*/ 1122689 w 1154113"/>
                  <a:gd name="connsiteY30" fmla="*/ 932209 h 963613"/>
                  <a:gd name="connsiteX31" fmla="*/ 1122689 w 1154113"/>
                  <a:gd name="connsiteY31" fmla="*/ 102843 h 963613"/>
                  <a:gd name="connsiteX32" fmla="*/ 990566 w 1154113"/>
                  <a:gd name="connsiteY32" fmla="*/ 102843 h 963613"/>
                  <a:gd name="connsiteX33" fmla="*/ 990566 w 1154113"/>
                  <a:gd name="connsiteY33" fmla="*/ 71438 h 963613"/>
                  <a:gd name="connsiteX34" fmla="*/ 1138401 w 1154113"/>
                  <a:gd name="connsiteY34" fmla="*/ 71438 h 963613"/>
                  <a:gd name="connsiteX35" fmla="*/ 1154113 w 1154113"/>
                  <a:gd name="connsiteY35" fmla="*/ 87140 h 963613"/>
                  <a:gd name="connsiteX36" fmla="*/ 1154113 w 1154113"/>
                  <a:gd name="connsiteY36" fmla="*/ 947911 h 963613"/>
                  <a:gd name="connsiteX37" fmla="*/ 1138401 w 1154113"/>
                  <a:gd name="connsiteY37" fmla="*/ 963613 h 963613"/>
                  <a:gd name="connsiteX38" fmla="*/ 15712 w 1154113"/>
                  <a:gd name="connsiteY38" fmla="*/ 963613 h 963613"/>
                  <a:gd name="connsiteX39" fmla="*/ 0 w 1154113"/>
                  <a:gd name="connsiteY39" fmla="*/ 947911 h 963613"/>
                  <a:gd name="connsiteX40" fmla="*/ 0 w 1154113"/>
                  <a:gd name="connsiteY40" fmla="*/ 87140 h 963613"/>
                  <a:gd name="connsiteX41" fmla="*/ 15712 w 1154113"/>
                  <a:gd name="connsiteY41" fmla="*/ 71438 h 963613"/>
                  <a:gd name="connsiteX42" fmla="*/ 856425 w 1154113"/>
                  <a:gd name="connsiteY42" fmla="*/ 0 h 963613"/>
                  <a:gd name="connsiteX43" fmla="*/ 951737 w 1154113"/>
                  <a:gd name="connsiteY43" fmla="*/ 0 h 963613"/>
                  <a:gd name="connsiteX44" fmla="*/ 958850 w 1154113"/>
                  <a:gd name="connsiteY44" fmla="*/ 7153 h 963613"/>
                  <a:gd name="connsiteX45" fmla="*/ 958850 w 1154113"/>
                  <a:gd name="connsiteY45" fmla="*/ 70095 h 963613"/>
                  <a:gd name="connsiteX46" fmla="*/ 958850 w 1154113"/>
                  <a:gd name="connsiteY46" fmla="*/ 101565 h 963613"/>
                  <a:gd name="connsiteX47" fmla="*/ 958850 w 1154113"/>
                  <a:gd name="connsiteY47" fmla="*/ 150202 h 963613"/>
                  <a:gd name="connsiteX48" fmla="*/ 958850 w 1154113"/>
                  <a:gd name="connsiteY48" fmla="*/ 188111 h 963613"/>
                  <a:gd name="connsiteX49" fmla="*/ 951737 w 1154113"/>
                  <a:gd name="connsiteY49" fmla="*/ 195263 h 963613"/>
                  <a:gd name="connsiteX50" fmla="*/ 856425 w 1154113"/>
                  <a:gd name="connsiteY50" fmla="*/ 195263 h 963613"/>
                  <a:gd name="connsiteX51" fmla="*/ 849312 w 1154113"/>
                  <a:gd name="connsiteY51" fmla="*/ 188111 h 963613"/>
                  <a:gd name="connsiteX52" fmla="*/ 849312 w 1154113"/>
                  <a:gd name="connsiteY52" fmla="*/ 150202 h 963613"/>
                  <a:gd name="connsiteX53" fmla="*/ 849312 w 1154113"/>
                  <a:gd name="connsiteY53" fmla="*/ 101565 h 963613"/>
                  <a:gd name="connsiteX54" fmla="*/ 849312 w 1154113"/>
                  <a:gd name="connsiteY54" fmla="*/ 70095 h 963613"/>
                  <a:gd name="connsiteX55" fmla="*/ 849312 w 1154113"/>
                  <a:gd name="connsiteY55" fmla="*/ 7153 h 963613"/>
                  <a:gd name="connsiteX56" fmla="*/ 856425 w 1154113"/>
                  <a:gd name="connsiteY56" fmla="*/ 0 h 963613"/>
                  <a:gd name="connsiteX57" fmla="*/ 202375 w 1154113"/>
                  <a:gd name="connsiteY57" fmla="*/ 0 h 963613"/>
                  <a:gd name="connsiteX58" fmla="*/ 297687 w 1154113"/>
                  <a:gd name="connsiteY58" fmla="*/ 0 h 963613"/>
                  <a:gd name="connsiteX59" fmla="*/ 304800 w 1154113"/>
                  <a:gd name="connsiteY59" fmla="*/ 7153 h 963613"/>
                  <a:gd name="connsiteX60" fmla="*/ 304800 w 1154113"/>
                  <a:gd name="connsiteY60" fmla="*/ 70095 h 963613"/>
                  <a:gd name="connsiteX61" fmla="*/ 304800 w 1154113"/>
                  <a:gd name="connsiteY61" fmla="*/ 101565 h 963613"/>
                  <a:gd name="connsiteX62" fmla="*/ 304800 w 1154113"/>
                  <a:gd name="connsiteY62" fmla="*/ 150202 h 963613"/>
                  <a:gd name="connsiteX63" fmla="*/ 304800 w 1154113"/>
                  <a:gd name="connsiteY63" fmla="*/ 188111 h 963613"/>
                  <a:gd name="connsiteX64" fmla="*/ 297687 w 1154113"/>
                  <a:gd name="connsiteY64" fmla="*/ 195263 h 963613"/>
                  <a:gd name="connsiteX65" fmla="*/ 202375 w 1154113"/>
                  <a:gd name="connsiteY65" fmla="*/ 195263 h 963613"/>
                  <a:gd name="connsiteX66" fmla="*/ 195262 w 1154113"/>
                  <a:gd name="connsiteY66" fmla="*/ 188111 h 963613"/>
                  <a:gd name="connsiteX67" fmla="*/ 195262 w 1154113"/>
                  <a:gd name="connsiteY67" fmla="*/ 150202 h 963613"/>
                  <a:gd name="connsiteX68" fmla="*/ 195262 w 1154113"/>
                  <a:gd name="connsiteY68" fmla="*/ 101565 h 963613"/>
                  <a:gd name="connsiteX69" fmla="*/ 195262 w 1154113"/>
                  <a:gd name="connsiteY69" fmla="*/ 70095 h 963613"/>
                  <a:gd name="connsiteX70" fmla="*/ 195262 w 1154113"/>
                  <a:gd name="connsiteY70" fmla="*/ 7153 h 963613"/>
                  <a:gd name="connsiteX71" fmla="*/ 202375 w 1154113"/>
                  <a:gd name="connsiteY71" fmla="*/ 0 h 963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1154113" h="963613">
                    <a:moveTo>
                      <a:pt x="92866" y="150813"/>
                    </a:moveTo>
                    <a:cubicBezTo>
                      <a:pt x="92866" y="150813"/>
                      <a:pt x="92866" y="150813"/>
                      <a:pt x="163567" y="150813"/>
                    </a:cubicBezTo>
                    <a:lnTo>
                      <a:pt x="163567" y="211469"/>
                    </a:lnTo>
                    <a:cubicBezTo>
                      <a:pt x="163567" y="220032"/>
                      <a:pt x="170708" y="227168"/>
                      <a:pt x="179278" y="227168"/>
                    </a:cubicBezTo>
                    <a:cubicBezTo>
                      <a:pt x="179278" y="227168"/>
                      <a:pt x="179278" y="227168"/>
                      <a:pt x="320678" y="227168"/>
                    </a:cubicBezTo>
                    <a:cubicBezTo>
                      <a:pt x="329248" y="227168"/>
                      <a:pt x="336390" y="220032"/>
                      <a:pt x="336390" y="211469"/>
                    </a:cubicBezTo>
                    <a:cubicBezTo>
                      <a:pt x="336390" y="211469"/>
                      <a:pt x="336390" y="211469"/>
                      <a:pt x="336390" y="150813"/>
                    </a:cubicBezTo>
                    <a:cubicBezTo>
                      <a:pt x="336390" y="150813"/>
                      <a:pt x="336390" y="150813"/>
                      <a:pt x="817723" y="150813"/>
                    </a:cubicBezTo>
                    <a:cubicBezTo>
                      <a:pt x="817723" y="150813"/>
                      <a:pt x="817723" y="150813"/>
                      <a:pt x="817723" y="211469"/>
                    </a:cubicBezTo>
                    <a:cubicBezTo>
                      <a:pt x="817723" y="220032"/>
                      <a:pt x="824864" y="227168"/>
                      <a:pt x="833434" y="227168"/>
                    </a:cubicBezTo>
                    <a:cubicBezTo>
                      <a:pt x="833434" y="227168"/>
                      <a:pt x="833434" y="227168"/>
                      <a:pt x="974835" y="227168"/>
                    </a:cubicBezTo>
                    <a:cubicBezTo>
                      <a:pt x="983405" y="227168"/>
                      <a:pt x="990546" y="220032"/>
                      <a:pt x="990546" y="211469"/>
                    </a:cubicBezTo>
                    <a:cubicBezTo>
                      <a:pt x="990546" y="211469"/>
                      <a:pt x="990546" y="211469"/>
                      <a:pt x="990546" y="150813"/>
                    </a:cubicBezTo>
                    <a:cubicBezTo>
                      <a:pt x="990546" y="150813"/>
                      <a:pt x="990546" y="150813"/>
                      <a:pt x="1061247" y="150813"/>
                    </a:cubicBezTo>
                    <a:cubicBezTo>
                      <a:pt x="1065532" y="150813"/>
                      <a:pt x="1068388" y="154381"/>
                      <a:pt x="1068388" y="157949"/>
                    </a:cubicBezTo>
                    <a:cubicBezTo>
                      <a:pt x="1068388" y="157949"/>
                      <a:pt x="1068388" y="157949"/>
                      <a:pt x="1068388" y="362752"/>
                    </a:cubicBezTo>
                    <a:cubicBezTo>
                      <a:pt x="1068388" y="367034"/>
                      <a:pt x="1065532" y="369888"/>
                      <a:pt x="1061247" y="369888"/>
                    </a:cubicBezTo>
                    <a:cubicBezTo>
                      <a:pt x="1061247" y="369888"/>
                      <a:pt x="1061247" y="369888"/>
                      <a:pt x="92866" y="369888"/>
                    </a:cubicBezTo>
                    <a:cubicBezTo>
                      <a:pt x="88581" y="369888"/>
                      <a:pt x="85725" y="367034"/>
                      <a:pt x="85725" y="362752"/>
                    </a:cubicBezTo>
                    <a:cubicBezTo>
                      <a:pt x="85725" y="362752"/>
                      <a:pt x="85725" y="362752"/>
                      <a:pt x="85725" y="157949"/>
                    </a:cubicBezTo>
                    <a:cubicBezTo>
                      <a:pt x="85725" y="154381"/>
                      <a:pt x="88581" y="150813"/>
                      <a:pt x="92866" y="150813"/>
                    </a:cubicBezTo>
                    <a:close/>
                    <a:moveTo>
                      <a:pt x="336550" y="71438"/>
                    </a:moveTo>
                    <a:lnTo>
                      <a:pt x="817563" y="71438"/>
                    </a:lnTo>
                    <a:lnTo>
                      <a:pt x="817563" y="101601"/>
                    </a:lnTo>
                    <a:lnTo>
                      <a:pt x="336550" y="101601"/>
                    </a:lnTo>
                    <a:close/>
                    <a:moveTo>
                      <a:pt x="15712" y="71438"/>
                    </a:moveTo>
                    <a:cubicBezTo>
                      <a:pt x="15712" y="71438"/>
                      <a:pt x="15712" y="71438"/>
                      <a:pt x="163547" y="71438"/>
                    </a:cubicBezTo>
                    <a:cubicBezTo>
                      <a:pt x="163547" y="71438"/>
                      <a:pt x="163547" y="71438"/>
                      <a:pt x="163547" y="102843"/>
                    </a:cubicBezTo>
                    <a:cubicBezTo>
                      <a:pt x="163547" y="102843"/>
                      <a:pt x="163547" y="102843"/>
                      <a:pt x="31424" y="102843"/>
                    </a:cubicBezTo>
                    <a:cubicBezTo>
                      <a:pt x="31424" y="102843"/>
                      <a:pt x="31424" y="102843"/>
                      <a:pt x="31424" y="932209"/>
                    </a:cubicBezTo>
                    <a:cubicBezTo>
                      <a:pt x="31424" y="932209"/>
                      <a:pt x="31424" y="932209"/>
                      <a:pt x="1122689" y="932209"/>
                    </a:cubicBezTo>
                    <a:cubicBezTo>
                      <a:pt x="1122689" y="932209"/>
                      <a:pt x="1122689" y="932209"/>
                      <a:pt x="1122689" y="102843"/>
                    </a:cubicBezTo>
                    <a:cubicBezTo>
                      <a:pt x="1122689" y="102843"/>
                      <a:pt x="1122689" y="102843"/>
                      <a:pt x="990566" y="102843"/>
                    </a:cubicBezTo>
                    <a:cubicBezTo>
                      <a:pt x="990566" y="102843"/>
                      <a:pt x="990566" y="102843"/>
                      <a:pt x="990566" y="71438"/>
                    </a:cubicBezTo>
                    <a:cubicBezTo>
                      <a:pt x="990566" y="71438"/>
                      <a:pt x="990566" y="71438"/>
                      <a:pt x="1138401" y="71438"/>
                    </a:cubicBezTo>
                    <a:cubicBezTo>
                      <a:pt x="1146971" y="71438"/>
                      <a:pt x="1154113" y="78576"/>
                      <a:pt x="1154113" y="87140"/>
                    </a:cubicBezTo>
                    <a:cubicBezTo>
                      <a:pt x="1154113" y="87140"/>
                      <a:pt x="1154113" y="87140"/>
                      <a:pt x="1154113" y="947911"/>
                    </a:cubicBezTo>
                    <a:cubicBezTo>
                      <a:pt x="1154113" y="956476"/>
                      <a:pt x="1146971" y="963613"/>
                      <a:pt x="1138401" y="963613"/>
                    </a:cubicBezTo>
                    <a:cubicBezTo>
                      <a:pt x="1138401" y="963613"/>
                      <a:pt x="1138401" y="963613"/>
                      <a:pt x="15712" y="963613"/>
                    </a:cubicBezTo>
                    <a:cubicBezTo>
                      <a:pt x="7142" y="963613"/>
                      <a:pt x="0" y="956476"/>
                      <a:pt x="0" y="947911"/>
                    </a:cubicBezTo>
                    <a:cubicBezTo>
                      <a:pt x="0" y="947911"/>
                      <a:pt x="0" y="947911"/>
                      <a:pt x="0" y="87140"/>
                    </a:cubicBezTo>
                    <a:cubicBezTo>
                      <a:pt x="0" y="78576"/>
                      <a:pt x="7142" y="71438"/>
                      <a:pt x="15712" y="71438"/>
                    </a:cubicBezTo>
                    <a:close/>
                    <a:moveTo>
                      <a:pt x="856425" y="0"/>
                    </a:moveTo>
                    <a:cubicBezTo>
                      <a:pt x="856425" y="0"/>
                      <a:pt x="856425" y="0"/>
                      <a:pt x="951737" y="0"/>
                    </a:cubicBezTo>
                    <a:cubicBezTo>
                      <a:pt x="955294" y="0"/>
                      <a:pt x="958850" y="3576"/>
                      <a:pt x="958850" y="7153"/>
                    </a:cubicBezTo>
                    <a:cubicBezTo>
                      <a:pt x="958850" y="7153"/>
                      <a:pt x="958850" y="7153"/>
                      <a:pt x="958850" y="70095"/>
                    </a:cubicBezTo>
                    <a:cubicBezTo>
                      <a:pt x="958850" y="70095"/>
                      <a:pt x="958850" y="70095"/>
                      <a:pt x="958850" y="101565"/>
                    </a:cubicBezTo>
                    <a:cubicBezTo>
                      <a:pt x="958850" y="101565"/>
                      <a:pt x="958850" y="101565"/>
                      <a:pt x="958850" y="150202"/>
                    </a:cubicBezTo>
                    <a:cubicBezTo>
                      <a:pt x="958850" y="150202"/>
                      <a:pt x="958850" y="150202"/>
                      <a:pt x="958850" y="188111"/>
                    </a:cubicBezTo>
                    <a:cubicBezTo>
                      <a:pt x="958850" y="192402"/>
                      <a:pt x="955294" y="195263"/>
                      <a:pt x="951737" y="195263"/>
                    </a:cubicBezTo>
                    <a:cubicBezTo>
                      <a:pt x="951737" y="195263"/>
                      <a:pt x="951737" y="195263"/>
                      <a:pt x="856425" y="195263"/>
                    </a:cubicBezTo>
                    <a:cubicBezTo>
                      <a:pt x="852869" y="195263"/>
                      <a:pt x="849312" y="192402"/>
                      <a:pt x="849312" y="188111"/>
                    </a:cubicBezTo>
                    <a:cubicBezTo>
                      <a:pt x="849312" y="188111"/>
                      <a:pt x="849312" y="188111"/>
                      <a:pt x="849312" y="150202"/>
                    </a:cubicBezTo>
                    <a:cubicBezTo>
                      <a:pt x="849312" y="150202"/>
                      <a:pt x="849312" y="150202"/>
                      <a:pt x="849312" y="101565"/>
                    </a:cubicBezTo>
                    <a:cubicBezTo>
                      <a:pt x="849312" y="101565"/>
                      <a:pt x="849312" y="101565"/>
                      <a:pt x="849312" y="70095"/>
                    </a:cubicBezTo>
                    <a:cubicBezTo>
                      <a:pt x="849312" y="70095"/>
                      <a:pt x="849312" y="70095"/>
                      <a:pt x="849312" y="7153"/>
                    </a:cubicBezTo>
                    <a:cubicBezTo>
                      <a:pt x="849312" y="3576"/>
                      <a:pt x="852869" y="0"/>
                      <a:pt x="856425" y="0"/>
                    </a:cubicBezTo>
                    <a:close/>
                    <a:moveTo>
                      <a:pt x="202375" y="0"/>
                    </a:moveTo>
                    <a:cubicBezTo>
                      <a:pt x="202375" y="0"/>
                      <a:pt x="202375" y="0"/>
                      <a:pt x="297687" y="0"/>
                    </a:cubicBezTo>
                    <a:cubicBezTo>
                      <a:pt x="301243" y="0"/>
                      <a:pt x="304800" y="3576"/>
                      <a:pt x="304800" y="7153"/>
                    </a:cubicBezTo>
                    <a:cubicBezTo>
                      <a:pt x="304800" y="7153"/>
                      <a:pt x="304800" y="7153"/>
                      <a:pt x="304800" y="70095"/>
                    </a:cubicBezTo>
                    <a:cubicBezTo>
                      <a:pt x="304800" y="70095"/>
                      <a:pt x="304800" y="70095"/>
                      <a:pt x="304800" y="101565"/>
                    </a:cubicBezTo>
                    <a:cubicBezTo>
                      <a:pt x="304800" y="101565"/>
                      <a:pt x="304800" y="101565"/>
                      <a:pt x="304800" y="150202"/>
                    </a:cubicBezTo>
                    <a:cubicBezTo>
                      <a:pt x="304800" y="150202"/>
                      <a:pt x="304800" y="150202"/>
                      <a:pt x="304800" y="188111"/>
                    </a:cubicBezTo>
                    <a:cubicBezTo>
                      <a:pt x="304800" y="192402"/>
                      <a:pt x="301243" y="195263"/>
                      <a:pt x="297687" y="195263"/>
                    </a:cubicBezTo>
                    <a:cubicBezTo>
                      <a:pt x="297687" y="195263"/>
                      <a:pt x="297687" y="195263"/>
                      <a:pt x="202375" y="195263"/>
                    </a:cubicBezTo>
                    <a:cubicBezTo>
                      <a:pt x="198818" y="195263"/>
                      <a:pt x="195262" y="192402"/>
                      <a:pt x="195262" y="188111"/>
                    </a:cubicBezTo>
                    <a:cubicBezTo>
                      <a:pt x="195262" y="188111"/>
                      <a:pt x="195262" y="188111"/>
                      <a:pt x="195262" y="150202"/>
                    </a:cubicBezTo>
                    <a:cubicBezTo>
                      <a:pt x="195262" y="150202"/>
                      <a:pt x="195262" y="150202"/>
                      <a:pt x="195262" y="101565"/>
                    </a:cubicBezTo>
                    <a:cubicBezTo>
                      <a:pt x="195262" y="101565"/>
                      <a:pt x="195262" y="101565"/>
                      <a:pt x="195262" y="70095"/>
                    </a:cubicBezTo>
                    <a:cubicBezTo>
                      <a:pt x="195262" y="70095"/>
                      <a:pt x="195262" y="70095"/>
                      <a:pt x="195262" y="7153"/>
                    </a:cubicBezTo>
                    <a:cubicBezTo>
                      <a:pt x="195262" y="3576"/>
                      <a:pt x="198818" y="0"/>
                      <a:pt x="20237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71" name="Rectangle 170">
            <a:extLst>
              <a:ext uri="{FF2B5EF4-FFF2-40B4-BE49-F238E27FC236}">
                <a16:creationId xmlns:a16="http://schemas.microsoft.com/office/drawing/2014/main" id="{C9AE3918-6811-0576-F1AB-A498DD8CF0D3}"/>
              </a:ext>
            </a:extLst>
          </p:cNvPr>
          <p:cNvSpPr/>
          <p:nvPr/>
        </p:nvSpPr>
        <p:spPr>
          <a:xfrm>
            <a:off x="7981045" y="4543163"/>
            <a:ext cx="3467766" cy="733949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36" name="Rectangle: Rounded Corners 238">
            <a:extLst>
              <a:ext uri="{FF2B5EF4-FFF2-40B4-BE49-F238E27FC236}">
                <a16:creationId xmlns:a16="http://schemas.microsoft.com/office/drawing/2014/main" id="{94563880-CF7A-85EB-093C-B061318E26EF}"/>
              </a:ext>
            </a:extLst>
          </p:cNvPr>
          <p:cNvSpPr>
            <a:spLocks/>
          </p:cNvSpPr>
          <p:nvPr/>
        </p:nvSpPr>
        <p:spPr>
          <a:xfrm>
            <a:off x="8048372" y="4448356"/>
            <a:ext cx="3355320" cy="150812"/>
          </a:xfrm>
          <a:prstGeom prst="parallelogram">
            <a:avLst/>
          </a:prstGeom>
          <a:solidFill>
            <a:schemeClr val="tx2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noProof="0">
                <a:solidFill>
                  <a:schemeClr val="tx2"/>
                </a:solidFill>
              </a:rPr>
              <a:t>Tipo de estoque</a:t>
            </a:r>
          </a:p>
        </p:txBody>
      </p:sp>
      <p:sp>
        <p:nvSpPr>
          <p:cNvPr id="459" name="Rounded Rectangle 458">
            <a:extLst>
              <a:ext uri="{FF2B5EF4-FFF2-40B4-BE49-F238E27FC236}">
                <a16:creationId xmlns:a16="http://schemas.microsoft.com/office/drawing/2014/main" id="{1A1F5691-1673-68B5-6750-C1B57E4C4BA9}"/>
              </a:ext>
            </a:extLst>
          </p:cNvPr>
          <p:cNvSpPr>
            <a:spLocks/>
          </p:cNvSpPr>
          <p:nvPr/>
        </p:nvSpPr>
        <p:spPr>
          <a:xfrm>
            <a:off x="8097714" y="4687460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462" name="TextBox 461">
            <a:extLst>
              <a:ext uri="{FF2B5EF4-FFF2-40B4-BE49-F238E27FC236}">
                <a16:creationId xmlns:a16="http://schemas.microsoft.com/office/drawing/2014/main" id="{645203C2-BA64-1B99-FA20-187CF0028A83}"/>
              </a:ext>
            </a:extLst>
          </p:cNvPr>
          <p:cNvSpPr txBox="1">
            <a:spLocks/>
          </p:cNvSpPr>
          <p:nvPr/>
        </p:nvSpPr>
        <p:spPr>
          <a:xfrm>
            <a:off x="8152678" y="4857468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156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8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42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453" name="Rounded Rectangle 452">
            <a:extLst>
              <a:ext uri="{FF2B5EF4-FFF2-40B4-BE49-F238E27FC236}">
                <a16:creationId xmlns:a16="http://schemas.microsoft.com/office/drawing/2014/main" id="{C1C49B70-08B3-5B44-0E26-7AFA0F516C34}"/>
              </a:ext>
            </a:extLst>
          </p:cNvPr>
          <p:cNvSpPr>
            <a:spLocks/>
          </p:cNvSpPr>
          <p:nvPr/>
        </p:nvSpPr>
        <p:spPr>
          <a:xfrm>
            <a:off x="8928114" y="4687460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454" name="TextBox 453">
            <a:extLst>
              <a:ext uri="{FF2B5EF4-FFF2-40B4-BE49-F238E27FC236}">
                <a16:creationId xmlns:a16="http://schemas.microsoft.com/office/drawing/2014/main" id="{929D6BE3-E616-6D3A-9382-1499FE8F5B72}"/>
              </a:ext>
            </a:extLst>
          </p:cNvPr>
          <p:cNvSpPr txBox="1">
            <a:spLocks/>
          </p:cNvSpPr>
          <p:nvPr/>
        </p:nvSpPr>
        <p:spPr>
          <a:xfrm>
            <a:off x="9187773" y="4722268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Saldo</a:t>
            </a:r>
          </a:p>
        </p:txBody>
      </p:sp>
      <p:sp>
        <p:nvSpPr>
          <p:cNvPr id="455" name="TextBox 454">
            <a:extLst>
              <a:ext uri="{FF2B5EF4-FFF2-40B4-BE49-F238E27FC236}">
                <a16:creationId xmlns:a16="http://schemas.microsoft.com/office/drawing/2014/main" id="{CA4E0001-563F-89A4-B27E-C11F652584C8}"/>
              </a:ext>
            </a:extLst>
          </p:cNvPr>
          <p:cNvSpPr txBox="1">
            <a:spLocks/>
          </p:cNvSpPr>
          <p:nvPr/>
        </p:nvSpPr>
        <p:spPr>
          <a:xfrm>
            <a:off x="8983077" y="4857468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85M </a:t>
            </a:r>
          </a:p>
          <a:p>
            <a:pPr algn="ctr"/>
            <a:r>
              <a:rPr lang="en-US" sz="300" noProof="0">
                <a:solidFill>
                  <a:srgbClr val="E71A3A"/>
                </a:solidFill>
              </a:rPr>
              <a:t>(+3,4%)</a:t>
            </a:r>
            <a:endParaRPr lang="en-US" sz="1600" noProof="0">
              <a:solidFill>
                <a:srgbClr val="E71A3A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432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447" name="Rounded Rectangle 446">
            <a:extLst>
              <a:ext uri="{FF2B5EF4-FFF2-40B4-BE49-F238E27FC236}">
                <a16:creationId xmlns:a16="http://schemas.microsoft.com/office/drawing/2014/main" id="{4C19612E-752D-BCDF-49BB-1C3C0BA9B40F}"/>
              </a:ext>
            </a:extLst>
          </p:cNvPr>
          <p:cNvSpPr>
            <a:spLocks/>
          </p:cNvSpPr>
          <p:nvPr/>
        </p:nvSpPr>
        <p:spPr>
          <a:xfrm>
            <a:off x="9758538" y="4687460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448" name="TextBox 447">
            <a:extLst>
              <a:ext uri="{FF2B5EF4-FFF2-40B4-BE49-F238E27FC236}">
                <a16:creationId xmlns:a16="http://schemas.microsoft.com/office/drawing/2014/main" id="{8FFC1276-C3CE-A584-C124-5D3B63D01C44}"/>
              </a:ext>
            </a:extLst>
          </p:cNvPr>
          <p:cNvSpPr txBox="1">
            <a:spLocks/>
          </p:cNvSpPr>
          <p:nvPr/>
        </p:nvSpPr>
        <p:spPr>
          <a:xfrm>
            <a:off x="10018196" y="4722268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</a:rPr>
              <a:t>Estq</a:t>
            </a:r>
            <a:r>
              <a:rPr lang="en-US" sz="600" noProof="0">
                <a:solidFill>
                  <a:srgbClr val="1F22CF"/>
                </a:solidFill>
              </a:rPr>
              <a:t> de Seg.</a:t>
            </a:r>
          </a:p>
        </p:txBody>
      </p:sp>
      <p:sp>
        <p:nvSpPr>
          <p:cNvPr id="449" name="TextBox 448">
            <a:extLst>
              <a:ext uri="{FF2B5EF4-FFF2-40B4-BE49-F238E27FC236}">
                <a16:creationId xmlns:a16="http://schemas.microsoft.com/office/drawing/2014/main" id="{47698768-CF06-4021-42D0-7D3D3E837FAC}"/>
              </a:ext>
            </a:extLst>
          </p:cNvPr>
          <p:cNvSpPr txBox="1">
            <a:spLocks/>
          </p:cNvSpPr>
          <p:nvPr/>
        </p:nvSpPr>
        <p:spPr>
          <a:xfrm>
            <a:off x="9813500" y="4857468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244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8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93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441" name="Rounded Rectangle 440">
            <a:extLst>
              <a:ext uri="{FF2B5EF4-FFF2-40B4-BE49-F238E27FC236}">
                <a16:creationId xmlns:a16="http://schemas.microsoft.com/office/drawing/2014/main" id="{D4FC508F-EB4A-8C80-6EFC-D65B4A9E7E0F}"/>
              </a:ext>
            </a:extLst>
          </p:cNvPr>
          <p:cNvSpPr>
            <a:spLocks/>
          </p:cNvSpPr>
          <p:nvPr/>
        </p:nvSpPr>
        <p:spPr>
          <a:xfrm>
            <a:off x="10588948" y="4687460"/>
            <a:ext cx="765407" cy="470206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442" name="TextBox 441">
            <a:extLst>
              <a:ext uri="{FF2B5EF4-FFF2-40B4-BE49-F238E27FC236}">
                <a16:creationId xmlns:a16="http://schemas.microsoft.com/office/drawing/2014/main" id="{7A6C708A-8278-A1CF-60B6-FFCFEF75BF70}"/>
              </a:ext>
            </a:extLst>
          </p:cNvPr>
          <p:cNvSpPr txBox="1">
            <a:spLocks/>
          </p:cNvSpPr>
          <p:nvPr/>
        </p:nvSpPr>
        <p:spPr>
          <a:xfrm>
            <a:off x="10848608" y="4722268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</a:rPr>
              <a:t>Estq</a:t>
            </a:r>
            <a:r>
              <a:rPr lang="en-US" sz="600" noProof="0">
                <a:solidFill>
                  <a:srgbClr val="1F22CF"/>
                </a:solidFill>
              </a:rPr>
              <a:t>. </a:t>
            </a:r>
            <a:r>
              <a:rPr lang="en-US" sz="600" noProof="0" err="1">
                <a:solidFill>
                  <a:srgbClr val="1F22CF"/>
                </a:solidFill>
              </a:rPr>
              <a:t>Ciclo</a:t>
            </a:r>
            <a:endParaRPr lang="en-US" sz="600" noProof="0">
              <a:solidFill>
                <a:srgbClr val="1F22CF"/>
              </a:solidFill>
            </a:endParaRP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id="{781ED631-AF99-9325-5E6F-C88C10D54F97}"/>
              </a:ext>
            </a:extLst>
          </p:cNvPr>
          <p:cNvSpPr txBox="1">
            <a:spLocks/>
          </p:cNvSpPr>
          <p:nvPr/>
        </p:nvSpPr>
        <p:spPr>
          <a:xfrm>
            <a:off x="10643912" y="4857468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315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1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324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461" name="TextBox 460">
            <a:extLst>
              <a:ext uri="{FF2B5EF4-FFF2-40B4-BE49-F238E27FC236}">
                <a16:creationId xmlns:a16="http://schemas.microsoft.com/office/drawing/2014/main" id="{1055EC14-75CB-CB17-17AF-0E54961777E6}"/>
              </a:ext>
            </a:extLst>
          </p:cNvPr>
          <p:cNvSpPr txBox="1">
            <a:spLocks/>
          </p:cNvSpPr>
          <p:nvPr/>
        </p:nvSpPr>
        <p:spPr>
          <a:xfrm>
            <a:off x="8357374" y="4722268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</a:rPr>
              <a:t>Mostruário</a:t>
            </a:r>
            <a:endParaRPr lang="en-US" sz="600" noProof="0">
              <a:solidFill>
                <a:srgbClr val="1F22CF"/>
              </a:solidFill>
            </a:endParaRPr>
          </a:p>
        </p:txBody>
      </p:sp>
      <p:grpSp>
        <p:nvGrpSpPr>
          <p:cNvPr id="208" name="bcgIcons_Truck time ">
            <a:extLst>
              <a:ext uri="{FF2B5EF4-FFF2-40B4-BE49-F238E27FC236}">
                <a16:creationId xmlns:a16="http://schemas.microsoft.com/office/drawing/2014/main" id="{4FEF9818-FC01-E0C8-2D7D-602D35159A30}"/>
              </a:ext>
            </a:extLst>
          </p:cNvPr>
          <p:cNvGrpSpPr>
            <a:grpSpLocks noChangeAspect="1"/>
          </p:cNvGrpSpPr>
          <p:nvPr/>
        </p:nvGrpSpPr>
        <p:grpSpPr>
          <a:xfrm>
            <a:off x="10643912" y="4705709"/>
            <a:ext cx="125450" cy="125450"/>
            <a:chOff x="5273679" y="2606682"/>
            <a:chExt cx="1644651" cy="1644654"/>
          </a:xfrm>
        </p:grpSpPr>
        <p:sp>
          <p:nvSpPr>
            <p:cNvPr id="223" name="AutoShape 3">
              <a:extLst>
                <a:ext uri="{FF2B5EF4-FFF2-40B4-BE49-F238E27FC236}">
                  <a16:creationId xmlns:a16="http://schemas.microsoft.com/office/drawing/2014/main" id="{594F230C-7553-6520-9211-65C197C2BD1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9" y="2606682"/>
              <a:ext cx="1644651" cy="16446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2BB92D27-1786-75A8-AD3A-DE8294101B98}"/>
                </a:ext>
              </a:extLst>
            </p:cNvPr>
            <p:cNvGrpSpPr/>
            <p:nvPr/>
          </p:nvGrpSpPr>
          <p:grpSpPr>
            <a:xfrm>
              <a:off x="5341942" y="2960695"/>
              <a:ext cx="1509713" cy="938215"/>
              <a:chOff x="5341942" y="2960695"/>
              <a:chExt cx="1509713" cy="938215"/>
            </a:xfrm>
          </p:grpSpPr>
          <p:sp>
            <p:nvSpPr>
              <p:cNvPr id="247" name="Freeform 26">
                <a:extLst>
                  <a:ext uri="{FF2B5EF4-FFF2-40B4-BE49-F238E27FC236}">
                    <a16:creationId xmlns:a16="http://schemas.microsoft.com/office/drawing/2014/main" id="{5CC71615-4A66-CD28-891F-6528EB4E72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942" y="2960695"/>
                <a:ext cx="1509713" cy="938215"/>
              </a:xfrm>
              <a:custGeom>
                <a:avLst/>
                <a:gdLst>
                  <a:gd name="connsiteX0" fmla="*/ 1258094 w 1509713"/>
                  <a:gd name="connsiteY0" fmla="*/ 766765 h 938215"/>
                  <a:gd name="connsiteX1" fmla="*/ 1187450 w 1509713"/>
                  <a:gd name="connsiteY1" fmla="*/ 836615 h 938215"/>
                  <a:gd name="connsiteX2" fmla="*/ 1258094 w 1509713"/>
                  <a:gd name="connsiteY2" fmla="*/ 906465 h 938215"/>
                  <a:gd name="connsiteX3" fmla="*/ 1328738 w 1509713"/>
                  <a:gd name="connsiteY3" fmla="*/ 836615 h 938215"/>
                  <a:gd name="connsiteX4" fmla="*/ 1258094 w 1509713"/>
                  <a:gd name="connsiteY4" fmla="*/ 766765 h 938215"/>
                  <a:gd name="connsiteX5" fmla="*/ 501650 w 1509713"/>
                  <a:gd name="connsiteY5" fmla="*/ 766765 h 938215"/>
                  <a:gd name="connsiteX6" fmla="*/ 431800 w 1509713"/>
                  <a:gd name="connsiteY6" fmla="*/ 836615 h 938215"/>
                  <a:gd name="connsiteX7" fmla="*/ 501650 w 1509713"/>
                  <a:gd name="connsiteY7" fmla="*/ 906465 h 938215"/>
                  <a:gd name="connsiteX8" fmla="*/ 571500 w 1509713"/>
                  <a:gd name="connsiteY8" fmla="*/ 836615 h 938215"/>
                  <a:gd name="connsiteX9" fmla="*/ 501650 w 1509713"/>
                  <a:gd name="connsiteY9" fmla="*/ 766765 h 938215"/>
                  <a:gd name="connsiteX10" fmla="*/ 197644 w 1509713"/>
                  <a:gd name="connsiteY10" fmla="*/ 766765 h 938215"/>
                  <a:gd name="connsiteX11" fmla="*/ 127000 w 1509713"/>
                  <a:gd name="connsiteY11" fmla="*/ 836615 h 938215"/>
                  <a:gd name="connsiteX12" fmla="*/ 197644 w 1509713"/>
                  <a:gd name="connsiteY12" fmla="*/ 906465 h 938215"/>
                  <a:gd name="connsiteX13" fmla="*/ 268288 w 1509713"/>
                  <a:gd name="connsiteY13" fmla="*/ 836615 h 938215"/>
                  <a:gd name="connsiteX14" fmla="*/ 197644 w 1509713"/>
                  <a:gd name="connsiteY14" fmla="*/ 766765 h 938215"/>
                  <a:gd name="connsiteX15" fmla="*/ 1258094 w 1509713"/>
                  <a:gd name="connsiteY15" fmla="*/ 735015 h 938215"/>
                  <a:gd name="connsiteX16" fmla="*/ 1360488 w 1509713"/>
                  <a:gd name="connsiteY16" fmla="*/ 836615 h 938215"/>
                  <a:gd name="connsiteX17" fmla="*/ 1258094 w 1509713"/>
                  <a:gd name="connsiteY17" fmla="*/ 938215 h 938215"/>
                  <a:gd name="connsiteX18" fmla="*/ 1155700 w 1509713"/>
                  <a:gd name="connsiteY18" fmla="*/ 836615 h 938215"/>
                  <a:gd name="connsiteX19" fmla="*/ 1258094 w 1509713"/>
                  <a:gd name="connsiteY19" fmla="*/ 735015 h 938215"/>
                  <a:gd name="connsiteX20" fmla="*/ 502444 w 1509713"/>
                  <a:gd name="connsiteY20" fmla="*/ 735015 h 938215"/>
                  <a:gd name="connsiteX21" fmla="*/ 604838 w 1509713"/>
                  <a:gd name="connsiteY21" fmla="*/ 836615 h 938215"/>
                  <a:gd name="connsiteX22" fmla="*/ 502444 w 1509713"/>
                  <a:gd name="connsiteY22" fmla="*/ 938215 h 938215"/>
                  <a:gd name="connsiteX23" fmla="*/ 400050 w 1509713"/>
                  <a:gd name="connsiteY23" fmla="*/ 836615 h 938215"/>
                  <a:gd name="connsiteX24" fmla="*/ 502444 w 1509713"/>
                  <a:gd name="connsiteY24" fmla="*/ 735015 h 938215"/>
                  <a:gd name="connsiteX25" fmla="*/ 197644 w 1509713"/>
                  <a:gd name="connsiteY25" fmla="*/ 735015 h 938215"/>
                  <a:gd name="connsiteX26" fmla="*/ 300038 w 1509713"/>
                  <a:gd name="connsiteY26" fmla="*/ 836615 h 938215"/>
                  <a:gd name="connsiteX27" fmla="*/ 197644 w 1509713"/>
                  <a:gd name="connsiteY27" fmla="*/ 938215 h 938215"/>
                  <a:gd name="connsiteX28" fmla="*/ 95250 w 1509713"/>
                  <a:gd name="connsiteY28" fmla="*/ 836615 h 938215"/>
                  <a:gd name="connsiteX29" fmla="*/ 197644 w 1509713"/>
                  <a:gd name="connsiteY29" fmla="*/ 735015 h 938215"/>
                  <a:gd name="connsiteX30" fmla="*/ 39507 w 1509713"/>
                  <a:gd name="connsiteY30" fmla="*/ 652464 h 938215"/>
                  <a:gd name="connsiteX31" fmla="*/ 1017588 w 1509713"/>
                  <a:gd name="connsiteY31" fmla="*/ 652464 h 938215"/>
                  <a:gd name="connsiteX32" fmla="*/ 1017588 w 1509713"/>
                  <a:gd name="connsiteY32" fmla="*/ 801689 h 938215"/>
                  <a:gd name="connsiteX33" fmla="*/ 695128 w 1509713"/>
                  <a:gd name="connsiteY33" fmla="*/ 801689 h 938215"/>
                  <a:gd name="connsiteX34" fmla="*/ 630208 w 1509713"/>
                  <a:gd name="connsiteY34" fmla="*/ 801689 h 938215"/>
                  <a:gd name="connsiteX35" fmla="*/ 624501 w 1509713"/>
                  <a:gd name="connsiteY35" fmla="*/ 783839 h 938215"/>
                  <a:gd name="connsiteX36" fmla="*/ 501795 w 1509713"/>
                  <a:gd name="connsiteY36" fmla="*/ 702444 h 938215"/>
                  <a:gd name="connsiteX37" fmla="*/ 379089 w 1509713"/>
                  <a:gd name="connsiteY37" fmla="*/ 783839 h 938215"/>
                  <a:gd name="connsiteX38" fmla="*/ 373382 w 1509713"/>
                  <a:gd name="connsiteY38" fmla="*/ 801689 h 938215"/>
                  <a:gd name="connsiteX39" fmla="*/ 357687 w 1509713"/>
                  <a:gd name="connsiteY39" fmla="*/ 801689 h 938215"/>
                  <a:gd name="connsiteX40" fmla="*/ 325583 w 1509713"/>
                  <a:gd name="connsiteY40" fmla="*/ 801689 h 938215"/>
                  <a:gd name="connsiteX41" fmla="*/ 319876 w 1509713"/>
                  <a:gd name="connsiteY41" fmla="*/ 783839 h 938215"/>
                  <a:gd name="connsiteX42" fmla="*/ 197170 w 1509713"/>
                  <a:gd name="connsiteY42" fmla="*/ 702444 h 938215"/>
                  <a:gd name="connsiteX43" fmla="*/ 74464 w 1509713"/>
                  <a:gd name="connsiteY43" fmla="*/ 783839 h 938215"/>
                  <a:gd name="connsiteX44" fmla="*/ 68757 w 1509713"/>
                  <a:gd name="connsiteY44" fmla="*/ 801689 h 938215"/>
                  <a:gd name="connsiteX45" fmla="*/ 56629 w 1509713"/>
                  <a:gd name="connsiteY45" fmla="*/ 801689 h 938215"/>
                  <a:gd name="connsiteX46" fmla="*/ 39507 w 1509713"/>
                  <a:gd name="connsiteY46" fmla="*/ 801689 h 938215"/>
                  <a:gd name="connsiteX47" fmla="*/ 23812 w 1509713"/>
                  <a:gd name="connsiteY47" fmla="*/ 785981 h 938215"/>
                  <a:gd name="connsiteX48" fmla="*/ 23812 w 1509713"/>
                  <a:gd name="connsiteY48" fmla="*/ 668172 h 938215"/>
                  <a:gd name="connsiteX49" fmla="*/ 39507 w 1509713"/>
                  <a:gd name="connsiteY49" fmla="*/ 652464 h 938215"/>
                  <a:gd name="connsiteX50" fmla="*/ 1065780 w 1509713"/>
                  <a:gd name="connsiteY50" fmla="*/ 304801 h 938215"/>
                  <a:gd name="connsiteX51" fmla="*/ 1351013 w 1509713"/>
                  <a:gd name="connsiteY51" fmla="*/ 304801 h 938215"/>
                  <a:gd name="connsiteX52" fmla="*/ 1509713 w 1509713"/>
                  <a:gd name="connsiteY52" fmla="*/ 547186 h 938215"/>
                  <a:gd name="connsiteX53" fmla="*/ 1509713 w 1509713"/>
                  <a:gd name="connsiteY53" fmla="*/ 785294 h 938215"/>
                  <a:gd name="connsiteX54" fmla="*/ 1492556 w 1509713"/>
                  <a:gd name="connsiteY54" fmla="*/ 801690 h 938215"/>
                  <a:gd name="connsiteX55" fmla="*/ 1406057 w 1509713"/>
                  <a:gd name="connsiteY55" fmla="*/ 801690 h 938215"/>
                  <a:gd name="connsiteX56" fmla="*/ 1386756 w 1509713"/>
                  <a:gd name="connsiteY56" fmla="*/ 801690 h 938215"/>
                  <a:gd name="connsiteX57" fmla="*/ 1381752 w 1509713"/>
                  <a:gd name="connsiteY57" fmla="*/ 783868 h 938215"/>
                  <a:gd name="connsiteX58" fmla="*/ 1373888 w 1509713"/>
                  <a:gd name="connsiteY58" fmla="*/ 770323 h 938215"/>
                  <a:gd name="connsiteX59" fmla="*/ 1478259 w 1509713"/>
                  <a:gd name="connsiteY59" fmla="*/ 770323 h 938215"/>
                  <a:gd name="connsiteX60" fmla="*/ 1478259 w 1509713"/>
                  <a:gd name="connsiteY60" fmla="*/ 556454 h 938215"/>
                  <a:gd name="connsiteX61" fmla="*/ 1333856 w 1509713"/>
                  <a:gd name="connsiteY61" fmla="*/ 336169 h 938215"/>
                  <a:gd name="connsiteX62" fmla="*/ 1080792 w 1509713"/>
                  <a:gd name="connsiteY62" fmla="*/ 336169 h 938215"/>
                  <a:gd name="connsiteX63" fmla="*/ 1080792 w 1509713"/>
                  <a:gd name="connsiteY63" fmla="*/ 770323 h 938215"/>
                  <a:gd name="connsiteX64" fmla="*/ 1142271 w 1509713"/>
                  <a:gd name="connsiteY64" fmla="*/ 770323 h 938215"/>
                  <a:gd name="connsiteX65" fmla="*/ 1135122 w 1509713"/>
                  <a:gd name="connsiteY65" fmla="*/ 783868 h 938215"/>
                  <a:gd name="connsiteX66" fmla="*/ 1129403 w 1509713"/>
                  <a:gd name="connsiteY66" fmla="*/ 801690 h 938215"/>
                  <a:gd name="connsiteX67" fmla="*/ 1127974 w 1509713"/>
                  <a:gd name="connsiteY67" fmla="*/ 801690 h 938215"/>
                  <a:gd name="connsiteX68" fmla="*/ 1065780 w 1509713"/>
                  <a:gd name="connsiteY68" fmla="*/ 801690 h 938215"/>
                  <a:gd name="connsiteX69" fmla="*/ 1049338 w 1509713"/>
                  <a:gd name="connsiteY69" fmla="*/ 785294 h 938215"/>
                  <a:gd name="connsiteX70" fmla="*/ 1049338 w 1509713"/>
                  <a:gd name="connsiteY70" fmla="*/ 321198 h 938215"/>
                  <a:gd name="connsiteX71" fmla="*/ 1065780 w 1509713"/>
                  <a:gd name="connsiteY71" fmla="*/ 304801 h 938215"/>
                  <a:gd name="connsiteX72" fmla="*/ 377994 w 1509713"/>
                  <a:gd name="connsiteY72" fmla="*/ 127404 h 938215"/>
                  <a:gd name="connsiteX73" fmla="*/ 258772 w 1509713"/>
                  <a:gd name="connsiteY73" fmla="*/ 216856 h 938215"/>
                  <a:gd name="connsiteX74" fmla="*/ 253061 w 1509713"/>
                  <a:gd name="connsiteY74" fmla="*/ 216140 h 938215"/>
                  <a:gd name="connsiteX75" fmla="*/ 244494 w 1509713"/>
                  <a:gd name="connsiteY75" fmla="*/ 217571 h 938215"/>
                  <a:gd name="connsiteX76" fmla="*/ 167392 w 1509713"/>
                  <a:gd name="connsiteY76" fmla="*/ 174635 h 938215"/>
                  <a:gd name="connsiteX77" fmla="*/ 155256 w 1509713"/>
                  <a:gd name="connsiteY77" fmla="*/ 177497 h 938215"/>
                  <a:gd name="connsiteX78" fmla="*/ 158111 w 1509713"/>
                  <a:gd name="connsiteY78" fmla="*/ 190378 h 938215"/>
                  <a:gd name="connsiteX79" fmla="*/ 230216 w 1509713"/>
                  <a:gd name="connsiteY79" fmla="*/ 239755 h 938215"/>
                  <a:gd name="connsiteX80" fmla="*/ 253061 w 1509713"/>
                  <a:gd name="connsiteY80" fmla="*/ 261939 h 938215"/>
                  <a:gd name="connsiteX81" fmla="*/ 275906 w 1509713"/>
                  <a:gd name="connsiteY81" fmla="*/ 239040 h 938215"/>
                  <a:gd name="connsiteX82" fmla="*/ 275906 w 1509713"/>
                  <a:gd name="connsiteY82" fmla="*/ 238324 h 938215"/>
                  <a:gd name="connsiteX83" fmla="*/ 388703 w 1509713"/>
                  <a:gd name="connsiteY83" fmla="*/ 141001 h 938215"/>
                  <a:gd name="connsiteX84" fmla="*/ 390131 w 1509713"/>
                  <a:gd name="connsiteY84" fmla="*/ 128835 h 938215"/>
                  <a:gd name="connsiteX85" fmla="*/ 377994 w 1509713"/>
                  <a:gd name="connsiteY85" fmla="*/ 127404 h 938215"/>
                  <a:gd name="connsiteX86" fmla="*/ 250388 w 1509713"/>
                  <a:gd name="connsiteY86" fmla="*/ 0 h 938215"/>
                  <a:gd name="connsiteX87" fmla="*/ 494356 w 1509713"/>
                  <a:gd name="connsiteY87" fmla="*/ 197254 h 938215"/>
                  <a:gd name="connsiteX88" fmla="*/ 500063 w 1509713"/>
                  <a:gd name="connsiteY88" fmla="*/ 249238 h 938215"/>
                  <a:gd name="connsiteX89" fmla="*/ 250388 w 1509713"/>
                  <a:gd name="connsiteY89" fmla="*/ 498476 h 938215"/>
                  <a:gd name="connsiteX90" fmla="*/ 131258 w 1509713"/>
                  <a:gd name="connsiteY90" fmla="*/ 467855 h 938215"/>
                  <a:gd name="connsiteX91" fmla="*/ 0 w 1509713"/>
                  <a:gd name="connsiteY91" fmla="*/ 249238 h 938215"/>
                  <a:gd name="connsiteX92" fmla="*/ 250388 w 1509713"/>
                  <a:gd name="connsiteY92" fmla="*/ 0 h 938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1509713" h="938215">
                    <a:moveTo>
                      <a:pt x="1258094" y="766765"/>
                    </a:moveTo>
                    <a:cubicBezTo>
                      <a:pt x="1219078" y="766765"/>
                      <a:pt x="1187450" y="798038"/>
                      <a:pt x="1187450" y="836615"/>
                    </a:cubicBezTo>
                    <a:cubicBezTo>
                      <a:pt x="1187450" y="875192"/>
                      <a:pt x="1219078" y="906465"/>
                      <a:pt x="1258094" y="906465"/>
                    </a:cubicBezTo>
                    <a:cubicBezTo>
                      <a:pt x="1297110" y="906465"/>
                      <a:pt x="1328738" y="875192"/>
                      <a:pt x="1328738" y="836615"/>
                    </a:cubicBezTo>
                    <a:cubicBezTo>
                      <a:pt x="1328738" y="798038"/>
                      <a:pt x="1297110" y="766765"/>
                      <a:pt x="1258094" y="766765"/>
                    </a:cubicBezTo>
                    <a:close/>
                    <a:moveTo>
                      <a:pt x="501650" y="766765"/>
                    </a:moveTo>
                    <a:cubicBezTo>
                      <a:pt x="463073" y="766765"/>
                      <a:pt x="431800" y="798038"/>
                      <a:pt x="431800" y="836615"/>
                    </a:cubicBezTo>
                    <a:cubicBezTo>
                      <a:pt x="431800" y="875192"/>
                      <a:pt x="463073" y="906465"/>
                      <a:pt x="501650" y="906465"/>
                    </a:cubicBezTo>
                    <a:cubicBezTo>
                      <a:pt x="540227" y="906465"/>
                      <a:pt x="571500" y="875192"/>
                      <a:pt x="571500" y="836615"/>
                    </a:cubicBezTo>
                    <a:cubicBezTo>
                      <a:pt x="571500" y="798038"/>
                      <a:pt x="540227" y="766765"/>
                      <a:pt x="501650" y="766765"/>
                    </a:cubicBezTo>
                    <a:close/>
                    <a:moveTo>
                      <a:pt x="197644" y="766765"/>
                    </a:moveTo>
                    <a:cubicBezTo>
                      <a:pt x="158628" y="766765"/>
                      <a:pt x="127000" y="798038"/>
                      <a:pt x="127000" y="836615"/>
                    </a:cubicBezTo>
                    <a:cubicBezTo>
                      <a:pt x="127000" y="875192"/>
                      <a:pt x="158628" y="906465"/>
                      <a:pt x="197644" y="906465"/>
                    </a:cubicBezTo>
                    <a:cubicBezTo>
                      <a:pt x="236660" y="906465"/>
                      <a:pt x="268288" y="875192"/>
                      <a:pt x="268288" y="836615"/>
                    </a:cubicBezTo>
                    <a:cubicBezTo>
                      <a:pt x="268288" y="798038"/>
                      <a:pt x="236660" y="766765"/>
                      <a:pt x="197644" y="766765"/>
                    </a:cubicBezTo>
                    <a:close/>
                    <a:moveTo>
                      <a:pt x="1258094" y="735015"/>
                    </a:moveTo>
                    <a:cubicBezTo>
                      <a:pt x="1314645" y="735015"/>
                      <a:pt x="1360488" y="780503"/>
                      <a:pt x="1360488" y="836615"/>
                    </a:cubicBezTo>
                    <a:cubicBezTo>
                      <a:pt x="1360488" y="892727"/>
                      <a:pt x="1314645" y="938215"/>
                      <a:pt x="1258094" y="938215"/>
                    </a:cubicBezTo>
                    <a:cubicBezTo>
                      <a:pt x="1201543" y="938215"/>
                      <a:pt x="1155700" y="892727"/>
                      <a:pt x="1155700" y="836615"/>
                    </a:cubicBezTo>
                    <a:cubicBezTo>
                      <a:pt x="1155700" y="780503"/>
                      <a:pt x="1201543" y="735015"/>
                      <a:pt x="1258094" y="735015"/>
                    </a:cubicBezTo>
                    <a:close/>
                    <a:moveTo>
                      <a:pt x="502444" y="735015"/>
                    </a:moveTo>
                    <a:cubicBezTo>
                      <a:pt x="558995" y="735015"/>
                      <a:pt x="604838" y="780503"/>
                      <a:pt x="604838" y="836615"/>
                    </a:cubicBezTo>
                    <a:cubicBezTo>
                      <a:pt x="604838" y="892727"/>
                      <a:pt x="558995" y="938215"/>
                      <a:pt x="502444" y="938215"/>
                    </a:cubicBezTo>
                    <a:cubicBezTo>
                      <a:pt x="445893" y="938215"/>
                      <a:pt x="400050" y="892727"/>
                      <a:pt x="400050" y="836615"/>
                    </a:cubicBezTo>
                    <a:cubicBezTo>
                      <a:pt x="400050" y="780503"/>
                      <a:pt x="445893" y="735015"/>
                      <a:pt x="502444" y="735015"/>
                    </a:cubicBezTo>
                    <a:close/>
                    <a:moveTo>
                      <a:pt x="197644" y="735015"/>
                    </a:moveTo>
                    <a:cubicBezTo>
                      <a:pt x="254195" y="735015"/>
                      <a:pt x="300038" y="780503"/>
                      <a:pt x="300038" y="836615"/>
                    </a:cubicBezTo>
                    <a:cubicBezTo>
                      <a:pt x="300038" y="892727"/>
                      <a:pt x="254195" y="938215"/>
                      <a:pt x="197644" y="938215"/>
                    </a:cubicBezTo>
                    <a:cubicBezTo>
                      <a:pt x="141093" y="938215"/>
                      <a:pt x="95250" y="892727"/>
                      <a:pt x="95250" y="836615"/>
                    </a:cubicBezTo>
                    <a:cubicBezTo>
                      <a:pt x="95250" y="780503"/>
                      <a:pt x="141093" y="735015"/>
                      <a:pt x="197644" y="735015"/>
                    </a:cubicBezTo>
                    <a:close/>
                    <a:moveTo>
                      <a:pt x="39507" y="652464"/>
                    </a:moveTo>
                    <a:cubicBezTo>
                      <a:pt x="1017588" y="652464"/>
                      <a:pt x="1017588" y="652464"/>
                      <a:pt x="1017588" y="652464"/>
                    </a:cubicBezTo>
                    <a:cubicBezTo>
                      <a:pt x="1017588" y="801689"/>
                      <a:pt x="1017588" y="801689"/>
                      <a:pt x="1017588" y="801689"/>
                    </a:cubicBezTo>
                    <a:cubicBezTo>
                      <a:pt x="895596" y="801689"/>
                      <a:pt x="788585" y="801689"/>
                      <a:pt x="695128" y="801689"/>
                    </a:cubicBezTo>
                    <a:cubicBezTo>
                      <a:pt x="630208" y="801689"/>
                      <a:pt x="630208" y="801689"/>
                      <a:pt x="630208" y="801689"/>
                    </a:cubicBezTo>
                    <a:cubicBezTo>
                      <a:pt x="624501" y="783839"/>
                      <a:pt x="624501" y="783839"/>
                      <a:pt x="624501" y="783839"/>
                    </a:cubicBezTo>
                    <a:cubicBezTo>
                      <a:pt x="604526" y="736002"/>
                      <a:pt x="557441" y="702444"/>
                      <a:pt x="501795" y="702444"/>
                    </a:cubicBezTo>
                    <a:cubicBezTo>
                      <a:pt x="446863" y="702444"/>
                      <a:pt x="399064" y="736002"/>
                      <a:pt x="379089" y="783839"/>
                    </a:cubicBezTo>
                    <a:cubicBezTo>
                      <a:pt x="373382" y="801689"/>
                      <a:pt x="373382" y="801689"/>
                      <a:pt x="373382" y="801689"/>
                    </a:cubicBezTo>
                    <a:cubicBezTo>
                      <a:pt x="357687" y="801689"/>
                      <a:pt x="357687" y="801689"/>
                      <a:pt x="357687" y="801689"/>
                    </a:cubicBezTo>
                    <a:cubicBezTo>
                      <a:pt x="325583" y="801689"/>
                      <a:pt x="325583" y="801689"/>
                      <a:pt x="325583" y="801689"/>
                    </a:cubicBezTo>
                    <a:cubicBezTo>
                      <a:pt x="319876" y="783839"/>
                      <a:pt x="319876" y="783839"/>
                      <a:pt x="319876" y="783839"/>
                    </a:cubicBezTo>
                    <a:cubicBezTo>
                      <a:pt x="299901" y="736002"/>
                      <a:pt x="252102" y="702444"/>
                      <a:pt x="197170" y="702444"/>
                    </a:cubicBezTo>
                    <a:cubicBezTo>
                      <a:pt x="142238" y="702444"/>
                      <a:pt x="94440" y="736002"/>
                      <a:pt x="74464" y="783839"/>
                    </a:cubicBezTo>
                    <a:cubicBezTo>
                      <a:pt x="68757" y="801689"/>
                      <a:pt x="68757" y="801689"/>
                      <a:pt x="68757" y="801689"/>
                    </a:cubicBezTo>
                    <a:cubicBezTo>
                      <a:pt x="56629" y="801689"/>
                      <a:pt x="56629" y="801689"/>
                      <a:pt x="56629" y="801689"/>
                    </a:cubicBezTo>
                    <a:cubicBezTo>
                      <a:pt x="39507" y="801689"/>
                      <a:pt x="39507" y="801689"/>
                      <a:pt x="39507" y="801689"/>
                    </a:cubicBezTo>
                    <a:cubicBezTo>
                      <a:pt x="30946" y="801689"/>
                      <a:pt x="23812" y="794549"/>
                      <a:pt x="23812" y="785981"/>
                    </a:cubicBezTo>
                    <a:cubicBezTo>
                      <a:pt x="23812" y="668172"/>
                      <a:pt x="23812" y="668172"/>
                      <a:pt x="23812" y="668172"/>
                    </a:cubicBezTo>
                    <a:cubicBezTo>
                      <a:pt x="23812" y="659604"/>
                      <a:pt x="30946" y="652464"/>
                      <a:pt x="39507" y="652464"/>
                    </a:cubicBezTo>
                    <a:close/>
                    <a:moveTo>
                      <a:pt x="1065780" y="304801"/>
                    </a:moveTo>
                    <a:cubicBezTo>
                      <a:pt x="1065780" y="304801"/>
                      <a:pt x="1065780" y="304801"/>
                      <a:pt x="1351013" y="304801"/>
                    </a:cubicBezTo>
                    <a:cubicBezTo>
                      <a:pt x="1351013" y="304801"/>
                      <a:pt x="1351013" y="304801"/>
                      <a:pt x="1509713" y="547186"/>
                    </a:cubicBezTo>
                    <a:cubicBezTo>
                      <a:pt x="1509713" y="547186"/>
                      <a:pt x="1509713" y="547186"/>
                      <a:pt x="1509713" y="785294"/>
                    </a:cubicBezTo>
                    <a:cubicBezTo>
                      <a:pt x="1509713" y="794561"/>
                      <a:pt x="1502565" y="801690"/>
                      <a:pt x="1492556" y="801690"/>
                    </a:cubicBezTo>
                    <a:cubicBezTo>
                      <a:pt x="1492556" y="801690"/>
                      <a:pt x="1456813" y="801690"/>
                      <a:pt x="1406057" y="801690"/>
                    </a:cubicBezTo>
                    <a:cubicBezTo>
                      <a:pt x="1386756" y="801690"/>
                      <a:pt x="1386756" y="801690"/>
                      <a:pt x="1386756" y="801690"/>
                    </a:cubicBezTo>
                    <a:cubicBezTo>
                      <a:pt x="1381752" y="783868"/>
                      <a:pt x="1381752" y="783868"/>
                      <a:pt x="1381752" y="783868"/>
                    </a:cubicBezTo>
                    <a:cubicBezTo>
                      <a:pt x="1373888" y="770323"/>
                      <a:pt x="1373888" y="770323"/>
                      <a:pt x="1373888" y="770323"/>
                    </a:cubicBezTo>
                    <a:cubicBezTo>
                      <a:pt x="1478259" y="770323"/>
                      <a:pt x="1478259" y="770323"/>
                      <a:pt x="1478259" y="770323"/>
                    </a:cubicBezTo>
                    <a:cubicBezTo>
                      <a:pt x="1478259" y="556454"/>
                      <a:pt x="1478259" y="556454"/>
                      <a:pt x="1478259" y="556454"/>
                    </a:cubicBezTo>
                    <a:cubicBezTo>
                      <a:pt x="1333856" y="336169"/>
                      <a:pt x="1333856" y="336169"/>
                      <a:pt x="1333856" y="336169"/>
                    </a:cubicBezTo>
                    <a:cubicBezTo>
                      <a:pt x="1080792" y="336169"/>
                      <a:pt x="1080792" y="336169"/>
                      <a:pt x="1080792" y="336169"/>
                    </a:cubicBezTo>
                    <a:cubicBezTo>
                      <a:pt x="1080792" y="770323"/>
                      <a:pt x="1080792" y="770323"/>
                      <a:pt x="1080792" y="770323"/>
                    </a:cubicBezTo>
                    <a:cubicBezTo>
                      <a:pt x="1142271" y="770323"/>
                      <a:pt x="1142271" y="770323"/>
                      <a:pt x="1142271" y="770323"/>
                    </a:cubicBezTo>
                    <a:cubicBezTo>
                      <a:pt x="1135122" y="783868"/>
                      <a:pt x="1135122" y="783868"/>
                      <a:pt x="1135122" y="783868"/>
                    </a:cubicBezTo>
                    <a:cubicBezTo>
                      <a:pt x="1129403" y="801690"/>
                      <a:pt x="1129403" y="801690"/>
                      <a:pt x="1129403" y="801690"/>
                    </a:cubicBezTo>
                    <a:cubicBezTo>
                      <a:pt x="1127974" y="801690"/>
                      <a:pt x="1127974" y="801690"/>
                      <a:pt x="1127974" y="801690"/>
                    </a:cubicBezTo>
                    <a:cubicBezTo>
                      <a:pt x="1099379" y="801690"/>
                      <a:pt x="1077218" y="801690"/>
                      <a:pt x="1065780" y="801690"/>
                    </a:cubicBezTo>
                    <a:cubicBezTo>
                      <a:pt x="1056487" y="801690"/>
                      <a:pt x="1049338" y="794561"/>
                      <a:pt x="1049338" y="785294"/>
                    </a:cubicBezTo>
                    <a:cubicBezTo>
                      <a:pt x="1049338" y="785294"/>
                      <a:pt x="1049338" y="785294"/>
                      <a:pt x="1049338" y="321198"/>
                    </a:cubicBezTo>
                    <a:cubicBezTo>
                      <a:pt x="1049338" y="311930"/>
                      <a:pt x="1056487" y="304801"/>
                      <a:pt x="1065780" y="304801"/>
                    </a:cubicBezTo>
                    <a:close/>
                    <a:moveTo>
                      <a:pt x="377994" y="127404"/>
                    </a:moveTo>
                    <a:cubicBezTo>
                      <a:pt x="258772" y="216856"/>
                      <a:pt x="258772" y="216856"/>
                      <a:pt x="258772" y="216856"/>
                    </a:cubicBezTo>
                    <a:cubicBezTo>
                      <a:pt x="257344" y="216140"/>
                      <a:pt x="255203" y="216140"/>
                      <a:pt x="253061" y="216140"/>
                    </a:cubicBezTo>
                    <a:cubicBezTo>
                      <a:pt x="250205" y="216140"/>
                      <a:pt x="247350" y="216140"/>
                      <a:pt x="244494" y="217571"/>
                    </a:cubicBezTo>
                    <a:cubicBezTo>
                      <a:pt x="167392" y="174635"/>
                      <a:pt x="167392" y="174635"/>
                      <a:pt x="167392" y="174635"/>
                    </a:cubicBezTo>
                    <a:cubicBezTo>
                      <a:pt x="163823" y="172488"/>
                      <a:pt x="158111" y="173919"/>
                      <a:pt x="155256" y="177497"/>
                    </a:cubicBezTo>
                    <a:cubicBezTo>
                      <a:pt x="152400" y="181791"/>
                      <a:pt x="153828" y="187516"/>
                      <a:pt x="158111" y="190378"/>
                    </a:cubicBezTo>
                    <a:cubicBezTo>
                      <a:pt x="230216" y="239755"/>
                      <a:pt x="230216" y="239755"/>
                      <a:pt x="230216" y="239755"/>
                    </a:cubicBezTo>
                    <a:cubicBezTo>
                      <a:pt x="230216" y="251921"/>
                      <a:pt x="240925" y="261939"/>
                      <a:pt x="253061" y="261939"/>
                    </a:cubicBezTo>
                    <a:cubicBezTo>
                      <a:pt x="265911" y="261939"/>
                      <a:pt x="275906" y="251205"/>
                      <a:pt x="275906" y="239040"/>
                    </a:cubicBezTo>
                    <a:cubicBezTo>
                      <a:pt x="275906" y="238324"/>
                      <a:pt x="275906" y="238324"/>
                      <a:pt x="275906" y="238324"/>
                    </a:cubicBezTo>
                    <a:lnTo>
                      <a:pt x="388703" y="141001"/>
                    </a:lnTo>
                    <a:cubicBezTo>
                      <a:pt x="392986" y="138138"/>
                      <a:pt x="393700" y="132413"/>
                      <a:pt x="390131" y="128835"/>
                    </a:cubicBezTo>
                    <a:cubicBezTo>
                      <a:pt x="387275" y="124542"/>
                      <a:pt x="381564" y="123826"/>
                      <a:pt x="377994" y="127404"/>
                    </a:cubicBezTo>
                    <a:close/>
                    <a:moveTo>
                      <a:pt x="250388" y="0"/>
                    </a:moveTo>
                    <a:cubicBezTo>
                      <a:pt x="370232" y="0"/>
                      <a:pt x="470816" y="84741"/>
                      <a:pt x="494356" y="197254"/>
                    </a:cubicBezTo>
                    <a:cubicBezTo>
                      <a:pt x="497923" y="214345"/>
                      <a:pt x="500063" y="231435"/>
                      <a:pt x="500063" y="249238"/>
                    </a:cubicBezTo>
                    <a:cubicBezTo>
                      <a:pt x="500063" y="386675"/>
                      <a:pt x="388066" y="498476"/>
                      <a:pt x="250388" y="498476"/>
                    </a:cubicBezTo>
                    <a:cubicBezTo>
                      <a:pt x="206874" y="498476"/>
                      <a:pt x="166926" y="487082"/>
                      <a:pt x="131258" y="467855"/>
                    </a:cubicBezTo>
                    <a:cubicBezTo>
                      <a:pt x="53502" y="425841"/>
                      <a:pt x="0" y="343236"/>
                      <a:pt x="0" y="249238"/>
                    </a:cubicBezTo>
                    <a:cubicBezTo>
                      <a:pt x="0" y="111801"/>
                      <a:pt x="111997" y="0"/>
                      <a:pt x="25038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Freeform 14">
                <a:extLst>
                  <a:ext uri="{FF2B5EF4-FFF2-40B4-BE49-F238E27FC236}">
                    <a16:creationId xmlns:a16="http://schemas.microsoft.com/office/drawing/2014/main" id="{62B29F6E-0238-0B79-057D-BA9453EB70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5292" y="3155958"/>
                <a:ext cx="1273176" cy="679452"/>
              </a:xfrm>
              <a:custGeom>
                <a:avLst/>
                <a:gdLst>
                  <a:gd name="T0" fmla="*/ 1576 w 1783"/>
                  <a:gd name="T1" fmla="*/ 842 h 952"/>
                  <a:gd name="T2" fmla="*/ 1630 w 1783"/>
                  <a:gd name="T3" fmla="*/ 897 h 952"/>
                  <a:gd name="T4" fmla="*/ 1576 w 1783"/>
                  <a:gd name="T5" fmla="*/ 952 h 952"/>
                  <a:gd name="T6" fmla="*/ 1521 w 1783"/>
                  <a:gd name="T7" fmla="*/ 897 h 952"/>
                  <a:gd name="T8" fmla="*/ 1576 w 1783"/>
                  <a:gd name="T9" fmla="*/ 842 h 952"/>
                  <a:gd name="T10" fmla="*/ 516 w 1783"/>
                  <a:gd name="T11" fmla="*/ 842 h 952"/>
                  <a:gd name="T12" fmla="*/ 571 w 1783"/>
                  <a:gd name="T13" fmla="*/ 897 h 952"/>
                  <a:gd name="T14" fmla="*/ 516 w 1783"/>
                  <a:gd name="T15" fmla="*/ 952 h 952"/>
                  <a:gd name="T16" fmla="*/ 461 w 1783"/>
                  <a:gd name="T17" fmla="*/ 897 h 952"/>
                  <a:gd name="T18" fmla="*/ 516 w 1783"/>
                  <a:gd name="T19" fmla="*/ 842 h 952"/>
                  <a:gd name="T20" fmla="*/ 90 w 1783"/>
                  <a:gd name="T21" fmla="*/ 842 h 952"/>
                  <a:gd name="T22" fmla="*/ 145 w 1783"/>
                  <a:gd name="T23" fmla="*/ 897 h 952"/>
                  <a:gd name="T24" fmla="*/ 90 w 1783"/>
                  <a:gd name="T25" fmla="*/ 952 h 952"/>
                  <a:gd name="T26" fmla="*/ 35 w 1783"/>
                  <a:gd name="T27" fmla="*/ 897 h 952"/>
                  <a:gd name="T28" fmla="*/ 90 w 1783"/>
                  <a:gd name="T29" fmla="*/ 842 h 952"/>
                  <a:gd name="T30" fmla="*/ 1436 w 1783"/>
                  <a:gd name="T31" fmla="*/ 229 h 952"/>
                  <a:gd name="T32" fmla="*/ 1646 w 1783"/>
                  <a:gd name="T33" fmla="*/ 229 h 952"/>
                  <a:gd name="T34" fmla="*/ 1667 w 1783"/>
                  <a:gd name="T35" fmla="*/ 248 h 952"/>
                  <a:gd name="T36" fmla="*/ 1782 w 1783"/>
                  <a:gd name="T37" fmla="*/ 445 h 952"/>
                  <a:gd name="T38" fmla="*/ 1783 w 1783"/>
                  <a:gd name="T39" fmla="*/ 449 h 952"/>
                  <a:gd name="T40" fmla="*/ 1764 w 1783"/>
                  <a:gd name="T41" fmla="*/ 465 h 952"/>
                  <a:gd name="T42" fmla="*/ 1436 w 1783"/>
                  <a:gd name="T43" fmla="*/ 465 h 952"/>
                  <a:gd name="T44" fmla="*/ 1425 w 1783"/>
                  <a:gd name="T45" fmla="*/ 455 h 952"/>
                  <a:gd name="T46" fmla="*/ 1425 w 1783"/>
                  <a:gd name="T47" fmla="*/ 239 h 952"/>
                  <a:gd name="T48" fmla="*/ 1436 w 1783"/>
                  <a:gd name="T49" fmla="*/ 229 h 952"/>
                  <a:gd name="T50" fmla="*/ 554 w 1783"/>
                  <a:gd name="T51" fmla="*/ 0 h 952"/>
                  <a:gd name="T52" fmla="*/ 1219 w 1783"/>
                  <a:gd name="T53" fmla="*/ 0 h 952"/>
                  <a:gd name="T54" fmla="*/ 1239 w 1783"/>
                  <a:gd name="T55" fmla="*/ 21 h 952"/>
                  <a:gd name="T56" fmla="*/ 1239 w 1783"/>
                  <a:gd name="T57" fmla="*/ 613 h 952"/>
                  <a:gd name="T58" fmla="*/ 19 w 1783"/>
                  <a:gd name="T59" fmla="*/ 613 h 952"/>
                  <a:gd name="T60" fmla="*/ 0 w 1783"/>
                  <a:gd name="T61" fmla="*/ 592 h 952"/>
                  <a:gd name="T62" fmla="*/ 0 w 1783"/>
                  <a:gd name="T63" fmla="*/ 433 h 952"/>
                  <a:gd name="T64" fmla="*/ 167 w 1783"/>
                  <a:gd name="T65" fmla="*/ 470 h 952"/>
                  <a:gd name="T66" fmla="*/ 561 w 1783"/>
                  <a:gd name="T67" fmla="*/ 72 h 952"/>
                  <a:gd name="T68" fmla="*/ 554 w 1783"/>
                  <a:gd name="T69" fmla="*/ 0 h 9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783" h="952">
                    <a:moveTo>
                      <a:pt x="1576" y="842"/>
                    </a:moveTo>
                    <a:cubicBezTo>
                      <a:pt x="1606" y="842"/>
                      <a:pt x="1630" y="867"/>
                      <a:pt x="1630" y="897"/>
                    </a:cubicBezTo>
                    <a:cubicBezTo>
                      <a:pt x="1630" y="927"/>
                      <a:pt x="1606" y="952"/>
                      <a:pt x="1576" y="952"/>
                    </a:cubicBezTo>
                    <a:cubicBezTo>
                      <a:pt x="1546" y="952"/>
                      <a:pt x="1521" y="927"/>
                      <a:pt x="1521" y="897"/>
                    </a:cubicBezTo>
                    <a:cubicBezTo>
                      <a:pt x="1521" y="867"/>
                      <a:pt x="1546" y="842"/>
                      <a:pt x="1576" y="842"/>
                    </a:cubicBezTo>
                    <a:close/>
                    <a:moveTo>
                      <a:pt x="516" y="842"/>
                    </a:moveTo>
                    <a:cubicBezTo>
                      <a:pt x="546" y="842"/>
                      <a:pt x="571" y="867"/>
                      <a:pt x="571" y="897"/>
                    </a:cubicBezTo>
                    <a:cubicBezTo>
                      <a:pt x="571" y="927"/>
                      <a:pt x="546" y="952"/>
                      <a:pt x="516" y="952"/>
                    </a:cubicBezTo>
                    <a:cubicBezTo>
                      <a:pt x="486" y="952"/>
                      <a:pt x="461" y="927"/>
                      <a:pt x="461" y="897"/>
                    </a:cubicBezTo>
                    <a:cubicBezTo>
                      <a:pt x="461" y="867"/>
                      <a:pt x="486" y="842"/>
                      <a:pt x="516" y="842"/>
                    </a:cubicBezTo>
                    <a:close/>
                    <a:moveTo>
                      <a:pt x="90" y="842"/>
                    </a:moveTo>
                    <a:cubicBezTo>
                      <a:pt x="120" y="842"/>
                      <a:pt x="145" y="867"/>
                      <a:pt x="145" y="897"/>
                    </a:cubicBezTo>
                    <a:cubicBezTo>
                      <a:pt x="145" y="927"/>
                      <a:pt x="120" y="952"/>
                      <a:pt x="90" y="952"/>
                    </a:cubicBezTo>
                    <a:cubicBezTo>
                      <a:pt x="60" y="952"/>
                      <a:pt x="35" y="927"/>
                      <a:pt x="35" y="897"/>
                    </a:cubicBezTo>
                    <a:cubicBezTo>
                      <a:pt x="35" y="867"/>
                      <a:pt x="60" y="842"/>
                      <a:pt x="90" y="842"/>
                    </a:cubicBezTo>
                    <a:close/>
                    <a:moveTo>
                      <a:pt x="1436" y="229"/>
                    </a:moveTo>
                    <a:cubicBezTo>
                      <a:pt x="1646" y="229"/>
                      <a:pt x="1646" y="229"/>
                      <a:pt x="1646" y="229"/>
                    </a:cubicBezTo>
                    <a:cubicBezTo>
                      <a:pt x="1656" y="229"/>
                      <a:pt x="1661" y="237"/>
                      <a:pt x="1667" y="248"/>
                    </a:cubicBezTo>
                    <a:cubicBezTo>
                      <a:pt x="1782" y="445"/>
                      <a:pt x="1782" y="445"/>
                      <a:pt x="1782" y="445"/>
                    </a:cubicBezTo>
                    <a:cubicBezTo>
                      <a:pt x="1783" y="446"/>
                      <a:pt x="1783" y="448"/>
                      <a:pt x="1783" y="449"/>
                    </a:cubicBezTo>
                    <a:cubicBezTo>
                      <a:pt x="1781" y="459"/>
                      <a:pt x="1774" y="465"/>
                      <a:pt x="1764" y="465"/>
                    </a:cubicBezTo>
                    <a:cubicBezTo>
                      <a:pt x="1436" y="465"/>
                      <a:pt x="1436" y="465"/>
                      <a:pt x="1436" y="465"/>
                    </a:cubicBezTo>
                    <a:cubicBezTo>
                      <a:pt x="1430" y="465"/>
                      <a:pt x="1425" y="461"/>
                      <a:pt x="1425" y="455"/>
                    </a:cubicBezTo>
                    <a:cubicBezTo>
                      <a:pt x="1425" y="239"/>
                      <a:pt x="1425" y="239"/>
                      <a:pt x="1425" y="239"/>
                    </a:cubicBezTo>
                    <a:cubicBezTo>
                      <a:pt x="1425" y="234"/>
                      <a:pt x="1430" y="229"/>
                      <a:pt x="1436" y="229"/>
                    </a:cubicBezTo>
                    <a:close/>
                    <a:moveTo>
                      <a:pt x="554" y="0"/>
                    </a:moveTo>
                    <a:cubicBezTo>
                      <a:pt x="1219" y="0"/>
                      <a:pt x="1219" y="0"/>
                      <a:pt x="1219" y="0"/>
                    </a:cubicBezTo>
                    <a:cubicBezTo>
                      <a:pt x="1230" y="0"/>
                      <a:pt x="1239" y="9"/>
                      <a:pt x="1239" y="21"/>
                    </a:cubicBezTo>
                    <a:cubicBezTo>
                      <a:pt x="1239" y="613"/>
                      <a:pt x="1239" y="613"/>
                      <a:pt x="1239" y="613"/>
                    </a:cubicBezTo>
                    <a:cubicBezTo>
                      <a:pt x="19" y="613"/>
                      <a:pt x="19" y="613"/>
                      <a:pt x="19" y="613"/>
                    </a:cubicBezTo>
                    <a:cubicBezTo>
                      <a:pt x="9" y="613"/>
                      <a:pt x="0" y="604"/>
                      <a:pt x="0" y="592"/>
                    </a:cubicBezTo>
                    <a:cubicBezTo>
                      <a:pt x="0" y="433"/>
                      <a:pt x="0" y="433"/>
                      <a:pt x="0" y="433"/>
                    </a:cubicBezTo>
                    <a:cubicBezTo>
                      <a:pt x="50" y="456"/>
                      <a:pt x="107" y="470"/>
                      <a:pt x="167" y="470"/>
                    </a:cubicBezTo>
                    <a:cubicBezTo>
                      <a:pt x="384" y="470"/>
                      <a:pt x="561" y="292"/>
                      <a:pt x="561" y="72"/>
                    </a:cubicBezTo>
                    <a:cubicBezTo>
                      <a:pt x="561" y="48"/>
                      <a:pt x="559" y="24"/>
                      <a:pt x="55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71" name="bcgIcons_Purchase ">
            <a:extLst>
              <a:ext uri="{FF2B5EF4-FFF2-40B4-BE49-F238E27FC236}">
                <a16:creationId xmlns:a16="http://schemas.microsoft.com/office/drawing/2014/main" id="{2EE53CA1-2487-FE71-500B-0B7020D1CB8D}"/>
              </a:ext>
            </a:extLst>
          </p:cNvPr>
          <p:cNvGrpSpPr>
            <a:grpSpLocks noChangeAspect="1"/>
          </p:cNvGrpSpPr>
          <p:nvPr/>
        </p:nvGrpSpPr>
        <p:grpSpPr>
          <a:xfrm>
            <a:off x="8152678" y="4705709"/>
            <a:ext cx="125450" cy="125450"/>
            <a:chOff x="5273675" y="2606675"/>
            <a:chExt cx="1644650" cy="1644650"/>
          </a:xfrm>
        </p:grpSpPr>
        <p:sp>
          <p:nvSpPr>
            <p:cNvPr id="272" name="AutoShape 3">
              <a:extLst>
                <a:ext uri="{FF2B5EF4-FFF2-40B4-BE49-F238E27FC236}">
                  <a16:creationId xmlns:a16="http://schemas.microsoft.com/office/drawing/2014/main" id="{3D1CFE6E-4F58-1D35-6BC7-DEDCCF7C5F1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id="{CFB4A725-4D9B-D8F5-7396-4880F1E83485}"/>
                </a:ext>
              </a:extLst>
            </p:cNvPr>
            <p:cNvGrpSpPr/>
            <p:nvPr/>
          </p:nvGrpSpPr>
          <p:grpSpPr>
            <a:xfrm>
              <a:off x="5717381" y="2836863"/>
              <a:ext cx="757238" cy="1184275"/>
              <a:chOff x="5713413" y="2830513"/>
              <a:chExt cx="757238" cy="1184275"/>
            </a:xfrm>
          </p:grpSpPr>
          <p:sp>
            <p:nvSpPr>
              <p:cNvPr id="274" name="Freeform 5">
                <a:extLst>
                  <a:ext uri="{FF2B5EF4-FFF2-40B4-BE49-F238E27FC236}">
                    <a16:creationId xmlns:a16="http://schemas.microsoft.com/office/drawing/2014/main" id="{117B79A9-AFC5-0F51-32BF-41068D0C39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3275" y="2830513"/>
                <a:ext cx="425450" cy="223838"/>
              </a:xfrm>
              <a:custGeom>
                <a:avLst/>
                <a:gdLst>
                  <a:gd name="T0" fmla="*/ 509 w 596"/>
                  <a:gd name="T1" fmla="*/ 82 h 314"/>
                  <a:gd name="T2" fmla="*/ 298 w 596"/>
                  <a:gd name="T3" fmla="*/ 0 h 314"/>
                  <a:gd name="T4" fmla="*/ 87 w 596"/>
                  <a:gd name="T5" fmla="*/ 82 h 314"/>
                  <a:gd name="T6" fmla="*/ 0 w 596"/>
                  <a:gd name="T7" fmla="*/ 314 h 314"/>
                  <a:gd name="T8" fmla="*/ 0 w 596"/>
                  <a:gd name="T9" fmla="*/ 314 h 314"/>
                  <a:gd name="T10" fmla="*/ 44 w 596"/>
                  <a:gd name="T11" fmla="*/ 314 h 314"/>
                  <a:gd name="T12" fmla="*/ 44 w 596"/>
                  <a:gd name="T13" fmla="*/ 314 h 314"/>
                  <a:gd name="T14" fmla="*/ 298 w 596"/>
                  <a:gd name="T15" fmla="*/ 44 h 314"/>
                  <a:gd name="T16" fmla="*/ 552 w 596"/>
                  <a:gd name="T17" fmla="*/ 314 h 314"/>
                  <a:gd name="T18" fmla="*/ 552 w 596"/>
                  <a:gd name="T19" fmla="*/ 314 h 314"/>
                  <a:gd name="T20" fmla="*/ 596 w 596"/>
                  <a:gd name="T21" fmla="*/ 314 h 314"/>
                  <a:gd name="T22" fmla="*/ 596 w 596"/>
                  <a:gd name="T23" fmla="*/ 314 h 314"/>
                  <a:gd name="T24" fmla="*/ 509 w 596"/>
                  <a:gd name="T25" fmla="*/ 82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6" h="314">
                    <a:moveTo>
                      <a:pt x="509" y="82"/>
                    </a:moveTo>
                    <a:cubicBezTo>
                      <a:pt x="455" y="29"/>
                      <a:pt x="381" y="0"/>
                      <a:pt x="298" y="0"/>
                    </a:cubicBezTo>
                    <a:cubicBezTo>
                      <a:pt x="215" y="0"/>
                      <a:pt x="141" y="29"/>
                      <a:pt x="87" y="82"/>
                    </a:cubicBezTo>
                    <a:cubicBezTo>
                      <a:pt x="30" y="138"/>
                      <a:pt x="0" y="218"/>
                      <a:pt x="0" y="314"/>
                    </a:cubicBezTo>
                    <a:cubicBezTo>
                      <a:pt x="0" y="314"/>
                      <a:pt x="0" y="314"/>
                      <a:pt x="0" y="314"/>
                    </a:cubicBezTo>
                    <a:cubicBezTo>
                      <a:pt x="44" y="314"/>
                      <a:pt x="44" y="314"/>
                      <a:pt x="44" y="314"/>
                    </a:cubicBezTo>
                    <a:cubicBezTo>
                      <a:pt x="44" y="314"/>
                      <a:pt x="44" y="314"/>
                      <a:pt x="44" y="314"/>
                    </a:cubicBezTo>
                    <a:cubicBezTo>
                      <a:pt x="44" y="150"/>
                      <a:pt x="144" y="44"/>
                      <a:pt x="298" y="44"/>
                    </a:cubicBezTo>
                    <a:cubicBezTo>
                      <a:pt x="452" y="44"/>
                      <a:pt x="552" y="150"/>
                      <a:pt x="552" y="314"/>
                    </a:cubicBezTo>
                    <a:cubicBezTo>
                      <a:pt x="552" y="314"/>
                      <a:pt x="552" y="314"/>
                      <a:pt x="552" y="314"/>
                    </a:cubicBezTo>
                    <a:cubicBezTo>
                      <a:pt x="596" y="314"/>
                      <a:pt x="596" y="314"/>
                      <a:pt x="596" y="314"/>
                    </a:cubicBezTo>
                    <a:cubicBezTo>
                      <a:pt x="596" y="314"/>
                      <a:pt x="596" y="314"/>
                      <a:pt x="596" y="314"/>
                    </a:cubicBezTo>
                    <a:cubicBezTo>
                      <a:pt x="596" y="218"/>
                      <a:pt x="566" y="138"/>
                      <a:pt x="509" y="8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6">
                <a:extLst>
                  <a:ext uri="{FF2B5EF4-FFF2-40B4-BE49-F238E27FC236}">
                    <a16:creationId xmlns:a16="http://schemas.microsoft.com/office/drawing/2014/main" id="{43B861AA-0BE4-90CB-A0D8-9A539684E4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3413" y="3086100"/>
                <a:ext cx="757238" cy="928688"/>
              </a:xfrm>
              <a:custGeom>
                <a:avLst/>
                <a:gdLst>
                  <a:gd name="T0" fmla="*/ 1020 w 1060"/>
                  <a:gd name="T1" fmla="*/ 22 h 1301"/>
                  <a:gd name="T2" fmla="*/ 998 w 1060"/>
                  <a:gd name="T3" fmla="*/ 0 h 1301"/>
                  <a:gd name="T4" fmla="*/ 62 w 1060"/>
                  <a:gd name="T5" fmla="*/ 0 h 1301"/>
                  <a:gd name="T6" fmla="*/ 40 w 1060"/>
                  <a:gd name="T7" fmla="*/ 22 h 1301"/>
                  <a:gd name="T8" fmla="*/ 0 w 1060"/>
                  <a:gd name="T9" fmla="*/ 1279 h 1301"/>
                  <a:gd name="T10" fmla="*/ 22 w 1060"/>
                  <a:gd name="T11" fmla="*/ 1301 h 1301"/>
                  <a:gd name="T12" fmla="*/ 1038 w 1060"/>
                  <a:gd name="T13" fmla="*/ 1301 h 1301"/>
                  <a:gd name="T14" fmla="*/ 1060 w 1060"/>
                  <a:gd name="T15" fmla="*/ 1279 h 1301"/>
                  <a:gd name="T16" fmla="*/ 1020 w 1060"/>
                  <a:gd name="T17" fmla="*/ 22 h 1301"/>
                  <a:gd name="T18" fmla="*/ 622 w 1060"/>
                  <a:gd name="T19" fmla="*/ 800 h 1301"/>
                  <a:gd name="T20" fmla="*/ 557 w 1060"/>
                  <a:gd name="T21" fmla="*/ 837 h 1301"/>
                  <a:gd name="T22" fmla="*/ 557 w 1060"/>
                  <a:gd name="T23" fmla="*/ 898 h 1301"/>
                  <a:gd name="T24" fmla="*/ 497 w 1060"/>
                  <a:gd name="T25" fmla="*/ 898 h 1301"/>
                  <a:gd name="T26" fmla="*/ 497 w 1060"/>
                  <a:gd name="T27" fmla="*/ 842 h 1301"/>
                  <a:gd name="T28" fmla="*/ 414 w 1060"/>
                  <a:gd name="T29" fmla="*/ 815 h 1301"/>
                  <a:gd name="T30" fmla="*/ 439 w 1060"/>
                  <a:gd name="T31" fmla="*/ 754 h 1301"/>
                  <a:gd name="T32" fmla="*/ 518 w 1060"/>
                  <a:gd name="T33" fmla="*/ 782 h 1301"/>
                  <a:gd name="T34" fmla="*/ 578 w 1060"/>
                  <a:gd name="T35" fmla="*/ 741 h 1301"/>
                  <a:gd name="T36" fmla="*/ 563 w 1060"/>
                  <a:gd name="T37" fmla="*/ 702 h 1301"/>
                  <a:gd name="T38" fmla="*/ 505 w 1060"/>
                  <a:gd name="T39" fmla="*/ 662 h 1301"/>
                  <a:gd name="T40" fmla="*/ 447 w 1060"/>
                  <a:gd name="T41" fmla="*/ 627 h 1301"/>
                  <a:gd name="T42" fmla="*/ 423 w 1060"/>
                  <a:gd name="T43" fmla="*/ 593 h 1301"/>
                  <a:gd name="T44" fmla="*/ 415 w 1060"/>
                  <a:gd name="T45" fmla="*/ 549 h 1301"/>
                  <a:gd name="T46" fmla="*/ 437 w 1060"/>
                  <a:gd name="T47" fmla="*/ 487 h 1301"/>
                  <a:gd name="T48" fmla="*/ 497 w 1060"/>
                  <a:gd name="T49" fmla="*/ 450 h 1301"/>
                  <a:gd name="T50" fmla="*/ 497 w 1060"/>
                  <a:gd name="T51" fmla="*/ 403 h 1301"/>
                  <a:gd name="T52" fmla="*/ 557 w 1060"/>
                  <a:gd name="T53" fmla="*/ 403 h 1301"/>
                  <a:gd name="T54" fmla="*/ 557 w 1060"/>
                  <a:gd name="T55" fmla="*/ 448 h 1301"/>
                  <a:gd name="T56" fmla="*/ 628 w 1060"/>
                  <a:gd name="T57" fmla="*/ 471 h 1301"/>
                  <a:gd name="T58" fmla="*/ 608 w 1060"/>
                  <a:gd name="T59" fmla="*/ 530 h 1301"/>
                  <a:gd name="T60" fmla="*/ 532 w 1060"/>
                  <a:gd name="T61" fmla="*/ 504 h 1301"/>
                  <a:gd name="T62" fmla="*/ 496 w 1060"/>
                  <a:gd name="T63" fmla="*/ 517 h 1301"/>
                  <a:gd name="T64" fmla="*/ 483 w 1060"/>
                  <a:gd name="T65" fmla="*/ 549 h 1301"/>
                  <a:gd name="T66" fmla="*/ 556 w 1060"/>
                  <a:gd name="T67" fmla="*/ 617 h 1301"/>
                  <a:gd name="T68" fmla="*/ 611 w 1060"/>
                  <a:gd name="T69" fmla="*/ 652 h 1301"/>
                  <a:gd name="T70" fmla="*/ 637 w 1060"/>
                  <a:gd name="T71" fmla="*/ 689 h 1301"/>
                  <a:gd name="T72" fmla="*/ 646 w 1060"/>
                  <a:gd name="T73" fmla="*/ 736 h 1301"/>
                  <a:gd name="T74" fmla="*/ 622 w 1060"/>
                  <a:gd name="T75" fmla="*/ 800 h 1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60" h="1301">
                    <a:moveTo>
                      <a:pt x="1020" y="22"/>
                    </a:moveTo>
                    <a:cubicBezTo>
                      <a:pt x="1020" y="10"/>
                      <a:pt x="1010" y="0"/>
                      <a:pt x="998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0" y="0"/>
                      <a:pt x="40" y="10"/>
                      <a:pt x="40" y="22"/>
                    </a:cubicBezTo>
                    <a:cubicBezTo>
                      <a:pt x="0" y="1279"/>
                      <a:pt x="0" y="1279"/>
                      <a:pt x="0" y="1279"/>
                    </a:cubicBezTo>
                    <a:cubicBezTo>
                      <a:pt x="0" y="1291"/>
                      <a:pt x="10" y="1301"/>
                      <a:pt x="22" y="1301"/>
                    </a:cubicBezTo>
                    <a:cubicBezTo>
                      <a:pt x="1038" y="1301"/>
                      <a:pt x="1038" y="1301"/>
                      <a:pt x="1038" y="1301"/>
                    </a:cubicBezTo>
                    <a:cubicBezTo>
                      <a:pt x="1050" y="1301"/>
                      <a:pt x="1060" y="1291"/>
                      <a:pt x="1060" y="1279"/>
                    </a:cubicBezTo>
                    <a:lnTo>
                      <a:pt x="1020" y="22"/>
                    </a:lnTo>
                    <a:close/>
                    <a:moveTo>
                      <a:pt x="622" y="800"/>
                    </a:moveTo>
                    <a:cubicBezTo>
                      <a:pt x="607" y="818"/>
                      <a:pt x="585" y="831"/>
                      <a:pt x="557" y="837"/>
                    </a:cubicBezTo>
                    <a:cubicBezTo>
                      <a:pt x="557" y="898"/>
                      <a:pt x="557" y="898"/>
                      <a:pt x="557" y="898"/>
                    </a:cubicBezTo>
                    <a:cubicBezTo>
                      <a:pt x="497" y="898"/>
                      <a:pt x="497" y="898"/>
                      <a:pt x="497" y="898"/>
                    </a:cubicBezTo>
                    <a:cubicBezTo>
                      <a:pt x="497" y="842"/>
                      <a:pt x="497" y="842"/>
                      <a:pt x="497" y="842"/>
                    </a:cubicBezTo>
                    <a:cubicBezTo>
                      <a:pt x="467" y="840"/>
                      <a:pt x="439" y="831"/>
                      <a:pt x="414" y="815"/>
                    </a:cubicBezTo>
                    <a:cubicBezTo>
                      <a:pt x="439" y="754"/>
                      <a:pt x="439" y="754"/>
                      <a:pt x="439" y="754"/>
                    </a:cubicBezTo>
                    <a:cubicBezTo>
                      <a:pt x="466" y="773"/>
                      <a:pt x="492" y="782"/>
                      <a:pt x="518" y="782"/>
                    </a:cubicBezTo>
                    <a:cubicBezTo>
                      <a:pt x="558" y="782"/>
                      <a:pt x="578" y="769"/>
                      <a:pt x="578" y="741"/>
                    </a:cubicBezTo>
                    <a:cubicBezTo>
                      <a:pt x="578" y="727"/>
                      <a:pt x="573" y="714"/>
                      <a:pt x="563" y="702"/>
                    </a:cubicBezTo>
                    <a:cubicBezTo>
                      <a:pt x="553" y="690"/>
                      <a:pt x="533" y="677"/>
                      <a:pt x="505" y="662"/>
                    </a:cubicBezTo>
                    <a:cubicBezTo>
                      <a:pt x="476" y="648"/>
                      <a:pt x="457" y="636"/>
                      <a:pt x="447" y="627"/>
                    </a:cubicBezTo>
                    <a:cubicBezTo>
                      <a:pt x="436" y="617"/>
                      <a:pt x="429" y="606"/>
                      <a:pt x="423" y="593"/>
                    </a:cubicBezTo>
                    <a:cubicBezTo>
                      <a:pt x="418" y="580"/>
                      <a:pt x="415" y="566"/>
                      <a:pt x="415" y="549"/>
                    </a:cubicBezTo>
                    <a:cubicBezTo>
                      <a:pt x="415" y="526"/>
                      <a:pt x="422" y="505"/>
                      <a:pt x="437" y="487"/>
                    </a:cubicBezTo>
                    <a:cubicBezTo>
                      <a:pt x="452" y="469"/>
                      <a:pt x="472" y="456"/>
                      <a:pt x="497" y="450"/>
                    </a:cubicBezTo>
                    <a:cubicBezTo>
                      <a:pt x="497" y="403"/>
                      <a:pt x="497" y="403"/>
                      <a:pt x="497" y="403"/>
                    </a:cubicBezTo>
                    <a:cubicBezTo>
                      <a:pt x="557" y="403"/>
                      <a:pt x="557" y="403"/>
                      <a:pt x="557" y="403"/>
                    </a:cubicBezTo>
                    <a:cubicBezTo>
                      <a:pt x="557" y="448"/>
                      <a:pt x="557" y="448"/>
                      <a:pt x="557" y="448"/>
                    </a:cubicBezTo>
                    <a:cubicBezTo>
                      <a:pt x="589" y="451"/>
                      <a:pt x="613" y="459"/>
                      <a:pt x="628" y="471"/>
                    </a:cubicBezTo>
                    <a:cubicBezTo>
                      <a:pt x="608" y="530"/>
                      <a:pt x="608" y="530"/>
                      <a:pt x="608" y="530"/>
                    </a:cubicBezTo>
                    <a:cubicBezTo>
                      <a:pt x="584" y="513"/>
                      <a:pt x="559" y="504"/>
                      <a:pt x="532" y="504"/>
                    </a:cubicBezTo>
                    <a:cubicBezTo>
                      <a:pt x="517" y="504"/>
                      <a:pt x="504" y="508"/>
                      <a:pt x="496" y="517"/>
                    </a:cubicBezTo>
                    <a:cubicBezTo>
                      <a:pt x="487" y="525"/>
                      <a:pt x="483" y="536"/>
                      <a:pt x="483" y="549"/>
                    </a:cubicBezTo>
                    <a:cubicBezTo>
                      <a:pt x="483" y="571"/>
                      <a:pt x="507" y="594"/>
                      <a:pt x="556" y="617"/>
                    </a:cubicBezTo>
                    <a:cubicBezTo>
                      <a:pt x="581" y="630"/>
                      <a:pt x="600" y="642"/>
                      <a:pt x="611" y="652"/>
                    </a:cubicBezTo>
                    <a:cubicBezTo>
                      <a:pt x="623" y="663"/>
                      <a:pt x="631" y="675"/>
                      <a:pt x="637" y="689"/>
                    </a:cubicBezTo>
                    <a:cubicBezTo>
                      <a:pt x="643" y="703"/>
                      <a:pt x="646" y="719"/>
                      <a:pt x="646" y="736"/>
                    </a:cubicBezTo>
                    <a:cubicBezTo>
                      <a:pt x="646" y="760"/>
                      <a:pt x="638" y="782"/>
                      <a:pt x="622" y="80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76" name="bcgIcons_Sale ">
            <a:extLst>
              <a:ext uri="{FF2B5EF4-FFF2-40B4-BE49-F238E27FC236}">
                <a16:creationId xmlns:a16="http://schemas.microsoft.com/office/drawing/2014/main" id="{D81E89BC-2B52-9DDC-7EC2-36FE183C88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83077" y="4705709"/>
            <a:ext cx="125334" cy="125450"/>
            <a:chOff x="1682" y="0"/>
            <a:chExt cx="4316" cy="4320"/>
          </a:xfrm>
        </p:grpSpPr>
        <p:sp>
          <p:nvSpPr>
            <p:cNvPr id="277" name="AutoShape 3">
              <a:extLst>
                <a:ext uri="{FF2B5EF4-FFF2-40B4-BE49-F238E27FC236}">
                  <a16:creationId xmlns:a16="http://schemas.microsoft.com/office/drawing/2014/main" id="{B26D6D51-3E92-7C04-AE92-C8E97F006E0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5">
              <a:extLst>
                <a:ext uri="{FF2B5EF4-FFF2-40B4-BE49-F238E27FC236}">
                  <a16:creationId xmlns:a16="http://schemas.microsoft.com/office/drawing/2014/main" id="{CBDDE176-A45B-2861-D22A-ABB9CC830E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4" y="677"/>
              <a:ext cx="2894" cy="2966"/>
            </a:xfrm>
            <a:custGeom>
              <a:avLst/>
              <a:gdLst>
                <a:gd name="T0" fmla="*/ 704 w 1545"/>
                <a:gd name="T1" fmla="*/ 1582 h 1582"/>
                <a:gd name="T2" fmla="*/ 674 w 1545"/>
                <a:gd name="T3" fmla="*/ 1571 h 1582"/>
                <a:gd name="T4" fmla="*/ 15 w 1545"/>
                <a:gd name="T5" fmla="*/ 959 h 1582"/>
                <a:gd name="T6" fmla="*/ 1 w 1545"/>
                <a:gd name="T7" fmla="*/ 929 h 1582"/>
                <a:gd name="T8" fmla="*/ 12 w 1545"/>
                <a:gd name="T9" fmla="*/ 897 h 1582"/>
                <a:gd name="T10" fmla="*/ 717 w 1545"/>
                <a:gd name="T11" fmla="*/ 136 h 1582"/>
                <a:gd name="T12" fmla="*/ 727 w 1545"/>
                <a:gd name="T13" fmla="*/ 130 h 1582"/>
                <a:gd name="T14" fmla="*/ 1136 w 1545"/>
                <a:gd name="T15" fmla="*/ 4 h 1582"/>
                <a:gd name="T16" fmla="*/ 1139 w 1545"/>
                <a:gd name="T17" fmla="*/ 3 h 1582"/>
                <a:gd name="T18" fmla="*/ 1180 w 1545"/>
                <a:gd name="T19" fmla="*/ 13 h 1582"/>
                <a:gd name="T20" fmla="*/ 1529 w 1545"/>
                <a:gd name="T21" fmla="*/ 336 h 1582"/>
                <a:gd name="T22" fmla="*/ 1542 w 1545"/>
                <a:gd name="T23" fmla="*/ 379 h 1582"/>
                <a:gd name="T24" fmla="*/ 1542 w 1545"/>
                <a:gd name="T25" fmla="*/ 380 h 1582"/>
                <a:gd name="T26" fmla="*/ 1447 w 1545"/>
                <a:gd name="T27" fmla="*/ 797 h 1582"/>
                <a:gd name="T28" fmla="*/ 1441 w 1545"/>
                <a:gd name="T29" fmla="*/ 807 h 1582"/>
                <a:gd name="T30" fmla="*/ 736 w 1545"/>
                <a:gd name="T31" fmla="*/ 1568 h 1582"/>
                <a:gd name="T32" fmla="*/ 706 w 1545"/>
                <a:gd name="T33" fmla="*/ 1582 h 1582"/>
                <a:gd name="T34" fmla="*/ 704 w 1545"/>
                <a:gd name="T35" fmla="*/ 1582 h 1582"/>
                <a:gd name="T36" fmla="*/ 704 w 1545"/>
                <a:gd name="T37" fmla="*/ 1538 h 1582"/>
                <a:gd name="T38" fmla="*/ 704 w 1545"/>
                <a:gd name="T39" fmla="*/ 1538 h 1582"/>
                <a:gd name="T40" fmla="*/ 704 w 1545"/>
                <a:gd name="T41" fmla="*/ 1538 h 1582"/>
                <a:gd name="T42" fmla="*/ 746 w 1545"/>
                <a:gd name="T43" fmla="*/ 171 h 1582"/>
                <a:gd name="T44" fmla="*/ 45 w 1545"/>
                <a:gd name="T45" fmla="*/ 927 h 1582"/>
                <a:gd name="T46" fmla="*/ 704 w 1545"/>
                <a:gd name="T47" fmla="*/ 1538 h 1582"/>
                <a:gd name="T48" fmla="*/ 1405 w 1545"/>
                <a:gd name="T49" fmla="*/ 782 h 1582"/>
                <a:gd name="T50" fmla="*/ 1499 w 1545"/>
                <a:gd name="T51" fmla="*/ 371 h 1582"/>
                <a:gd name="T52" fmla="*/ 1499 w 1545"/>
                <a:gd name="T53" fmla="*/ 369 h 1582"/>
                <a:gd name="T54" fmla="*/ 1151 w 1545"/>
                <a:gd name="T55" fmla="*/ 46 h 1582"/>
                <a:gd name="T56" fmla="*/ 1147 w 1545"/>
                <a:gd name="T57" fmla="*/ 46 h 1582"/>
                <a:gd name="T58" fmla="*/ 746 w 1545"/>
                <a:gd name="T59" fmla="*/ 171 h 1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45" h="1582">
                  <a:moveTo>
                    <a:pt x="704" y="1582"/>
                  </a:moveTo>
                  <a:cubicBezTo>
                    <a:pt x="693" y="1582"/>
                    <a:pt x="682" y="1578"/>
                    <a:pt x="674" y="1571"/>
                  </a:cubicBezTo>
                  <a:cubicBezTo>
                    <a:pt x="15" y="959"/>
                    <a:pt x="15" y="959"/>
                    <a:pt x="15" y="959"/>
                  </a:cubicBezTo>
                  <a:cubicBezTo>
                    <a:pt x="6" y="951"/>
                    <a:pt x="1" y="941"/>
                    <a:pt x="1" y="929"/>
                  </a:cubicBezTo>
                  <a:cubicBezTo>
                    <a:pt x="0" y="917"/>
                    <a:pt x="4" y="906"/>
                    <a:pt x="12" y="897"/>
                  </a:cubicBezTo>
                  <a:cubicBezTo>
                    <a:pt x="717" y="136"/>
                    <a:pt x="717" y="136"/>
                    <a:pt x="717" y="136"/>
                  </a:cubicBezTo>
                  <a:cubicBezTo>
                    <a:pt x="720" y="134"/>
                    <a:pt x="723" y="132"/>
                    <a:pt x="727" y="130"/>
                  </a:cubicBezTo>
                  <a:cubicBezTo>
                    <a:pt x="1136" y="4"/>
                    <a:pt x="1136" y="4"/>
                    <a:pt x="1136" y="4"/>
                  </a:cubicBezTo>
                  <a:cubicBezTo>
                    <a:pt x="1137" y="3"/>
                    <a:pt x="1138" y="3"/>
                    <a:pt x="1139" y="3"/>
                  </a:cubicBezTo>
                  <a:cubicBezTo>
                    <a:pt x="1150" y="1"/>
                    <a:pt x="1166" y="0"/>
                    <a:pt x="1180" y="13"/>
                  </a:cubicBezTo>
                  <a:cubicBezTo>
                    <a:pt x="1529" y="336"/>
                    <a:pt x="1529" y="336"/>
                    <a:pt x="1529" y="336"/>
                  </a:cubicBezTo>
                  <a:cubicBezTo>
                    <a:pt x="1540" y="347"/>
                    <a:pt x="1545" y="363"/>
                    <a:pt x="1542" y="379"/>
                  </a:cubicBezTo>
                  <a:cubicBezTo>
                    <a:pt x="1542" y="380"/>
                    <a:pt x="1542" y="380"/>
                    <a:pt x="1542" y="380"/>
                  </a:cubicBezTo>
                  <a:cubicBezTo>
                    <a:pt x="1447" y="797"/>
                    <a:pt x="1447" y="797"/>
                    <a:pt x="1447" y="797"/>
                  </a:cubicBezTo>
                  <a:cubicBezTo>
                    <a:pt x="1446" y="801"/>
                    <a:pt x="1444" y="805"/>
                    <a:pt x="1441" y="807"/>
                  </a:cubicBezTo>
                  <a:cubicBezTo>
                    <a:pt x="736" y="1568"/>
                    <a:pt x="736" y="1568"/>
                    <a:pt x="736" y="1568"/>
                  </a:cubicBezTo>
                  <a:cubicBezTo>
                    <a:pt x="728" y="1577"/>
                    <a:pt x="718" y="1582"/>
                    <a:pt x="706" y="1582"/>
                  </a:cubicBezTo>
                  <a:cubicBezTo>
                    <a:pt x="705" y="1582"/>
                    <a:pt x="705" y="1582"/>
                    <a:pt x="704" y="1582"/>
                  </a:cubicBezTo>
                  <a:close/>
                  <a:moveTo>
                    <a:pt x="704" y="1538"/>
                  </a:moveTo>
                  <a:cubicBezTo>
                    <a:pt x="704" y="1538"/>
                    <a:pt x="704" y="1538"/>
                    <a:pt x="704" y="1538"/>
                  </a:cubicBezTo>
                  <a:cubicBezTo>
                    <a:pt x="704" y="1538"/>
                    <a:pt x="704" y="1538"/>
                    <a:pt x="704" y="1538"/>
                  </a:cubicBezTo>
                  <a:close/>
                  <a:moveTo>
                    <a:pt x="746" y="171"/>
                  </a:moveTo>
                  <a:cubicBezTo>
                    <a:pt x="45" y="927"/>
                    <a:pt x="45" y="927"/>
                    <a:pt x="45" y="927"/>
                  </a:cubicBezTo>
                  <a:cubicBezTo>
                    <a:pt x="704" y="1538"/>
                    <a:pt x="704" y="1538"/>
                    <a:pt x="704" y="1538"/>
                  </a:cubicBezTo>
                  <a:cubicBezTo>
                    <a:pt x="1405" y="782"/>
                    <a:pt x="1405" y="782"/>
                    <a:pt x="1405" y="782"/>
                  </a:cubicBezTo>
                  <a:cubicBezTo>
                    <a:pt x="1499" y="371"/>
                    <a:pt x="1499" y="371"/>
                    <a:pt x="1499" y="371"/>
                  </a:cubicBezTo>
                  <a:cubicBezTo>
                    <a:pt x="1499" y="370"/>
                    <a:pt x="1499" y="369"/>
                    <a:pt x="1499" y="369"/>
                  </a:cubicBezTo>
                  <a:cubicBezTo>
                    <a:pt x="1151" y="46"/>
                    <a:pt x="1151" y="46"/>
                    <a:pt x="1151" y="46"/>
                  </a:cubicBezTo>
                  <a:cubicBezTo>
                    <a:pt x="1150" y="46"/>
                    <a:pt x="1149" y="46"/>
                    <a:pt x="1147" y="46"/>
                  </a:cubicBezTo>
                  <a:lnTo>
                    <a:pt x="746" y="17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6">
              <a:extLst>
                <a:ext uri="{FF2B5EF4-FFF2-40B4-BE49-F238E27FC236}">
                  <a16:creationId xmlns:a16="http://schemas.microsoft.com/office/drawing/2014/main" id="{8CB7E0D7-4D1B-4480-4140-F068D97C9D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9" y="849"/>
              <a:ext cx="2527" cy="2601"/>
            </a:xfrm>
            <a:custGeom>
              <a:avLst/>
              <a:gdLst>
                <a:gd name="T0" fmla="*/ 524 w 1349"/>
                <a:gd name="T1" fmla="*/ 640 h 1387"/>
                <a:gd name="T2" fmla="*/ 520 w 1349"/>
                <a:gd name="T3" fmla="*/ 541 h 1387"/>
                <a:gd name="T4" fmla="*/ 571 w 1349"/>
                <a:gd name="T5" fmla="*/ 519 h 1387"/>
                <a:gd name="T6" fmla="*/ 619 w 1349"/>
                <a:gd name="T7" fmla="*/ 537 h 1387"/>
                <a:gd name="T8" fmla="*/ 641 w 1349"/>
                <a:gd name="T9" fmla="*/ 586 h 1387"/>
                <a:gd name="T10" fmla="*/ 622 w 1349"/>
                <a:gd name="T11" fmla="*/ 636 h 1387"/>
                <a:gd name="T12" fmla="*/ 524 w 1349"/>
                <a:gd name="T13" fmla="*/ 640 h 1387"/>
                <a:gd name="T14" fmla="*/ 589 w 1349"/>
                <a:gd name="T15" fmla="*/ 955 h 1387"/>
                <a:gd name="T16" fmla="*/ 537 w 1349"/>
                <a:gd name="T17" fmla="*/ 977 h 1387"/>
                <a:gd name="T18" fmla="*/ 519 w 1349"/>
                <a:gd name="T19" fmla="*/ 1028 h 1387"/>
                <a:gd name="T20" fmla="*/ 541 w 1349"/>
                <a:gd name="T21" fmla="*/ 1076 h 1387"/>
                <a:gd name="T22" fmla="*/ 640 w 1349"/>
                <a:gd name="T23" fmla="*/ 1072 h 1387"/>
                <a:gd name="T24" fmla="*/ 636 w 1349"/>
                <a:gd name="T25" fmla="*/ 974 h 1387"/>
                <a:gd name="T26" fmla="*/ 589 w 1349"/>
                <a:gd name="T27" fmla="*/ 955 h 1387"/>
                <a:gd name="T28" fmla="*/ 1349 w 1349"/>
                <a:gd name="T29" fmla="*/ 292 h 1387"/>
                <a:gd name="T30" fmla="*/ 1263 w 1349"/>
                <a:gd name="T31" fmla="*/ 669 h 1387"/>
                <a:gd name="T32" fmla="*/ 598 w 1349"/>
                <a:gd name="T33" fmla="*/ 1387 h 1387"/>
                <a:gd name="T34" fmla="*/ 0 w 1349"/>
                <a:gd name="T35" fmla="*/ 833 h 1387"/>
                <a:gd name="T36" fmla="*/ 665 w 1349"/>
                <a:gd name="T37" fmla="*/ 115 h 1387"/>
                <a:gd name="T38" fmla="*/ 1035 w 1349"/>
                <a:gd name="T39" fmla="*/ 0 h 1387"/>
                <a:gd name="T40" fmla="*/ 1349 w 1349"/>
                <a:gd name="T41" fmla="*/ 292 h 1387"/>
                <a:gd name="T42" fmla="*/ 494 w 1349"/>
                <a:gd name="T43" fmla="*/ 672 h 1387"/>
                <a:gd name="T44" fmla="*/ 571 w 1349"/>
                <a:gd name="T45" fmla="*/ 703 h 1387"/>
                <a:gd name="T46" fmla="*/ 655 w 1349"/>
                <a:gd name="T47" fmla="*/ 666 h 1387"/>
                <a:gd name="T48" fmla="*/ 685 w 1349"/>
                <a:gd name="T49" fmla="*/ 584 h 1387"/>
                <a:gd name="T50" fmla="*/ 649 w 1349"/>
                <a:gd name="T51" fmla="*/ 505 h 1387"/>
                <a:gd name="T52" fmla="*/ 567 w 1349"/>
                <a:gd name="T53" fmla="*/ 475 h 1387"/>
                <a:gd name="T54" fmla="*/ 488 w 1349"/>
                <a:gd name="T55" fmla="*/ 511 h 1387"/>
                <a:gd name="T56" fmla="*/ 494 w 1349"/>
                <a:gd name="T57" fmla="*/ 672 h 1387"/>
                <a:gd name="T58" fmla="*/ 666 w 1349"/>
                <a:gd name="T59" fmla="*/ 941 h 1387"/>
                <a:gd name="T60" fmla="*/ 505 w 1349"/>
                <a:gd name="T61" fmla="*/ 947 h 1387"/>
                <a:gd name="T62" fmla="*/ 475 w 1349"/>
                <a:gd name="T63" fmla="*/ 1029 h 1387"/>
                <a:gd name="T64" fmla="*/ 511 w 1349"/>
                <a:gd name="T65" fmla="*/ 1108 h 1387"/>
                <a:gd name="T66" fmla="*/ 589 w 1349"/>
                <a:gd name="T67" fmla="*/ 1139 h 1387"/>
                <a:gd name="T68" fmla="*/ 593 w 1349"/>
                <a:gd name="T69" fmla="*/ 1139 h 1387"/>
                <a:gd name="T70" fmla="*/ 672 w 1349"/>
                <a:gd name="T71" fmla="*/ 1102 h 1387"/>
                <a:gd name="T72" fmla="*/ 666 w 1349"/>
                <a:gd name="T73" fmla="*/ 941 h 1387"/>
                <a:gd name="T74" fmla="*/ 945 w 1349"/>
                <a:gd name="T75" fmla="*/ 766 h 1387"/>
                <a:gd name="T76" fmla="*/ 921 w 1349"/>
                <a:gd name="T77" fmla="*/ 746 h 1387"/>
                <a:gd name="T78" fmla="*/ 248 w 1349"/>
                <a:gd name="T79" fmla="*/ 809 h 1387"/>
                <a:gd name="T80" fmla="*/ 228 w 1349"/>
                <a:gd name="T81" fmla="*/ 833 h 1387"/>
                <a:gd name="T82" fmla="*/ 250 w 1349"/>
                <a:gd name="T83" fmla="*/ 853 h 1387"/>
                <a:gd name="T84" fmla="*/ 252 w 1349"/>
                <a:gd name="T85" fmla="*/ 853 h 1387"/>
                <a:gd name="T86" fmla="*/ 925 w 1349"/>
                <a:gd name="T87" fmla="*/ 790 h 1387"/>
                <a:gd name="T88" fmla="*/ 945 w 1349"/>
                <a:gd name="T89" fmla="*/ 766 h 1387"/>
                <a:gd name="T90" fmla="*/ 1137 w 1349"/>
                <a:gd name="T91" fmla="*/ 206 h 1387"/>
                <a:gd name="T92" fmla="*/ 1018 w 1349"/>
                <a:gd name="T93" fmla="*/ 210 h 1387"/>
                <a:gd name="T94" fmla="*/ 1023 w 1349"/>
                <a:gd name="T95" fmla="*/ 329 h 1387"/>
                <a:gd name="T96" fmla="*/ 1141 w 1349"/>
                <a:gd name="T97" fmla="*/ 325 h 1387"/>
                <a:gd name="T98" fmla="*/ 1137 w 1349"/>
                <a:gd name="T99" fmla="*/ 206 h 1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49" h="1387">
                  <a:moveTo>
                    <a:pt x="524" y="640"/>
                  </a:moveTo>
                  <a:cubicBezTo>
                    <a:pt x="495" y="614"/>
                    <a:pt x="494" y="569"/>
                    <a:pt x="520" y="541"/>
                  </a:cubicBezTo>
                  <a:cubicBezTo>
                    <a:pt x="534" y="526"/>
                    <a:pt x="552" y="519"/>
                    <a:pt x="571" y="519"/>
                  </a:cubicBezTo>
                  <a:cubicBezTo>
                    <a:pt x="588" y="519"/>
                    <a:pt x="605" y="525"/>
                    <a:pt x="619" y="537"/>
                  </a:cubicBezTo>
                  <a:cubicBezTo>
                    <a:pt x="632" y="550"/>
                    <a:pt x="640" y="567"/>
                    <a:pt x="641" y="586"/>
                  </a:cubicBezTo>
                  <a:cubicBezTo>
                    <a:pt x="642" y="605"/>
                    <a:pt x="635" y="623"/>
                    <a:pt x="622" y="636"/>
                  </a:cubicBezTo>
                  <a:cubicBezTo>
                    <a:pt x="596" y="665"/>
                    <a:pt x="552" y="666"/>
                    <a:pt x="524" y="640"/>
                  </a:cubicBezTo>
                  <a:close/>
                  <a:moveTo>
                    <a:pt x="589" y="955"/>
                  </a:moveTo>
                  <a:cubicBezTo>
                    <a:pt x="570" y="955"/>
                    <a:pt x="551" y="962"/>
                    <a:pt x="537" y="977"/>
                  </a:cubicBezTo>
                  <a:cubicBezTo>
                    <a:pt x="525" y="991"/>
                    <a:pt x="518" y="1009"/>
                    <a:pt x="519" y="1028"/>
                  </a:cubicBezTo>
                  <a:cubicBezTo>
                    <a:pt x="519" y="1046"/>
                    <a:pt x="527" y="1064"/>
                    <a:pt x="541" y="1076"/>
                  </a:cubicBezTo>
                  <a:cubicBezTo>
                    <a:pt x="569" y="1102"/>
                    <a:pt x="614" y="1101"/>
                    <a:pt x="640" y="1072"/>
                  </a:cubicBezTo>
                  <a:cubicBezTo>
                    <a:pt x="666" y="1044"/>
                    <a:pt x="665" y="1000"/>
                    <a:pt x="636" y="974"/>
                  </a:cubicBezTo>
                  <a:cubicBezTo>
                    <a:pt x="623" y="961"/>
                    <a:pt x="606" y="955"/>
                    <a:pt x="589" y="955"/>
                  </a:cubicBezTo>
                  <a:close/>
                  <a:moveTo>
                    <a:pt x="1349" y="292"/>
                  </a:moveTo>
                  <a:cubicBezTo>
                    <a:pt x="1263" y="669"/>
                    <a:pt x="1263" y="669"/>
                    <a:pt x="1263" y="669"/>
                  </a:cubicBezTo>
                  <a:cubicBezTo>
                    <a:pt x="598" y="1387"/>
                    <a:pt x="598" y="1387"/>
                    <a:pt x="598" y="1387"/>
                  </a:cubicBezTo>
                  <a:cubicBezTo>
                    <a:pt x="0" y="833"/>
                    <a:pt x="0" y="833"/>
                    <a:pt x="0" y="833"/>
                  </a:cubicBezTo>
                  <a:cubicBezTo>
                    <a:pt x="665" y="115"/>
                    <a:pt x="665" y="115"/>
                    <a:pt x="665" y="115"/>
                  </a:cubicBezTo>
                  <a:cubicBezTo>
                    <a:pt x="1035" y="0"/>
                    <a:pt x="1035" y="0"/>
                    <a:pt x="1035" y="0"/>
                  </a:cubicBezTo>
                  <a:lnTo>
                    <a:pt x="1349" y="292"/>
                  </a:lnTo>
                  <a:close/>
                  <a:moveTo>
                    <a:pt x="494" y="672"/>
                  </a:moveTo>
                  <a:cubicBezTo>
                    <a:pt x="516" y="693"/>
                    <a:pt x="543" y="703"/>
                    <a:pt x="571" y="703"/>
                  </a:cubicBezTo>
                  <a:cubicBezTo>
                    <a:pt x="602" y="703"/>
                    <a:pt x="632" y="690"/>
                    <a:pt x="655" y="666"/>
                  </a:cubicBezTo>
                  <a:cubicBezTo>
                    <a:pt x="675" y="644"/>
                    <a:pt x="686" y="615"/>
                    <a:pt x="685" y="584"/>
                  </a:cubicBezTo>
                  <a:cubicBezTo>
                    <a:pt x="684" y="554"/>
                    <a:pt x="671" y="526"/>
                    <a:pt x="649" y="505"/>
                  </a:cubicBezTo>
                  <a:cubicBezTo>
                    <a:pt x="626" y="484"/>
                    <a:pt x="597" y="474"/>
                    <a:pt x="567" y="475"/>
                  </a:cubicBezTo>
                  <a:cubicBezTo>
                    <a:pt x="536" y="476"/>
                    <a:pt x="508" y="489"/>
                    <a:pt x="488" y="511"/>
                  </a:cubicBezTo>
                  <a:cubicBezTo>
                    <a:pt x="445" y="557"/>
                    <a:pt x="448" y="630"/>
                    <a:pt x="494" y="672"/>
                  </a:cubicBezTo>
                  <a:close/>
                  <a:moveTo>
                    <a:pt x="666" y="941"/>
                  </a:moveTo>
                  <a:cubicBezTo>
                    <a:pt x="620" y="899"/>
                    <a:pt x="548" y="901"/>
                    <a:pt x="505" y="947"/>
                  </a:cubicBezTo>
                  <a:cubicBezTo>
                    <a:pt x="484" y="970"/>
                    <a:pt x="474" y="999"/>
                    <a:pt x="475" y="1029"/>
                  </a:cubicBezTo>
                  <a:cubicBezTo>
                    <a:pt x="476" y="1060"/>
                    <a:pt x="489" y="1088"/>
                    <a:pt x="511" y="1108"/>
                  </a:cubicBezTo>
                  <a:cubicBezTo>
                    <a:pt x="532" y="1128"/>
                    <a:pt x="560" y="1139"/>
                    <a:pt x="589" y="1139"/>
                  </a:cubicBezTo>
                  <a:cubicBezTo>
                    <a:pt x="590" y="1139"/>
                    <a:pt x="592" y="1139"/>
                    <a:pt x="593" y="1139"/>
                  </a:cubicBezTo>
                  <a:cubicBezTo>
                    <a:pt x="623" y="1138"/>
                    <a:pt x="652" y="1125"/>
                    <a:pt x="672" y="1102"/>
                  </a:cubicBezTo>
                  <a:cubicBezTo>
                    <a:pt x="715" y="1056"/>
                    <a:pt x="712" y="984"/>
                    <a:pt x="666" y="941"/>
                  </a:cubicBezTo>
                  <a:close/>
                  <a:moveTo>
                    <a:pt x="945" y="766"/>
                  </a:moveTo>
                  <a:cubicBezTo>
                    <a:pt x="944" y="754"/>
                    <a:pt x="933" y="745"/>
                    <a:pt x="921" y="746"/>
                  </a:cubicBezTo>
                  <a:cubicBezTo>
                    <a:pt x="248" y="809"/>
                    <a:pt x="248" y="809"/>
                    <a:pt x="248" y="809"/>
                  </a:cubicBezTo>
                  <a:cubicBezTo>
                    <a:pt x="236" y="810"/>
                    <a:pt x="227" y="821"/>
                    <a:pt x="228" y="833"/>
                  </a:cubicBezTo>
                  <a:cubicBezTo>
                    <a:pt x="229" y="845"/>
                    <a:pt x="239" y="853"/>
                    <a:pt x="250" y="853"/>
                  </a:cubicBezTo>
                  <a:cubicBezTo>
                    <a:pt x="251" y="853"/>
                    <a:pt x="251" y="853"/>
                    <a:pt x="252" y="853"/>
                  </a:cubicBezTo>
                  <a:cubicBezTo>
                    <a:pt x="925" y="790"/>
                    <a:pt x="925" y="790"/>
                    <a:pt x="925" y="790"/>
                  </a:cubicBezTo>
                  <a:cubicBezTo>
                    <a:pt x="937" y="789"/>
                    <a:pt x="946" y="778"/>
                    <a:pt x="945" y="766"/>
                  </a:cubicBezTo>
                  <a:close/>
                  <a:moveTo>
                    <a:pt x="1137" y="206"/>
                  </a:moveTo>
                  <a:cubicBezTo>
                    <a:pt x="1103" y="174"/>
                    <a:pt x="1050" y="176"/>
                    <a:pt x="1018" y="210"/>
                  </a:cubicBezTo>
                  <a:cubicBezTo>
                    <a:pt x="987" y="244"/>
                    <a:pt x="989" y="298"/>
                    <a:pt x="1023" y="329"/>
                  </a:cubicBezTo>
                  <a:cubicBezTo>
                    <a:pt x="1057" y="361"/>
                    <a:pt x="1110" y="359"/>
                    <a:pt x="1141" y="325"/>
                  </a:cubicBezTo>
                  <a:cubicBezTo>
                    <a:pt x="1173" y="290"/>
                    <a:pt x="1171" y="237"/>
                    <a:pt x="1137" y="2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0" name="bcgIcons_Insurance">
            <a:extLst>
              <a:ext uri="{FF2B5EF4-FFF2-40B4-BE49-F238E27FC236}">
                <a16:creationId xmlns:a16="http://schemas.microsoft.com/office/drawing/2014/main" id="{63FA8DBE-17EE-C652-A645-AECBA0A75246}"/>
              </a:ext>
            </a:extLst>
          </p:cNvPr>
          <p:cNvGrpSpPr>
            <a:grpSpLocks noChangeAspect="1"/>
          </p:cNvGrpSpPr>
          <p:nvPr/>
        </p:nvGrpSpPr>
        <p:grpSpPr>
          <a:xfrm>
            <a:off x="9813500" y="4705709"/>
            <a:ext cx="125450" cy="125450"/>
            <a:chOff x="5195888" y="1966913"/>
            <a:chExt cx="1646237" cy="1646237"/>
          </a:xfrm>
        </p:grpSpPr>
        <p:sp>
          <p:nvSpPr>
            <p:cNvPr id="281" name="AutoShape 19">
              <a:extLst>
                <a:ext uri="{FF2B5EF4-FFF2-40B4-BE49-F238E27FC236}">
                  <a16:creationId xmlns:a16="http://schemas.microsoft.com/office/drawing/2014/main" id="{F1A6FEEC-DF2B-9A76-1E62-DB46805CC5A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95888" y="1966913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83" name="Group 282">
              <a:extLst>
                <a:ext uri="{FF2B5EF4-FFF2-40B4-BE49-F238E27FC236}">
                  <a16:creationId xmlns:a16="http://schemas.microsoft.com/office/drawing/2014/main" id="{7B53F5CB-3C96-3D99-ADB8-CF404D1A0A3E}"/>
                </a:ext>
              </a:extLst>
            </p:cNvPr>
            <p:cNvGrpSpPr/>
            <p:nvPr/>
          </p:nvGrpSpPr>
          <p:grpSpPr>
            <a:xfrm>
              <a:off x="5467350" y="2151063"/>
              <a:ext cx="1101725" cy="1276350"/>
              <a:chOff x="5467350" y="2151063"/>
              <a:chExt cx="1101725" cy="1276350"/>
            </a:xfrm>
          </p:grpSpPr>
          <p:sp>
            <p:nvSpPr>
              <p:cNvPr id="284" name="Freeform 21">
                <a:extLst>
                  <a:ext uri="{FF2B5EF4-FFF2-40B4-BE49-F238E27FC236}">
                    <a16:creationId xmlns:a16="http://schemas.microsoft.com/office/drawing/2014/main" id="{9E92B016-7528-E5B8-0D3F-46B4159A28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2438" y="2212975"/>
                <a:ext cx="971550" cy="1147762"/>
              </a:xfrm>
              <a:custGeom>
                <a:avLst/>
                <a:gdLst>
                  <a:gd name="T0" fmla="*/ 1154 w 1358"/>
                  <a:gd name="T1" fmla="*/ 138 h 1605"/>
                  <a:gd name="T2" fmla="*/ 1118 w 1358"/>
                  <a:gd name="T3" fmla="*/ 53 h 1605"/>
                  <a:gd name="T4" fmla="*/ 1111 w 1358"/>
                  <a:gd name="T5" fmla="*/ 46 h 1605"/>
                  <a:gd name="T6" fmla="*/ 679 w 1358"/>
                  <a:gd name="T7" fmla="*/ 0 h 1605"/>
                  <a:gd name="T8" fmla="*/ 247 w 1358"/>
                  <a:gd name="T9" fmla="*/ 46 h 1605"/>
                  <a:gd name="T10" fmla="*/ 240 w 1358"/>
                  <a:gd name="T11" fmla="*/ 53 h 1605"/>
                  <a:gd name="T12" fmla="*/ 204 w 1358"/>
                  <a:gd name="T13" fmla="*/ 138 h 1605"/>
                  <a:gd name="T14" fmla="*/ 8 w 1358"/>
                  <a:gd name="T15" fmla="*/ 274 h 1605"/>
                  <a:gd name="T16" fmla="*/ 0 w 1358"/>
                  <a:gd name="T17" fmla="*/ 285 h 1605"/>
                  <a:gd name="T18" fmla="*/ 86 w 1358"/>
                  <a:gd name="T19" fmla="*/ 813 h 1605"/>
                  <a:gd name="T20" fmla="*/ 298 w 1358"/>
                  <a:gd name="T21" fmla="*/ 1279 h 1605"/>
                  <a:gd name="T22" fmla="*/ 675 w 1358"/>
                  <a:gd name="T23" fmla="*/ 1604 h 1605"/>
                  <a:gd name="T24" fmla="*/ 683 w 1358"/>
                  <a:gd name="T25" fmla="*/ 1604 h 1605"/>
                  <a:gd name="T26" fmla="*/ 1060 w 1358"/>
                  <a:gd name="T27" fmla="*/ 1279 h 1605"/>
                  <a:gd name="T28" fmla="*/ 1272 w 1358"/>
                  <a:gd name="T29" fmla="*/ 813 h 1605"/>
                  <a:gd name="T30" fmla="*/ 1358 w 1358"/>
                  <a:gd name="T31" fmla="*/ 285 h 1605"/>
                  <a:gd name="T32" fmla="*/ 1350 w 1358"/>
                  <a:gd name="T33" fmla="*/ 274 h 1605"/>
                  <a:gd name="T34" fmla="*/ 1154 w 1358"/>
                  <a:gd name="T35" fmla="*/ 138 h 1605"/>
                  <a:gd name="T36" fmla="*/ 1045 w 1358"/>
                  <a:gd name="T37" fmla="*/ 912 h 1605"/>
                  <a:gd name="T38" fmla="*/ 1035 w 1358"/>
                  <a:gd name="T39" fmla="*/ 922 h 1605"/>
                  <a:gd name="T40" fmla="*/ 795 w 1358"/>
                  <a:gd name="T41" fmla="*/ 922 h 1605"/>
                  <a:gd name="T42" fmla="*/ 795 w 1358"/>
                  <a:gd name="T43" fmla="*/ 1162 h 1605"/>
                  <a:gd name="T44" fmla="*/ 785 w 1358"/>
                  <a:gd name="T45" fmla="*/ 1172 h 1605"/>
                  <a:gd name="T46" fmla="*/ 573 w 1358"/>
                  <a:gd name="T47" fmla="*/ 1172 h 1605"/>
                  <a:gd name="T48" fmla="*/ 563 w 1358"/>
                  <a:gd name="T49" fmla="*/ 1162 h 1605"/>
                  <a:gd name="T50" fmla="*/ 563 w 1358"/>
                  <a:gd name="T51" fmla="*/ 922 h 1605"/>
                  <a:gd name="T52" fmla="*/ 323 w 1358"/>
                  <a:gd name="T53" fmla="*/ 922 h 1605"/>
                  <a:gd name="T54" fmla="*/ 313 w 1358"/>
                  <a:gd name="T55" fmla="*/ 912 h 1605"/>
                  <a:gd name="T56" fmla="*/ 313 w 1358"/>
                  <a:gd name="T57" fmla="*/ 700 h 1605"/>
                  <a:gd name="T58" fmla="*/ 323 w 1358"/>
                  <a:gd name="T59" fmla="*/ 690 h 1605"/>
                  <a:gd name="T60" fmla="*/ 563 w 1358"/>
                  <a:gd name="T61" fmla="*/ 690 h 1605"/>
                  <a:gd name="T62" fmla="*/ 563 w 1358"/>
                  <a:gd name="T63" fmla="*/ 450 h 1605"/>
                  <a:gd name="T64" fmla="*/ 573 w 1358"/>
                  <a:gd name="T65" fmla="*/ 440 h 1605"/>
                  <a:gd name="T66" fmla="*/ 785 w 1358"/>
                  <a:gd name="T67" fmla="*/ 440 h 1605"/>
                  <a:gd name="T68" fmla="*/ 795 w 1358"/>
                  <a:gd name="T69" fmla="*/ 450 h 1605"/>
                  <a:gd name="T70" fmla="*/ 795 w 1358"/>
                  <a:gd name="T71" fmla="*/ 690 h 1605"/>
                  <a:gd name="T72" fmla="*/ 1035 w 1358"/>
                  <a:gd name="T73" fmla="*/ 690 h 1605"/>
                  <a:gd name="T74" fmla="*/ 1045 w 1358"/>
                  <a:gd name="T75" fmla="*/ 700 h 1605"/>
                  <a:gd name="T76" fmla="*/ 1045 w 1358"/>
                  <a:gd name="T77" fmla="*/ 912 h 1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58" h="1605">
                    <a:moveTo>
                      <a:pt x="1154" y="138"/>
                    </a:moveTo>
                    <a:cubicBezTo>
                      <a:pt x="1136" y="107"/>
                      <a:pt x="1125" y="78"/>
                      <a:pt x="1118" y="53"/>
                    </a:cubicBezTo>
                    <a:cubicBezTo>
                      <a:pt x="1118" y="50"/>
                      <a:pt x="1115" y="47"/>
                      <a:pt x="1111" y="46"/>
                    </a:cubicBezTo>
                    <a:cubicBezTo>
                      <a:pt x="923" y="1"/>
                      <a:pt x="682" y="0"/>
                      <a:pt x="679" y="0"/>
                    </a:cubicBezTo>
                    <a:cubicBezTo>
                      <a:pt x="676" y="0"/>
                      <a:pt x="435" y="1"/>
                      <a:pt x="247" y="46"/>
                    </a:cubicBezTo>
                    <a:cubicBezTo>
                      <a:pt x="243" y="47"/>
                      <a:pt x="240" y="50"/>
                      <a:pt x="240" y="53"/>
                    </a:cubicBezTo>
                    <a:cubicBezTo>
                      <a:pt x="233" y="78"/>
                      <a:pt x="222" y="107"/>
                      <a:pt x="204" y="138"/>
                    </a:cubicBezTo>
                    <a:cubicBezTo>
                      <a:pt x="173" y="191"/>
                      <a:pt x="114" y="252"/>
                      <a:pt x="8" y="274"/>
                    </a:cubicBezTo>
                    <a:cubicBezTo>
                      <a:pt x="3" y="275"/>
                      <a:pt x="0" y="280"/>
                      <a:pt x="0" y="285"/>
                    </a:cubicBezTo>
                    <a:cubicBezTo>
                      <a:pt x="5" y="386"/>
                      <a:pt x="23" y="592"/>
                      <a:pt x="86" y="813"/>
                    </a:cubicBezTo>
                    <a:cubicBezTo>
                      <a:pt x="138" y="995"/>
                      <a:pt x="209" y="1151"/>
                      <a:pt x="298" y="1279"/>
                    </a:cubicBezTo>
                    <a:cubicBezTo>
                      <a:pt x="400" y="1426"/>
                      <a:pt x="527" y="1535"/>
                      <a:pt x="675" y="1604"/>
                    </a:cubicBezTo>
                    <a:cubicBezTo>
                      <a:pt x="677" y="1605"/>
                      <a:pt x="681" y="1605"/>
                      <a:pt x="683" y="1604"/>
                    </a:cubicBezTo>
                    <a:cubicBezTo>
                      <a:pt x="831" y="1535"/>
                      <a:pt x="958" y="1426"/>
                      <a:pt x="1060" y="1279"/>
                    </a:cubicBezTo>
                    <a:cubicBezTo>
                      <a:pt x="1149" y="1151"/>
                      <a:pt x="1220" y="995"/>
                      <a:pt x="1272" y="813"/>
                    </a:cubicBezTo>
                    <a:cubicBezTo>
                      <a:pt x="1335" y="592"/>
                      <a:pt x="1353" y="386"/>
                      <a:pt x="1358" y="285"/>
                    </a:cubicBezTo>
                    <a:cubicBezTo>
                      <a:pt x="1358" y="280"/>
                      <a:pt x="1355" y="275"/>
                      <a:pt x="1350" y="274"/>
                    </a:cubicBezTo>
                    <a:cubicBezTo>
                      <a:pt x="1244" y="252"/>
                      <a:pt x="1185" y="191"/>
                      <a:pt x="1154" y="138"/>
                    </a:cubicBezTo>
                    <a:close/>
                    <a:moveTo>
                      <a:pt x="1045" y="912"/>
                    </a:moveTo>
                    <a:cubicBezTo>
                      <a:pt x="1045" y="918"/>
                      <a:pt x="1041" y="922"/>
                      <a:pt x="1035" y="922"/>
                    </a:cubicBezTo>
                    <a:cubicBezTo>
                      <a:pt x="795" y="922"/>
                      <a:pt x="795" y="922"/>
                      <a:pt x="795" y="922"/>
                    </a:cubicBezTo>
                    <a:cubicBezTo>
                      <a:pt x="795" y="1162"/>
                      <a:pt x="795" y="1162"/>
                      <a:pt x="795" y="1162"/>
                    </a:cubicBezTo>
                    <a:cubicBezTo>
                      <a:pt x="795" y="1168"/>
                      <a:pt x="791" y="1172"/>
                      <a:pt x="785" y="1172"/>
                    </a:cubicBezTo>
                    <a:cubicBezTo>
                      <a:pt x="573" y="1172"/>
                      <a:pt x="573" y="1172"/>
                      <a:pt x="573" y="1172"/>
                    </a:cubicBezTo>
                    <a:cubicBezTo>
                      <a:pt x="567" y="1172"/>
                      <a:pt x="563" y="1168"/>
                      <a:pt x="563" y="1162"/>
                    </a:cubicBezTo>
                    <a:cubicBezTo>
                      <a:pt x="563" y="922"/>
                      <a:pt x="563" y="922"/>
                      <a:pt x="563" y="922"/>
                    </a:cubicBezTo>
                    <a:cubicBezTo>
                      <a:pt x="323" y="922"/>
                      <a:pt x="323" y="922"/>
                      <a:pt x="323" y="922"/>
                    </a:cubicBezTo>
                    <a:cubicBezTo>
                      <a:pt x="317" y="922"/>
                      <a:pt x="313" y="918"/>
                      <a:pt x="313" y="912"/>
                    </a:cubicBezTo>
                    <a:cubicBezTo>
                      <a:pt x="313" y="700"/>
                      <a:pt x="313" y="700"/>
                      <a:pt x="313" y="700"/>
                    </a:cubicBezTo>
                    <a:cubicBezTo>
                      <a:pt x="313" y="694"/>
                      <a:pt x="317" y="690"/>
                      <a:pt x="323" y="690"/>
                    </a:cubicBezTo>
                    <a:cubicBezTo>
                      <a:pt x="563" y="690"/>
                      <a:pt x="563" y="690"/>
                      <a:pt x="563" y="690"/>
                    </a:cubicBezTo>
                    <a:cubicBezTo>
                      <a:pt x="563" y="450"/>
                      <a:pt x="563" y="450"/>
                      <a:pt x="563" y="450"/>
                    </a:cubicBezTo>
                    <a:cubicBezTo>
                      <a:pt x="563" y="444"/>
                      <a:pt x="567" y="440"/>
                      <a:pt x="573" y="440"/>
                    </a:cubicBezTo>
                    <a:cubicBezTo>
                      <a:pt x="785" y="440"/>
                      <a:pt x="785" y="440"/>
                      <a:pt x="785" y="440"/>
                    </a:cubicBezTo>
                    <a:cubicBezTo>
                      <a:pt x="791" y="440"/>
                      <a:pt x="795" y="444"/>
                      <a:pt x="795" y="450"/>
                    </a:cubicBezTo>
                    <a:cubicBezTo>
                      <a:pt x="795" y="690"/>
                      <a:pt x="795" y="690"/>
                      <a:pt x="795" y="690"/>
                    </a:cubicBezTo>
                    <a:cubicBezTo>
                      <a:pt x="1035" y="690"/>
                      <a:pt x="1035" y="690"/>
                      <a:pt x="1035" y="690"/>
                    </a:cubicBezTo>
                    <a:cubicBezTo>
                      <a:pt x="1041" y="690"/>
                      <a:pt x="1045" y="694"/>
                      <a:pt x="1045" y="700"/>
                    </a:cubicBezTo>
                    <a:lnTo>
                      <a:pt x="1045" y="91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22">
                <a:extLst>
                  <a:ext uri="{FF2B5EF4-FFF2-40B4-BE49-F238E27FC236}">
                    <a16:creationId xmlns:a16="http://schemas.microsoft.com/office/drawing/2014/main" id="{77321F5E-FD5A-66A1-0B65-D8B9357BBF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67350" y="2151063"/>
                <a:ext cx="1101725" cy="1276350"/>
              </a:xfrm>
              <a:custGeom>
                <a:avLst/>
                <a:gdLst>
                  <a:gd name="T0" fmla="*/ 1539 w 1540"/>
                  <a:gd name="T1" fmla="*/ 304 h 1788"/>
                  <a:gd name="T2" fmla="*/ 1517 w 1540"/>
                  <a:gd name="T3" fmla="*/ 282 h 1788"/>
                  <a:gd name="T4" fmla="*/ 1288 w 1540"/>
                  <a:gd name="T5" fmla="*/ 82 h 1788"/>
                  <a:gd name="T6" fmla="*/ 1272 w 1540"/>
                  <a:gd name="T7" fmla="*/ 62 h 1788"/>
                  <a:gd name="T8" fmla="*/ 770 w 1540"/>
                  <a:gd name="T9" fmla="*/ 0 h 1788"/>
                  <a:gd name="T10" fmla="*/ 268 w 1540"/>
                  <a:gd name="T11" fmla="*/ 62 h 1788"/>
                  <a:gd name="T12" fmla="*/ 252 w 1540"/>
                  <a:gd name="T13" fmla="*/ 82 h 1788"/>
                  <a:gd name="T14" fmla="*/ 23 w 1540"/>
                  <a:gd name="T15" fmla="*/ 282 h 1788"/>
                  <a:gd name="T16" fmla="*/ 1 w 1540"/>
                  <a:gd name="T17" fmla="*/ 304 h 1788"/>
                  <a:gd name="T18" fmla="*/ 91 w 1540"/>
                  <a:gd name="T19" fmla="*/ 922 h 1788"/>
                  <a:gd name="T20" fmla="*/ 316 w 1540"/>
                  <a:gd name="T21" fmla="*/ 1416 h 1788"/>
                  <a:gd name="T22" fmla="*/ 761 w 1540"/>
                  <a:gd name="T23" fmla="*/ 1786 h 1788"/>
                  <a:gd name="T24" fmla="*/ 770 w 1540"/>
                  <a:gd name="T25" fmla="*/ 1788 h 1788"/>
                  <a:gd name="T26" fmla="*/ 779 w 1540"/>
                  <a:gd name="T27" fmla="*/ 1786 h 1788"/>
                  <a:gd name="T28" fmla="*/ 1224 w 1540"/>
                  <a:gd name="T29" fmla="*/ 1416 h 1788"/>
                  <a:gd name="T30" fmla="*/ 1449 w 1540"/>
                  <a:gd name="T31" fmla="*/ 922 h 1788"/>
                  <a:gd name="T32" fmla="*/ 1539 w 1540"/>
                  <a:gd name="T33" fmla="*/ 304 h 1788"/>
                  <a:gd name="T34" fmla="*/ 1406 w 1540"/>
                  <a:gd name="T35" fmla="*/ 911 h 1788"/>
                  <a:gd name="T36" fmla="*/ 770 w 1540"/>
                  <a:gd name="T37" fmla="*/ 1742 h 1788"/>
                  <a:gd name="T38" fmla="*/ 134 w 1540"/>
                  <a:gd name="T39" fmla="*/ 911 h 1788"/>
                  <a:gd name="T40" fmla="*/ 46 w 1540"/>
                  <a:gd name="T41" fmla="*/ 325 h 1788"/>
                  <a:gd name="T42" fmla="*/ 258 w 1540"/>
                  <a:gd name="T43" fmla="*/ 203 h 1788"/>
                  <a:gd name="T44" fmla="*/ 294 w 1540"/>
                  <a:gd name="T45" fmla="*/ 100 h 1788"/>
                  <a:gd name="T46" fmla="*/ 770 w 1540"/>
                  <a:gd name="T47" fmla="*/ 44 h 1788"/>
                  <a:gd name="T48" fmla="*/ 770 w 1540"/>
                  <a:gd name="T49" fmla="*/ 44 h 1788"/>
                  <a:gd name="T50" fmla="*/ 1246 w 1540"/>
                  <a:gd name="T51" fmla="*/ 100 h 1788"/>
                  <a:gd name="T52" fmla="*/ 1282 w 1540"/>
                  <a:gd name="T53" fmla="*/ 203 h 1788"/>
                  <a:gd name="T54" fmla="*/ 1494 w 1540"/>
                  <a:gd name="T55" fmla="*/ 325 h 1788"/>
                  <a:gd name="T56" fmla="*/ 1406 w 1540"/>
                  <a:gd name="T57" fmla="*/ 911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40" h="1788">
                    <a:moveTo>
                      <a:pt x="1539" y="304"/>
                    </a:moveTo>
                    <a:cubicBezTo>
                      <a:pt x="1539" y="292"/>
                      <a:pt x="1529" y="283"/>
                      <a:pt x="1517" y="282"/>
                    </a:cubicBezTo>
                    <a:cubicBezTo>
                      <a:pt x="1301" y="278"/>
                      <a:pt x="1288" y="90"/>
                      <a:pt x="1288" y="82"/>
                    </a:cubicBezTo>
                    <a:cubicBezTo>
                      <a:pt x="1288" y="73"/>
                      <a:pt x="1281" y="65"/>
                      <a:pt x="1272" y="62"/>
                    </a:cubicBezTo>
                    <a:cubicBezTo>
                      <a:pt x="1066" y="0"/>
                      <a:pt x="782" y="0"/>
                      <a:pt x="770" y="0"/>
                    </a:cubicBezTo>
                    <a:cubicBezTo>
                      <a:pt x="758" y="0"/>
                      <a:pt x="474" y="0"/>
                      <a:pt x="268" y="62"/>
                    </a:cubicBezTo>
                    <a:cubicBezTo>
                      <a:pt x="259" y="65"/>
                      <a:pt x="253" y="73"/>
                      <a:pt x="252" y="82"/>
                    </a:cubicBezTo>
                    <a:cubicBezTo>
                      <a:pt x="252" y="90"/>
                      <a:pt x="239" y="278"/>
                      <a:pt x="23" y="282"/>
                    </a:cubicBezTo>
                    <a:cubicBezTo>
                      <a:pt x="11" y="283"/>
                      <a:pt x="1" y="292"/>
                      <a:pt x="1" y="304"/>
                    </a:cubicBezTo>
                    <a:cubicBezTo>
                      <a:pt x="1" y="307"/>
                      <a:pt x="0" y="597"/>
                      <a:pt x="91" y="922"/>
                    </a:cubicBezTo>
                    <a:cubicBezTo>
                      <a:pt x="146" y="1114"/>
                      <a:pt x="221" y="1280"/>
                      <a:pt x="316" y="1416"/>
                    </a:cubicBezTo>
                    <a:cubicBezTo>
                      <a:pt x="435" y="1588"/>
                      <a:pt x="585" y="1712"/>
                      <a:pt x="761" y="1786"/>
                    </a:cubicBezTo>
                    <a:cubicBezTo>
                      <a:pt x="764" y="1787"/>
                      <a:pt x="767" y="1788"/>
                      <a:pt x="770" y="1788"/>
                    </a:cubicBezTo>
                    <a:cubicBezTo>
                      <a:pt x="773" y="1788"/>
                      <a:pt x="776" y="1787"/>
                      <a:pt x="779" y="1786"/>
                    </a:cubicBezTo>
                    <a:cubicBezTo>
                      <a:pt x="955" y="1712"/>
                      <a:pt x="1105" y="1588"/>
                      <a:pt x="1224" y="1416"/>
                    </a:cubicBezTo>
                    <a:cubicBezTo>
                      <a:pt x="1319" y="1280"/>
                      <a:pt x="1394" y="1114"/>
                      <a:pt x="1449" y="922"/>
                    </a:cubicBezTo>
                    <a:cubicBezTo>
                      <a:pt x="1540" y="597"/>
                      <a:pt x="1539" y="307"/>
                      <a:pt x="1539" y="304"/>
                    </a:cubicBezTo>
                    <a:close/>
                    <a:moveTo>
                      <a:pt x="1406" y="911"/>
                    </a:moveTo>
                    <a:cubicBezTo>
                      <a:pt x="1324" y="1201"/>
                      <a:pt x="1147" y="1579"/>
                      <a:pt x="770" y="1742"/>
                    </a:cubicBezTo>
                    <a:cubicBezTo>
                      <a:pt x="393" y="1579"/>
                      <a:pt x="216" y="1201"/>
                      <a:pt x="134" y="911"/>
                    </a:cubicBezTo>
                    <a:cubicBezTo>
                      <a:pt x="58" y="642"/>
                      <a:pt x="47" y="397"/>
                      <a:pt x="46" y="325"/>
                    </a:cubicBezTo>
                    <a:cubicBezTo>
                      <a:pt x="165" y="316"/>
                      <a:pt x="227" y="255"/>
                      <a:pt x="258" y="203"/>
                    </a:cubicBezTo>
                    <a:cubicBezTo>
                      <a:pt x="282" y="162"/>
                      <a:pt x="291" y="122"/>
                      <a:pt x="294" y="100"/>
                    </a:cubicBezTo>
                    <a:cubicBezTo>
                      <a:pt x="492" y="45"/>
                      <a:pt x="765" y="44"/>
                      <a:pt x="770" y="44"/>
                    </a:cubicBezTo>
                    <a:cubicBezTo>
                      <a:pt x="770" y="44"/>
                      <a:pt x="770" y="44"/>
                      <a:pt x="770" y="44"/>
                    </a:cubicBezTo>
                    <a:cubicBezTo>
                      <a:pt x="775" y="44"/>
                      <a:pt x="1048" y="45"/>
                      <a:pt x="1246" y="100"/>
                    </a:cubicBezTo>
                    <a:cubicBezTo>
                      <a:pt x="1249" y="122"/>
                      <a:pt x="1258" y="162"/>
                      <a:pt x="1282" y="203"/>
                    </a:cubicBezTo>
                    <a:cubicBezTo>
                      <a:pt x="1313" y="255"/>
                      <a:pt x="1375" y="316"/>
                      <a:pt x="1494" y="325"/>
                    </a:cubicBezTo>
                    <a:cubicBezTo>
                      <a:pt x="1493" y="397"/>
                      <a:pt x="1482" y="642"/>
                      <a:pt x="1406" y="9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29" name="Group 328">
            <a:extLst>
              <a:ext uri="{FF2B5EF4-FFF2-40B4-BE49-F238E27FC236}">
                <a16:creationId xmlns:a16="http://schemas.microsoft.com/office/drawing/2014/main" id="{9A275E61-9C79-2ACC-3F96-314E916B8FB4}"/>
              </a:ext>
            </a:extLst>
          </p:cNvPr>
          <p:cNvGrpSpPr/>
          <p:nvPr/>
        </p:nvGrpSpPr>
        <p:grpSpPr>
          <a:xfrm>
            <a:off x="7981044" y="2618251"/>
            <a:ext cx="3467766" cy="150812"/>
            <a:chOff x="7981044" y="2618251"/>
            <a:chExt cx="3467766" cy="150812"/>
          </a:xfrm>
        </p:grpSpPr>
        <p:sp>
          <p:nvSpPr>
            <p:cNvPr id="328" name="Rectangle: Rounded Corners 238">
              <a:extLst>
                <a:ext uri="{FF2B5EF4-FFF2-40B4-BE49-F238E27FC236}">
                  <a16:creationId xmlns:a16="http://schemas.microsoft.com/office/drawing/2014/main" id="{D2B2E1DE-5C32-3D1B-4306-9DB5F181E26E}"/>
                </a:ext>
              </a:extLst>
            </p:cNvPr>
            <p:cNvSpPr>
              <a:spLocks/>
            </p:cNvSpPr>
            <p:nvPr/>
          </p:nvSpPr>
          <p:spPr>
            <a:xfrm>
              <a:off x="7981044" y="2618251"/>
              <a:ext cx="3467766" cy="150812"/>
            </a:xfrm>
            <a:prstGeom prst="roundRect">
              <a:avLst>
                <a:gd name="adj" fmla="val 107615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chemeClr val="tx2"/>
                </a:solidFill>
              </a:endParaRPr>
            </a:p>
          </p:txBody>
        </p:sp>
        <p:sp>
          <p:nvSpPr>
            <p:cNvPr id="190" name="Rectangle: Rounded Corners 238">
              <a:extLst>
                <a:ext uri="{FF2B5EF4-FFF2-40B4-BE49-F238E27FC236}">
                  <a16:creationId xmlns:a16="http://schemas.microsoft.com/office/drawing/2014/main" id="{C310926D-D925-B02A-513A-E60A1E4744FA}"/>
                </a:ext>
              </a:extLst>
            </p:cNvPr>
            <p:cNvSpPr>
              <a:spLocks/>
            </p:cNvSpPr>
            <p:nvPr/>
          </p:nvSpPr>
          <p:spPr>
            <a:xfrm>
              <a:off x="8048372" y="2618251"/>
              <a:ext cx="3355320" cy="150812"/>
            </a:xfrm>
            <a:prstGeom prst="roundRect">
              <a:avLst>
                <a:gd name="adj" fmla="val 107615"/>
              </a:avLst>
            </a:prstGeom>
            <a:solidFill>
              <a:srgbClr val="F0F0F0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>
                  <a:solidFill>
                    <a:schemeClr val="tx2"/>
                  </a:solidFill>
                </a:rPr>
                <a:t>KPIs do </a:t>
              </a:r>
              <a:r>
                <a:rPr lang="en-US" sz="900" err="1">
                  <a:solidFill>
                    <a:schemeClr val="tx2"/>
                  </a:solidFill>
                </a:rPr>
                <a:t>filtro</a:t>
              </a:r>
              <a:endParaRPr lang="en-US" sz="900">
                <a:solidFill>
                  <a:schemeClr val="tx2"/>
                </a:solidFill>
              </a:endParaRPr>
            </a:p>
          </p:txBody>
        </p:sp>
      </p:grpSp>
      <p:sp>
        <p:nvSpPr>
          <p:cNvPr id="334" name="TextBox 333">
            <a:extLst>
              <a:ext uri="{FF2B5EF4-FFF2-40B4-BE49-F238E27FC236}">
                <a16:creationId xmlns:a16="http://schemas.microsoft.com/office/drawing/2014/main" id="{2B6158D4-FBED-28BF-1A28-5A1F485D0E43}"/>
              </a:ext>
            </a:extLst>
          </p:cNvPr>
          <p:cNvSpPr txBox="1">
            <a:spLocks/>
          </p:cNvSpPr>
          <p:nvPr/>
        </p:nvSpPr>
        <p:spPr>
          <a:xfrm>
            <a:off x="8772575" y="5685396"/>
            <a:ext cx="461989" cy="8909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SKU/Canal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B0F57733-4221-91D5-3256-3411565AE42E}"/>
              </a:ext>
            </a:extLst>
          </p:cNvPr>
          <p:cNvSpPr txBox="1">
            <a:spLocks/>
          </p:cNvSpPr>
          <p:nvPr/>
        </p:nvSpPr>
        <p:spPr>
          <a:xfrm>
            <a:off x="9602984" y="5685396"/>
            <a:ext cx="461989" cy="8909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SKU/CD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F645ED57-8E69-78EF-3F84-06D66B709CFF}"/>
              </a:ext>
            </a:extLst>
          </p:cNvPr>
          <p:cNvSpPr txBox="1">
            <a:spLocks/>
          </p:cNvSpPr>
          <p:nvPr/>
        </p:nvSpPr>
        <p:spPr>
          <a:xfrm>
            <a:off x="10433404" y="5685396"/>
            <a:ext cx="461989" cy="8909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SKU/Loja</a:t>
            </a:r>
          </a:p>
        </p:txBody>
      </p:sp>
      <p:grpSp>
        <p:nvGrpSpPr>
          <p:cNvPr id="337" name="bcgIcons_Smart Phone 2 ">
            <a:extLst>
              <a:ext uri="{FF2B5EF4-FFF2-40B4-BE49-F238E27FC236}">
                <a16:creationId xmlns:a16="http://schemas.microsoft.com/office/drawing/2014/main" id="{3522B83D-85D5-CFAE-E1A1-EFAA4DEEF2A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67879" y="5667217"/>
            <a:ext cx="125334" cy="125450"/>
            <a:chOff x="1682" y="0"/>
            <a:chExt cx="4316" cy="4320"/>
          </a:xfrm>
        </p:grpSpPr>
        <p:sp>
          <p:nvSpPr>
            <p:cNvPr id="338" name="AutoShape 24">
              <a:extLst>
                <a:ext uri="{FF2B5EF4-FFF2-40B4-BE49-F238E27FC236}">
                  <a16:creationId xmlns:a16="http://schemas.microsoft.com/office/drawing/2014/main" id="{0597FDFF-4970-16FD-8254-0797D26A690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26">
              <a:extLst>
                <a:ext uri="{FF2B5EF4-FFF2-40B4-BE49-F238E27FC236}">
                  <a16:creationId xmlns:a16="http://schemas.microsoft.com/office/drawing/2014/main" id="{10E43215-EEC3-D4CC-4FFF-D5F1D5779D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3" y="726"/>
              <a:ext cx="1510" cy="2865"/>
            </a:xfrm>
            <a:custGeom>
              <a:avLst/>
              <a:gdLst>
                <a:gd name="T0" fmla="*/ 784 w 806"/>
                <a:gd name="T1" fmla="*/ 0 h 1528"/>
                <a:gd name="T2" fmla="*/ 22 w 806"/>
                <a:gd name="T3" fmla="*/ 0 h 1528"/>
                <a:gd name="T4" fmla="*/ 0 w 806"/>
                <a:gd name="T5" fmla="*/ 22 h 1528"/>
                <a:gd name="T6" fmla="*/ 0 w 806"/>
                <a:gd name="T7" fmla="*/ 1252 h 1528"/>
                <a:gd name="T8" fmla="*/ 0 w 806"/>
                <a:gd name="T9" fmla="*/ 1296 h 1528"/>
                <a:gd name="T10" fmla="*/ 0 w 806"/>
                <a:gd name="T11" fmla="*/ 1506 h 1528"/>
                <a:gd name="T12" fmla="*/ 22 w 806"/>
                <a:gd name="T13" fmla="*/ 1528 h 1528"/>
                <a:gd name="T14" fmla="*/ 784 w 806"/>
                <a:gd name="T15" fmla="*/ 1528 h 1528"/>
                <a:gd name="T16" fmla="*/ 806 w 806"/>
                <a:gd name="T17" fmla="*/ 1506 h 1528"/>
                <a:gd name="T18" fmla="*/ 806 w 806"/>
                <a:gd name="T19" fmla="*/ 1296 h 1528"/>
                <a:gd name="T20" fmla="*/ 806 w 806"/>
                <a:gd name="T21" fmla="*/ 1252 h 1528"/>
                <a:gd name="T22" fmla="*/ 806 w 806"/>
                <a:gd name="T23" fmla="*/ 22 h 1528"/>
                <a:gd name="T24" fmla="*/ 784 w 806"/>
                <a:gd name="T25" fmla="*/ 0 h 1528"/>
                <a:gd name="T26" fmla="*/ 762 w 806"/>
                <a:gd name="T27" fmla="*/ 1484 h 1528"/>
                <a:gd name="T28" fmla="*/ 44 w 806"/>
                <a:gd name="T29" fmla="*/ 1484 h 1528"/>
                <a:gd name="T30" fmla="*/ 44 w 806"/>
                <a:gd name="T31" fmla="*/ 1296 h 1528"/>
                <a:gd name="T32" fmla="*/ 762 w 806"/>
                <a:gd name="T33" fmla="*/ 1296 h 1528"/>
                <a:gd name="T34" fmla="*/ 762 w 806"/>
                <a:gd name="T35" fmla="*/ 1484 h 1528"/>
                <a:gd name="T36" fmla="*/ 44 w 806"/>
                <a:gd name="T37" fmla="*/ 1252 h 1528"/>
                <a:gd name="T38" fmla="*/ 44 w 806"/>
                <a:gd name="T39" fmla="*/ 44 h 1528"/>
                <a:gd name="T40" fmla="*/ 762 w 806"/>
                <a:gd name="T41" fmla="*/ 44 h 1528"/>
                <a:gd name="T42" fmla="*/ 762 w 806"/>
                <a:gd name="T43" fmla="*/ 1252 h 1528"/>
                <a:gd name="T44" fmla="*/ 44 w 806"/>
                <a:gd name="T45" fmla="*/ 1252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6" h="1528">
                  <a:moveTo>
                    <a:pt x="784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52"/>
                    <a:pt x="0" y="1252"/>
                    <a:pt x="0" y="1252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506"/>
                    <a:pt x="0" y="1506"/>
                    <a:pt x="0" y="1506"/>
                  </a:cubicBezTo>
                  <a:cubicBezTo>
                    <a:pt x="0" y="1518"/>
                    <a:pt x="10" y="1528"/>
                    <a:pt x="22" y="1528"/>
                  </a:cubicBezTo>
                  <a:cubicBezTo>
                    <a:pt x="784" y="1528"/>
                    <a:pt x="784" y="1528"/>
                    <a:pt x="784" y="1528"/>
                  </a:cubicBezTo>
                  <a:cubicBezTo>
                    <a:pt x="796" y="1528"/>
                    <a:pt x="806" y="1518"/>
                    <a:pt x="806" y="1506"/>
                  </a:cubicBezTo>
                  <a:cubicBezTo>
                    <a:pt x="806" y="1296"/>
                    <a:pt x="806" y="1296"/>
                    <a:pt x="806" y="1296"/>
                  </a:cubicBezTo>
                  <a:cubicBezTo>
                    <a:pt x="806" y="1252"/>
                    <a:pt x="806" y="1252"/>
                    <a:pt x="806" y="1252"/>
                  </a:cubicBezTo>
                  <a:cubicBezTo>
                    <a:pt x="806" y="22"/>
                    <a:pt x="806" y="22"/>
                    <a:pt x="806" y="22"/>
                  </a:cubicBezTo>
                  <a:cubicBezTo>
                    <a:pt x="806" y="10"/>
                    <a:pt x="796" y="0"/>
                    <a:pt x="784" y="0"/>
                  </a:cubicBezTo>
                  <a:close/>
                  <a:moveTo>
                    <a:pt x="762" y="1484"/>
                  </a:moveTo>
                  <a:cubicBezTo>
                    <a:pt x="44" y="1484"/>
                    <a:pt x="44" y="1484"/>
                    <a:pt x="44" y="1484"/>
                  </a:cubicBezTo>
                  <a:cubicBezTo>
                    <a:pt x="44" y="1296"/>
                    <a:pt x="44" y="1296"/>
                    <a:pt x="44" y="1296"/>
                  </a:cubicBezTo>
                  <a:cubicBezTo>
                    <a:pt x="762" y="1296"/>
                    <a:pt x="762" y="1296"/>
                    <a:pt x="762" y="1296"/>
                  </a:cubicBezTo>
                  <a:lnTo>
                    <a:pt x="762" y="1484"/>
                  </a:lnTo>
                  <a:close/>
                  <a:moveTo>
                    <a:pt x="44" y="1252"/>
                  </a:moveTo>
                  <a:cubicBezTo>
                    <a:pt x="44" y="44"/>
                    <a:pt x="44" y="44"/>
                    <a:pt x="44" y="44"/>
                  </a:cubicBezTo>
                  <a:cubicBezTo>
                    <a:pt x="762" y="44"/>
                    <a:pt x="762" y="44"/>
                    <a:pt x="762" y="44"/>
                  </a:cubicBezTo>
                  <a:cubicBezTo>
                    <a:pt x="762" y="1252"/>
                    <a:pt x="762" y="1252"/>
                    <a:pt x="762" y="1252"/>
                  </a:cubicBezTo>
                  <a:lnTo>
                    <a:pt x="44" y="12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27">
              <a:extLst>
                <a:ext uri="{FF2B5EF4-FFF2-40B4-BE49-F238E27FC236}">
                  <a16:creationId xmlns:a16="http://schemas.microsoft.com/office/drawing/2014/main" id="{AA5ED9E7-B414-3626-F221-6BBC44D05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7" y="917"/>
              <a:ext cx="1195" cy="2512"/>
            </a:xfrm>
            <a:custGeom>
              <a:avLst/>
              <a:gdLst>
                <a:gd name="T0" fmla="*/ 263 w 638"/>
                <a:gd name="T1" fmla="*/ 1282 h 1340"/>
                <a:gd name="T2" fmla="*/ 379 w 638"/>
                <a:gd name="T3" fmla="*/ 1282 h 1340"/>
                <a:gd name="T4" fmla="*/ 469 w 638"/>
                <a:gd name="T5" fmla="*/ 22 h 1340"/>
                <a:gd name="T6" fmla="*/ 195 w 638"/>
                <a:gd name="T7" fmla="*/ 0 h 1340"/>
                <a:gd name="T8" fmla="*/ 195 w 638"/>
                <a:gd name="T9" fmla="*/ 44 h 1340"/>
                <a:gd name="T10" fmla="*/ 469 w 638"/>
                <a:gd name="T11" fmla="*/ 22 h 1340"/>
                <a:gd name="T12" fmla="*/ 638 w 638"/>
                <a:gd name="T13" fmla="*/ 1092 h 1340"/>
                <a:gd name="T14" fmla="*/ 10 w 638"/>
                <a:gd name="T15" fmla="*/ 1102 h 1340"/>
                <a:gd name="T16" fmla="*/ 0 w 638"/>
                <a:gd name="T17" fmla="*/ 115 h 1340"/>
                <a:gd name="T18" fmla="*/ 628 w 638"/>
                <a:gd name="T19" fmla="*/ 105 h 1340"/>
                <a:gd name="T20" fmla="*/ 346 w 638"/>
                <a:gd name="T21" fmla="*/ 302 h 1340"/>
                <a:gd name="T22" fmla="*/ 373 w 638"/>
                <a:gd name="T23" fmla="*/ 302 h 1340"/>
                <a:gd name="T24" fmla="*/ 346 w 638"/>
                <a:gd name="T25" fmla="*/ 302 h 1340"/>
                <a:gd name="T26" fmla="*/ 308 w 638"/>
                <a:gd name="T27" fmla="*/ 287 h 1340"/>
                <a:gd name="T28" fmla="*/ 308 w 638"/>
                <a:gd name="T29" fmla="*/ 260 h 1340"/>
                <a:gd name="T30" fmla="*/ 247 w 638"/>
                <a:gd name="T31" fmla="*/ 319 h 1340"/>
                <a:gd name="T32" fmla="*/ 274 w 638"/>
                <a:gd name="T33" fmla="*/ 319 h 1340"/>
                <a:gd name="T34" fmla="*/ 247 w 638"/>
                <a:gd name="T35" fmla="*/ 319 h 1340"/>
                <a:gd name="T36" fmla="*/ 204 w 638"/>
                <a:gd name="T37" fmla="*/ 721 h 1340"/>
                <a:gd name="T38" fmla="*/ 110 w 638"/>
                <a:gd name="T39" fmla="*/ 729 h 1340"/>
                <a:gd name="T40" fmla="*/ 117 w 638"/>
                <a:gd name="T41" fmla="*/ 1033 h 1340"/>
                <a:gd name="T42" fmla="*/ 211 w 638"/>
                <a:gd name="T43" fmla="*/ 1025 h 1340"/>
                <a:gd name="T44" fmla="*/ 120 w 638"/>
                <a:gd name="T45" fmla="*/ 472 h 1340"/>
                <a:gd name="T46" fmla="*/ 120 w 638"/>
                <a:gd name="T47" fmla="*/ 445 h 1340"/>
                <a:gd name="T48" fmla="*/ 120 w 638"/>
                <a:gd name="T49" fmla="*/ 472 h 1340"/>
                <a:gd name="T50" fmla="*/ 180 w 638"/>
                <a:gd name="T51" fmla="*/ 412 h 1340"/>
                <a:gd name="T52" fmla="*/ 153 w 638"/>
                <a:gd name="T53" fmla="*/ 412 h 1340"/>
                <a:gd name="T54" fmla="*/ 369 w 638"/>
                <a:gd name="T55" fmla="*/ 672 h 1340"/>
                <a:gd name="T56" fmla="*/ 275 w 638"/>
                <a:gd name="T57" fmla="*/ 663 h 1340"/>
                <a:gd name="T58" fmla="*/ 267 w 638"/>
                <a:gd name="T59" fmla="*/ 1023 h 1340"/>
                <a:gd name="T60" fmla="*/ 361 w 638"/>
                <a:gd name="T61" fmla="*/ 1033 h 1340"/>
                <a:gd name="T62" fmla="*/ 369 w 638"/>
                <a:gd name="T63" fmla="*/ 672 h 1340"/>
                <a:gd name="T64" fmla="*/ 518 w 638"/>
                <a:gd name="T65" fmla="*/ 610 h 1340"/>
                <a:gd name="T66" fmla="*/ 424 w 638"/>
                <a:gd name="T67" fmla="*/ 621 h 1340"/>
                <a:gd name="T68" fmla="*/ 432 w 638"/>
                <a:gd name="T69" fmla="*/ 1033 h 1340"/>
                <a:gd name="T70" fmla="*/ 526 w 638"/>
                <a:gd name="T71" fmla="*/ 1021 h 1340"/>
                <a:gd name="T72" fmla="*/ 463 w 638"/>
                <a:gd name="T73" fmla="*/ 373 h 1340"/>
                <a:gd name="T74" fmla="*/ 463 w 638"/>
                <a:gd name="T75" fmla="*/ 346 h 1340"/>
                <a:gd name="T76" fmla="*/ 463 w 638"/>
                <a:gd name="T77" fmla="*/ 373 h 1340"/>
                <a:gd name="T78" fmla="*/ 515 w 638"/>
                <a:gd name="T79" fmla="*/ 375 h 1340"/>
                <a:gd name="T80" fmla="*/ 515 w 638"/>
                <a:gd name="T81" fmla="*/ 402 h 1340"/>
                <a:gd name="T82" fmla="*/ 550 w 638"/>
                <a:gd name="T83" fmla="*/ 203 h 1340"/>
                <a:gd name="T84" fmla="*/ 493 w 638"/>
                <a:gd name="T85" fmla="*/ 203 h 1340"/>
                <a:gd name="T86" fmla="*/ 341 w 638"/>
                <a:gd name="T87" fmla="*/ 390 h 1340"/>
                <a:gd name="T88" fmla="*/ 309 w 638"/>
                <a:gd name="T89" fmla="*/ 393 h 1340"/>
                <a:gd name="T90" fmla="*/ 117 w 638"/>
                <a:gd name="T91" fmla="*/ 284 h 1340"/>
                <a:gd name="T92" fmla="*/ 117 w 638"/>
                <a:gd name="T93" fmla="*/ 342 h 1340"/>
                <a:gd name="T94" fmla="*/ 299 w 638"/>
                <a:gd name="T95" fmla="*/ 417 h 1340"/>
                <a:gd name="T96" fmla="*/ 356 w 638"/>
                <a:gd name="T97" fmla="*/ 415 h 1340"/>
                <a:gd name="T98" fmla="*/ 515 w 638"/>
                <a:gd name="T99" fmla="*/ 232 h 1340"/>
                <a:gd name="T100" fmla="*/ 550 w 638"/>
                <a:gd name="T101" fmla="*/ 203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38" h="1340">
                  <a:moveTo>
                    <a:pt x="321" y="1340"/>
                  </a:moveTo>
                  <a:cubicBezTo>
                    <a:pt x="289" y="1340"/>
                    <a:pt x="263" y="1314"/>
                    <a:pt x="263" y="1282"/>
                  </a:cubicBezTo>
                  <a:cubicBezTo>
                    <a:pt x="263" y="1250"/>
                    <a:pt x="289" y="1224"/>
                    <a:pt x="321" y="1224"/>
                  </a:cubicBezTo>
                  <a:cubicBezTo>
                    <a:pt x="353" y="1224"/>
                    <a:pt x="379" y="1250"/>
                    <a:pt x="379" y="1282"/>
                  </a:cubicBezTo>
                  <a:cubicBezTo>
                    <a:pt x="379" y="1314"/>
                    <a:pt x="353" y="1340"/>
                    <a:pt x="321" y="1340"/>
                  </a:cubicBezTo>
                  <a:close/>
                  <a:moveTo>
                    <a:pt x="469" y="22"/>
                  </a:moveTo>
                  <a:cubicBezTo>
                    <a:pt x="469" y="10"/>
                    <a:pt x="459" y="0"/>
                    <a:pt x="447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83" y="0"/>
                    <a:pt x="173" y="10"/>
                    <a:pt x="173" y="22"/>
                  </a:cubicBezTo>
                  <a:cubicBezTo>
                    <a:pt x="173" y="34"/>
                    <a:pt x="183" y="44"/>
                    <a:pt x="195" y="44"/>
                  </a:cubicBezTo>
                  <a:cubicBezTo>
                    <a:pt x="447" y="44"/>
                    <a:pt x="447" y="44"/>
                    <a:pt x="447" y="44"/>
                  </a:cubicBezTo>
                  <a:cubicBezTo>
                    <a:pt x="459" y="44"/>
                    <a:pt x="469" y="34"/>
                    <a:pt x="469" y="22"/>
                  </a:cubicBezTo>
                  <a:close/>
                  <a:moveTo>
                    <a:pt x="638" y="115"/>
                  </a:moveTo>
                  <a:cubicBezTo>
                    <a:pt x="638" y="1092"/>
                    <a:pt x="638" y="1092"/>
                    <a:pt x="638" y="1092"/>
                  </a:cubicBezTo>
                  <a:cubicBezTo>
                    <a:pt x="638" y="1098"/>
                    <a:pt x="634" y="1102"/>
                    <a:pt x="628" y="1102"/>
                  </a:cubicBezTo>
                  <a:cubicBezTo>
                    <a:pt x="10" y="1102"/>
                    <a:pt x="10" y="1102"/>
                    <a:pt x="10" y="1102"/>
                  </a:cubicBezTo>
                  <a:cubicBezTo>
                    <a:pt x="4" y="1102"/>
                    <a:pt x="0" y="1098"/>
                    <a:pt x="0" y="109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0"/>
                    <a:pt x="4" y="105"/>
                    <a:pt x="10" y="105"/>
                  </a:cubicBezTo>
                  <a:cubicBezTo>
                    <a:pt x="628" y="105"/>
                    <a:pt x="628" y="105"/>
                    <a:pt x="628" y="105"/>
                  </a:cubicBezTo>
                  <a:cubicBezTo>
                    <a:pt x="634" y="105"/>
                    <a:pt x="638" y="110"/>
                    <a:pt x="638" y="115"/>
                  </a:cubicBezTo>
                  <a:close/>
                  <a:moveTo>
                    <a:pt x="346" y="302"/>
                  </a:moveTo>
                  <a:cubicBezTo>
                    <a:pt x="346" y="309"/>
                    <a:pt x="352" y="315"/>
                    <a:pt x="360" y="315"/>
                  </a:cubicBezTo>
                  <a:cubicBezTo>
                    <a:pt x="367" y="315"/>
                    <a:pt x="373" y="309"/>
                    <a:pt x="373" y="302"/>
                  </a:cubicBezTo>
                  <a:cubicBezTo>
                    <a:pt x="373" y="294"/>
                    <a:pt x="367" y="288"/>
                    <a:pt x="360" y="288"/>
                  </a:cubicBezTo>
                  <a:cubicBezTo>
                    <a:pt x="352" y="288"/>
                    <a:pt x="346" y="294"/>
                    <a:pt x="346" y="302"/>
                  </a:cubicBezTo>
                  <a:close/>
                  <a:moveTo>
                    <a:pt x="294" y="273"/>
                  </a:moveTo>
                  <a:cubicBezTo>
                    <a:pt x="294" y="281"/>
                    <a:pt x="300" y="287"/>
                    <a:pt x="308" y="287"/>
                  </a:cubicBezTo>
                  <a:cubicBezTo>
                    <a:pt x="315" y="287"/>
                    <a:pt x="321" y="281"/>
                    <a:pt x="321" y="273"/>
                  </a:cubicBezTo>
                  <a:cubicBezTo>
                    <a:pt x="321" y="266"/>
                    <a:pt x="315" y="260"/>
                    <a:pt x="308" y="260"/>
                  </a:cubicBezTo>
                  <a:cubicBezTo>
                    <a:pt x="300" y="260"/>
                    <a:pt x="294" y="266"/>
                    <a:pt x="294" y="273"/>
                  </a:cubicBezTo>
                  <a:close/>
                  <a:moveTo>
                    <a:pt x="247" y="319"/>
                  </a:moveTo>
                  <a:cubicBezTo>
                    <a:pt x="247" y="327"/>
                    <a:pt x="253" y="333"/>
                    <a:pt x="261" y="333"/>
                  </a:cubicBezTo>
                  <a:cubicBezTo>
                    <a:pt x="268" y="333"/>
                    <a:pt x="274" y="327"/>
                    <a:pt x="274" y="319"/>
                  </a:cubicBezTo>
                  <a:cubicBezTo>
                    <a:pt x="274" y="312"/>
                    <a:pt x="268" y="306"/>
                    <a:pt x="261" y="306"/>
                  </a:cubicBezTo>
                  <a:cubicBezTo>
                    <a:pt x="253" y="306"/>
                    <a:pt x="247" y="312"/>
                    <a:pt x="247" y="319"/>
                  </a:cubicBezTo>
                  <a:close/>
                  <a:moveTo>
                    <a:pt x="211" y="729"/>
                  </a:moveTo>
                  <a:cubicBezTo>
                    <a:pt x="211" y="724"/>
                    <a:pt x="209" y="721"/>
                    <a:pt x="204" y="721"/>
                  </a:cubicBezTo>
                  <a:cubicBezTo>
                    <a:pt x="117" y="721"/>
                    <a:pt x="117" y="721"/>
                    <a:pt x="117" y="721"/>
                  </a:cubicBezTo>
                  <a:cubicBezTo>
                    <a:pt x="113" y="721"/>
                    <a:pt x="110" y="724"/>
                    <a:pt x="110" y="729"/>
                  </a:cubicBezTo>
                  <a:cubicBezTo>
                    <a:pt x="110" y="1025"/>
                    <a:pt x="110" y="1025"/>
                    <a:pt x="110" y="1025"/>
                  </a:cubicBezTo>
                  <a:cubicBezTo>
                    <a:pt x="110" y="1029"/>
                    <a:pt x="113" y="1033"/>
                    <a:pt x="117" y="1033"/>
                  </a:cubicBezTo>
                  <a:cubicBezTo>
                    <a:pt x="204" y="1033"/>
                    <a:pt x="204" y="1033"/>
                    <a:pt x="204" y="1033"/>
                  </a:cubicBezTo>
                  <a:cubicBezTo>
                    <a:pt x="209" y="1033"/>
                    <a:pt x="211" y="1029"/>
                    <a:pt x="211" y="1025"/>
                  </a:cubicBezTo>
                  <a:cubicBezTo>
                    <a:pt x="211" y="729"/>
                    <a:pt x="211" y="729"/>
                    <a:pt x="211" y="729"/>
                  </a:cubicBezTo>
                  <a:close/>
                  <a:moveTo>
                    <a:pt x="120" y="472"/>
                  </a:moveTo>
                  <a:cubicBezTo>
                    <a:pt x="128" y="472"/>
                    <a:pt x="134" y="466"/>
                    <a:pt x="134" y="459"/>
                  </a:cubicBezTo>
                  <a:cubicBezTo>
                    <a:pt x="134" y="451"/>
                    <a:pt x="128" y="445"/>
                    <a:pt x="120" y="445"/>
                  </a:cubicBezTo>
                  <a:cubicBezTo>
                    <a:pt x="113" y="445"/>
                    <a:pt x="107" y="451"/>
                    <a:pt x="107" y="459"/>
                  </a:cubicBezTo>
                  <a:cubicBezTo>
                    <a:pt x="107" y="466"/>
                    <a:pt x="113" y="472"/>
                    <a:pt x="120" y="472"/>
                  </a:cubicBezTo>
                  <a:close/>
                  <a:moveTo>
                    <a:pt x="167" y="426"/>
                  </a:moveTo>
                  <a:cubicBezTo>
                    <a:pt x="174" y="426"/>
                    <a:pt x="180" y="420"/>
                    <a:pt x="180" y="412"/>
                  </a:cubicBezTo>
                  <a:cubicBezTo>
                    <a:pt x="180" y="405"/>
                    <a:pt x="174" y="399"/>
                    <a:pt x="167" y="399"/>
                  </a:cubicBezTo>
                  <a:cubicBezTo>
                    <a:pt x="159" y="399"/>
                    <a:pt x="153" y="405"/>
                    <a:pt x="153" y="412"/>
                  </a:cubicBezTo>
                  <a:cubicBezTo>
                    <a:pt x="153" y="420"/>
                    <a:pt x="159" y="426"/>
                    <a:pt x="167" y="426"/>
                  </a:cubicBezTo>
                  <a:close/>
                  <a:moveTo>
                    <a:pt x="369" y="672"/>
                  </a:moveTo>
                  <a:cubicBezTo>
                    <a:pt x="369" y="667"/>
                    <a:pt x="365" y="663"/>
                    <a:pt x="361" y="663"/>
                  </a:cubicBezTo>
                  <a:cubicBezTo>
                    <a:pt x="275" y="663"/>
                    <a:pt x="275" y="663"/>
                    <a:pt x="275" y="663"/>
                  </a:cubicBezTo>
                  <a:cubicBezTo>
                    <a:pt x="271" y="663"/>
                    <a:pt x="267" y="667"/>
                    <a:pt x="267" y="672"/>
                  </a:cubicBezTo>
                  <a:cubicBezTo>
                    <a:pt x="267" y="1023"/>
                    <a:pt x="267" y="1023"/>
                    <a:pt x="267" y="1023"/>
                  </a:cubicBezTo>
                  <a:cubicBezTo>
                    <a:pt x="267" y="1028"/>
                    <a:pt x="271" y="1033"/>
                    <a:pt x="275" y="1033"/>
                  </a:cubicBezTo>
                  <a:cubicBezTo>
                    <a:pt x="361" y="1033"/>
                    <a:pt x="361" y="1033"/>
                    <a:pt x="361" y="1033"/>
                  </a:cubicBezTo>
                  <a:cubicBezTo>
                    <a:pt x="365" y="1033"/>
                    <a:pt x="369" y="1028"/>
                    <a:pt x="369" y="1023"/>
                  </a:cubicBezTo>
                  <a:cubicBezTo>
                    <a:pt x="369" y="672"/>
                    <a:pt x="369" y="672"/>
                    <a:pt x="369" y="672"/>
                  </a:cubicBezTo>
                  <a:close/>
                  <a:moveTo>
                    <a:pt x="526" y="621"/>
                  </a:moveTo>
                  <a:cubicBezTo>
                    <a:pt x="526" y="615"/>
                    <a:pt x="522" y="610"/>
                    <a:pt x="518" y="610"/>
                  </a:cubicBezTo>
                  <a:cubicBezTo>
                    <a:pt x="432" y="610"/>
                    <a:pt x="432" y="610"/>
                    <a:pt x="432" y="610"/>
                  </a:cubicBezTo>
                  <a:cubicBezTo>
                    <a:pt x="428" y="610"/>
                    <a:pt x="424" y="615"/>
                    <a:pt x="424" y="621"/>
                  </a:cubicBezTo>
                  <a:cubicBezTo>
                    <a:pt x="424" y="1021"/>
                    <a:pt x="424" y="1021"/>
                    <a:pt x="424" y="1021"/>
                  </a:cubicBezTo>
                  <a:cubicBezTo>
                    <a:pt x="424" y="1027"/>
                    <a:pt x="428" y="1033"/>
                    <a:pt x="432" y="1033"/>
                  </a:cubicBezTo>
                  <a:cubicBezTo>
                    <a:pt x="518" y="1033"/>
                    <a:pt x="518" y="1033"/>
                    <a:pt x="518" y="1033"/>
                  </a:cubicBezTo>
                  <a:cubicBezTo>
                    <a:pt x="522" y="1033"/>
                    <a:pt x="526" y="1027"/>
                    <a:pt x="526" y="1021"/>
                  </a:cubicBezTo>
                  <a:cubicBezTo>
                    <a:pt x="526" y="621"/>
                    <a:pt x="526" y="621"/>
                    <a:pt x="526" y="621"/>
                  </a:cubicBezTo>
                  <a:close/>
                  <a:moveTo>
                    <a:pt x="463" y="373"/>
                  </a:moveTo>
                  <a:cubicBezTo>
                    <a:pt x="471" y="373"/>
                    <a:pt x="477" y="367"/>
                    <a:pt x="477" y="360"/>
                  </a:cubicBezTo>
                  <a:cubicBezTo>
                    <a:pt x="477" y="352"/>
                    <a:pt x="471" y="346"/>
                    <a:pt x="463" y="346"/>
                  </a:cubicBezTo>
                  <a:cubicBezTo>
                    <a:pt x="456" y="346"/>
                    <a:pt x="450" y="352"/>
                    <a:pt x="450" y="360"/>
                  </a:cubicBezTo>
                  <a:cubicBezTo>
                    <a:pt x="450" y="367"/>
                    <a:pt x="456" y="373"/>
                    <a:pt x="463" y="373"/>
                  </a:cubicBezTo>
                  <a:close/>
                  <a:moveTo>
                    <a:pt x="528" y="389"/>
                  </a:moveTo>
                  <a:cubicBezTo>
                    <a:pt x="528" y="381"/>
                    <a:pt x="522" y="375"/>
                    <a:pt x="515" y="375"/>
                  </a:cubicBezTo>
                  <a:cubicBezTo>
                    <a:pt x="507" y="375"/>
                    <a:pt x="501" y="381"/>
                    <a:pt x="501" y="389"/>
                  </a:cubicBezTo>
                  <a:cubicBezTo>
                    <a:pt x="501" y="396"/>
                    <a:pt x="507" y="402"/>
                    <a:pt x="515" y="402"/>
                  </a:cubicBezTo>
                  <a:cubicBezTo>
                    <a:pt x="522" y="402"/>
                    <a:pt x="528" y="396"/>
                    <a:pt x="528" y="389"/>
                  </a:cubicBezTo>
                  <a:close/>
                  <a:moveTo>
                    <a:pt x="550" y="203"/>
                  </a:moveTo>
                  <a:cubicBezTo>
                    <a:pt x="550" y="188"/>
                    <a:pt x="538" y="174"/>
                    <a:pt x="522" y="174"/>
                  </a:cubicBezTo>
                  <a:cubicBezTo>
                    <a:pt x="506" y="174"/>
                    <a:pt x="493" y="188"/>
                    <a:pt x="493" y="203"/>
                  </a:cubicBezTo>
                  <a:cubicBezTo>
                    <a:pt x="493" y="207"/>
                    <a:pt x="494" y="211"/>
                    <a:pt x="495" y="214"/>
                  </a:cubicBezTo>
                  <a:cubicBezTo>
                    <a:pt x="341" y="390"/>
                    <a:pt x="341" y="390"/>
                    <a:pt x="341" y="390"/>
                  </a:cubicBezTo>
                  <a:cubicBezTo>
                    <a:pt x="337" y="388"/>
                    <a:pt x="332" y="386"/>
                    <a:pt x="327" y="386"/>
                  </a:cubicBezTo>
                  <a:cubicBezTo>
                    <a:pt x="320" y="386"/>
                    <a:pt x="314" y="388"/>
                    <a:pt x="309" y="393"/>
                  </a:cubicBezTo>
                  <a:cubicBezTo>
                    <a:pt x="146" y="313"/>
                    <a:pt x="146" y="313"/>
                    <a:pt x="146" y="313"/>
                  </a:cubicBezTo>
                  <a:cubicBezTo>
                    <a:pt x="145" y="297"/>
                    <a:pt x="132" y="284"/>
                    <a:pt x="117" y="284"/>
                  </a:cubicBezTo>
                  <a:cubicBezTo>
                    <a:pt x="101" y="284"/>
                    <a:pt x="88" y="297"/>
                    <a:pt x="88" y="313"/>
                  </a:cubicBezTo>
                  <a:cubicBezTo>
                    <a:pt x="88" y="329"/>
                    <a:pt x="101" y="342"/>
                    <a:pt x="117" y="342"/>
                  </a:cubicBezTo>
                  <a:cubicBezTo>
                    <a:pt x="123" y="342"/>
                    <a:pt x="129" y="340"/>
                    <a:pt x="134" y="336"/>
                  </a:cubicBezTo>
                  <a:cubicBezTo>
                    <a:pt x="201" y="369"/>
                    <a:pt x="299" y="417"/>
                    <a:pt x="299" y="417"/>
                  </a:cubicBezTo>
                  <a:cubicBezTo>
                    <a:pt x="299" y="432"/>
                    <a:pt x="312" y="444"/>
                    <a:pt x="327" y="444"/>
                  </a:cubicBezTo>
                  <a:cubicBezTo>
                    <a:pt x="343" y="444"/>
                    <a:pt x="356" y="431"/>
                    <a:pt x="356" y="415"/>
                  </a:cubicBezTo>
                  <a:cubicBezTo>
                    <a:pt x="356" y="414"/>
                    <a:pt x="356" y="413"/>
                    <a:pt x="356" y="412"/>
                  </a:cubicBezTo>
                  <a:cubicBezTo>
                    <a:pt x="416" y="344"/>
                    <a:pt x="515" y="232"/>
                    <a:pt x="515" y="232"/>
                  </a:cubicBezTo>
                  <a:cubicBezTo>
                    <a:pt x="517" y="232"/>
                    <a:pt x="520" y="232"/>
                    <a:pt x="522" y="232"/>
                  </a:cubicBezTo>
                  <a:cubicBezTo>
                    <a:pt x="538" y="232"/>
                    <a:pt x="550" y="219"/>
                    <a:pt x="550" y="20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4" name="bcgIcons_Museums ">
            <a:extLst>
              <a:ext uri="{FF2B5EF4-FFF2-40B4-BE49-F238E27FC236}">
                <a16:creationId xmlns:a16="http://schemas.microsoft.com/office/drawing/2014/main" id="{5FCE2A48-AA21-56CC-1B4D-52E51FE37455}"/>
              </a:ext>
            </a:extLst>
          </p:cNvPr>
          <p:cNvGrpSpPr>
            <a:grpSpLocks noChangeAspect="1"/>
          </p:cNvGrpSpPr>
          <p:nvPr/>
        </p:nvGrpSpPr>
        <p:grpSpPr>
          <a:xfrm>
            <a:off x="9398288" y="5667217"/>
            <a:ext cx="125329" cy="125450"/>
            <a:chOff x="5273675" y="2570163"/>
            <a:chExt cx="1644650" cy="1646237"/>
          </a:xfrm>
        </p:grpSpPr>
        <p:sp>
          <p:nvSpPr>
            <p:cNvPr id="345" name="AutoShape 34">
              <a:extLst>
                <a:ext uri="{FF2B5EF4-FFF2-40B4-BE49-F238E27FC236}">
                  <a16:creationId xmlns:a16="http://schemas.microsoft.com/office/drawing/2014/main" id="{DC965ED1-0663-FF4E-BA21-180441D392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46" name="Group 345">
              <a:extLst>
                <a:ext uri="{FF2B5EF4-FFF2-40B4-BE49-F238E27FC236}">
                  <a16:creationId xmlns:a16="http://schemas.microsoft.com/office/drawing/2014/main" id="{4FABE0C6-5257-57F2-CAC4-A87858FFA51A}"/>
                </a:ext>
              </a:extLst>
            </p:cNvPr>
            <p:cNvGrpSpPr/>
            <p:nvPr/>
          </p:nvGrpSpPr>
          <p:grpSpPr>
            <a:xfrm>
              <a:off x="5481638" y="2845336"/>
              <a:ext cx="1230313" cy="1096427"/>
              <a:chOff x="5481638" y="2845336"/>
              <a:chExt cx="1230313" cy="1096427"/>
            </a:xfrm>
          </p:grpSpPr>
          <p:sp>
            <p:nvSpPr>
              <p:cNvPr id="347" name="Freeform 21">
                <a:extLst>
                  <a:ext uri="{FF2B5EF4-FFF2-40B4-BE49-F238E27FC236}">
                    <a16:creationId xmlns:a16="http://schemas.microsoft.com/office/drawing/2014/main" id="{42568156-1894-FC67-33F5-1DEA6FFB8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1649" y="3292475"/>
                <a:ext cx="1030288" cy="438150"/>
              </a:xfrm>
              <a:custGeom>
                <a:avLst/>
                <a:gdLst>
                  <a:gd name="connsiteX0" fmla="*/ 952355 w 1030288"/>
                  <a:gd name="connsiteY0" fmla="*/ 0 h 438150"/>
                  <a:gd name="connsiteX1" fmla="*/ 1013844 w 1030288"/>
                  <a:gd name="connsiteY1" fmla="*/ 0 h 438150"/>
                  <a:gd name="connsiteX2" fmla="*/ 1021708 w 1030288"/>
                  <a:gd name="connsiteY2" fmla="*/ 7875 h 438150"/>
                  <a:gd name="connsiteX3" fmla="*/ 1030288 w 1030288"/>
                  <a:gd name="connsiteY3" fmla="*/ 430275 h 438150"/>
                  <a:gd name="connsiteX4" fmla="*/ 1023138 w 1030288"/>
                  <a:gd name="connsiteY4" fmla="*/ 438150 h 438150"/>
                  <a:gd name="connsiteX5" fmla="*/ 943775 w 1030288"/>
                  <a:gd name="connsiteY5" fmla="*/ 438150 h 438150"/>
                  <a:gd name="connsiteX6" fmla="*/ 936625 w 1030288"/>
                  <a:gd name="connsiteY6" fmla="*/ 430275 h 438150"/>
                  <a:gd name="connsiteX7" fmla="*/ 945205 w 1030288"/>
                  <a:gd name="connsiteY7" fmla="*/ 7875 h 438150"/>
                  <a:gd name="connsiteX8" fmla="*/ 952355 w 1030288"/>
                  <a:gd name="connsiteY8" fmla="*/ 0 h 438150"/>
                  <a:gd name="connsiteX9" fmla="*/ 765030 w 1030288"/>
                  <a:gd name="connsiteY9" fmla="*/ 0 h 438150"/>
                  <a:gd name="connsiteX10" fmla="*/ 826519 w 1030288"/>
                  <a:gd name="connsiteY10" fmla="*/ 0 h 438150"/>
                  <a:gd name="connsiteX11" fmla="*/ 833668 w 1030288"/>
                  <a:gd name="connsiteY11" fmla="*/ 7875 h 438150"/>
                  <a:gd name="connsiteX12" fmla="*/ 842963 w 1030288"/>
                  <a:gd name="connsiteY12" fmla="*/ 430275 h 438150"/>
                  <a:gd name="connsiteX13" fmla="*/ 835098 w 1030288"/>
                  <a:gd name="connsiteY13" fmla="*/ 438150 h 438150"/>
                  <a:gd name="connsiteX14" fmla="*/ 756450 w 1030288"/>
                  <a:gd name="connsiteY14" fmla="*/ 438150 h 438150"/>
                  <a:gd name="connsiteX15" fmla="*/ 749300 w 1030288"/>
                  <a:gd name="connsiteY15" fmla="*/ 430275 h 438150"/>
                  <a:gd name="connsiteX16" fmla="*/ 757880 w 1030288"/>
                  <a:gd name="connsiteY16" fmla="*/ 7875 h 438150"/>
                  <a:gd name="connsiteX17" fmla="*/ 765030 w 1030288"/>
                  <a:gd name="connsiteY17" fmla="*/ 0 h 438150"/>
                  <a:gd name="connsiteX18" fmla="*/ 577705 w 1030288"/>
                  <a:gd name="connsiteY18" fmla="*/ 0 h 438150"/>
                  <a:gd name="connsiteX19" fmla="*/ 639194 w 1030288"/>
                  <a:gd name="connsiteY19" fmla="*/ 0 h 438150"/>
                  <a:gd name="connsiteX20" fmla="*/ 646343 w 1030288"/>
                  <a:gd name="connsiteY20" fmla="*/ 7875 h 438150"/>
                  <a:gd name="connsiteX21" fmla="*/ 655638 w 1030288"/>
                  <a:gd name="connsiteY21" fmla="*/ 430275 h 438150"/>
                  <a:gd name="connsiteX22" fmla="*/ 647773 w 1030288"/>
                  <a:gd name="connsiteY22" fmla="*/ 438150 h 438150"/>
                  <a:gd name="connsiteX23" fmla="*/ 569125 w 1030288"/>
                  <a:gd name="connsiteY23" fmla="*/ 438150 h 438150"/>
                  <a:gd name="connsiteX24" fmla="*/ 561975 w 1030288"/>
                  <a:gd name="connsiteY24" fmla="*/ 430275 h 438150"/>
                  <a:gd name="connsiteX25" fmla="*/ 570555 w 1030288"/>
                  <a:gd name="connsiteY25" fmla="*/ 7875 h 438150"/>
                  <a:gd name="connsiteX26" fmla="*/ 577705 w 1030288"/>
                  <a:gd name="connsiteY26" fmla="*/ 0 h 438150"/>
                  <a:gd name="connsiteX27" fmla="*/ 391095 w 1030288"/>
                  <a:gd name="connsiteY27" fmla="*/ 0 h 438150"/>
                  <a:gd name="connsiteX28" fmla="*/ 452584 w 1030288"/>
                  <a:gd name="connsiteY28" fmla="*/ 0 h 438150"/>
                  <a:gd name="connsiteX29" fmla="*/ 459733 w 1030288"/>
                  <a:gd name="connsiteY29" fmla="*/ 7875 h 438150"/>
                  <a:gd name="connsiteX30" fmla="*/ 468313 w 1030288"/>
                  <a:gd name="connsiteY30" fmla="*/ 430275 h 438150"/>
                  <a:gd name="connsiteX31" fmla="*/ 461163 w 1030288"/>
                  <a:gd name="connsiteY31" fmla="*/ 438150 h 438150"/>
                  <a:gd name="connsiteX32" fmla="*/ 382515 w 1030288"/>
                  <a:gd name="connsiteY32" fmla="*/ 438150 h 438150"/>
                  <a:gd name="connsiteX33" fmla="*/ 374650 w 1030288"/>
                  <a:gd name="connsiteY33" fmla="*/ 430275 h 438150"/>
                  <a:gd name="connsiteX34" fmla="*/ 383945 w 1030288"/>
                  <a:gd name="connsiteY34" fmla="*/ 7875 h 438150"/>
                  <a:gd name="connsiteX35" fmla="*/ 391095 w 1030288"/>
                  <a:gd name="connsiteY35" fmla="*/ 0 h 438150"/>
                  <a:gd name="connsiteX36" fmla="*/ 203770 w 1030288"/>
                  <a:gd name="connsiteY36" fmla="*/ 0 h 438150"/>
                  <a:gd name="connsiteX37" fmla="*/ 265259 w 1030288"/>
                  <a:gd name="connsiteY37" fmla="*/ 0 h 438150"/>
                  <a:gd name="connsiteX38" fmla="*/ 272408 w 1030288"/>
                  <a:gd name="connsiteY38" fmla="*/ 7875 h 438150"/>
                  <a:gd name="connsiteX39" fmla="*/ 280988 w 1030288"/>
                  <a:gd name="connsiteY39" fmla="*/ 430275 h 438150"/>
                  <a:gd name="connsiteX40" fmla="*/ 273838 w 1030288"/>
                  <a:gd name="connsiteY40" fmla="*/ 438150 h 438150"/>
                  <a:gd name="connsiteX41" fmla="*/ 195190 w 1030288"/>
                  <a:gd name="connsiteY41" fmla="*/ 438150 h 438150"/>
                  <a:gd name="connsiteX42" fmla="*/ 187325 w 1030288"/>
                  <a:gd name="connsiteY42" fmla="*/ 430275 h 438150"/>
                  <a:gd name="connsiteX43" fmla="*/ 196620 w 1030288"/>
                  <a:gd name="connsiteY43" fmla="*/ 7875 h 438150"/>
                  <a:gd name="connsiteX44" fmla="*/ 203770 w 1030288"/>
                  <a:gd name="connsiteY44" fmla="*/ 0 h 438150"/>
                  <a:gd name="connsiteX45" fmla="*/ 16444 w 1030288"/>
                  <a:gd name="connsiteY45" fmla="*/ 0 h 438150"/>
                  <a:gd name="connsiteX46" fmla="*/ 77933 w 1030288"/>
                  <a:gd name="connsiteY46" fmla="*/ 0 h 438150"/>
                  <a:gd name="connsiteX47" fmla="*/ 85083 w 1030288"/>
                  <a:gd name="connsiteY47" fmla="*/ 7875 h 438150"/>
                  <a:gd name="connsiteX48" fmla="*/ 93663 w 1030288"/>
                  <a:gd name="connsiteY48" fmla="*/ 430275 h 438150"/>
                  <a:gd name="connsiteX49" fmla="*/ 86513 w 1030288"/>
                  <a:gd name="connsiteY49" fmla="*/ 438150 h 438150"/>
                  <a:gd name="connsiteX50" fmla="*/ 7150 w 1030288"/>
                  <a:gd name="connsiteY50" fmla="*/ 438150 h 438150"/>
                  <a:gd name="connsiteX51" fmla="*/ 0 w 1030288"/>
                  <a:gd name="connsiteY51" fmla="*/ 430275 h 438150"/>
                  <a:gd name="connsiteX52" fmla="*/ 8580 w 1030288"/>
                  <a:gd name="connsiteY52" fmla="*/ 7875 h 438150"/>
                  <a:gd name="connsiteX53" fmla="*/ 16444 w 1030288"/>
                  <a:gd name="connsiteY53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1030288" h="438150">
                    <a:moveTo>
                      <a:pt x="952355" y="0"/>
                    </a:moveTo>
                    <a:cubicBezTo>
                      <a:pt x="952355" y="0"/>
                      <a:pt x="952355" y="0"/>
                      <a:pt x="1013844" y="0"/>
                    </a:cubicBezTo>
                    <a:cubicBezTo>
                      <a:pt x="1018134" y="0"/>
                      <a:pt x="1021708" y="3580"/>
                      <a:pt x="1021708" y="7875"/>
                    </a:cubicBezTo>
                    <a:lnTo>
                      <a:pt x="1030288" y="430275"/>
                    </a:lnTo>
                    <a:cubicBezTo>
                      <a:pt x="1030288" y="434570"/>
                      <a:pt x="1026713" y="438150"/>
                      <a:pt x="1023138" y="438150"/>
                    </a:cubicBezTo>
                    <a:cubicBezTo>
                      <a:pt x="1023138" y="438150"/>
                      <a:pt x="1023138" y="438150"/>
                      <a:pt x="943775" y="438150"/>
                    </a:cubicBezTo>
                    <a:cubicBezTo>
                      <a:pt x="939485" y="438150"/>
                      <a:pt x="936625" y="434570"/>
                      <a:pt x="936625" y="430275"/>
                    </a:cubicBezTo>
                    <a:cubicBezTo>
                      <a:pt x="936625" y="430275"/>
                      <a:pt x="936625" y="430275"/>
                      <a:pt x="945205" y="7875"/>
                    </a:cubicBezTo>
                    <a:cubicBezTo>
                      <a:pt x="945205" y="3580"/>
                      <a:pt x="948780" y="0"/>
                      <a:pt x="952355" y="0"/>
                    </a:cubicBezTo>
                    <a:close/>
                    <a:moveTo>
                      <a:pt x="765030" y="0"/>
                    </a:moveTo>
                    <a:cubicBezTo>
                      <a:pt x="765030" y="0"/>
                      <a:pt x="765030" y="0"/>
                      <a:pt x="826519" y="0"/>
                    </a:cubicBezTo>
                    <a:cubicBezTo>
                      <a:pt x="830809" y="0"/>
                      <a:pt x="833668" y="3580"/>
                      <a:pt x="833668" y="7875"/>
                    </a:cubicBezTo>
                    <a:cubicBezTo>
                      <a:pt x="833668" y="7875"/>
                      <a:pt x="833668" y="7875"/>
                      <a:pt x="842963" y="430275"/>
                    </a:cubicBezTo>
                    <a:cubicBezTo>
                      <a:pt x="842963" y="434570"/>
                      <a:pt x="839388" y="438150"/>
                      <a:pt x="835098" y="438150"/>
                    </a:cubicBezTo>
                    <a:cubicBezTo>
                      <a:pt x="835098" y="438150"/>
                      <a:pt x="835098" y="438150"/>
                      <a:pt x="756450" y="438150"/>
                    </a:cubicBezTo>
                    <a:cubicBezTo>
                      <a:pt x="752160" y="438150"/>
                      <a:pt x="749300" y="434570"/>
                      <a:pt x="749300" y="430275"/>
                    </a:cubicBezTo>
                    <a:cubicBezTo>
                      <a:pt x="749300" y="430275"/>
                      <a:pt x="749300" y="430275"/>
                      <a:pt x="757880" y="7875"/>
                    </a:cubicBezTo>
                    <a:cubicBezTo>
                      <a:pt x="757880" y="3580"/>
                      <a:pt x="761455" y="0"/>
                      <a:pt x="765030" y="0"/>
                    </a:cubicBezTo>
                    <a:close/>
                    <a:moveTo>
                      <a:pt x="577705" y="0"/>
                    </a:moveTo>
                    <a:cubicBezTo>
                      <a:pt x="577705" y="0"/>
                      <a:pt x="577705" y="0"/>
                      <a:pt x="639194" y="0"/>
                    </a:cubicBezTo>
                    <a:cubicBezTo>
                      <a:pt x="643484" y="0"/>
                      <a:pt x="646343" y="3580"/>
                      <a:pt x="646343" y="7875"/>
                    </a:cubicBezTo>
                    <a:cubicBezTo>
                      <a:pt x="646343" y="7875"/>
                      <a:pt x="646343" y="7875"/>
                      <a:pt x="655638" y="430275"/>
                    </a:cubicBezTo>
                    <a:cubicBezTo>
                      <a:pt x="655638" y="434570"/>
                      <a:pt x="652063" y="438150"/>
                      <a:pt x="647773" y="438150"/>
                    </a:cubicBezTo>
                    <a:cubicBezTo>
                      <a:pt x="647773" y="438150"/>
                      <a:pt x="647773" y="438150"/>
                      <a:pt x="569125" y="438150"/>
                    </a:cubicBezTo>
                    <a:cubicBezTo>
                      <a:pt x="564835" y="438150"/>
                      <a:pt x="561975" y="434570"/>
                      <a:pt x="561975" y="430275"/>
                    </a:cubicBezTo>
                    <a:cubicBezTo>
                      <a:pt x="561975" y="430275"/>
                      <a:pt x="561975" y="430275"/>
                      <a:pt x="570555" y="7875"/>
                    </a:cubicBezTo>
                    <a:cubicBezTo>
                      <a:pt x="570555" y="3580"/>
                      <a:pt x="574130" y="0"/>
                      <a:pt x="577705" y="0"/>
                    </a:cubicBezTo>
                    <a:close/>
                    <a:moveTo>
                      <a:pt x="391095" y="0"/>
                    </a:moveTo>
                    <a:cubicBezTo>
                      <a:pt x="391095" y="0"/>
                      <a:pt x="391095" y="0"/>
                      <a:pt x="452584" y="0"/>
                    </a:cubicBezTo>
                    <a:cubicBezTo>
                      <a:pt x="456159" y="0"/>
                      <a:pt x="459733" y="3580"/>
                      <a:pt x="459733" y="7875"/>
                    </a:cubicBezTo>
                    <a:cubicBezTo>
                      <a:pt x="459733" y="7875"/>
                      <a:pt x="459733" y="7875"/>
                      <a:pt x="468313" y="430275"/>
                    </a:cubicBezTo>
                    <a:cubicBezTo>
                      <a:pt x="468313" y="434570"/>
                      <a:pt x="465453" y="438150"/>
                      <a:pt x="461163" y="438150"/>
                    </a:cubicBezTo>
                    <a:cubicBezTo>
                      <a:pt x="461163" y="438150"/>
                      <a:pt x="461163" y="438150"/>
                      <a:pt x="382515" y="438150"/>
                    </a:cubicBezTo>
                    <a:cubicBezTo>
                      <a:pt x="378225" y="438150"/>
                      <a:pt x="374650" y="434570"/>
                      <a:pt x="374650" y="430275"/>
                    </a:cubicBezTo>
                    <a:cubicBezTo>
                      <a:pt x="374650" y="430275"/>
                      <a:pt x="374650" y="430275"/>
                      <a:pt x="383945" y="7875"/>
                    </a:cubicBezTo>
                    <a:cubicBezTo>
                      <a:pt x="383945" y="3580"/>
                      <a:pt x="386805" y="0"/>
                      <a:pt x="391095" y="0"/>
                    </a:cubicBezTo>
                    <a:close/>
                    <a:moveTo>
                      <a:pt x="203770" y="0"/>
                    </a:moveTo>
                    <a:cubicBezTo>
                      <a:pt x="203770" y="0"/>
                      <a:pt x="203770" y="0"/>
                      <a:pt x="265259" y="0"/>
                    </a:cubicBezTo>
                    <a:cubicBezTo>
                      <a:pt x="268834" y="0"/>
                      <a:pt x="272408" y="3580"/>
                      <a:pt x="272408" y="7875"/>
                    </a:cubicBezTo>
                    <a:cubicBezTo>
                      <a:pt x="272408" y="7875"/>
                      <a:pt x="272408" y="7875"/>
                      <a:pt x="280988" y="430275"/>
                    </a:cubicBezTo>
                    <a:cubicBezTo>
                      <a:pt x="280988" y="434570"/>
                      <a:pt x="278128" y="438150"/>
                      <a:pt x="273838" y="438150"/>
                    </a:cubicBezTo>
                    <a:cubicBezTo>
                      <a:pt x="273838" y="438150"/>
                      <a:pt x="273838" y="438150"/>
                      <a:pt x="195190" y="438150"/>
                    </a:cubicBezTo>
                    <a:cubicBezTo>
                      <a:pt x="190900" y="438150"/>
                      <a:pt x="187325" y="434570"/>
                      <a:pt x="187325" y="430275"/>
                    </a:cubicBezTo>
                    <a:cubicBezTo>
                      <a:pt x="187325" y="430275"/>
                      <a:pt x="187325" y="430275"/>
                      <a:pt x="196620" y="7875"/>
                    </a:cubicBezTo>
                    <a:cubicBezTo>
                      <a:pt x="196620" y="3580"/>
                      <a:pt x="199480" y="0"/>
                      <a:pt x="203770" y="0"/>
                    </a:cubicBezTo>
                    <a:close/>
                    <a:moveTo>
                      <a:pt x="16444" y="0"/>
                    </a:moveTo>
                    <a:cubicBezTo>
                      <a:pt x="16444" y="0"/>
                      <a:pt x="16444" y="0"/>
                      <a:pt x="77933" y="0"/>
                    </a:cubicBezTo>
                    <a:cubicBezTo>
                      <a:pt x="81508" y="0"/>
                      <a:pt x="85083" y="3580"/>
                      <a:pt x="85083" y="7875"/>
                    </a:cubicBezTo>
                    <a:cubicBezTo>
                      <a:pt x="85083" y="7875"/>
                      <a:pt x="85083" y="7875"/>
                      <a:pt x="93663" y="430275"/>
                    </a:cubicBezTo>
                    <a:cubicBezTo>
                      <a:pt x="93663" y="434570"/>
                      <a:pt x="90803" y="438150"/>
                      <a:pt x="86513" y="438150"/>
                    </a:cubicBezTo>
                    <a:cubicBezTo>
                      <a:pt x="86513" y="438150"/>
                      <a:pt x="86513" y="438150"/>
                      <a:pt x="7150" y="438150"/>
                    </a:cubicBezTo>
                    <a:cubicBezTo>
                      <a:pt x="3575" y="438150"/>
                      <a:pt x="0" y="434570"/>
                      <a:pt x="0" y="430275"/>
                    </a:cubicBezTo>
                    <a:cubicBezTo>
                      <a:pt x="0" y="430275"/>
                      <a:pt x="0" y="430275"/>
                      <a:pt x="8580" y="7875"/>
                    </a:cubicBezTo>
                    <a:cubicBezTo>
                      <a:pt x="8580" y="3580"/>
                      <a:pt x="12154" y="0"/>
                      <a:pt x="1644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48" name="Freeform 20">
                <a:extLst>
                  <a:ext uri="{FF2B5EF4-FFF2-40B4-BE49-F238E27FC236}">
                    <a16:creationId xmlns:a16="http://schemas.microsoft.com/office/drawing/2014/main" id="{A6CE31EC-1C73-58A2-1239-1C3559CA5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1638" y="2845336"/>
                <a:ext cx="1230313" cy="1096427"/>
              </a:xfrm>
              <a:custGeom>
                <a:avLst/>
                <a:gdLst>
                  <a:gd name="connsiteX0" fmla="*/ 97769 w 1230313"/>
                  <a:gd name="connsiteY0" fmla="*/ 928152 h 1096427"/>
                  <a:gd name="connsiteX1" fmla="*/ 1132545 w 1230313"/>
                  <a:gd name="connsiteY1" fmla="*/ 928152 h 1096427"/>
                  <a:gd name="connsiteX2" fmla="*/ 1148958 w 1230313"/>
                  <a:gd name="connsiteY2" fmla="*/ 944622 h 1096427"/>
                  <a:gd name="connsiteX3" fmla="*/ 1148958 w 1230313"/>
                  <a:gd name="connsiteY3" fmla="*/ 976844 h 1096427"/>
                  <a:gd name="connsiteX4" fmla="*/ 1213899 w 1230313"/>
                  <a:gd name="connsiteY4" fmla="*/ 976844 h 1096427"/>
                  <a:gd name="connsiteX5" fmla="*/ 1230313 w 1230313"/>
                  <a:gd name="connsiteY5" fmla="*/ 993314 h 1096427"/>
                  <a:gd name="connsiteX6" fmla="*/ 1230313 w 1230313"/>
                  <a:gd name="connsiteY6" fmla="*/ 1079958 h 1096427"/>
                  <a:gd name="connsiteX7" fmla="*/ 1213899 w 1230313"/>
                  <a:gd name="connsiteY7" fmla="*/ 1096427 h 1096427"/>
                  <a:gd name="connsiteX8" fmla="*/ 16414 w 1230313"/>
                  <a:gd name="connsiteY8" fmla="*/ 1096427 h 1096427"/>
                  <a:gd name="connsiteX9" fmla="*/ 0 w 1230313"/>
                  <a:gd name="connsiteY9" fmla="*/ 1079958 h 1096427"/>
                  <a:gd name="connsiteX10" fmla="*/ 0 w 1230313"/>
                  <a:gd name="connsiteY10" fmla="*/ 993314 h 1096427"/>
                  <a:gd name="connsiteX11" fmla="*/ 16414 w 1230313"/>
                  <a:gd name="connsiteY11" fmla="*/ 976844 h 1096427"/>
                  <a:gd name="connsiteX12" fmla="*/ 81355 w 1230313"/>
                  <a:gd name="connsiteY12" fmla="*/ 976844 h 1096427"/>
                  <a:gd name="connsiteX13" fmla="*/ 81355 w 1230313"/>
                  <a:gd name="connsiteY13" fmla="*/ 944622 h 1096427"/>
                  <a:gd name="connsiteX14" fmla="*/ 97769 w 1230313"/>
                  <a:gd name="connsiteY14" fmla="*/ 928152 h 1096427"/>
                  <a:gd name="connsiteX15" fmla="*/ 39687 w 1230313"/>
                  <a:gd name="connsiteY15" fmla="*/ 326489 h 1096427"/>
                  <a:gd name="connsiteX16" fmla="*/ 39687 w 1230313"/>
                  <a:gd name="connsiteY16" fmla="*/ 370939 h 1096427"/>
                  <a:gd name="connsiteX17" fmla="*/ 1190625 w 1230313"/>
                  <a:gd name="connsiteY17" fmla="*/ 370939 h 1096427"/>
                  <a:gd name="connsiteX18" fmla="*/ 1190625 w 1230313"/>
                  <a:gd name="connsiteY18" fmla="*/ 326489 h 1096427"/>
                  <a:gd name="connsiteX19" fmla="*/ 1100138 w 1230313"/>
                  <a:gd name="connsiteY19" fmla="*/ 326489 h 1096427"/>
                  <a:gd name="connsiteX20" fmla="*/ 130175 w 1230313"/>
                  <a:gd name="connsiteY20" fmla="*/ 326489 h 1096427"/>
                  <a:gd name="connsiteX21" fmla="*/ 615950 w 1230313"/>
                  <a:gd name="connsiteY21" fmla="*/ 32802 h 1096427"/>
                  <a:gd name="connsiteX22" fmla="*/ 146050 w 1230313"/>
                  <a:gd name="connsiteY22" fmla="*/ 228064 h 1096427"/>
                  <a:gd name="connsiteX23" fmla="*/ 146050 w 1230313"/>
                  <a:gd name="connsiteY23" fmla="*/ 294739 h 1096427"/>
                  <a:gd name="connsiteX24" fmla="*/ 1084263 w 1230313"/>
                  <a:gd name="connsiteY24" fmla="*/ 294739 h 1096427"/>
                  <a:gd name="connsiteX25" fmla="*/ 1084263 w 1230313"/>
                  <a:gd name="connsiteY25" fmla="*/ 228064 h 1096427"/>
                  <a:gd name="connsiteX26" fmla="*/ 609441 w 1230313"/>
                  <a:gd name="connsiteY26" fmla="*/ 1609 h 1096427"/>
                  <a:gd name="connsiteX27" fmla="*/ 620871 w 1230313"/>
                  <a:gd name="connsiteY27" fmla="*/ 1609 h 1096427"/>
                  <a:gd name="connsiteX28" fmla="*/ 1106646 w 1230313"/>
                  <a:gd name="connsiteY28" fmla="*/ 203221 h 1096427"/>
                  <a:gd name="connsiteX29" fmla="*/ 1116648 w 1230313"/>
                  <a:gd name="connsiteY29" fmla="*/ 217520 h 1096427"/>
                  <a:gd name="connsiteX30" fmla="*/ 1116648 w 1230313"/>
                  <a:gd name="connsiteY30" fmla="*/ 294734 h 1096427"/>
                  <a:gd name="connsiteX31" fmla="*/ 1206659 w 1230313"/>
                  <a:gd name="connsiteY31" fmla="*/ 294734 h 1096427"/>
                  <a:gd name="connsiteX32" fmla="*/ 1222375 w 1230313"/>
                  <a:gd name="connsiteY32" fmla="*/ 310462 h 1096427"/>
                  <a:gd name="connsiteX33" fmla="*/ 1222375 w 1230313"/>
                  <a:gd name="connsiteY33" fmla="*/ 386961 h 1096427"/>
                  <a:gd name="connsiteX34" fmla="*/ 1206659 w 1230313"/>
                  <a:gd name="connsiteY34" fmla="*/ 402689 h 1096427"/>
                  <a:gd name="connsiteX35" fmla="*/ 23654 w 1230313"/>
                  <a:gd name="connsiteY35" fmla="*/ 402689 h 1096427"/>
                  <a:gd name="connsiteX36" fmla="*/ 7937 w 1230313"/>
                  <a:gd name="connsiteY36" fmla="*/ 386961 h 1096427"/>
                  <a:gd name="connsiteX37" fmla="*/ 7937 w 1230313"/>
                  <a:gd name="connsiteY37" fmla="*/ 310462 h 1096427"/>
                  <a:gd name="connsiteX38" fmla="*/ 23654 w 1230313"/>
                  <a:gd name="connsiteY38" fmla="*/ 294734 h 1096427"/>
                  <a:gd name="connsiteX39" fmla="*/ 113665 w 1230313"/>
                  <a:gd name="connsiteY39" fmla="*/ 294734 h 1096427"/>
                  <a:gd name="connsiteX40" fmla="*/ 113665 w 1230313"/>
                  <a:gd name="connsiteY40" fmla="*/ 217520 h 1096427"/>
                  <a:gd name="connsiteX41" fmla="*/ 123666 w 1230313"/>
                  <a:gd name="connsiteY41" fmla="*/ 203221 h 1096427"/>
                  <a:gd name="connsiteX42" fmla="*/ 609441 w 1230313"/>
                  <a:gd name="connsiteY42" fmla="*/ 1609 h 1096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230313" h="1096427">
                    <a:moveTo>
                      <a:pt x="97769" y="928152"/>
                    </a:moveTo>
                    <a:cubicBezTo>
                      <a:pt x="97769" y="928152"/>
                      <a:pt x="97769" y="928152"/>
                      <a:pt x="1132545" y="928152"/>
                    </a:cubicBezTo>
                    <a:cubicBezTo>
                      <a:pt x="1141822" y="928152"/>
                      <a:pt x="1148958" y="936029"/>
                      <a:pt x="1148958" y="944622"/>
                    </a:cubicBezTo>
                    <a:cubicBezTo>
                      <a:pt x="1148958" y="944622"/>
                      <a:pt x="1148958" y="944622"/>
                      <a:pt x="1148958" y="976844"/>
                    </a:cubicBezTo>
                    <a:cubicBezTo>
                      <a:pt x="1148958" y="976844"/>
                      <a:pt x="1148958" y="976844"/>
                      <a:pt x="1213899" y="976844"/>
                    </a:cubicBezTo>
                    <a:cubicBezTo>
                      <a:pt x="1222463" y="976844"/>
                      <a:pt x="1230313" y="984005"/>
                      <a:pt x="1230313" y="993314"/>
                    </a:cubicBezTo>
                    <a:cubicBezTo>
                      <a:pt x="1230313" y="993314"/>
                      <a:pt x="1230313" y="993314"/>
                      <a:pt x="1230313" y="1079958"/>
                    </a:cubicBezTo>
                    <a:cubicBezTo>
                      <a:pt x="1230313" y="1089266"/>
                      <a:pt x="1222463" y="1096427"/>
                      <a:pt x="1213899" y="1096427"/>
                    </a:cubicBezTo>
                    <a:cubicBezTo>
                      <a:pt x="1213899" y="1096427"/>
                      <a:pt x="1213899" y="1096427"/>
                      <a:pt x="16414" y="1096427"/>
                    </a:cubicBezTo>
                    <a:cubicBezTo>
                      <a:pt x="7850" y="1096427"/>
                      <a:pt x="0" y="1089266"/>
                      <a:pt x="0" y="1079958"/>
                    </a:cubicBezTo>
                    <a:cubicBezTo>
                      <a:pt x="0" y="1079958"/>
                      <a:pt x="0" y="1079958"/>
                      <a:pt x="0" y="993314"/>
                    </a:cubicBezTo>
                    <a:cubicBezTo>
                      <a:pt x="0" y="984005"/>
                      <a:pt x="7850" y="976844"/>
                      <a:pt x="16414" y="976844"/>
                    </a:cubicBezTo>
                    <a:cubicBezTo>
                      <a:pt x="16414" y="976844"/>
                      <a:pt x="16414" y="976844"/>
                      <a:pt x="81355" y="976844"/>
                    </a:cubicBezTo>
                    <a:cubicBezTo>
                      <a:pt x="81355" y="976844"/>
                      <a:pt x="81355" y="976844"/>
                      <a:pt x="81355" y="944622"/>
                    </a:cubicBezTo>
                    <a:cubicBezTo>
                      <a:pt x="81355" y="936029"/>
                      <a:pt x="88491" y="928152"/>
                      <a:pt x="97769" y="928152"/>
                    </a:cubicBezTo>
                    <a:close/>
                    <a:moveTo>
                      <a:pt x="39687" y="326489"/>
                    </a:moveTo>
                    <a:lnTo>
                      <a:pt x="39687" y="370939"/>
                    </a:lnTo>
                    <a:lnTo>
                      <a:pt x="1190625" y="370939"/>
                    </a:lnTo>
                    <a:lnTo>
                      <a:pt x="1190625" y="326489"/>
                    </a:lnTo>
                    <a:lnTo>
                      <a:pt x="1100138" y="326489"/>
                    </a:lnTo>
                    <a:lnTo>
                      <a:pt x="130175" y="326489"/>
                    </a:lnTo>
                    <a:close/>
                    <a:moveTo>
                      <a:pt x="615950" y="32802"/>
                    </a:moveTo>
                    <a:lnTo>
                      <a:pt x="146050" y="228064"/>
                    </a:lnTo>
                    <a:lnTo>
                      <a:pt x="146050" y="294739"/>
                    </a:lnTo>
                    <a:lnTo>
                      <a:pt x="1084263" y="294739"/>
                    </a:lnTo>
                    <a:lnTo>
                      <a:pt x="1084263" y="228064"/>
                    </a:lnTo>
                    <a:close/>
                    <a:moveTo>
                      <a:pt x="609441" y="1609"/>
                    </a:moveTo>
                    <a:cubicBezTo>
                      <a:pt x="613013" y="-536"/>
                      <a:pt x="617299" y="-536"/>
                      <a:pt x="620871" y="1609"/>
                    </a:cubicBezTo>
                    <a:cubicBezTo>
                      <a:pt x="620871" y="1609"/>
                      <a:pt x="620871" y="1609"/>
                      <a:pt x="1106646" y="203221"/>
                    </a:cubicBezTo>
                    <a:cubicBezTo>
                      <a:pt x="1113076" y="206081"/>
                      <a:pt x="1116648" y="211801"/>
                      <a:pt x="1116648" y="217520"/>
                    </a:cubicBezTo>
                    <a:cubicBezTo>
                      <a:pt x="1116648" y="217520"/>
                      <a:pt x="1116648" y="217520"/>
                      <a:pt x="1116648" y="294734"/>
                    </a:cubicBezTo>
                    <a:cubicBezTo>
                      <a:pt x="1116648" y="294734"/>
                      <a:pt x="1116648" y="294734"/>
                      <a:pt x="1206659" y="294734"/>
                    </a:cubicBezTo>
                    <a:cubicBezTo>
                      <a:pt x="1215231" y="294734"/>
                      <a:pt x="1222375" y="301883"/>
                      <a:pt x="1222375" y="310462"/>
                    </a:cubicBezTo>
                    <a:cubicBezTo>
                      <a:pt x="1222375" y="310462"/>
                      <a:pt x="1222375" y="310462"/>
                      <a:pt x="1222375" y="386961"/>
                    </a:cubicBezTo>
                    <a:cubicBezTo>
                      <a:pt x="1222375" y="395540"/>
                      <a:pt x="1215231" y="402689"/>
                      <a:pt x="1206659" y="402689"/>
                    </a:cubicBezTo>
                    <a:cubicBezTo>
                      <a:pt x="1206659" y="402689"/>
                      <a:pt x="1206659" y="402689"/>
                      <a:pt x="23654" y="402689"/>
                    </a:cubicBezTo>
                    <a:cubicBezTo>
                      <a:pt x="15081" y="402689"/>
                      <a:pt x="7937" y="395540"/>
                      <a:pt x="7937" y="386961"/>
                    </a:cubicBezTo>
                    <a:cubicBezTo>
                      <a:pt x="7937" y="386961"/>
                      <a:pt x="7937" y="386961"/>
                      <a:pt x="7937" y="310462"/>
                    </a:cubicBezTo>
                    <a:cubicBezTo>
                      <a:pt x="7937" y="301883"/>
                      <a:pt x="15081" y="294734"/>
                      <a:pt x="23654" y="294734"/>
                    </a:cubicBezTo>
                    <a:cubicBezTo>
                      <a:pt x="23654" y="294734"/>
                      <a:pt x="23654" y="294734"/>
                      <a:pt x="113665" y="294734"/>
                    </a:cubicBezTo>
                    <a:cubicBezTo>
                      <a:pt x="113665" y="294734"/>
                      <a:pt x="113665" y="294734"/>
                      <a:pt x="113665" y="217520"/>
                    </a:cubicBezTo>
                    <a:cubicBezTo>
                      <a:pt x="113665" y="211801"/>
                      <a:pt x="117237" y="206081"/>
                      <a:pt x="123666" y="203221"/>
                    </a:cubicBezTo>
                    <a:cubicBezTo>
                      <a:pt x="123666" y="203221"/>
                      <a:pt x="123666" y="203221"/>
                      <a:pt x="609441" y="160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3" name="bcgIcons_Digital in Power ">
            <a:extLst>
              <a:ext uri="{FF2B5EF4-FFF2-40B4-BE49-F238E27FC236}">
                <a16:creationId xmlns:a16="http://schemas.microsoft.com/office/drawing/2014/main" id="{7651617E-8049-75BF-94BB-60F57A46CEB7}"/>
              </a:ext>
            </a:extLst>
          </p:cNvPr>
          <p:cNvGrpSpPr>
            <a:grpSpLocks noChangeAspect="1"/>
          </p:cNvGrpSpPr>
          <p:nvPr/>
        </p:nvGrpSpPr>
        <p:grpSpPr>
          <a:xfrm>
            <a:off x="10228708" y="5667217"/>
            <a:ext cx="125450" cy="125450"/>
            <a:chOff x="5272088" y="2606675"/>
            <a:chExt cx="1644650" cy="1644650"/>
          </a:xfrm>
        </p:grpSpPr>
        <p:sp>
          <p:nvSpPr>
            <p:cNvPr id="356" name="AutoShape 3">
              <a:extLst>
                <a:ext uri="{FF2B5EF4-FFF2-40B4-BE49-F238E27FC236}">
                  <a16:creationId xmlns:a16="http://schemas.microsoft.com/office/drawing/2014/main" id="{CD048454-33E9-2569-5AA3-245B58CAEB2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088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57" name="Group 356">
              <a:extLst>
                <a:ext uri="{FF2B5EF4-FFF2-40B4-BE49-F238E27FC236}">
                  <a16:creationId xmlns:a16="http://schemas.microsoft.com/office/drawing/2014/main" id="{FA2C6CEB-88C4-1FDD-84AC-AE43DC8E5950}"/>
                </a:ext>
              </a:extLst>
            </p:cNvPr>
            <p:cNvGrpSpPr/>
            <p:nvPr/>
          </p:nvGrpSpPr>
          <p:grpSpPr>
            <a:xfrm>
              <a:off x="5635626" y="2776538"/>
              <a:ext cx="919163" cy="1304925"/>
              <a:chOff x="5635626" y="2776538"/>
              <a:chExt cx="919163" cy="1304925"/>
            </a:xfrm>
          </p:grpSpPr>
          <p:sp>
            <p:nvSpPr>
              <p:cNvPr id="358" name="Freeform 15">
                <a:extLst>
                  <a:ext uri="{FF2B5EF4-FFF2-40B4-BE49-F238E27FC236}">
                    <a16:creationId xmlns:a16="http://schemas.microsoft.com/office/drawing/2014/main" id="{CC38BCB4-BCAC-B492-90B9-F2AE599D21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3726" y="3122613"/>
                <a:ext cx="842963" cy="809625"/>
              </a:xfrm>
              <a:custGeom>
                <a:avLst/>
                <a:gdLst>
                  <a:gd name="connsiteX0" fmla="*/ 472400 w 842963"/>
                  <a:gd name="connsiteY0" fmla="*/ 539750 h 809625"/>
                  <a:gd name="connsiteX1" fmla="*/ 594401 w 842963"/>
                  <a:gd name="connsiteY1" fmla="*/ 539750 h 809625"/>
                  <a:gd name="connsiteX2" fmla="*/ 600075 w 842963"/>
                  <a:gd name="connsiteY2" fmla="*/ 546210 h 809625"/>
                  <a:gd name="connsiteX3" fmla="*/ 600075 w 842963"/>
                  <a:gd name="connsiteY3" fmla="*/ 802448 h 809625"/>
                  <a:gd name="connsiteX4" fmla="*/ 600075 w 842963"/>
                  <a:gd name="connsiteY4" fmla="*/ 803883 h 809625"/>
                  <a:gd name="connsiteX5" fmla="*/ 594401 w 842963"/>
                  <a:gd name="connsiteY5" fmla="*/ 809625 h 809625"/>
                  <a:gd name="connsiteX6" fmla="*/ 472400 w 842963"/>
                  <a:gd name="connsiteY6" fmla="*/ 809625 h 809625"/>
                  <a:gd name="connsiteX7" fmla="*/ 466725 w 842963"/>
                  <a:gd name="connsiteY7" fmla="*/ 803883 h 809625"/>
                  <a:gd name="connsiteX8" fmla="*/ 466725 w 842963"/>
                  <a:gd name="connsiteY8" fmla="*/ 802448 h 809625"/>
                  <a:gd name="connsiteX9" fmla="*/ 466725 w 842963"/>
                  <a:gd name="connsiteY9" fmla="*/ 546210 h 809625"/>
                  <a:gd name="connsiteX10" fmla="*/ 472400 w 842963"/>
                  <a:gd name="connsiteY10" fmla="*/ 539750 h 809625"/>
                  <a:gd name="connsiteX11" fmla="*/ 249980 w 842963"/>
                  <a:gd name="connsiteY11" fmla="*/ 539750 h 809625"/>
                  <a:gd name="connsiteX12" fmla="*/ 369144 w 842963"/>
                  <a:gd name="connsiteY12" fmla="*/ 539750 h 809625"/>
                  <a:gd name="connsiteX13" fmla="*/ 376237 w 842963"/>
                  <a:gd name="connsiteY13" fmla="*/ 546928 h 809625"/>
                  <a:gd name="connsiteX14" fmla="*/ 376237 w 842963"/>
                  <a:gd name="connsiteY14" fmla="*/ 667511 h 809625"/>
                  <a:gd name="connsiteX15" fmla="*/ 369144 w 842963"/>
                  <a:gd name="connsiteY15" fmla="*/ 674688 h 809625"/>
                  <a:gd name="connsiteX16" fmla="*/ 249980 w 842963"/>
                  <a:gd name="connsiteY16" fmla="*/ 674688 h 809625"/>
                  <a:gd name="connsiteX17" fmla="*/ 242887 w 842963"/>
                  <a:gd name="connsiteY17" fmla="*/ 667511 h 809625"/>
                  <a:gd name="connsiteX18" fmla="*/ 242887 w 842963"/>
                  <a:gd name="connsiteY18" fmla="*/ 546928 h 809625"/>
                  <a:gd name="connsiteX19" fmla="*/ 249980 w 842963"/>
                  <a:gd name="connsiteY19" fmla="*/ 539750 h 809625"/>
                  <a:gd name="connsiteX20" fmla="*/ 473818 w 842963"/>
                  <a:gd name="connsiteY20" fmla="*/ 331787 h 809625"/>
                  <a:gd name="connsiteX21" fmla="*/ 592982 w 842963"/>
                  <a:gd name="connsiteY21" fmla="*/ 331787 h 809625"/>
                  <a:gd name="connsiteX22" fmla="*/ 600075 w 842963"/>
                  <a:gd name="connsiteY22" fmla="*/ 338927 h 809625"/>
                  <a:gd name="connsiteX23" fmla="*/ 600075 w 842963"/>
                  <a:gd name="connsiteY23" fmla="*/ 459586 h 809625"/>
                  <a:gd name="connsiteX24" fmla="*/ 592982 w 842963"/>
                  <a:gd name="connsiteY24" fmla="*/ 466725 h 809625"/>
                  <a:gd name="connsiteX25" fmla="*/ 473818 w 842963"/>
                  <a:gd name="connsiteY25" fmla="*/ 466725 h 809625"/>
                  <a:gd name="connsiteX26" fmla="*/ 466725 w 842963"/>
                  <a:gd name="connsiteY26" fmla="*/ 459586 h 809625"/>
                  <a:gd name="connsiteX27" fmla="*/ 466725 w 842963"/>
                  <a:gd name="connsiteY27" fmla="*/ 338927 h 809625"/>
                  <a:gd name="connsiteX28" fmla="*/ 473818 w 842963"/>
                  <a:gd name="connsiteY28" fmla="*/ 331787 h 809625"/>
                  <a:gd name="connsiteX29" fmla="*/ 249980 w 842963"/>
                  <a:gd name="connsiteY29" fmla="*/ 331787 h 809625"/>
                  <a:gd name="connsiteX30" fmla="*/ 369144 w 842963"/>
                  <a:gd name="connsiteY30" fmla="*/ 331787 h 809625"/>
                  <a:gd name="connsiteX31" fmla="*/ 376237 w 842963"/>
                  <a:gd name="connsiteY31" fmla="*/ 338927 h 809625"/>
                  <a:gd name="connsiteX32" fmla="*/ 376237 w 842963"/>
                  <a:gd name="connsiteY32" fmla="*/ 459586 h 809625"/>
                  <a:gd name="connsiteX33" fmla="*/ 369144 w 842963"/>
                  <a:gd name="connsiteY33" fmla="*/ 466725 h 809625"/>
                  <a:gd name="connsiteX34" fmla="*/ 249980 w 842963"/>
                  <a:gd name="connsiteY34" fmla="*/ 466725 h 809625"/>
                  <a:gd name="connsiteX35" fmla="*/ 242887 w 842963"/>
                  <a:gd name="connsiteY35" fmla="*/ 459586 h 809625"/>
                  <a:gd name="connsiteX36" fmla="*/ 242887 w 842963"/>
                  <a:gd name="connsiteY36" fmla="*/ 338927 h 809625"/>
                  <a:gd name="connsiteX37" fmla="*/ 249980 w 842963"/>
                  <a:gd name="connsiteY37" fmla="*/ 331787 h 809625"/>
                  <a:gd name="connsiteX38" fmla="*/ 421482 w 842963"/>
                  <a:gd name="connsiteY38" fmla="*/ 0 h 809625"/>
                  <a:gd name="connsiteX39" fmla="*/ 425054 w 842963"/>
                  <a:gd name="connsiteY39" fmla="*/ 712 h 809625"/>
                  <a:gd name="connsiteX40" fmla="*/ 840820 w 842963"/>
                  <a:gd name="connsiteY40" fmla="*/ 358971 h 809625"/>
                  <a:gd name="connsiteX41" fmla="*/ 842963 w 842963"/>
                  <a:gd name="connsiteY41" fmla="*/ 363244 h 809625"/>
                  <a:gd name="connsiteX42" fmla="*/ 842963 w 842963"/>
                  <a:gd name="connsiteY42" fmla="*/ 445864 h 809625"/>
                  <a:gd name="connsiteX43" fmla="*/ 837248 w 842963"/>
                  <a:gd name="connsiteY43" fmla="*/ 450850 h 809625"/>
                  <a:gd name="connsiteX44" fmla="*/ 833676 w 842963"/>
                  <a:gd name="connsiteY44" fmla="*/ 449426 h 809625"/>
                  <a:gd name="connsiteX45" fmla="*/ 758667 w 842963"/>
                  <a:gd name="connsiteY45" fmla="*/ 385324 h 809625"/>
                  <a:gd name="connsiteX46" fmla="*/ 735093 w 842963"/>
                  <a:gd name="connsiteY46" fmla="*/ 364669 h 809625"/>
                  <a:gd name="connsiteX47" fmla="*/ 425054 w 842963"/>
                  <a:gd name="connsiteY47" fmla="*/ 98290 h 809625"/>
                  <a:gd name="connsiteX48" fmla="*/ 421482 w 842963"/>
                  <a:gd name="connsiteY48" fmla="*/ 96865 h 809625"/>
                  <a:gd name="connsiteX49" fmla="*/ 417910 w 842963"/>
                  <a:gd name="connsiteY49" fmla="*/ 98290 h 809625"/>
                  <a:gd name="connsiteX50" fmla="*/ 107871 w 842963"/>
                  <a:gd name="connsiteY50" fmla="*/ 364669 h 809625"/>
                  <a:gd name="connsiteX51" fmla="*/ 84297 w 842963"/>
                  <a:gd name="connsiteY51" fmla="*/ 385324 h 809625"/>
                  <a:gd name="connsiteX52" fmla="*/ 9287 w 842963"/>
                  <a:gd name="connsiteY52" fmla="*/ 449426 h 809625"/>
                  <a:gd name="connsiteX53" fmla="*/ 5715 w 842963"/>
                  <a:gd name="connsiteY53" fmla="*/ 450850 h 809625"/>
                  <a:gd name="connsiteX54" fmla="*/ 0 w 842963"/>
                  <a:gd name="connsiteY54" fmla="*/ 445864 h 809625"/>
                  <a:gd name="connsiteX55" fmla="*/ 0 w 842963"/>
                  <a:gd name="connsiteY55" fmla="*/ 363244 h 809625"/>
                  <a:gd name="connsiteX56" fmla="*/ 2143 w 842963"/>
                  <a:gd name="connsiteY56" fmla="*/ 358971 h 809625"/>
                  <a:gd name="connsiteX57" fmla="*/ 417910 w 842963"/>
                  <a:gd name="connsiteY57" fmla="*/ 712 h 809625"/>
                  <a:gd name="connsiteX58" fmla="*/ 421482 w 842963"/>
                  <a:gd name="connsiteY58" fmla="*/ 0 h 80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842963" h="809625">
                    <a:moveTo>
                      <a:pt x="472400" y="539750"/>
                    </a:moveTo>
                    <a:cubicBezTo>
                      <a:pt x="472400" y="539750"/>
                      <a:pt x="472400" y="539750"/>
                      <a:pt x="594401" y="539750"/>
                    </a:cubicBezTo>
                    <a:cubicBezTo>
                      <a:pt x="597947" y="539750"/>
                      <a:pt x="600075" y="542621"/>
                      <a:pt x="600075" y="546210"/>
                    </a:cubicBezTo>
                    <a:cubicBezTo>
                      <a:pt x="600075" y="546210"/>
                      <a:pt x="600075" y="546210"/>
                      <a:pt x="600075" y="802448"/>
                    </a:cubicBezTo>
                    <a:cubicBezTo>
                      <a:pt x="600075" y="802448"/>
                      <a:pt x="600075" y="802448"/>
                      <a:pt x="600075" y="803883"/>
                    </a:cubicBezTo>
                    <a:cubicBezTo>
                      <a:pt x="600075" y="807472"/>
                      <a:pt x="597947" y="809625"/>
                      <a:pt x="594401" y="809625"/>
                    </a:cubicBezTo>
                    <a:cubicBezTo>
                      <a:pt x="594401" y="809625"/>
                      <a:pt x="594401" y="809625"/>
                      <a:pt x="472400" y="809625"/>
                    </a:cubicBezTo>
                    <a:cubicBezTo>
                      <a:pt x="468853" y="809625"/>
                      <a:pt x="466725" y="807472"/>
                      <a:pt x="466725" y="803883"/>
                    </a:cubicBezTo>
                    <a:cubicBezTo>
                      <a:pt x="466725" y="803883"/>
                      <a:pt x="466725" y="803883"/>
                      <a:pt x="466725" y="802448"/>
                    </a:cubicBezTo>
                    <a:cubicBezTo>
                      <a:pt x="466725" y="802448"/>
                      <a:pt x="466725" y="802448"/>
                      <a:pt x="466725" y="546210"/>
                    </a:cubicBezTo>
                    <a:cubicBezTo>
                      <a:pt x="466725" y="542621"/>
                      <a:pt x="468853" y="539750"/>
                      <a:pt x="472400" y="539750"/>
                    </a:cubicBezTo>
                    <a:close/>
                    <a:moveTo>
                      <a:pt x="249980" y="539750"/>
                    </a:moveTo>
                    <a:cubicBezTo>
                      <a:pt x="249980" y="539750"/>
                      <a:pt x="249980" y="539750"/>
                      <a:pt x="369144" y="539750"/>
                    </a:cubicBezTo>
                    <a:cubicBezTo>
                      <a:pt x="373400" y="539750"/>
                      <a:pt x="376237" y="543339"/>
                      <a:pt x="376237" y="546928"/>
                    </a:cubicBezTo>
                    <a:cubicBezTo>
                      <a:pt x="376237" y="546928"/>
                      <a:pt x="376237" y="546928"/>
                      <a:pt x="376237" y="667511"/>
                    </a:cubicBezTo>
                    <a:cubicBezTo>
                      <a:pt x="376237" y="671817"/>
                      <a:pt x="373400" y="674688"/>
                      <a:pt x="369144" y="674688"/>
                    </a:cubicBezTo>
                    <a:cubicBezTo>
                      <a:pt x="369144" y="674688"/>
                      <a:pt x="369144" y="674688"/>
                      <a:pt x="249980" y="674688"/>
                    </a:cubicBezTo>
                    <a:cubicBezTo>
                      <a:pt x="245724" y="674688"/>
                      <a:pt x="242887" y="671817"/>
                      <a:pt x="242887" y="667511"/>
                    </a:cubicBezTo>
                    <a:cubicBezTo>
                      <a:pt x="242887" y="667511"/>
                      <a:pt x="242887" y="667511"/>
                      <a:pt x="242887" y="546928"/>
                    </a:cubicBezTo>
                    <a:cubicBezTo>
                      <a:pt x="242887" y="543339"/>
                      <a:pt x="245724" y="539750"/>
                      <a:pt x="249980" y="539750"/>
                    </a:cubicBezTo>
                    <a:close/>
                    <a:moveTo>
                      <a:pt x="473818" y="331787"/>
                    </a:moveTo>
                    <a:cubicBezTo>
                      <a:pt x="473818" y="331787"/>
                      <a:pt x="473818" y="331787"/>
                      <a:pt x="592982" y="331787"/>
                    </a:cubicBezTo>
                    <a:cubicBezTo>
                      <a:pt x="597238" y="331787"/>
                      <a:pt x="600075" y="335357"/>
                      <a:pt x="600075" y="338927"/>
                    </a:cubicBezTo>
                    <a:cubicBezTo>
                      <a:pt x="600075" y="338927"/>
                      <a:pt x="600075" y="338927"/>
                      <a:pt x="600075" y="459586"/>
                    </a:cubicBezTo>
                    <a:cubicBezTo>
                      <a:pt x="600075" y="463155"/>
                      <a:pt x="597238" y="466725"/>
                      <a:pt x="592982" y="466725"/>
                    </a:cubicBezTo>
                    <a:cubicBezTo>
                      <a:pt x="592982" y="466725"/>
                      <a:pt x="592982" y="466725"/>
                      <a:pt x="473818" y="466725"/>
                    </a:cubicBezTo>
                    <a:cubicBezTo>
                      <a:pt x="469562" y="466725"/>
                      <a:pt x="466725" y="463155"/>
                      <a:pt x="466725" y="459586"/>
                    </a:cubicBezTo>
                    <a:cubicBezTo>
                      <a:pt x="466725" y="459586"/>
                      <a:pt x="466725" y="459586"/>
                      <a:pt x="466725" y="338927"/>
                    </a:cubicBezTo>
                    <a:cubicBezTo>
                      <a:pt x="466725" y="335357"/>
                      <a:pt x="469562" y="331787"/>
                      <a:pt x="473818" y="331787"/>
                    </a:cubicBezTo>
                    <a:close/>
                    <a:moveTo>
                      <a:pt x="249980" y="331787"/>
                    </a:moveTo>
                    <a:cubicBezTo>
                      <a:pt x="249980" y="331787"/>
                      <a:pt x="249980" y="331787"/>
                      <a:pt x="369144" y="331787"/>
                    </a:cubicBezTo>
                    <a:cubicBezTo>
                      <a:pt x="373400" y="331787"/>
                      <a:pt x="376237" y="335357"/>
                      <a:pt x="376237" y="338927"/>
                    </a:cubicBezTo>
                    <a:cubicBezTo>
                      <a:pt x="376237" y="338927"/>
                      <a:pt x="376237" y="338927"/>
                      <a:pt x="376237" y="459586"/>
                    </a:cubicBezTo>
                    <a:cubicBezTo>
                      <a:pt x="376237" y="463155"/>
                      <a:pt x="373400" y="466725"/>
                      <a:pt x="369144" y="466725"/>
                    </a:cubicBezTo>
                    <a:cubicBezTo>
                      <a:pt x="369144" y="466725"/>
                      <a:pt x="369144" y="466725"/>
                      <a:pt x="249980" y="466725"/>
                    </a:cubicBezTo>
                    <a:cubicBezTo>
                      <a:pt x="245724" y="466725"/>
                      <a:pt x="242887" y="463155"/>
                      <a:pt x="242887" y="459586"/>
                    </a:cubicBezTo>
                    <a:cubicBezTo>
                      <a:pt x="242887" y="459586"/>
                      <a:pt x="242887" y="459586"/>
                      <a:pt x="242887" y="338927"/>
                    </a:cubicBezTo>
                    <a:cubicBezTo>
                      <a:pt x="242887" y="335357"/>
                      <a:pt x="245724" y="331787"/>
                      <a:pt x="249980" y="331787"/>
                    </a:cubicBezTo>
                    <a:close/>
                    <a:moveTo>
                      <a:pt x="421482" y="0"/>
                    </a:moveTo>
                    <a:cubicBezTo>
                      <a:pt x="422910" y="0"/>
                      <a:pt x="424339" y="0"/>
                      <a:pt x="425054" y="712"/>
                    </a:cubicBezTo>
                    <a:cubicBezTo>
                      <a:pt x="425054" y="712"/>
                      <a:pt x="425054" y="712"/>
                      <a:pt x="840820" y="358971"/>
                    </a:cubicBezTo>
                    <a:cubicBezTo>
                      <a:pt x="842249" y="359683"/>
                      <a:pt x="842963" y="361107"/>
                      <a:pt x="842963" y="363244"/>
                    </a:cubicBezTo>
                    <a:cubicBezTo>
                      <a:pt x="842963" y="363244"/>
                      <a:pt x="842963" y="363244"/>
                      <a:pt x="842963" y="445864"/>
                    </a:cubicBezTo>
                    <a:cubicBezTo>
                      <a:pt x="842963" y="448713"/>
                      <a:pt x="840106" y="450850"/>
                      <a:pt x="837248" y="450850"/>
                    </a:cubicBezTo>
                    <a:cubicBezTo>
                      <a:pt x="835819" y="450850"/>
                      <a:pt x="835105" y="450850"/>
                      <a:pt x="833676" y="449426"/>
                    </a:cubicBezTo>
                    <a:cubicBezTo>
                      <a:pt x="833676" y="449426"/>
                      <a:pt x="833676" y="449426"/>
                      <a:pt x="758667" y="385324"/>
                    </a:cubicBezTo>
                    <a:cubicBezTo>
                      <a:pt x="758667" y="385324"/>
                      <a:pt x="758667" y="385324"/>
                      <a:pt x="735093" y="364669"/>
                    </a:cubicBezTo>
                    <a:cubicBezTo>
                      <a:pt x="735093" y="364669"/>
                      <a:pt x="735093" y="364669"/>
                      <a:pt x="425054" y="98290"/>
                    </a:cubicBezTo>
                    <a:cubicBezTo>
                      <a:pt x="424339" y="96865"/>
                      <a:pt x="422910" y="96865"/>
                      <a:pt x="421482" y="96865"/>
                    </a:cubicBezTo>
                    <a:cubicBezTo>
                      <a:pt x="420053" y="96865"/>
                      <a:pt x="418624" y="96865"/>
                      <a:pt x="417910" y="98290"/>
                    </a:cubicBezTo>
                    <a:cubicBezTo>
                      <a:pt x="417910" y="98290"/>
                      <a:pt x="417910" y="98290"/>
                      <a:pt x="107871" y="364669"/>
                    </a:cubicBezTo>
                    <a:cubicBezTo>
                      <a:pt x="107871" y="364669"/>
                      <a:pt x="107871" y="364669"/>
                      <a:pt x="84297" y="385324"/>
                    </a:cubicBezTo>
                    <a:cubicBezTo>
                      <a:pt x="84297" y="385324"/>
                      <a:pt x="84297" y="385324"/>
                      <a:pt x="9287" y="449426"/>
                    </a:cubicBezTo>
                    <a:cubicBezTo>
                      <a:pt x="7858" y="450850"/>
                      <a:pt x="7144" y="450850"/>
                      <a:pt x="5715" y="450850"/>
                    </a:cubicBezTo>
                    <a:cubicBezTo>
                      <a:pt x="2858" y="450850"/>
                      <a:pt x="0" y="448713"/>
                      <a:pt x="0" y="445864"/>
                    </a:cubicBezTo>
                    <a:cubicBezTo>
                      <a:pt x="0" y="445864"/>
                      <a:pt x="0" y="445864"/>
                      <a:pt x="0" y="363244"/>
                    </a:cubicBezTo>
                    <a:cubicBezTo>
                      <a:pt x="0" y="361107"/>
                      <a:pt x="715" y="359683"/>
                      <a:pt x="2143" y="358971"/>
                    </a:cubicBezTo>
                    <a:cubicBezTo>
                      <a:pt x="2143" y="358971"/>
                      <a:pt x="2143" y="358971"/>
                      <a:pt x="417910" y="712"/>
                    </a:cubicBezTo>
                    <a:cubicBezTo>
                      <a:pt x="418624" y="0"/>
                      <a:pt x="420053" y="0"/>
                      <a:pt x="42148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59" name="Freeform 16">
                <a:extLst>
                  <a:ext uri="{FF2B5EF4-FFF2-40B4-BE49-F238E27FC236}">
                    <a16:creationId xmlns:a16="http://schemas.microsoft.com/office/drawing/2014/main" id="{568D4BA8-5685-80EF-FD49-235E45B509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5626" y="2776538"/>
                <a:ext cx="919163" cy="1304925"/>
              </a:xfrm>
              <a:custGeom>
                <a:avLst/>
                <a:gdLst>
                  <a:gd name="connsiteX0" fmla="*/ 72189 w 919163"/>
                  <a:gd name="connsiteY0" fmla="*/ 1179512 h 1304925"/>
                  <a:gd name="connsiteX1" fmla="*/ 122221 w 919163"/>
                  <a:gd name="connsiteY1" fmla="*/ 1179512 h 1304925"/>
                  <a:gd name="connsiteX2" fmla="*/ 153670 w 919163"/>
                  <a:gd name="connsiteY2" fmla="*/ 1179512 h 1304925"/>
                  <a:gd name="connsiteX3" fmla="*/ 765493 w 919163"/>
                  <a:gd name="connsiteY3" fmla="*/ 1179512 h 1304925"/>
                  <a:gd name="connsiteX4" fmla="*/ 796942 w 919163"/>
                  <a:gd name="connsiteY4" fmla="*/ 1179512 h 1304925"/>
                  <a:gd name="connsiteX5" fmla="*/ 846974 w 919163"/>
                  <a:gd name="connsiteY5" fmla="*/ 1179512 h 1304925"/>
                  <a:gd name="connsiteX6" fmla="*/ 859125 w 919163"/>
                  <a:gd name="connsiteY6" fmla="*/ 1191695 h 1304925"/>
                  <a:gd name="connsiteX7" fmla="*/ 859125 w 919163"/>
                  <a:gd name="connsiteY7" fmla="*/ 1216061 h 1304925"/>
                  <a:gd name="connsiteX8" fmla="*/ 907727 w 919163"/>
                  <a:gd name="connsiteY8" fmla="*/ 1216061 h 1304925"/>
                  <a:gd name="connsiteX9" fmla="*/ 919163 w 919163"/>
                  <a:gd name="connsiteY9" fmla="*/ 1228244 h 1304925"/>
                  <a:gd name="connsiteX10" fmla="*/ 919163 w 919163"/>
                  <a:gd name="connsiteY10" fmla="*/ 1292742 h 1304925"/>
                  <a:gd name="connsiteX11" fmla="*/ 907727 w 919163"/>
                  <a:gd name="connsiteY11" fmla="*/ 1304925 h 1304925"/>
                  <a:gd name="connsiteX12" fmla="*/ 11436 w 919163"/>
                  <a:gd name="connsiteY12" fmla="*/ 1304925 h 1304925"/>
                  <a:gd name="connsiteX13" fmla="*/ 0 w 919163"/>
                  <a:gd name="connsiteY13" fmla="*/ 1292742 h 1304925"/>
                  <a:gd name="connsiteX14" fmla="*/ 0 w 919163"/>
                  <a:gd name="connsiteY14" fmla="*/ 1228244 h 1304925"/>
                  <a:gd name="connsiteX15" fmla="*/ 11436 w 919163"/>
                  <a:gd name="connsiteY15" fmla="*/ 1216061 h 1304925"/>
                  <a:gd name="connsiteX16" fmla="*/ 60038 w 919163"/>
                  <a:gd name="connsiteY16" fmla="*/ 1216061 h 1304925"/>
                  <a:gd name="connsiteX17" fmla="*/ 60038 w 919163"/>
                  <a:gd name="connsiteY17" fmla="*/ 1191695 h 1304925"/>
                  <a:gd name="connsiteX18" fmla="*/ 72189 w 919163"/>
                  <a:gd name="connsiteY18" fmla="*/ 1179512 h 1304925"/>
                  <a:gd name="connsiteX19" fmla="*/ 765175 w 919163"/>
                  <a:gd name="connsiteY19" fmla="*/ 746125 h 1304925"/>
                  <a:gd name="connsiteX20" fmla="*/ 796925 w 919163"/>
                  <a:gd name="connsiteY20" fmla="*/ 773113 h 1304925"/>
                  <a:gd name="connsiteX21" fmla="*/ 796925 w 919163"/>
                  <a:gd name="connsiteY21" fmla="*/ 1155700 h 1304925"/>
                  <a:gd name="connsiteX22" fmla="*/ 765175 w 919163"/>
                  <a:gd name="connsiteY22" fmla="*/ 1155700 h 1304925"/>
                  <a:gd name="connsiteX23" fmla="*/ 153987 w 919163"/>
                  <a:gd name="connsiteY23" fmla="*/ 746125 h 1304925"/>
                  <a:gd name="connsiteX24" fmla="*/ 153987 w 919163"/>
                  <a:gd name="connsiteY24" fmla="*/ 1155700 h 1304925"/>
                  <a:gd name="connsiteX25" fmla="*/ 122237 w 919163"/>
                  <a:gd name="connsiteY25" fmla="*/ 1155700 h 1304925"/>
                  <a:gd name="connsiteX26" fmla="*/ 122237 w 919163"/>
                  <a:gd name="connsiteY26" fmla="*/ 773113 h 1304925"/>
                  <a:gd name="connsiteX27" fmla="*/ 459222 w 919163"/>
                  <a:gd name="connsiteY27" fmla="*/ 226106 h 1304925"/>
                  <a:gd name="connsiteX28" fmla="*/ 556532 w 919163"/>
                  <a:gd name="connsiteY28" fmla="*/ 261129 h 1304925"/>
                  <a:gd name="connsiteX29" fmla="*/ 557251 w 919163"/>
                  <a:gd name="connsiteY29" fmla="*/ 261849 h 1304925"/>
                  <a:gd name="connsiteX30" fmla="*/ 559405 w 919163"/>
                  <a:gd name="connsiteY30" fmla="*/ 284177 h 1304925"/>
                  <a:gd name="connsiteX31" fmla="*/ 547196 w 919163"/>
                  <a:gd name="connsiteY31" fmla="*/ 289939 h 1304925"/>
                  <a:gd name="connsiteX32" fmla="*/ 537860 w 919163"/>
                  <a:gd name="connsiteY32" fmla="*/ 287058 h 1304925"/>
                  <a:gd name="connsiteX33" fmla="*/ 537142 w 919163"/>
                  <a:gd name="connsiteY33" fmla="*/ 286338 h 1304925"/>
                  <a:gd name="connsiteX34" fmla="*/ 381302 w 919163"/>
                  <a:gd name="connsiteY34" fmla="*/ 287058 h 1304925"/>
                  <a:gd name="connsiteX35" fmla="*/ 359758 w 919163"/>
                  <a:gd name="connsiteY35" fmla="*/ 284177 h 1304925"/>
                  <a:gd name="connsiteX36" fmla="*/ 361912 w 919163"/>
                  <a:gd name="connsiteY36" fmla="*/ 261849 h 1304925"/>
                  <a:gd name="connsiteX37" fmla="*/ 459222 w 919163"/>
                  <a:gd name="connsiteY37" fmla="*/ 226106 h 1304925"/>
                  <a:gd name="connsiteX38" fmla="*/ 458869 w 919163"/>
                  <a:gd name="connsiteY38" fmla="*/ 115887 h 1304925"/>
                  <a:gd name="connsiteX39" fmla="*/ 459582 w 919163"/>
                  <a:gd name="connsiteY39" fmla="*/ 115887 h 1304925"/>
                  <a:gd name="connsiteX40" fmla="*/ 618511 w 919163"/>
                  <a:gd name="connsiteY40" fmla="*/ 173708 h 1304925"/>
                  <a:gd name="connsiteX41" fmla="*/ 619224 w 919163"/>
                  <a:gd name="connsiteY41" fmla="*/ 174431 h 1304925"/>
                  <a:gd name="connsiteX42" fmla="*/ 622074 w 919163"/>
                  <a:gd name="connsiteY42" fmla="*/ 196114 h 1304925"/>
                  <a:gd name="connsiteX43" fmla="*/ 609246 w 919163"/>
                  <a:gd name="connsiteY43" fmla="*/ 202619 h 1304925"/>
                  <a:gd name="connsiteX44" fmla="*/ 599981 w 919163"/>
                  <a:gd name="connsiteY44" fmla="*/ 199005 h 1304925"/>
                  <a:gd name="connsiteX45" fmla="*/ 599268 w 919163"/>
                  <a:gd name="connsiteY45" fmla="*/ 199005 h 1304925"/>
                  <a:gd name="connsiteX46" fmla="*/ 319182 w 919163"/>
                  <a:gd name="connsiteY46" fmla="*/ 199005 h 1304925"/>
                  <a:gd name="connsiteX47" fmla="*/ 297089 w 919163"/>
                  <a:gd name="connsiteY47" fmla="*/ 196837 h 1304925"/>
                  <a:gd name="connsiteX48" fmla="*/ 299940 w 919163"/>
                  <a:gd name="connsiteY48" fmla="*/ 174431 h 1304925"/>
                  <a:gd name="connsiteX49" fmla="*/ 458869 w 919163"/>
                  <a:gd name="connsiteY49" fmla="*/ 115887 h 1304925"/>
                  <a:gd name="connsiteX50" fmla="*/ 454577 w 919163"/>
                  <a:gd name="connsiteY50" fmla="*/ 0 h 1304925"/>
                  <a:gd name="connsiteX51" fmla="*/ 458867 w 919163"/>
                  <a:gd name="connsiteY51" fmla="*/ 0 h 1304925"/>
                  <a:gd name="connsiteX52" fmla="*/ 459582 w 919163"/>
                  <a:gd name="connsiteY52" fmla="*/ 0 h 1304925"/>
                  <a:gd name="connsiteX53" fmla="*/ 460297 w 919163"/>
                  <a:gd name="connsiteY53" fmla="*/ 0 h 1304925"/>
                  <a:gd name="connsiteX54" fmla="*/ 464587 w 919163"/>
                  <a:gd name="connsiteY54" fmla="*/ 0 h 1304925"/>
                  <a:gd name="connsiteX55" fmla="*/ 467447 w 919163"/>
                  <a:gd name="connsiteY55" fmla="*/ 714 h 1304925"/>
                  <a:gd name="connsiteX56" fmla="*/ 473882 w 919163"/>
                  <a:gd name="connsiteY56" fmla="*/ 714 h 1304925"/>
                  <a:gd name="connsiteX57" fmla="*/ 475312 w 919163"/>
                  <a:gd name="connsiteY57" fmla="*/ 714 h 1304925"/>
                  <a:gd name="connsiteX58" fmla="*/ 483178 w 919163"/>
                  <a:gd name="connsiteY58" fmla="*/ 1428 h 1304925"/>
                  <a:gd name="connsiteX59" fmla="*/ 588287 w 919163"/>
                  <a:gd name="connsiteY59" fmla="*/ 23559 h 1304925"/>
                  <a:gd name="connsiteX60" fmla="*/ 595438 w 919163"/>
                  <a:gd name="connsiteY60" fmla="*/ 26415 h 1304925"/>
                  <a:gd name="connsiteX61" fmla="*/ 596153 w 919163"/>
                  <a:gd name="connsiteY61" fmla="*/ 26415 h 1304925"/>
                  <a:gd name="connsiteX62" fmla="*/ 603303 w 919163"/>
                  <a:gd name="connsiteY62" fmla="*/ 29270 h 1304925"/>
                  <a:gd name="connsiteX63" fmla="*/ 604018 w 919163"/>
                  <a:gd name="connsiteY63" fmla="*/ 29270 h 1304925"/>
                  <a:gd name="connsiteX64" fmla="*/ 610453 w 919163"/>
                  <a:gd name="connsiteY64" fmla="*/ 32126 h 1304925"/>
                  <a:gd name="connsiteX65" fmla="*/ 611883 w 919163"/>
                  <a:gd name="connsiteY65" fmla="*/ 32840 h 1304925"/>
                  <a:gd name="connsiteX66" fmla="*/ 618319 w 919163"/>
                  <a:gd name="connsiteY66" fmla="*/ 35695 h 1304925"/>
                  <a:gd name="connsiteX67" fmla="*/ 619749 w 919163"/>
                  <a:gd name="connsiteY67" fmla="*/ 36409 h 1304925"/>
                  <a:gd name="connsiteX68" fmla="*/ 625469 w 919163"/>
                  <a:gd name="connsiteY68" fmla="*/ 39265 h 1304925"/>
                  <a:gd name="connsiteX69" fmla="*/ 627614 w 919163"/>
                  <a:gd name="connsiteY69" fmla="*/ 39979 h 1304925"/>
                  <a:gd name="connsiteX70" fmla="*/ 633334 w 919163"/>
                  <a:gd name="connsiteY70" fmla="*/ 42834 h 1304925"/>
                  <a:gd name="connsiteX71" fmla="*/ 635480 w 919163"/>
                  <a:gd name="connsiteY71" fmla="*/ 44262 h 1304925"/>
                  <a:gd name="connsiteX72" fmla="*/ 640485 w 919163"/>
                  <a:gd name="connsiteY72" fmla="*/ 46404 h 1304925"/>
                  <a:gd name="connsiteX73" fmla="*/ 643345 w 919163"/>
                  <a:gd name="connsiteY73" fmla="*/ 47832 h 1304925"/>
                  <a:gd name="connsiteX74" fmla="*/ 648350 w 919163"/>
                  <a:gd name="connsiteY74" fmla="*/ 50687 h 1304925"/>
                  <a:gd name="connsiteX75" fmla="*/ 651210 w 919163"/>
                  <a:gd name="connsiteY75" fmla="*/ 52115 h 1304925"/>
                  <a:gd name="connsiteX76" fmla="*/ 655500 w 919163"/>
                  <a:gd name="connsiteY76" fmla="*/ 54971 h 1304925"/>
                  <a:gd name="connsiteX77" fmla="*/ 658361 w 919163"/>
                  <a:gd name="connsiteY77" fmla="*/ 56399 h 1304925"/>
                  <a:gd name="connsiteX78" fmla="*/ 663366 w 919163"/>
                  <a:gd name="connsiteY78" fmla="*/ 59254 h 1304925"/>
                  <a:gd name="connsiteX79" fmla="*/ 666226 w 919163"/>
                  <a:gd name="connsiteY79" fmla="*/ 61396 h 1304925"/>
                  <a:gd name="connsiteX80" fmla="*/ 670516 w 919163"/>
                  <a:gd name="connsiteY80" fmla="*/ 63538 h 1304925"/>
                  <a:gd name="connsiteX81" fmla="*/ 673376 w 919163"/>
                  <a:gd name="connsiteY81" fmla="*/ 65679 h 1304925"/>
                  <a:gd name="connsiteX82" fmla="*/ 677666 w 919163"/>
                  <a:gd name="connsiteY82" fmla="*/ 68535 h 1304925"/>
                  <a:gd name="connsiteX83" fmla="*/ 681242 w 919163"/>
                  <a:gd name="connsiteY83" fmla="*/ 70677 h 1304925"/>
                  <a:gd name="connsiteX84" fmla="*/ 685532 w 919163"/>
                  <a:gd name="connsiteY84" fmla="*/ 73532 h 1304925"/>
                  <a:gd name="connsiteX85" fmla="*/ 688392 w 919163"/>
                  <a:gd name="connsiteY85" fmla="*/ 75674 h 1304925"/>
                  <a:gd name="connsiteX86" fmla="*/ 692682 w 919163"/>
                  <a:gd name="connsiteY86" fmla="*/ 78530 h 1304925"/>
                  <a:gd name="connsiteX87" fmla="*/ 695542 w 919163"/>
                  <a:gd name="connsiteY87" fmla="*/ 80671 h 1304925"/>
                  <a:gd name="connsiteX88" fmla="*/ 699832 w 919163"/>
                  <a:gd name="connsiteY88" fmla="*/ 84241 h 1304925"/>
                  <a:gd name="connsiteX89" fmla="*/ 702693 w 919163"/>
                  <a:gd name="connsiteY89" fmla="*/ 86383 h 1304925"/>
                  <a:gd name="connsiteX90" fmla="*/ 707698 w 919163"/>
                  <a:gd name="connsiteY90" fmla="*/ 89952 h 1304925"/>
                  <a:gd name="connsiteX91" fmla="*/ 709843 w 919163"/>
                  <a:gd name="connsiteY91" fmla="*/ 91380 h 1304925"/>
                  <a:gd name="connsiteX92" fmla="*/ 711273 w 919163"/>
                  <a:gd name="connsiteY92" fmla="*/ 92094 h 1304925"/>
                  <a:gd name="connsiteX93" fmla="*/ 714133 w 919163"/>
                  <a:gd name="connsiteY93" fmla="*/ 114225 h 1304925"/>
                  <a:gd name="connsiteX94" fmla="*/ 701262 w 919163"/>
                  <a:gd name="connsiteY94" fmla="*/ 120650 h 1304925"/>
                  <a:gd name="connsiteX95" fmla="*/ 691967 w 919163"/>
                  <a:gd name="connsiteY95" fmla="*/ 117081 h 1304925"/>
                  <a:gd name="connsiteX96" fmla="*/ 687677 w 919163"/>
                  <a:gd name="connsiteY96" fmla="*/ 114225 h 1304925"/>
                  <a:gd name="connsiteX97" fmla="*/ 684102 w 919163"/>
                  <a:gd name="connsiteY97" fmla="*/ 111369 h 1304925"/>
                  <a:gd name="connsiteX98" fmla="*/ 681242 w 919163"/>
                  <a:gd name="connsiteY98" fmla="*/ 109228 h 1304925"/>
                  <a:gd name="connsiteX99" fmla="*/ 677666 w 919163"/>
                  <a:gd name="connsiteY99" fmla="*/ 106372 h 1304925"/>
                  <a:gd name="connsiteX100" fmla="*/ 674091 w 919163"/>
                  <a:gd name="connsiteY100" fmla="*/ 104230 h 1304925"/>
                  <a:gd name="connsiteX101" fmla="*/ 670516 w 919163"/>
                  <a:gd name="connsiteY101" fmla="*/ 101375 h 1304925"/>
                  <a:gd name="connsiteX102" fmla="*/ 666941 w 919163"/>
                  <a:gd name="connsiteY102" fmla="*/ 99233 h 1304925"/>
                  <a:gd name="connsiteX103" fmla="*/ 663366 w 919163"/>
                  <a:gd name="connsiteY103" fmla="*/ 97091 h 1304925"/>
                  <a:gd name="connsiteX104" fmla="*/ 659791 w 919163"/>
                  <a:gd name="connsiteY104" fmla="*/ 94236 h 1304925"/>
                  <a:gd name="connsiteX105" fmla="*/ 656930 w 919163"/>
                  <a:gd name="connsiteY105" fmla="*/ 92094 h 1304925"/>
                  <a:gd name="connsiteX106" fmla="*/ 652640 w 919163"/>
                  <a:gd name="connsiteY106" fmla="*/ 89952 h 1304925"/>
                  <a:gd name="connsiteX107" fmla="*/ 649780 w 919163"/>
                  <a:gd name="connsiteY107" fmla="*/ 87810 h 1304925"/>
                  <a:gd name="connsiteX108" fmla="*/ 645490 w 919163"/>
                  <a:gd name="connsiteY108" fmla="*/ 85669 h 1304925"/>
                  <a:gd name="connsiteX109" fmla="*/ 642630 w 919163"/>
                  <a:gd name="connsiteY109" fmla="*/ 83527 h 1304925"/>
                  <a:gd name="connsiteX110" fmla="*/ 638340 w 919163"/>
                  <a:gd name="connsiteY110" fmla="*/ 81385 h 1304925"/>
                  <a:gd name="connsiteX111" fmla="*/ 635480 w 919163"/>
                  <a:gd name="connsiteY111" fmla="*/ 79244 h 1304925"/>
                  <a:gd name="connsiteX112" fmla="*/ 631189 w 919163"/>
                  <a:gd name="connsiteY112" fmla="*/ 77102 h 1304925"/>
                  <a:gd name="connsiteX113" fmla="*/ 628329 w 919163"/>
                  <a:gd name="connsiteY113" fmla="*/ 75674 h 1304925"/>
                  <a:gd name="connsiteX114" fmla="*/ 624039 w 919163"/>
                  <a:gd name="connsiteY114" fmla="*/ 73532 h 1304925"/>
                  <a:gd name="connsiteX115" fmla="*/ 621179 w 919163"/>
                  <a:gd name="connsiteY115" fmla="*/ 72105 h 1304925"/>
                  <a:gd name="connsiteX116" fmla="*/ 616889 w 919163"/>
                  <a:gd name="connsiteY116" fmla="*/ 69963 h 1304925"/>
                  <a:gd name="connsiteX117" fmla="*/ 614029 w 919163"/>
                  <a:gd name="connsiteY117" fmla="*/ 68535 h 1304925"/>
                  <a:gd name="connsiteX118" fmla="*/ 609738 w 919163"/>
                  <a:gd name="connsiteY118" fmla="*/ 66393 h 1304925"/>
                  <a:gd name="connsiteX119" fmla="*/ 606878 w 919163"/>
                  <a:gd name="connsiteY119" fmla="*/ 64966 h 1304925"/>
                  <a:gd name="connsiteX120" fmla="*/ 602588 w 919163"/>
                  <a:gd name="connsiteY120" fmla="*/ 62824 h 1304925"/>
                  <a:gd name="connsiteX121" fmla="*/ 599728 w 919163"/>
                  <a:gd name="connsiteY121" fmla="*/ 62110 h 1304925"/>
                  <a:gd name="connsiteX122" fmla="*/ 595438 w 919163"/>
                  <a:gd name="connsiteY122" fmla="*/ 59968 h 1304925"/>
                  <a:gd name="connsiteX123" fmla="*/ 592578 w 919163"/>
                  <a:gd name="connsiteY123" fmla="*/ 58540 h 1304925"/>
                  <a:gd name="connsiteX124" fmla="*/ 588287 w 919163"/>
                  <a:gd name="connsiteY124" fmla="*/ 57113 h 1304925"/>
                  <a:gd name="connsiteX125" fmla="*/ 585427 w 919163"/>
                  <a:gd name="connsiteY125" fmla="*/ 55685 h 1304925"/>
                  <a:gd name="connsiteX126" fmla="*/ 581137 w 919163"/>
                  <a:gd name="connsiteY126" fmla="*/ 54257 h 1304925"/>
                  <a:gd name="connsiteX127" fmla="*/ 578277 w 919163"/>
                  <a:gd name="connsiteY127" fmla="*/ 52829 h 1304925"/>
                  <a:gd name="connsiteX128" fmla="*/ 573272 w 919163"/>
                  <a:gd name="connsiteY128" fmla="*/ 51401 h 1304925"/>
                  <a:gd name="connsiteX129" fmla="*/ 571127 w 919163"/>
                  <a:gd name="connsiteY129" fmla="*/ 50687 h 1304925"/>
                  <a:gd name="connsiteX130" fmla="*/ 566121 w 919163"/>
                  <a:gd name="connsiteY130" fmla="*/ 49260 h 1304925"/>
                  <a:gd name="connsiteX131" fmla="*/ 563261 w 919163"/>
                  <a:gd name="connsiteY131" fmla="*/ 47832 h 1304925"/>
                  <a:gd name="connsiteX132" fmla="*/ 558971 w 919163"/>
                  <a:gd name="connsiteY132" fmla="*/ 46404 h 1304925"/>
                  <a:gd name="connsiteX133" fmla="*/ 556111 w 919163"/>
                  <a:gd name="connsiteY133" fmla="*/ 45690 h 1304925"/>
                  <a:gd name="connsiteX134" fmla="*/ 551821 w 919163"/>
                  <a:gd name="connsiteY134" fmla="*/ 44262 h 1304925"/>
                  <a:gd name="connsiteX135" fmla="*/ 548961 w 919163"/>
                  <a:gd name="connsiteY135" fmla="*/ 43548 h 1304925"/>
                  <a:gd name="connsiteX136" fmla="*/ 543955 w 919163"/>
                  <a:gd name="connsiteY136" fmla="*/ 42834 h 1304925"/>
                  <a:gd name="connsiteX137" fmla="*/ 541095 w 919163"/>
                  <a:gd name="connsiteY137" fmla="*/ 42121 h 1304925"/>
                  <a:gd name="connsiteX138" fmla="*/ 536805 w 919163"/>
                  <a:gd name="connsiteY138" fmla="*/ 40693 h 1304925"/>
                  <a:gd name="connsiteX139" fmla="*/ 533945 w 919163"/>
                  <a:gd name="connsiteY139" fmla="*/ 39979 h 1304925"/>
                  <a:gd name="connsiteX140" fmla="*/ 529655 w 919163"/>
                  <a:gd name="connsiteY140" fmla="*/ 39265 h 1304925"/>
                  <a:gd name="connsiteX141" fmla="*/ 526795 w 919163"/>
                  <a:gd name="connsiteY141" fmla="*/ 38551 h 1304925"/>
                  <a:gd name="connsiteX142" fmla="*/ 521789 w 919163"/>
                  <a:gd name="connsiteY142" fmla="*/ 37837 h 1304925"/>
                  <a:gd name="connsiteX143" fmla="*/ 518929 w 919163"/>
                  <a:gd name="connsiteY143" fmla="*/ 37123 h 1304925"/>
                  <a:gd name="connsiteX144" fmla="*/ 514639 w 919163"/>
                  <a:gd name="connsiteY144" fmla="*/ 36409 h 1304925"/>
                  <a:gd name="connsiteX145" fmla="*/ 511779 w 919163"/>
                  <a:gd name="connsiteY145" fmla="*/ 35695 h 1304925"/>
                  <a:gd name="connsiteX146" fmla="*/ 507489 w 919163"/>
                  <a:gd name="connsiteY146" fmla="*/ 34981 h 1304925"/>
                  <a:gd name="connsiteX147" fmla="*/ 504629 w 919163"/>
                  <a:gd name="connsiteY147" fmla="*/ 34981 h 1304925"/>
                  <a:gd name="connsiteX148" fmla="*/ 499624 w 919163"/>
                  <a:gd name="connsiteY148" fmla="*/ 34268 h 1304925"/>
                  <a:gd name="connsiteX149" fmla="*/ 496763 w 919163"/>
                  <a:gd name="connsiteY149" fmla="*/ 33554 h 1304925"/>
                  <a:gd name="connsiteX150" fmla="*/ 492473 w 919163"/>
                  <a:gd name="connsiteY150" fmla="*/ 33554 h 1304925"/>
                  <a:gd name="connsiteX151" fmla="*/ 489613 w 919163"/>
                  <a:gd name="connsiteY151" fmla="*/ 32840 h 1304925"/>
                  <a:gd name="connsiteX152" fmla="*/ 485323 w 919163"/>
                  <a:gd name="connsiteY152" fmla="*/ 32840 h 1304925"/>
                  <a:gd name="connsiteX153" fmla="*/ 481748 w 919163"/>
                  <a:gd name="connsiteY153" fmla="*/ 32840 h 1304925"/>
                  <a:gd name="connsiteX154" fmla="*/ 477458 w 919163"/>
                  <a:gd name="connsiteY154" fmla="*/ 32126 h 1304925"/>
                  <a:gd name="connsiteX155" fmla="*/ 474597 w 919163"/>
                  <a:gd name="connsiteY155" fmla="*/ 32126 h 1304925"/>
                  <a:gd name="connsiteX156" fmla="*/ 470307 w 919163"/>
                  <a:gd name="connsiteY156" fmla="*/ 32126 h 1304925"/>
                  <a:gd name="connsiteX157" fmla="*/ 467447 w 919163"/>
                  <a:gd name="connsiteY157" fmla="*/ 32126 h 1304925"/>
                  <a:gd name="connsiteX158" fmla="*/ 462442 w 919163"/>
                  <a:gd name="connsiteY158" fmla="*/ 32126 h 1304925"/>
                  <a:gd name="connsiteX159" fmla="*/ 459582 w 919163"/>
                  <a:gd name="connsiteY159" fmla="*/ 32126 h 1304925"/>
                  <a:gd name="connsiteX160" fmla="*/ 455292 w 919163"/>
                  <a:gd name="connsiteY160" fmla="*/ 32126 h 1304925"/>
                  <a:gd name="connsiteX161" fmla="*/ 452431 w 919163"/>
                  <a:gd name="connsiteY161" fmla="*/ 32126 h 1304925"/>
                  <a:gd name="connsiteX162" fmla="*/ 448141 w 919163"/>
                  <a:gd name="connsiteY162" fmla="*/ 32126 h 1304925"/>
                  <a:gd name="connsiteX163" fmla="*/ 444566 w 919163"/>
                  <a:gd name="connsiteY163" fmla="*/ 32126 h 1304925"/>
                  <a:gd name="connsiteX164" fmla="*/ 440276 w 919163"/>
                  <a:gd name="connsiteY164" fmla="*/ 32126 h 1304925"/>
                  <a:gd name="connsiteX165" fmla="*/ 437416 w 919163"/>
                  <a:gd name="connsiteY165" fmla="*/ 32840 h 1304925"/>
                  <a:gd name="connsiteX166" fmla="*/ 433126 w 919163"/>
                  <a:gd name="connsiteY166" fmla="*/ 32840 h 1304925"/>
                  <a:gd name="connsiteX167" fmla="*/ 429550 w 919163"/>
                  <a:gd name="connsiteY167" fmla="*/ 32840 h 1304925"/>
                  <a:gd name="connsiteX168" fmla="*/ 425260 w 919163"/>
                  <a:gd name="connsiteY168" fmla="*/ 33554 h 1304925"/>
                  <a:gd name="connsiteX169" fmla="*/ 422400 w 919163"/>
                  <a:gd name="connsiteY169" fmla="*/ 33554 h 1304925"/>
                  <a:gd name="connsiteX170" fmla="*/ 418110 w 919163"/>
                  <a:gd name="connsiteY170" fmla="*/ 34268 h 1304925"/>
                  <a:gd name="connsiteX171" fmla="*/ 415250 w 919163"/>
                  <a:gd name="connsiteY171" fmla="*/ 34981 h 1304925"/>
                  <a:gd name="connsiteX172" fmla="*/ 410960 w 919163"/>
                  <a:gd name="connsiteY172" fmla="*/ 35695 h 1304925"/>
                  <a:gd name="connsiteX173" fmla="*/ 407384 w 919163"/>
                  <a:gd name="connsiteY173" fmla="*/ 35695 h 1304925"/>
                  <a:gd name="connsiteX174" fmla="*/ 403094 w 919163"/>
                  <a:gd name="connsiteY174" fmla="*/ 36409 h 1304925"/>
                  <a:gd name="connsiteX175" fmla="*/ 400234 w 919163"/>
                  <a:gd name="connsiteY175" fmla="*/ 37123 h 1304925"/>
                  <a:gd name="connsiteX176" fmla="*/ 395944 w 919163"/>
                  <a:gd name="connsiteY176" fmla="*/ 37837 h 1304925"/>
                  <a:gd name="connsiteX177" fmla="*/ 393084 w 919163"/>
                  <a:gd name="connsiteY177" fmla="*/ 38551 h 1304925"/>
                  <a:gd name="connsiteX178" fmla="*/ 388794 w 919163"/>
                  <a:gd name="connsiteY178" fmla="*/ 39265 h 1304925"/>
                  <a:gd name="connsiteX179" fmla="*/ 385218 w 919163"/>
                  <a:gd name="connsiteY179" fmla="*/ 39979 h 1304925"/>
                  <a:gd name="connsiteX180" fmla="*/ 380928 w 919163"/>
                  <a:gd name="connsiteY180" fmla="*/ 40693 h 1304925"/>
                  <a:gd name="connsiteX181" fmla="*/ 378068 w 919163"/>
                  <a:gd name="connsiteY181" fmla="*/ 42121 h 1304925"/>
                  <a:gd name="connsiteX182" fmla="*/ 373778 w 919163"/>
                  <a:gd name="connsiteY182" fmla="*/ 42834 h 1304925"/>
                  <a:gd name="connsiteX183" fmla="*/ 370918 w 919163"/>
                  <a:gd name="connsiteY183" fmla="*/ 43548 h 1304925"/>
                  <a:gd name="connsiteX184" fmla="*/ 366628 w 919163"/>
                  <a:gd name="connsiteY184" fmla="*/ 44976 h 1304925"/>
                  <a:gd name="connsiteX185" fmla="*/ 363052 w 919163"/>
                  <a:gd name="connsiteY185" fmla="*/ 45690 h 1304925"/>
                  <a:gd name="connsiteX186" fmla="*/ 359477 w 919163"/>
                  <a:gd name="connsiteY186" fmla="*/ 47118 h 1304925"/>
                  <a:gd name="connsiteX187" fmla="*/ 355902 w 919163"/>
                  <a:gd name="connsiteY187" fmla="*/ 47832 h 1304925"/>
                  <a:gd name="connsiteX188" fmla="*/ 351612 w 919163"/>
                  <a:gd name="connsiteY188" fmla="*/ 49260 h 1304925"/>
                  <a:gd name="connsiteX189" fmla="*/ 348752 w 919163"/>
                  <a:gd name="connsiteY189" fmla="*/ 50687 h 1304925"/>
                  <a:gd name="connsiteX190" fmla="*/ 344462 w 919163"/>
                  <a:gd name="connsiteY190" fmla="*/ 52115 h 1304925"/>
                  <a:gd name="connsiteX191" fmla="*/ 341602 w 919163"/>
                  <a:gd name="connsiteY191" fmla="*/ 52829 h 1304925"/>
                  <a:gd name="connsiteX192" fmla="*/ 337311 w 919163"/>
                  <a:gd name="connsiteY192" fmla="*/ 54257 h 1304925"/>
                  <a:gd name="connsiteX193" fmla="*/ 333736 w 919163"/>
                  <a:gd name="connsiteY193" fmla="*/ 55685 h 1304925"/>
                  <a:gd name="connsiteX194" fmla="*/ 330161 w 919163"/>
                  <a:gd name="connsiteY194" fmla="*/ 57113 h 1304925"/>
                  <a:gd name="connsiteX195" fmla="*/ 326586 w 919163"/>
                  <a:gd name="connsiteY195" fmla="*/ 58540 h 1304925"/>
                  <a:gd name="connsiteX196" fmla="*/ 323011 w 919163"/>
                  <a:gd name="connsiteY196" fmla="*/ 60682 h 1304925"/>
                  <a:gd name="connsiteX197" fmla="*/ 319436 w 919163"/>
                  <a:gd name="connsiteY197" fmla="*/ 61396 h 1304925"/>
                  <a:gd name="connsiteX198" fmla="*/ 315145 w 919163"/>
                  <a:gd name="connsiteY198" fmla="*/ 63538 h 1304925"/>
                  <a:gd name="connsiteX199" fmla="*/ 312285 w 919163"/>
                  <a:gd name="connsiteY199" fmla="*/ 64966 h 1304925"/>
                  <a:gd name="connsiteX200" fmla="*/ 307995 w 919163"/>
                  <a:gd name="connsiteY200" fmla="*/ 67107 h 1304925"/>
                  <a:gd name="connsiteX201" fmla="*/ 305135 w 919163"/>
                  <a:gd name="connsiteY201" fmla="*/ 68535 h 1304925"/>
                  <a:gd name="connsiteX202" fmla="*/ 300845 w 919163"/>
                  <a:gd name="connsiteY202" fmla="*/ 70677 h 1304925"/>
                  <a:gd name="connsiteX203" fmla="*/ 297985 w 919163"/>
                  <a:gd name="connsiteY203" fmla="*/ 72105 h 1304925"/>
                  <a:gd name="connsiteX204" fmla="*/ 293694 w 919163"/>
                  <a:gd name="connsiteY204" fmla="*/ 74246 h 1304925"/>
                  <a:gd name="connsiteX205" fmla="*/ 290834 w 919163"/>
                  <a:gd name="connsiteY205" fmla="*/ 75674 h 1304925"/>
                  <a:gd name="connsiteX206" fmla="*/ 286544 w 919163"/>
                  <a:gd name="connsiteY206" fmla="*/ 77816 h 1304925"/>
                  <a:gd name="connsiteX207" fmla="*/ 283684 w 919163"/>
                  <a:gd name="connsiteY207" fmla="*/ 79244 h 1304925"/>
                  <a:gd name="connsiteX208" fmla="*/ 279394 w 919163"/>
                  <a:gd name="connsiteY208" fmla="*/ 82099 h 1304925"/>
                  <a:gd name="connsiteX209" fmla="*/ 276534 w 919163"/>
                  <a:gd name="connsiteY209" fmla="*/ 83527 h 1304925"/>
                  <a:gd name="connsiteX210" fmla="*/ 272243 w 919163"/>
                  <a:gd name="connsiteY210" fmla="*/ 85669 h 1304925"/>
                  <a:gd name="connsiteX211" fmla="*/ 269383 w 919163"/>
                  <a:gd name="connsiteY211" fmla="*/ 87810 h 1304925"/>
                  <a:gd name="connsiteX212" fmla="*/ 265808 w 919163"/>
                  <a:gd name="connsiteY212" fmla="*/ 90666 h 1304925"/>
                  <a:gd name="connsiteX213" fmla="*/ 262948 w 919163"/>
                  <a:gd name="connsiteY213" fmla="*/ 92094 h 1304925"/>
                  <a:gd name="connsiteX214" fmla="*/ 258658 w 919163"/>
                  <a:gd name="connsiteY214" fmla="*/ 94950 h 1304925"/>
                  <a:gd name="connsiteX215" fmla="*/ 255798 w 919163"/>
                  <a:gd name="connsiteY215" fmla="*/ 96377 h 1304925"/>
                  <a:gd name="connsiteX216" fmla="*/ 251508 w 919163"/>
                  <a:gd name="connsiteY216" fmla="*/ 99233 h 1304925"/>
                  <a:gd name="connsiteX217" fmla="*/ 248647 w 919163"/>
                  <a:gd name="connsiteY217" fmla="*/ 101375 h 1304925"/>
                  <a:gd name="connsiteX218" fmla="*/ 244357 w 919163"/>
                  <a:gd name="connsiteY218" fmla="*/ 104230 h 1304925"/>
                  <a:gd name="connsiteX219" fmla="*/ 242212 w 919163"/>
                  <a:gd name="connsiteY219" fmla="*/ 106372 h 1304925"/>
                  <a:gd name="connsiteX220" fmla="*/ 237922 w 919163"/>
                  <a:gd name="connsiteY220" fmla="*/ 109228 h 1304925"/>
                  <a:gd name="connsiteX221" fmla="*/ 235062 w 919163"/>
                  <a:gd name="connsiteY221" fmla="*/ 111369 h 1304925"/>
                  <a:gd name="connsiteX222" fmla="*/ 230772 w 919163"/>
                  <a:gd name="connsiteY222" fmla="*/ 114225 h 1304925"/>
                  <a:gd name="connsiteX223" fmla="*/ 227196 w 919163"/>
                  <a:gd name="connsiteY223" fmla="*/ 117081 h 1304925"/>
                  <a:gd name="connsiteX224" fmla="*/ 217901 w 919163"/>
                  <a:gd name="connsiteY224" fmla="*/ 120650 h 1304925"/>
                  <a:gd name="connsiteX225" fmla="*/ 205030 w 919163"/>
                  <a:gd name="connsiteY225" fmla="*/ 114225 h 1304925"/>
                  <a:gd name="connsiteX226" fmla="*/ 207891 w 919163"/>
                  <a:gd name="connsiteY226" fmla="*/ 92094 h 1304925"/>
                  <a:gd name="connsiteX227" fmla="*/ 209321 w 919163"/>
                  <a:gd name="connsiteY227" fmla="*/ 91380 h 1304925"/>
                  <a:gd name="connsiteX228" fmla="*/ 211466 w 919163"/>
                  <a:gd name="connsiteY228" fmla="*/ 89952 h 1304925"/>
                  <a:gd name="connsiteX229" fmla="*/ 216471 w 919163"/>
                  <a:gd name="connsiteY229" fmla="*/ 86383 h 1304925"/>
                  <a:gd name="connsiteX230" fmla="*/ 219331 w 919163"/>
                  <a:gd name="connsiteY230" fmla="*/ 84241 h 1304925"/>
                  <a:gd name="connsiteX231" fmla="*/ 223621 w 919163"/>
                  <a:gd name="connsiteY231" fmla="*/ 80671 h 1304925"/>
                  <a:gd name="connsiteX232" fmla="*/ 226481 w 919163"/>
                  <a:gd name="connsiteY232" fmla="*/ 78530 h 1304925"/>
                  <a:gd name="connsiteX233" fmla="*/ 230772 w 919163"/>
                  <a:gd name="connsiteY233" fmla="*/ 75674 h 1304925"/>
                  <a:gd name="connsiteX234" fmla="*/ 233632 w 919163"/>
                  <a:gd name="connsiteY234" fmla="*/ 73532 h 1304925"/>
                  <a:gd name="connsiteX235" fmla="*/ 237922 w 919163"/>
                  <a:gd name="connsiteY235" fmla="*/ 70677 h 1304925"/>
                  <a:gd name="connsiteX236" fmla="*/ 240782 w 919163"/>
                  <a:gd name="connsiteY236" fmla="*/ 68535 h 1304925"/>
                  <a:gd name="connsiteX237" fmla="*/ 245787 w 919163"/>
                  <a:gd name="connsiteY237" fmla="*/ 65679 h 1304925"/>
                  <a:gd name="connsiteX238" fmla="*/ 248647 w 919163"/>
                  <a:gd name="connsiteY238" fmla="*/ 64252 h 1304925"/>
                  <a:gd name="connsiteX239" fmla="*/ 252938 w 919163"/>
                  <a:gd name="connsiteY239" fmla="*/ 61396 h 1304925"/>
                  <a:gd name="connsiteX240" fmla="*/ 255798 w 919163"/>
                  <a:gd name="connsiteY240" fmla="*/ 59254 h 1304925"/>
                  <a:gd name="connsiteX241" fmla="*/ 260803 w 919163"/>
                  <a:gd name="connsiteY241" fmla="*/ 56399 h 1304925"/>
                  <a:gd name="connsiteX242" fmla="*/ 263663 w 919163"/>
                  <a:gd name="connsiteY242" fmla="*/ 54971 h 1304925"/>
                  <a:gd name="connsiteX243" fmla="*/ 267953 w 919163"/>
                  <a:gd name="connsiteY243" fmla="*/ 52115 h 1304925"/>
                  <a:gd name="connsiteX244" fmla="*/ 271528 w 919163"/>
                  <a:gd name="connsiteY244" fmla="*/ 50687 h 1304925"/>
                  <a:gd name="connsiteX245" fmla="*/ 275819 w 919163"/>
                  <a:gd name="connsiteY245" fmla="*/ 47832 h 1304925"/>
                  <a:gd name="connsiteX246" fmla="*/ 278679 w 919163"/>
                  <a:gd name="connsiteY246" fmla="*/ 46404 h 1304925"/>
                  <a:gd name="connsiteX247" fmla="*/ 283684 w 919163"/>
                  <a:gd name="connsiteY247" fmla="*/ 44262 h 1304925"/>
                  <a:gd name="connsiteX248" fmla="*/ 286544 w 919163"/>
                  <a:gd name="connsiteY248" fmla="*/ 42834 h 1304925"/>
                  <a:gd name="connsiteX249" fmla="*/ 290834 w 919163"/>
                  <a:gd name="connsiteY249" fmla="*/ 39979 h 1304925"/>
                  <a:gd name="connsiteX250" fmla="*/ 294409 w 919163"/>
                  <a:gd name="connsiteY250" fmla="*/ 38551 h 1304925"/>
                  <a:gd name="connsiteX251" fmla="*/ 298700 w 919163"/>
                  <a:gd name="connsiteY251" fmla="*/ 36409 h 1304925"/>
                  <a:gd name="connsiteX252" fmla="*/ 302275 w 919163"/>
                  <a:gd name="connsiteY252" fmla="*/ 34981 h 1304925"/>
                  <a:gd name="connsiteX253" fmla="*/ 306565 w 919163"/>
                  <a:gd name="connsiteY253" fmla="*/ 32840 h 1304925"/>
                  <a:gd name="connsiteX254" fmla="*/ 309425 w 919163"/>
                  <a:gd name="connsiteY254" fmla="*/ 31412 h 1304925"/>
                  <a:gd name="connsiteX255" fmla="*/ 314430 w 919163"/>
                  <a:gd name="connsiteY255" fmla="*/ 29984 h 1304925"/>
                  <a:gd name="connsiteX256" fmla="*/ 317290 w 919163"/>
                  <a:gd name="connsiteY256" fmla="*/ 28556 h 1304925"/>
                  <a:gd name="connsiteX257" fmla="*/ 322296 w 919163"/>
                  <a:gd name="connsiteY257" fmla="*/ 26415 h 1304925"/>
                  <a:gd name="connsiteX258" fmla="*/ 325156 w 919163"/>
                  <a:gd name="connsiteY258" fmla="*/ 25701 h 1304925"/>
                  <a:gd name="connsiteX259" fmla="*/ 330161 w 919163"/>
                  <a:gd name="connsiteY259" fmla="*/ 23559 h 1304925"/>
                  <a:gd name="connsiteX260" fmla="*/ 333021 w 919163"/>
                  <a:gd name="connsiteY260" fmla="*/ 22845 h 1304925"/>
                  <a:gd name="connsiteX261" fmla="*/ 338026 w 919163"/>
                  <a:gd name="connsiteY261" fmla="*/ 20703 h 1304925"/>
                  <a:gd name="connsiteX262" fmla="*/ 340886 w 919163"/>
                  <a:gd name="connsiteY262" fmla="*/ 19989 h 1304925"/>
                  <a:gd name="connsiteX263" fmla="*/ 345892 w 919163"/>
                  <a:gd name="connsiteY263" fmla="*/ 18562 h 1304925"/>
                  <a:gd name="connsiteX264" fmla="*/ 348752 w 919163"/>
                  <a:gd name="connsiteY264" fmla="*/ 17134 h 1304925"/>
                  <a:gd name="connsiteX265" fmla="*/ 353757 w 919163"/>
                  <a:gd name="connsiteY265" fmla="*/ 15706 h 1304925"/>
                  <a:gd name="connsiteX266" fmla="*/ 357332 w 919163"/>
                  <a:gd name="connsiteY266" fmla="*/ 14992 h 1304925"/>
                  <a:gd name="connsiteX267" fmla="*/ 361622 w 919163"/>
                  <a:gd name="connsiteY267" fmla="*/ 13564 h 1304925"/>
                  <a:gd name="connsiteX268" fmla="*/ 365198 w 919163"/>
                  <a:gd name="connsiteY268" fmla="*/ 12850 h 1304925"/>
                  <a:gd name="connsiteX269" fmla="*/ 370203 w 919163"/>
                  <a:gd name="connsiteY269" fmla="*/ 11423 h 1304925"/>
                  <a:gd name="connsiteX270" fmla="*/ 373063 w 919163"/>
                  <a:gd name="connsiteY270" fmla="*/ 10709 h 1304925"/>
                  <a:gd name="connsiteX271" fmla="*/ 378068 w 919163"/>
                  <a:gd name="connsiteY271" fmla="*/ 9281 h 1304925"/>
                  <a:gd name="connsiteX272" fmla="*/ 380928 w 919163"/>
                  <a:gd name="connsiteY272" fmla="*/ 8567 h 1304925"/>
                  <a:gd name="connsiteX273" fmla="*/ 385933 w 919163"/>
                  <a:gd name="connsiteY273" fmla="*/ 7853 h 1304925"/>
                  <a:gd name="connsiteX274" fmla="*/ 388794 w 919163"/>
                  <a:gd name="connsiteY274" fmla="*/ 7139 h 1304925"/>
                  <a:gd name="connsiteX275" fmla="*/ 394514 w 919163"/>
                  <a:gd name="connsiteY275" fmla="*/ 6425 h 1304925"/>
                  <a:gd name="connsiteX276" fmla="*/ 397374 w 919163"/>
                  <a:gd name="connsiteY276" fmla="*/ 5711 h 1304925"/>
                  <a:gd name="connsiteX277" fmla="*/ 402379 w 919163"/>
                  <a:gd name="connsiteY277" fmla="*/ 4997 h 1304925"/>
                  <a:gd name="connsiteX278" fmla="*/ 405239 w 919163"/>
                  <a:gd name="connsiteY278" fmla="*/ 4284 h 1304925"/>
                  <a:gd name="connsiteX279" fmla="*/ 410245 w 919163"/>
                  <a:gd name="connsiteY279" fmla="*/ 3570 h 1304925"/>
                  <a:gd name="connsiteX280" fmla="*/ 413105 w 919163"/>
                  <a:gd name="connsiteY280" fmla="*/ 3570 h 1304925"/>
                  <a:gd name="connsiteX281" fmla="*/ 418825 w 919163"/>
                  <a:gd name="connsiteY281" fmla="*/ 2856 h 1304925"/>
                  <a:gd name="connsiteX282" fmla="*/ 421685 w 919163"/>
                  <a:gd name="connsiteY282" fmla="*/ 2142 h 1304925"/>
                  <a:gd name="connsiteX283" fmla="*/ 426690 w 919163"/>
                  <a:gd name="connsiteY283" fmla="*/ 2142 h 1304925"/>
                  <a:gd name="connsiteX284" fmla="*/ 429550 w 919163"/>
                  <a:gd name="connsiteY284" fmla="*/ 1428 h 1304925"/>
                  <a:gd name="connsiteX285" fmla="*/ 434556 w 919163"/>
                  <a:gd name="connsiteY285" fmla="*/ 1428 h 1304925"/>
                  <a:gd name="connsiteX286" fmla="*/ 438131 w 919163"/>
                  <a:gd name="connsiteY286" fmla="*/ 714 h 1304925"/>
                  <a:gd name="connsiteX287" fmla="*/ 443136 w 919163"/>
                  <a:gd name="connsiteY287" fmla="*/ 714 h 1304925"/>
                  <a:gd name="connsiteX288" fmla="*/ 445996 w 919163"/>
                  <a:gd name="connsiteY288" fmla="*/ 714 h 1304925"/>
                  <a:gd name="connsiteX289" fmla="*/ 451001 w 919163"/>
                  <a:gd name="connsiteY289" fmla="*/ 714 h 1304925"/>
                  <a:gd name="connsiteX290" fmla="*/ 454577 w 919163"/>
                  <a:gd name="connsiteY290" fmla="*/ 0 h 1304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</a:cxnLst>
                <a:rect l="l" t="t" r="r" b="b"/>
                <a:pathLst>
                  <a:path w="919163" h="1304925">
                    <a:moveTo>
                      <a:pt x="72189" y="1179512"/>
                    </a:moveTo>
                    <a:cubicBezTo>
                      <a:pt x="72189" y="1179512"/>
                      <a:pt x="72189" y="1179512"/>
                      <a:pt x="122221" y="1179512"/>
                    </a:cubicBezTo>
                    <a:cubicBezTo>
                      <a:pt x="122221" y="1179512"/>
                      <a:pt x="122221" y="1179512"/>
                      <a:pt x="153670" y="1179512"/>
                    </a:cubicBezTo>
                    <a:cubicBezTo>
                      <a:pt x="153670" y="1179512"/>
                      <a:pt x="153670" y="1179512"/>
                      <a:pt x="765493" y="1179512"/>
                    </a:cubicBezTo>
                    <a:cubicBezTo>
                      <a:pt x="765493" y="1179512"/>
                      <a:pt x="765493" y="1179512"/>
                      <a:pt x="796942" y="1179512"/>
                    </a:cubicBezTo>
                    <a:cubicBezTo>
                      <a:pt x="796942" y="1179512"/>
                      <a:pt x="796942" y="1179512"/>
                      <a:pt x="846974" y="1179512"/>
                    </a:cubicBezTo>
                    <a:cubicBezTo>
                      <a:pt x="853407" y="1179512"/>
                      <a:pt x="859125" y="1185245"/>
                      <a:pt x="859125" y="1191695"/>
                    </a:cubicBezTo>
                    <a:cubicBezTo>
                      <a:pt x="859125" y="1191695"/>
                      <a:pt x="859125" y="1191695"/>
                      <a:pt x="859125" y="1216061"/>
                    </a:cubicBezTo>
                    <a:cubicBezTo>
                      <a:pt x="859125" y="1216061"/>
                      <a:pt x="859125" y="1216061"/>
                      <a:pt x="907727" y="1216061"/>
                    </a:cubicBezTo>
                    <a:cubicBezTo>
                      <a:pt x="914160" y="1216061"/>
                      <a:pt x="919163" y="1221078"/>
                      <a:pt x="919163" y="1228244"/>
                    </a:cubicBezTo>
                    <a:cubicBezTo>
                      <a:pt x="919163" y="1228244"/>
                      <a:pt x="919163" y="1228244"/>
                      <a:pt x="919163" y="1292742"/>
                    </a:cubicBezTo>
                    <a:cubicBezTo>
                      <a:pt x="919163" y="1299192"/>
                      <a:pt x="914160" y="1304925"/>
                      <a:pt x="907727" y="1304925"/>
                    </a:cubicBezTo>
                    <a:cubicBezTo>
                      <a:pt x="907727" y="1304925"/>
                      <a:pt x="907727" y="1304925"/>
                      <a:pt x="11436" y="1304925"/>
                    </a:cubicBezTo>
                    <a:cubicBezTo>
                      <a:pt x="5003" y="1304925"/>
                      <a:pt x="0" y="1299192"/>
                      <a:pt x="0" y="1292742"/>
                    </a:cubicBezTo>
                    <a:cubicBezTo>
                      <a:pt x="0" y="1292742"/>
                      <a:pt x="0" y="1292742"/>
                      <a:pt x="0" y="1228244"/>
                    </a:cubicBezTo>
                    <a:cubicBezTo>
                      <a:pt x="0" y="1221078"/>
                      <a:pt x="5003" y="1216061"/>
                      <a:pt x="11436" y="1216061"/>
                    </a:cubicBezTo>
                    <a:cubicBezTo>
                      <a:pt x="11436" y="1216061"/>
                      <a:pt x="11436" y="1216061"/>
                      <a:pt x="60038" y="1216061"/>
                    </a:cubicBezTo>
                    <a:cubicBezTo>
                      <a:pt x="60038" y="1216061"/>
                      <a:pt x="60038" y="1216061"/>
                      <a:pt x="60038" y="1191695"/>
                    </a:cubicBezTo>
                    <a:cubicBezTo>
                      <a:pt x="60038" y="1185245"/>
                      <a:pt x="65756" y="1179512"/>
                      <a:pt x="72189" y="1179512"/>
                    </a:cubicBezTo>
                    <a:close/>
                    <a:moveTo>
                      <a:pt x="765175" y="746125"/>
                    </a:moveTo>
                    <a:lnTo>
                      <a:pt x="796925" y="773113"/>
                    </a:lnTo>
                    <a:lnTo>
                      <a:pt x="796925" y="1155700"/>
                    </a:lnTo>
                    <a:lnTo>
                      <a:pt x="765175" y="1155700"/>
                    </a:lnTo>
                    <a:close/>
                    <a:moveTo>
                      <a:pt x="153987" y="746125"/>
                    </a:moveTo>
                    <a:lnTo>
                      <a:pt x="153987" y="1155700"/>
                    </a:lnTo>
                    <a:lnTo>
                      <a:pt x="122237" y="1155700"/>
                    </a:lnTo>
                    <a:lnTo>
                      <a:pt x="122237" y="773113"/>
                    </a:lnTo>
                    <a:close/>
                    <a:moveTo>
                      <a:pt x="459222" y="226106"/>
                    </a:moveTo>
                    <a:cubicBezTo>
                      <a:pt x="492616" y="226016"/>
                      <a:pt x="526011" y="237720"/>
                      <a:pt x="556532" y="261129"/>
                    </a:cubicBezTo>
                    <a:lnTo>
                      <a:pt x="557251" y="261849"/>
                    </a:lnTo>
                    <a:cubicBezTo>
                      <a:pt x="563714" y="266891"/>
                      <a:pt x="565150" y="276975"/>
                      <a:pt x="559405" y="284177"/>
                    </a:cubicBezTo>
                    <a:cubicBezTo>
                      <a:pt x="556532" y="287779"/>
                      <a:pt x="552223" y="289939"/>
                      <a:pt x="547196" y="289939"/>
                    </a:cubicBezTo>
                    <a:cubicBezTo>
                      <a:pt x="543606" y="289939"/>
                      <a:pt x="540733" y="289219"/>
                      <a:pt x="537860" y="287058"/>
                    </a:cubicBezTo>
                    <a:cubicBezTo>
                      <a:pt x="537860" y="287058"/>
                      <a:pt x="537860" y="287058"/>
                      <a:pt x="537142" y="286338"/>
                    </a:cubicBezTo>
                    <a:cubicBezTo>
                      <a:pt x="488308" y="248885"/>
                      <a:pt x="430137" y="248885"/>
                      <a:pt x="381302" y="287058"/>
                    </a:cubicBezTo>
                    <a:cubicBezTo>
                      <a:pt x="374839" y="292100"/>
                      <a:pt x="364785" y="290660"/>
                      <a:pt x="359758" y="284177"/>
                    </a:cubicBezTo>
                    <a:cubicBezTo>
                      <a:pt x="354012" y="276975"/>
                      <a:pt x="355449" y="266891"/>
                      <a:pt x="361912" y="261849"/>
                    </a:cubicBezTo>
                    <a:cubicBezTo>
                      <a:pt x="392434" y="238081"/>
                      <a:pt x="425828" y="226196"/>
                      <a:pt x="459222" y="226106"/>
                    </a:cubicBezTo>
                    <a:close/>
                    <a:moveTo>
                      <a:pt x="458869" y="115887"/>
                    </a:moveTo>
                    <a:cubicBezTo>
                      <a:pt x="459582" y="115887"/>
                      <a:pt x="459582" y="115887"/>
                      <a:pt x="459582" y="115887"/>
                    </a:cubicBezTo>
                    <a:cubicBezTo>
                      <a:pt x="515171" y="115887"/>
                      <a:pt x="570048" y="135402"/>
                      <a:pt x="618511" y="173708"/>
                    </a:cubicBezTo>
                    <a:cubicBezTo>
                      <a:pt x="618511" y="173708"/>
                      <a:pt x="618511" y="173708"/>
                      <a:pt x="619224" y="174431"/>
                    </a:cubicBezTo>
                    <a:cubicBezTo>
                      <a:pt x="625638" y="179490"/>
                      <a:pt x="627063" y="189609"/>
                      <a:pt x="622074" y="196114"/>
                    </a:cubicBezTo>
                    <a:cubicBezTo>
                      <a:pt x="619224" y="200451"/>
                      <a:pt x="614235" y="202619"/>
                      <a:pt x="609246" y="202619"/>
                    </a:cubicBezTo>
                    <a:cubicBezTo>
                      <a:pt x="606395" y="202619"/>
                      <a:pt x="602832" y="201896"/>
                      <a:pt x="599981" y="199005"/>
                    </a:cubicBezTo>
                    <a:lnTo>
                      <a:pt x="599268" y="199005"/>
                    </a:lnTo>
                    <a:cubicBezTo>
                      <a:pt x="511608" y="130342"/>
                      <a:pt x="406843" y="130342"/>
                      <a:pt x="319182" y="199005"/>
                    </a:cubicBezTo>
                    <a:cubicBezTo>
                      <a:pt x="312055" y="204787"/>
                      <a:pt x="302791" y="203342"/>
                      <a:pt x="297089" y="196837"/>
                    </a:cubicBezTo>
                    <a:cubicBezTo>
                      <a:pt x="292100" y="189609"/>
                      <a:pt x="292813" y="179490"/>
                      <a:pt x="299940" y="174431"/>
                    </a:cubicBezTo>
                    <a:cubicBezTo>
                      <a:pt x="348403" y="136125"/>
                      <a:pt x="403279" y="115887"/>
                      <a:pt x="458869" y="115887"/>
                    </a:cubicBezTo>
                    <a:close/>
                    <a:moveTo>
                      <a:pt x="454577" y="0"/>
                    </a:moveTo>
                    <a:cubicBezTo>
                      <a:pt x="456007" y="0"/>
                      <a:pt x="457437" y="0"/>
                      <a:pt x="458867" y="0"/>
                    </a:cubicBezTo>
                    <a:cubicBezTo>
                      <a:pt x="459582" y="0"/>
                      <a:pt x="459582" y="0"/>
                      <a:pt x="459582" y="0"/>
                    </a:cubicBezTo>
                    <a:cubicBezTo>
                      <a:pt x="459582" y="0"/>
                      <a:pt x="460297" y="0"/>
                      <a:pt x="460297" y="0"/>
                    </a:cubicBezTo>
                    <a:cubicBezTo>
                      <a:pt x="461727" y="0"/>
                      <a:pt x="463157" y="0"/>
                      <a:pt x="464587" y="0"/>
                    </a:cubicBezTo>
                    <a:cubicBezTo>
                      <a:pt x="465302" y="714"/>
                      <a:pt x="466732" y="714"/>
                      <a:pt x="467447" y="714"/>
                    </a:cubicBezTo>
                    <a:cubicBezTo>
                      <a:pt x="469592" y="714"/>
                      <a:pt x="471737" y="714"/>
                      <a:pt x="473882" y="714"/>
                    </a:cubicBezTo>
                    <a:cubicBezTo>
                      <a:pt x="474597" y="714"/>
                      <a:pt x="474597" y="714"/>
                      <a:pt x="475312" y="714"/>
                    </a:cubicBezTo>
                    <a:cubicBezTo>
                      <a:pt x="478173" y="714"/>
                      <a:pt x="480318" y="714"/>
                      <a:pt x="483178" y="1428"/>
                    </a:cubicBezTo>
                    <a:cubicBezTo>
                      <a:pt x="518929" y="3570"/>
                      <a:pt x="553966" y="10709"/>
                      <a:pt x="588287" y="23559"/>
                    </a:cubicBezTo>
                    <a:cubicBezTo>
                      <a:pt x="590433" y="24273"/>
                      <a:pt x="593293" y="24987"/>
                      <a:pt x="595438" y="26415"/>
                    </a:cubicBezTo>
                    <a:cubicBezTo>
                      <a:pt x="595438" y="26415"/>
                      <a:pt x="596153" y="26415"/>
                      <a:pt x="596153" y="26415"/>
                    </a:cubicBezTo>
                    <a:cubicBezTo>
                      <a:pt x="598298" y="27129"/>
                      <a:pt x="601158" y="27842"/>
                      <a:pt x="603303" y="29270"/>
                    </a:cubicBezTo>
                    <a:cubicBezTo>
                      <a:pt x="603303" y="29270"/>
                      <a:pt x="604018" y="29270"/>
                      <a:pt x="604018" y="29270"/>
                    </a:cubicBezTo>
                    <a:cubicBezTo>
                      <a:pt x="606163" y="30698"/>
                      <a:pt x="608308" y="31412"/>
                      <a:pt x="610453" y="32126"/>
                    </a:cubicBezTo>
                    <a:cubicBezTo>
                      <a:pt x="611168" y="32126"/>
                      <a:pt x="611883" y="32840"/>
                      <a:pt x="611883" y="32840"/>
                    </a:cubicBezTo>
                    <a:cubicBezTo>
                      <a:pt x="614029" y="33554"/>
                      <a:pt x="616174" y="34981"/>
                      <a:pt x="618319" y="35695"/>
                    </a:cubicBezTo>
                    <a:cubicBezTo>
                      <a:pt x="619034" y="35695"/>
                      <a:pt x="619034" y="36409"/>
                      <a:pt x="619749" y="36409"/>
                    </a:cubicBezTo>
                    <a:cubicBezTo>
                      <a:pt x="621894" y="37123"/>
                      <a:pt x="624039" y="37837"/>
                      <a:pt x="625469" y="39265"/>
                    </a:cubicBezTo>
                    <a:cubicBezTo>
                      <a:pt x="626184" y="39265"/>
                      <a:pt x="626899" y="39979"/>
                      <a:pt x="627614" y="39979"/>
                    </a:cubicBezTo>
                    <a:cubicBezTo>
                      <a:pt x="629759" y="40693"/>
                      <a:pt x="631189" y="42121"/>
                      <a:pt x="633334" y="42834"/>
                    </a:cubicBezTo>
                    <a:cubicBezTo>
                      <a:pt x="634049" y="42834"/>
                      <a:pt x="634764" y="43548"/>
                      <a:pt x="635480" y="44262"/>
                    </a:cubicBezTo>
                    <a:cubicBezTo>
                      <a:pt x="636910" y="44976"/>
                      <a:pt x="639055" y="45690"/>
                      <a:pt x="640485" y="46404"/>
                    </a:cubicBezTo>
                    <a:cubicBezTo>
                      <a:pt x="641200" y="47118"/>
                      <a:pt x="642630" y="47832"/>
                      <a:pt x="643345" y="47832"/>
                    </a:cubicBezTo>
                    <a:cubicBezTo>
                      <a:pt x="644775" y="48546"/>
                      <a:pt x="646205" y="49973"/>
                      <a:pt x="648350" y="50687"/>
                    </a:cubicBezTo>
                    <a:cubicBezTo>
                      <a:pt x="649065" y="51401"/>
                      <a:pt x="649780" y="51401"/>
                      <a:pt x="651210" y="52115"/>
                    </a:cubicBezTo>
                    <a:cubicBezTo>
                      <a:pt x="652640" y="52829"/>
                      <a:pt x="654070" y="54257"/>
                      <a:pt x="655500" y="54971"/>
                    </a:cubicBezTo>
                    <a:cubicBezTo>
                      <a:pt x="656215" y="55685"/>
                      <a:pt x="657646" y="55685"/>
                      <a:pt x="658361" y="56399"/>
                    </a:cubicBezTo>
                    <a:cubicBezTo>
                      <a:pt x="659791" y="57113"/>
                      <a:pt x="661221" y="58540"/>
                      <a:pt x="663366" y="59254"/>
                    </a:cubicBezTo>
                    <a:cubicBezTo>
                      <a:pt x="664081" y="59968"/>
                      <a:pt x="664796" y="60682"/>
                      <a:pt x="666226" y="61396"/>
                    </a:cubicBezTo>
                    <a:cubicBezTo>
                      <a:pt x="667656" y="62110"/>
                      <a:pt x="669086" y="62824"/>
                      <a:pt x="670516" y="63538"/>
                    </a:cubicBezTo>
                    <a:cubicBezTo>
                      <a:pt x="671231" y="64252"/>
                      <a:pt x="672661" y="64966"/>
                      <a:pt x="673376" y="65679"/>
                    </a:cubicBezTo>
                    <a:cubicBezTo>
                      <a:pt x="674806" y="66393"/>
                      <a:pt x="676236" y="67821"/>
                      <a:pt x="677666" y="68535"/>
                    </a:cubicBezTo>
                    <a:cubicBezTo>
                      <a:pt x="679096" y="69249"/>
                      <a:pt x="679811" y="69963"/>
                      <a:pt x="681242" y="70677"/>
                    </a:cubicBezTo>
                    <a:cubicBezTo>
                      <a:pt x="682672" y="71391"/>
                      <a:pt x="684102" y="72818"/>
                      <a:pt x="685532" y="73532"/>
                    </a:cubicBezTo>
                    <a:cubicBezTo>
                      <a:pt x="686247" y="74246"/>
                      <a:pt x="687677" y="74960"/>
                      <a:pt x="688392" y="75674"/>
                    </a:cubicBezTo>
                    <a:cubicBezTo>
                      <a:pt x="689822" y="76388"/>
                      <a:pt x="691252" y="77816"/>
                      <a:pt x="692682" y="78530"/>
                    </a:cubicBezTo>
                    <a:cubicBezTo>
                      <a:pt x="694112" y="79244"/>
                      <a:pt x="694827" y="79958"/>
                      <a:pt x="695542" y="80671"/>
                    </a:cubicBezTo>
                    <a:cubicBezTo>
                      <a:pt x="696972" y="82099"/>
                      <a:pt x="698402" y="82813"/>
                      <a:pt x="699832" y="84241"/>
                    </a:cubicBezTo>
                    <a:cubicBezTo>
                      <a:pt x="701262" y="84955"/>
                      <a:pt x="701977" y="85669"/>
                      <a:pt x="702693" y="86383"/>
                    </a:cubicBezTo>
                    <a:cubicBezTo>
                      <a:pt x="704838" y="87097"/>
                      <a:pt x="706268" y="88524"/>
                      <a:pt x="707698" y="89952"/>
                    </a:cubicBezTo>
                    <a:cubicBezTo>
                      <a:pt x="708413" y="89952"/>
                      <a:pt x="709128" y="90666"/>
                      <a:pt x="709843" y="91380"/>
                    </a:cubicBezTo>
                    <a:cubicBezTo>
                      <a:pt x="709843" y="91380"/>
                      <a:pt x="709843" y="91380"/>
                      <a:pt x="711273" y="92094"/>
                    </a:cubicBezTo>
                    <a:cubicBezTo>
                      <a:pt x="717708" y="97805"/>
                      <a:pt x="719138" y="107800"/>
                      <a:pt x="714133" y="114225"/>
                    </a:cubicBezTo>
                    <a:cubicBezTo>
                      <a:pt x="710558" y="118508"/>
                      <a:pt x="706268" y="120650"/>
                      <a:pt x="701262" y="120650"/>
                    </a:cubicBezTo>
                    <a:cubicBezTo>
                      <a:pt x="697687" y="120650"/>
                      <a:pt x="694827" y="119222"/>
                      <a:pt x="691967" y="117081"/>
                    </a:cubicBezTo>
                    <a:cubicBezTo>
                      <a:pt x="690537" y="116367"/>
                      <a:pt x="689107" y="114939"/>
                      <a:pt x="687677" y="114225"/>
                    </a:cubicBezTo>
                    <a:cubicBezTo>
                      <a:pt x="686247" y="113511"/>
                      <a:pt x="685532" y="112083"/>
                      <a:pt x="684102" y="111369"/>
                    </a:cubicBezTo>
                    <a:cubicBezTo>
                      <a:pt x="683387" y="110655"/>
                      <a:pt x="681957" y="109942"/>
                      <a:pt x="681242" y="109228"/>
                    </a:cubicBezTo>
                    <a:cubicBezTo>
                      <a:pt x="679811" y="107800"/>
                      <a:pt x="678381" y="107086"/>
                      <a:pt x="677666" y="106372"/>
                    </a:cubicBezTo>
                    <a:cubicBezTo>
                      <a:pt x="676236" y="105658"/>
                      <a:pt x="674806" y="104944"/>
                      <a:pt x="674091" y="104230"/>
                    </a:cubicBezTo>
                    <a:cubicBezTo>
                      <a:pt x="672661" y="102802"/>
                      <a:pt x="671946" y="102089"/>
                      <a:pt x="670516" y="101375"/>
                    </a:cubicBezTo>
                    <a:cubicBezTo>
                      <a:pt x="669086" y="100661"/>
                      <a:pt x="668371" y="99947"/>
                      <a:pt x="666941" y="99233"/>
                    </a:cubicBezTo>
                    <a:cubicBezTo>
                      <a:pt x="665511" y="98519"/>
                      <a:pt x="664796" y="97805"/>
                      <a:pt x="663366" y="97091"/>
                    </a:cubicBezTo>
                    <a:cubicBezTo>
                      <a:pt x="662651" y="95663"/>
                      <a:pt x="661221" y="94950"/>
                      <a:pt x="659791" y="94236"/>
                    </a:cubicBezTo>
                    <a:cubicBezTo>
                      <a:pt x="659076" y="93522"/>
                      <a:pt x="657646" y="92808"/>
                      <a:pt x="656930" y="92094"/>
                    </a:cubicBezTo>
                    <a:cubicBezTo>
                      <a:pt x="655500" y="91380"/>
                      <a:pt x="654070" y="90666"/>
                      <a:pt x="652640" y="89952"/>
                    </a:cubicBezTo>
                    <a:cubicBezTo>
                      <a:pt x="651925" y="89238"/>
                      <a:pt x="650495" y="88524"/>
                      <a:pt x="649780" y="87810"/>
                    </a:cubicBezTo>
                    <a:cubicBezTo>
                      <a:pt x="648350" y="87097"/>
                      <a:pt x="646920" y="86383"/>
                      <a:pt x="645490" y="85669"/>
                    </a:cubicBezTo>
                    <a:cubicBezTo>
                      <a:pt x="644775" y="84955"/>
                      <a:pt x="643345" y="84241"/>
                      <a:pt x="642630" y="83527"/>
                    </a:cubicBezTo>
                    <a:cubicBezTo>
                      <a:pt x="641200" y="82813"/>
                      <a:pt x="639770" y="82099"/>
                      <a:pt x="638340" y="81385"/>
                    </a:cubicBezTo>
                    <a:cubicBezTo>
                      <a:pt x="637625" y="80671"/>
                      <a:pt x="636910" y="79958"/>
                      <a:pt x="635480" y="79244"/>
                    </a:cubicBezTo>
                    <a:cubicBezTo>
                      <a:pt x="634049" y="78530"/>
                      <a:pt x="632619" y="77816"/>
                      <a:pt x="631189" y="77102"/>
                    </a:cubicBezTo>
                    <a:cubicBezTo>
                      <a:pt x="630474" y="77102"/>
                      <a:pt x="629759" y="76388"/>
                      <a:pt x="628329" y="75674"/>
                    </a:cubicBezTo>
                    <a:cubicBezTo>
                      <a:pt x="626899" y="74960"/>
                      <a:pt x="625469" y="74246"/>
                      <a:pt x="624039" y="73532"/>
                    </a:cubicBezTo>
                    <a:cubicBezTo>
                      <a:pt x="623324" y="72818"/>
                      <a:pt x="622609" y="72818"/>
                      <a:pt x="621179" y="72105"/>
                    </a:cubicBezTo>
                    <a:cubicBezTo>
                      <a:pt x="619749" y="71391"/>
                      <a:pt x="618319" y="70677"/>
                      <a:pt x="616889" y="69963"/>
                    </a:cubicBezTo>
                    <a:cubicBezTo>
                      <a:pt x="616174" y="69249"/>
                      <a:pt x="615459" y="68535"/>
                      <a:pt x="614029" y="68535"/>
                    </a:cubicBezTo>
                    <a:cubicBezTo>
                      <a:pt x="612599" y="67821"/>
                      <a:pt x="611168" y="67107"/>
                      <a:pt x="609738" y="66393"/>
                    </a:cubicBezTo>
                    <a:cubicBezTo>
                      <a:pt x="609023" y="65679"/>
                      <a:pt x="608308" y="65679"/>
                      <a:pt x="606878" y="64966"/>
                    </a:cubicBezTo>
                    <a:cubicBezTo>
                      <a:pt x="605448" y="64252"/>
                      <a:pt x="604018" y="63538"/>
                      <a:pt x="602588" y="62824"/>
                    </a:cubicBezTo>
                    <a:cubicBezTo>
                      <a:pt x="601873" y="62824"/>
                      <a:pt x="601158" y="62110"/>
                      <a:pt x="599728" y="62110"/>
                    </a:cubicBezTo>
                    <a:cubicBezTo>
                      <a:pt x="598298" y="61396"/>
                      <a:pt x="596868" y="60682"/>
                      <a:pt x="595438" y="59968"/>
                    </a:cubicBezTo>
                    <a:cubicBezTo>
                      <a:pt x="594723" y="59254"/>
                      <a:pt x="593293" y="59254"/>
                      <a:pt x="592578" y="58540"/>
                    </a:cubicBezTo>
                    <a:cubicBezTo>
                      <a:pt x="591148" y="57826"/>
                      <a:pt x="589718" y="57826"/>
                      <a:pt x="588287" y="57113"/>
                    </a:cubicBezTo>
                    <a:cubicBezTo>
                      <a:pt x="587572" y="56399"/>
                      <a:pt x="586142" y="56399"/>
                      <a:pt x="585427" y="55685"/>
                    </a:cubicBezTo>
                    <a:cubicBezTo>
                      <a:pt x="583997" y="54971"/>
                      <a:pt x="582567" y="54971"/>
                      <a:pt x="581137" y="54257"/>
                    </a:cubicBezTo>
                    <a:cubicBezTo>
                      <a:pt x="579707" y="53543"/>
                      <a:pt x="578992" y="53543"/>
                      <a:pt x="578277" y="52829"/>
                    </a:cubicBezTo>
                    <a:cubicBezTo>
                      <a:pt x="576847" y="52829"/>
                      <a:pt x="575417" y="52115"/>
                      <a:pt x="573272" y="51401"/>
                    </a:cubicBezTo>
                    <a:cubicBezTo>
                      <a:pt x="572557" y="51401"/>
                      <a:pt x="571842" y="50687"/>
                      <a:pt x="571127" y="50687"/>
                    </a:cubicBezTo>
                    <a:cubicBezTo>
                      <a:pt x="568982" y="49973"/>
                      <a:pt x="567552" y="49260"/>
                      <a:pt x="566121" y="49260"/>
                    </a:cubicBezTo>
                    <a:cubicBezTo>
                      <a:pt x="565406" y="48546"/>
                      <a:pt x="564691" y="48546"/>
                      <a:pt x="563261" y="47832"/>
                    </a:cubicBezTo>
                    <a:cubicBezTo>
                      <a:pt x="561831" y="47832"/>
                      <a:pt x="560401" y="47118"/>
                      <a:pt x="558971" y="46404"/>
                    </a:cubicBezTo>
                    <a:cubicBezTo>
                      <a:pt x="558256" y="46404"/>
                      <a:pt x="556826" y="46404"/>
                      <a:pt x="556111" y="45690"/>
                    </a:cubicBezTo>
                    <a:cubicBezTo>
                      <a:pt x="554681" y="45690"/>
                      <a:pt x="553251" y="44976"/>
                      <a:pt x="551821" y="44262"/>
                    </a:cubicBezTo>
                    <a:cubicBezTo>
                      <a:pt x="550391" y="44262"/>
                      <a:pt x="549676" y="44262"/>
                      <a:pt x="548961" y="43548"/>
                    </a:cubicBezTo>
                    <a:cubicBezTo>
                      <a:pt x="547531" y="43548"/>
                      <a:pt x="546101" y="42834"/>
                      <a:pt x="543955" y="42834"/>
                    </a:cubicBezTo>
                    <a:cubicBezTo>
                      <a:pt x="543240" y="42121"/>
                      <a:pt x="542525" y="42121"/>
                      <a:pt x="541095" y="42121"/>
                    </a:cubicBezTo>
                    <a:cubicBezTo>
                      <a:pt x="539665" y="41407"/>
                      <a:pt x="538235" y="41407"/>
                      <a:pt x="536805" y="40693"/>
                    </a:cubicBezTo>
                    <a:cubicBezTo>
                      <a:pt x="536090" y="40693"/>
                      <a:pt x="534660" y="39979"/>
                      <a:pt x="533945" y="39979"/>
                    </a:cubicBezTo>
                    <a:cubicBezTo>
                      <a:pt x="532515" y="39979"/>
                      <a:pt x="531085" y="39265"/>
                      <a:pt x="529655" y="39265"/>
                    </a:cubicBezTo>
                    <a:cubicBezTo>
                      <a:pt x="528225" y="39265"/>
                      <a:pt x="527510" y="38551"/>
                      <a:pt x="526795" y="38551"/>
                    </a:cubicBezTo>
                    <a:cubicBezTo>
                      <a:pt x="525365" y="38551"/>
                      <a:pt x="523935" y="37837"/>
                      <a:pt x="521789" y="37837"/>
                    </a:cubicBezTo>
                    <a:cubicBezTo>
                      <a:pt x="521074" y="37123"/>
                      <a:pt x="520359" y="37123"/>
                      <a:pt x="518929" y="37123"/>
                    </a:cubicBezTo>
                    <a:cubicBezTo>
                      <a:pt x="517499" y="37123"/>
                      <a:pt x="516069" y="36409"/>
                      <a:pt x="514639" y="36409"/>
                    </a:cubicBezTo>
                    <a:cubicBezTo>
                      <a:pt x="513924" y="36409"/>
                      <a:pt x="512494" y="35695"/>
                      <a:pt x="511779" y="35695"/>
                    </a:cubicBezTo>
                    <a:cubicBezTo>
                      <a:pt x="510349" y="35695"/>
                      <a:pt x="508919" y="35695"/>
                      <a:pt x="507489" y="34981"/>
                    </a:cubicBezTo>
                    <a:cubicBezTo>
                      <a:pt x="506059" y="34981"/>
                      <a:pt x="505344" y="34981"/>
                      <a:pt x="504629" y="34981"/>
                    </a:cubicBezTo>
                    <a:cubicBezTo>
                      <a:pt x="503199" y="34268"/>
                      <a:pt x="501054" y="34268"/>
                      <a:pt x="499624" y="34268"/>
                    </a:cubicBezTo>
                    <a:cubicBezTo>
                      <a:pt x="498908" y="34268"/>
                      <a:pt x="498193" y="34268"/>
                      <a:pt x="496763" y="33554"/>
                    </a:cubicBezTo>
                    <a:cubicBezTo>
                      <a:pt x="495333" y="33554"/>
                      <a:pt x="493903" y="33554"/>
                      <a:pt x="492473" y="33554"/>
                    </a:cubicBezTo>
                    <a:cubicBezTo>
                      <a:pt x="491758" y="33554"/>
                      <a:pt x="490328" y="33554"/>
                      <a:pt x="489613" y="32840"/>
                    </a:cubicBezTo>
                    <a:cubicBezTo>
                      <a:pt x="488183" y="32840"/>
                      <a:pt x="486753" y="32840"/>
                      <a:pt x="485323" y="32840"/>
                    </a:cubicBezTo>
                    <a:cubicBezTo>
                      <a:pt x="483893" y="32840"/>
                      <a:pt x="483178" y="32840"/>
                      <a:pt x="481748" y="32840"/>
                    </a:cubicBezTo>
                    <a:cubicBezTo>
                      <a:pt x="480318" y="32126"/>
                      <a:pt x="478888" y="32126"/>
                      <a:pt x="477458" y="32126"/>
                    </a:cubicBezTo>
                    <a:cubicBezTo>
                      <a:pt x="476742" y="32126"/>
                      <a:pt x="475312" y="32126"/>
                      <a:pt x="474597" y="32126"/>
                    </a:cubicBezTo>
                    <a:cubicBezTo>
                      <a:pt x="473167" y="32126"/>
                      <a:pt x="471737" y="32126"/>
                      <a:pt x="470307" y="32126"/>
                    </a:cubicBezTo>
                    <a:cubicBezTo>
                      <a:pt x="468877" y="32126"/>
                      <a:pt x="468162" y="32126"/>
                      <a:pt x="467447" y="32126"/>
                    </a:cubicBezTo>
                    <a:cubicBezTo>
                      <a:pt x="466017" y="32126"/>
                      <a:pt x="464587" y="32126"/>
                      <a:pt x="462442" y="32126"/>
                    </a:cubicBezTo>
                    <a:cubicBezTo>
                      <a:pt x="461727" y="32126"/>
                      <a:pt x="461012" y="32126"/>
                      <a:pt x="459582" y="32126"/>
                    </a:cubicBezTo>
                    <a:cubicBezTo>
                      <a:pt x="458152" y="32126"/>
                      <a:pt x="456722" y="32126"/>
                      <a:pt x="455292" y="32126"/>
                    </a:cubicBezTo>
                    <a:cubicBezTo>
                      <a:pt x="454577" y="32126"/>
                      <a:pt x="453146" y="32126"/>
                      <a:pt x="452431" y="32126"/>
                    </a:cubicBezTo>
                    <a:cubicBezTo>
                      <a:pt x="451001" y="32126"/>
                      <a:pt x="449571" y="32126"/>
                      <a:pt x="448141" y="32126"/>
                    </a:cubicBezTo>
                    <a:cubicBezTo>
                      <a:pt x="446711" y="32126"/>
                      <a:pt x="445996" y="32126"/>
                      <a:pt x="444566" y="32126"/>
                    </a:cubicBezTo>
                    <a:cubicBezTo>
                      <a:pt x="443136" y="32126"/>
                      <a:pt x="441706" y="32126"/>
                      <a:pt x="440276" y="32126"/>
                    </a:cubicBezTo>
                    <a:cubicBezTo>
                      <a:pt x="439561" y="32126"/>
                      <a:pt x="438131" y="32126"/>
                      <a:pt x="437416" y="32840"/>
                    </a:cubicBezTo>
                    <a:cubicBezTo>
                      <a:pt x="435986" y="32840"/>
                      <a:pt x="434556" y="32840"/>
                      <a:pt x="433126" y="32840"/>
                    </a:cubicBezTo>
                    <a:cubicBezTo>
                      <a:pt x="431696" y="32840"/>
                      <a:pt x="430980" y="32840"/>
                      <a:pt x="429550" y="32840"/>
                    </a:cubicBezTo>
                    <a:cubicBezTo>
                      <a:pt x="428120" y="33554"/>
                      <a:pt x="426690" y="33554"/>
                      <a:pt x="425260" y="33554"/>
                    </a:cubicBezTo>
                    <a:cubicBezTo>
                      <a:pt x="424545" y="33554"/>
                      <a:pt x="423830" y="33554"/>
                      <a:pt x="422400" y="33554"/>
                    </a:cubicBezTo>
                    <a:cubicBezTo>
                      <a:pt x="420970" y="34268"/>
                      <a:pt x="419540" y="34268"/>
                      <a:pt x="418110" y="34268"/>
                    </a:cubicBezTo>
                    <a:cubicBezTo>
                      <a:pt x="417395" y="34268"/>
                      <a:pt x="415965" y="34268"/>
                      <a:pt x="415250" y="34981"/>
                    </a:cubicBezTo>
                    <a:cubicBezTo>
                      <a:pt x="413820" y="34981"/>
                      <a:pt x="412390" y="34981"/>
                      <a:pt x="410960" y="35695"/>
                    </a:cubicBezTo>
                    <a:cubicBezTo>
                      <a:pt x="409530" y="35695"/>
                      <a:pt x="408814" y="35695"/>
                      <a:pt x="407384" y="35695"/>
                    </a:cubicBezTo>
                    <a:cubicBezTo>
                      <a:pt x="405954" y="35695"/>
                      <a:pt x="404524" y="36409"/>
                      <a:pt x="403094" y="36409"/>
                    </a:cubicBezTo>
                    <a:cubicBezTo>
                      <a:pt x="402379" y="36409"/>
                      <a:pt x="400949" y="37123"/>
                      <a:pt x="400234" y="37123"/>
                    </a:cubicBezTo>
                    <a:cubicBezTo>
                      <a:pt x="398804" y="37123"/>
                      <a:pt x="397374" y="37837"/>
                      <a:pt x="395944" y="37837"/>
                    </a:cubicBezTo>
                    <a:cubicBezTo>
                      <a:pt x="395229" y="37837"/>
                      <a:pt x="393799" y="38551"/>
                      <a:pt x="393084" y="38551"/>
                    </a:cubicBezTo>
                    <a:cubicBezTo>
                      <a:pt x="391654" y="38551"/>
                      <a:pt x="390224" y="39265"/>
                      <a:pt x="388794" y="39265"/>
                    </a:cubicBezTo>
                    <a:cubicBezTo>
                      <a:pt x="387364" y="39265"/>
                      <a:pt x="386649" y="39979"/>
                      <a:pt x="385218" y="39979"/>
                    </a:cubicBezTo>
                    <a:cubicBezTo>
                      <a:pt x="383788" y="40693"/>
                      <a:pt x="382358" y="40693"/>
                      <a:pt x="380928" y="40693"/>
                    </a:cubicBezTo>
                    <a:cubicBezTo>
                      <a:pt x="380213" y="41407"/>
                      <a:pt x="378783" y="41407"/>
                      <a:pt x="378068" y="42121"/>
                    </a:cubicBezTo>
                    <a:cubicBezTo>
                      <a:pt x="376638" y="42121"/>
                      <a:pt x="375208" y="42834"/>
                      <a:pt x="373778" y="42834"/>
                    </a:cubicBezTo>
                    <a:cubicBezTo>
                      <a:pt x="373063" y="42834"/>
                      <a:pt x="371633" y="43548"/>
                      <a:pt x="370918" y="43548"/>
                    </a:cubicBezTo>
                    <a:cubicBezTo>
                      <a:pt x="369488" y="44262"/>
                      <a:pt x="368058" y="44262"/>
                      <a:pt x="366628" y="44976"/>
                    </a:cubicBezTo>
                    <a:cubicBezTo>
                      <a:pt x="365198" y="44976"/>
                      <a:pt x="364483" y="45690"/>
                      <a:pt x="363052" y="45690"/>
                    </a:cubicBezTo>
                    <a:cubicBezTo>
                      <a:pt x="361622" y="46404"/>
                      <a:pt x="360192" y="46404"/>
                      <a:pt x="359477" y="47118"/>
                    </a:cubicBezTo>
                    <a:cubicBezTo>
                      <a:pt x="358047" y="47118"/>
                      <a:pt x="357332" y="47832"/>
                      <a:pt x="355902" y="47832"/>
                    </a:cubicBezTo>
                    <a:cubicBezTo>
                      <a:pt x="354472" y="48546"/>
                      <a:pt x="353042" y="48546"/>
                      <a:pt x="351612" y="49260"/>
                    </a:cubicBezTo>
                    <a:cubicBezTo>
                      <a:pt x="350897" y="49973"/>
                      <a:pt x="349467" y="49973"/>
                      <a:pt x="348752" y="50687"/>
                    </a:cubicBezTo>
                    <a:cubicBezTo>
                      <a:pt x="347322" y="50687"/>
                      <a:pt x="345892" y="51401"/>
                      <a:pt x="344462" y="52115"/>
                    </a:cubicBezTo>
                    <a:cubicBezTo>
                      <a:pt x="343747" y="52115"/>
                      <a:pt x="342317" y="52829"/>
                      <a:pt x="341602" y="52829"/>
                    </a:cubicBezTo>
                    <a:cubicBezTo>
                      <a:pt x="340171" y="53543"/>
                      <a:pt x="338741" y="54257"/>
                      <a:pt x="337311" y="54257"/>
                    </a:cubicBezTo>
                    <a:cubicBezTo>
                      <a:pt x="335881" y="54971"/>
                      <a:pt x="335166" y="54971"/>
                      <a:pt x="333736" y="55685"/>
                    </a:cubicBezTo>
                    <a:cubicBezTo>
                      <a:pt x="333021" y="56399"/>
                      <a:pt x="331591" y="57113"/>
                      <a:pt x="330161" y="57113"/>
                    </a:cubicBezTo>
                    <a:cubicBezTo>
                      <a:pt x="328731" y="57826"/>
                      <a:pt x="328016" y="57826"/>
                      <a:pt x="326586" y="58540"/>
                    </a:cubicBezTo>
                    <a:cubicBezTo>
                      <a:pt x="325156" y="59254"/>
                      <a:pt x="323726" y="59968"/>
                      <a:pt x="323011" y="60682"/>
                    </a:cubicBezTo>
                    <a:cubicBezTo>
                      <a:pt x="321581" y="60682"/>
                      <a:pt x="320866" y="61396"/>
                      <a:pt x="319436" y="61396"/>
                    </a:cubicBezTo>
                    <a:cubicBezTo>
                      <a:pt x="318005" y="62110"/>
                      <a:pt x="316575" y="62824"/>
                      <a:pt x="315145" y="63538"/>
                    </a:cubicBezTo>
                    <a:cubicBezTo>
                      <a:pt x="314430" y="64252"/>
                      <a:pt x="313715" y="64252"/>
                      <a:pt x="312285" y="64966"/>
                    </a:cubicBezTo>
                    <a:cubicBezTo>
                      <a:pt x="310855" y="65679"/>
                      <a:pt x="309425" y="66393"/>
                      <a:pt x="307995" y="67107"/>
                    </a:cubicBezTo>
                    <a:cubicBezTo>
                      <a:pt x="307280" y="67107"/>
                      <a:pt x="305850" y="67821"/>
                      <a:pt x="305135" y="68535"/>
                    </a:cubicBezTo>
                    <a:cubicBezTo>
                      <a:pt x="303705" y="69249"/>
                      <a:pt x="302275" y="69963"/>
                      <a:pt x="300845" y="70677"/>
                    </a:cubicBezTo>
                    <a:cubicBezTo>
                      <a:pt x="300130" y="70677"/>
                      <a:pt x="298700" y="71391"/>
                      <a:pt x="297985" y="72105"/>
                    </a:cubicBezTo>
                    <a:cubicBezTo>
                      <a:pt x="296555" y="72818"/>
                      <a:pt x="295124" y="73532"/>
                      <a:pt x="293694" y="74246"/>
                    </a:cubicBezTo>
                    <a:cubicBezTo>
                      <a:pt x="292979" y="74246"/>
                      <a:pt x="291549" y="74960"/>
                      <a:pt x="290834" y="75674"/>
                    </a:cubicBezTo>
                    <a:cubicBezTo>
                      <a:pt x="289404" y="76388"/>
                      <a:pt x="287974" y="77102"/>
                      <a:pt x="286544" y="77816"/>
                    </a:cubicBezTo>
                    <a:cubicBezTo>
                      <a:pt x="285829" y="78530"/>
                      <a:pt x="285114" y="79244"/>
                      <a:pt x="283684" y="79244"/>
                    </a:cubicBezTo>
                    <a:cubicBezTo>
                      <a:pt x="282254" y="79958"/>
                      <a:pt x="280824" y="81385"/>
                      <a:pt x="279394" y="82099"/>
                    </a:cubicBezTo>
                    <a:cubicBezTo>
                      <a:pt x="278679" y="82099"/>
                      <a:pt x="277964" y="82813"/>
                      <a:pt x="276534" y="83527"/>
                    </a:cubicBezTo>
                    <a:cubicBezTo>
                      <a:pt x="275104" y="84241"/>
                      <a:pt x="273674" y="84955"/>
                      <a:pt x="272243" y="85669"/>
                    </a:cubicBezTo>
                    <a:cubicBezTo>
                      <a:pt x="271528" y="86383"/>
                      <a:pt x="270813" y="87097"/>
                      <a:pt x="269383" y="87810"/>
                    </a:cubicBezTo>
                    <a:cubicBezTo>
                      <a:pt x="268668" y="88524"/>
                      <a:pt x="267238" y="89238"/>
                      <a:pt x="265808" y="90666"/>
                    </a:cubicBezTo>
                    <a:cubicBezTo>
                      <a:pt x="264378" y="90666"/>
                      <a:pt x="263663" y="91380"/>
                      <a:pt x="262948" y="92094"/>
                    </a:cubicBezTo>
                    <a:cubicBezTo>
                      <a:pt x="261518" y="92808"/>
                      <a:pt x="260088" y="94236"/>
                      <a:pt x="258658" y="94950"/>
                    </a:cubicBezTo>
                    <a:cubicBezTo>
                      <a:pt x="257228" y="95663"/>
                      <a:pt x="256513" y="96377"/>
                      <a:pt x="255798" y="96377"/>
                    </a:cubicBezTo>
                    <a:cubicBezTo>
                      <a:pt x="254368" y="97805"/>
                      <a:pt x="252938" y="98519"/>
                      <a:pt x="251508" y="99233"/>
                    </a:cubicBezTo>
                    <a:cubicBezTo>
                      <a:pt x="250792" y="99947"/>
                      <a:pt x="250077" y="100661"/>
                      <a:pt x="248647" y="101375"/>
                    </a:cubicBezTo>
                    <a:cubicBezTo>
                      <a:pt x="247217" y="102089"/>
                      <a:pt x="245787" y="103516"/>
                      <a:pt x="244357" y="104230"/>
                    </a:cubicBezTo>
                    <a:cubicBezTo>
                      <a:pt x="243642" y="104944"/>
                      <a:pt x="242927" y="105658"/>
                      <a:pt x="242212" y="106372"/>
                    </a:cubicBezTo>
                    <a:cubicBezTo>
                      <a:pt x="240782" y="107086"/>
                      <a:pt x="239352" y="108514"/>
                      <a:pt x="237922" y="109228"/>
                    </a:cubicBezTo>
                    <a:cubicBezTo>
                      <a:pt x="237207" y="109942"/>
                      <a:pt x="235777" y="110655"/>
                      <a:pt x="235062" y="111369"/>
                    </a:cubicBezTo>
                    <a:cubicBezTo>
                      <a:pt x="233632" y="112083"/>
                      <a:pt x="232202" y="113511"/>
                      <a:pt x="230772" y="114225"/>
                    </a:cubicBezTo>
                    <a:cubicBezTo>
                      <a:pt x="230057" y="115653"/>
                      <a:pt x="228627" y="116367"/>
                      <a:pt x="227196" y="117081"/>
                    </a:cubicBezTo>
                    <a:cubicBezTo>
                      <a:pt x="224336" y="119222"/>
                      <a:pt x="221476" y="120650"/>
                      <a:pt x="217901" y="120650"/>
                    </a:cubicBezTo>
                    <a:cubicBezTo>
                      <a:pt x="212896" y="120650"/>
                      <a:pt x="208606" y="118508"/>
                      <a:pt x="205030" y="114225"/>
                    </a:cubicBezTo>
                    <a:cubicBezTo>
                      <a:pt x="200025" y="107800"/>
                      <a:pt x="201455" y="97805"/>
                      <a:pt x="207891" y="92094"/>
                    </a:cubicBezTo>
                    <a:cubicBezTo>
                      <a:pt x="207891" y="92094"/>
                      <a:pt x="207891" y="92094"/>
                      <a:pt x="209321" y="91380"/>
                    </a:cubicBezTo>
                    <a:cubicBezTo>
                      <a:pt x="210036" y="90666"/>
                      <a:pt x="210751" y="89952"/>
                      <a:pt x="211466" y="89952"/>
                    </a:cubicBezTo>
                    <a:cubicBezTo>
                      <a:pt x="212896" y="88524"/>
                      <a:pt x="214326" y="87097"/>
                      <a:pt x="216471" y="86383"/>
                    </a:cubicBezTo>
                    <a:cubicBezTo>
                      <a:pt x="217186" y="85669"/>
                      <a:pt x="217901" y="84955"/>
                      <a:pt x="219331" y="84241"/>
                    </a:cubicBezTo>
                    <a:cubicBezTo>
                      <a:pt x="220761" y="82813"/>
                      <a:pt x="222191" y="82099"/>
                      <a:pt x="223621" y="80671"/>
                    </a:cubicBezTo>
                    <a:cubicBezTo>
                      <a:pt x="224336" y="79958"/>
                      <a:pt x="225051" y="79244"/>
                      <a:pt x="226481" y="78530"/>
                    </a:cubicBezTo>
                    <a:cubicBezTo>
                      <a:pt x="227911" y="77816"/>
                      <a:pt x="229342" y="77102"/>
                      <a:pt x="230772" y="75674"/>
                    </a:cubicBezTo>
                    <a:cubicBezTo>
                      <a:pt x="231487" y="74960"/>
                      <a:pt x="232917" y="74246"/>
                      <a:pt x="233632" y="73532"/>
                    </a:cubicBezTo>
                    <a:cubicBezTo>
                      <a:pt x="235062" y="72818"/>
                      <a:pt x="236492" y="71391"/>
                      <a:pt x="237922" y="70677"/>
                    </a:cubicBezTo>
                    <a:cubicBezTo>
                      <a:pt x="239352" y="69963"/>
                      <a:pt x="240067" y="69249"/>
                      <a:pt x="240782" y="68535"/>
                    </a:cubicBezTo>
                    <a:cubicBezTo>
                      <a:pt x="242927" y="67821"/>
                      <a:pt x="244357" y="67107"/>
                      <a:pt x="245787" y="65679"/>
                    </a:cubicBezTo>
                    <a:cubicBezTo>
                      <a:pt x="246502" y="64966"/>
                      <a:pt x="247217" y="64252"/>
                      <a:pt x="248647" y="64252"/>
                    </a:cubicBezTo>
                    <a:cubicBezTo>
                      <a:pt x="250077" y="62824"/>
                      <a:pt x="251508" y="62110"/>
                      <a:pt x="252938" y="61396"/>
                    </a:cubicBezTo>
                    <a:cubicBezTo>
                      <a:pt x="253653" y="60682"/>
                      <a:pt x="255083" y="59968"/>
                      <a:pt x="255798" y="59254"/>
                    </a:cubicBezTo>
                    <a:cubicBezTo>
                      <a:pt x="257228" y="58540"/>
                      <a:pt x="259373" y="57826"/>
                      <a:pt x="260803" y="56399"/>
                    </a:cubicBezTo>
                    <a:cubicBezTo>
                      <a:pt x="261518" y="55685"/>
                      <a:pt x="262948" y="55685"/>
                      <a:pt x="263663" y="54971"/>
                    </a:cubicBezTo>
                    <a:cubicBezTo>
                      <a:pt x="265093" y="54257"/>
                      <a:pt x="266523" y="52829"/>
                      <a:pt x="267953" y="52115"/>
                    </a:cubicBezTo>
                    <a:cubicBezTo>
                      <a:pt x="269383" y="51401"/>
                      <a:pt x="270098" y="51401"/>
                      <a:pt x="271528" y="50687"/>
                    </a:cubicBezTo>
                    <a:cubicBezTo>
                      <a:pt x="272958" y="49973"/>
                      <a:pt x="274389" y="49260"/>
                      <a:pt x="275819" y="47832"/>
                    </a:cubicBezTo>
                    <a:cubicBezTo>
                      <a:pt x="276534" y="47832"/>
                      <a:pt x="277964" y="47118"/>
                      <a:pt x="278679" y="46404"/>
                    </a:cubicBezTo>
                    <a:cubicBezTo>
                      <a:pt x="280109" y="45690"/>
                      <a:pt x="281539" y="44976"/>
                      <a:pt x="283684" y="44262"/>
                    </a:cubicBezTo>
                    <a:cubicBezTo>
                      <a:pt x="284399" y="43548"/>
                      <a:pt x="285114" y="42834"/>
                      <a:pt x="286544" y="42834"/>
                    </a:cubicBezTo>
                    <a:cubicBezTo>
                      <a:pt x="287974" y="41407"/>
                      <a:pt x="289404" y="40693"/>
                      <a:pt x="290834" y="39979"/>
                    </a:cubicBezTo>
                    <a:cubicBezTo>
                      <a:pt x="292264" y="39979"/>
                      <a:pt x="292979" y="39265"/>
                      <a:pt x="294409" y="38551"/>
                    </a:cubicBezTo>
                    <a:cubicBezTo>
                      <a:pt x="295839" y="37837"/>
                      <a:pt x="297270" y="37123"/>
                      <a:pt x="298700" y="36409"/>
                    </a:cubicBezTo>
                    <a:cubicBezTo>
                      <a:pt x="300130" y="36409"/>
                      <a:pt x="300845" y="35695"/>
                      <a:pt x="302275" y="34981"/>
                    </a:cubicBezTo>
                    <a:cubicBezTo>
                      <a:pt x="303705" y="34268"/>
                      <a:pt x="305135" y="33554"/>
                      <a:pt x="306565" y="32840"/>
                    </a:cubicBezTo>
                    <a:cubicBezTo>
                      <a:pt x="307280" y="32840"/>
                      <a:pt x="308710" y="32126"/>
                      <a:pt x="309425" y="31412"/>
                    </a:cubicBezTo>
                    <a:cubicBezTo>
                      <a:pt x="311570" y="31412"/>
                      <a:pt x="313000" y="30698"/>
                      <a:pt x="314430" y="29984"/>
                    </a:cubicBezTo>
                    <a:cubicBezTo>
                      <a:pt x="315145" y="29270"/>
                      <a:pt x="316575" y="29270"/>
                      <a:pt x="317290" y="28556"/>
                    </a:cubicBezTo>
                    <a:cubicBezTo>
                      <a:pt x="319436" y="27842"/>
                      <a:pt x="320866" y="27129"/>
                      <a:pt x="322296" y="26415"/>
                    </a:cubicBezTo>
                    <a:cubicBezTo>
                      <a:pt x="323011" y="26415"/>
                      <a:pt x="324441" y="25701"/>
                      <a:pt x="325156" y="25701"/>
                    </a:cubicBezTo>
                    <a:cubicBezTo>
                      <a:pt x="327301" y="24987"/>
                      <a:pt x="328731" y="24273"/>
                      <a:pt x="330161" y="23559"/>
                    </a:cubicBezTo>
                    <a:cubicBezTo>
                      <a:pt x="330876" y="23559"/>
                      <a:pt x="332306" y="22845"/>
                      <a:pt x="333021" y="22845"/>
                    </a:cubicBezTo>
                    <a:cubicBezTo>
                      <a:pt x="335166" y="22131"/>
                      <a:pt x="336596" y="21417"/>
                      <a:pt x="338026" y="20703"/>
                    </a:cubicBezTo>
                    <a:cubicBezTo>
                      <a:pt x="338741" y="20703"/>
                      <a:pt x="340171" y="19989"/>
                      <a:pt x="340886" y="19989"/>
                    </a:cubicBezTo>
                    <a:cubicBezTo>
                      <a:pt x="343032" y="19276"/>
                      <a:pt x="344462" y="18562"/>
                      <a:pt x="345892" y="18562"/>
                    </a:cubicBezTo>
                    <a:cubicBezTo>
                      <a:pt x="347322" y="17848"/>
                      <a:pt x="348037" y="17848"/>
                      <a:pt x="348752" y="17134"/>
                    </a:cubicBezTo>
                    <a:cubicBezTo>
                      <a:pt x="350897" y="17134"/>
                      <a:pt x="352327" y="16420"/>
                      <a:pt x="353757" y="15706"/>
                    </a:cubicBezTo>
                    <a:cubicBezTo>
                      <a:pt x="355187" y="15706"/>
                      <a:pt x="355902" y="14992"/>
                      <a:pt x="357332" y="14992"/>
                    </a:cubicBezTo>
                    <a:cubicBezTo>
                      <a:pt x="358762" y="14278"/>
                      <a:pt x="360192" y="14278"/>
                      <a:pt x="361622" y="13564"/>
                    </a:cubicBezTo>
                    <a:cubicBezTo>
                      <a:pt x="363052" y="13564"/>
                      <a:pt x="363767" y="12850"/>
                      <a:pt x="365198" y="12850"/>
                    </a:cubicBezTo>
                    <a:cubicBezTo>
                      <a:pt x="366628" y="12137"/>
                      <a:pt x="368058" y="12137"/>
                      <a:pt x="370203" y="11423"/>
                    </a:cubicBezTo>
                    <a:cubicBezTo>
                      <a:pt x="370918" y="11423"/>
                      <a:pt x="371633" y="10709"/>
                      <a:pt x="373063" y="10709"/>
                    </a:cubicBezTo>
                    <a:cubicBezTo>
                      <a:pt x="374493" y="9995"/>
                      <a:pt x="376638" y="9995"/>
                      <a:pt x="378068" y="9281"/>
                    </a:cubicBezTo>
                    <a:cubicBezTo>
                      <a:pt x="378783" y="9281"/>
                      <a:pt x="380213" y="9281"/>
                      <a:pt x="380928" y="8567"/>
                    </a:cubicBezTo>
                    <a:cubicBezTo>
                      <a:pt x="382358" y="8567"/>
                      <a:pt x="384503" y="7853"/>
                      <a:pt x="385933" y="7853"/>
                    </a:cubicBezTo>
                    <a:cubicBezTo>
                      <a:pt x="387364" y="7853"/>
                      <a:pt x="388079" y="7139"/>
                      <a:pt x="388794" y="7139"/>
                    </a:cubicBezTo>
                    <a:cubicBezTo>
                      <a:pt x="390939" y="7139"/>
                      <a:pt x="392369" y="6425"/>
                      <a:pt x="394514" y="6425"/>
                    </a:cubicBezTo>
                    <a:cubicBezTo>
                      <a:pt x="395229" y="5711"/>
                      <a:pt x="395944" y="5711"/>
                      <a:pt x="397374" y="5711"/>
                    </a:cubicBezTo>
                    <a:cubicBezTo>
                      <a:pt x="398804" y="5711"/>
                      <a:pt x="400234" y="4997"/>
                      <a:pt x="402379" y="4997"/>
                    </a:cubicBezTo>
                    <a:cubicBezTo>
                      <a:pt x="403094" y="4997"/>
                      <a:pt x="404524" y="4284"/>
                      <a:pt x="405239" y="4284"/>
                    </a:cubicBezTo>
                    <a:cubicBezTo>
                      <a:pt x="406669" y="4284"/>
                      <a:pt x="408814" y="3570"/>
                      <a:pt x="410245" y="3570"/>
                    </a:cubicBezTo>
                    <a:cubicBezTo>
                      <a:pt x="411675" y="3570"/>
                      <a:pt x="412390" y="3570"/>
                      <a:pt x="413105" y="3570"/>
                    </a:cubicBezTo>
                    <a:cubicBezTo>
                      <a:pt x="415250" y="2856"/>
                      <a:pt x="416680" y="2856"/>
                      <a:pt x="418825" y="2856"/>
                    </a:cubicBezTo>
                    <a:cubicBezTo>
                      <a:pt x="419540" y="2856"/>
                      <a:pt x="420255" y="2142"/>
                      <a:pt x="421685" y="2142"/>
                    </a:cubicBezTo>
                    <a:cubicBezTo>
                      <a:pt x="423115" y="2142"/>
                      <a:pt x="425260" y="2142"/>
                      <a:pt x="426690" y="2142"/>
                    </a:cubicBezTo>
                    <a:cubicBezTo>
                      <a:pt x="427405" y="1428"/>
                      <a:pt x="428835" y="1428"/>
                      <a:pt x="429550" y="1428"/>
                    </a:cubicBezTo>
                    <a:cubicBezTo>
                      <a:pt x="431696" y="1428"/>
                      <a:pt x="433126" y="1428"/>
                      <a:pt x="434556" y="1428"/>
                    </a:cubicBezTo>
                    <a:cubicBezTo>
                      <a:pt x="435986" y="1428"/>
                      <a:pt x="436701" y="714"/>
                      <a:pt x="438131" y="714"/>
                    </a:cubicBezTo>
                    <a:cubicBezTo>
                      <a:pt x="439561" y="714"/>
                      <a:pt x="440991" y="714"/>
                      <a:pt x="443136" y="714"/>
                    </a:cubicBezTo>
                    <a:cubicBezTo>
                      <a:pt x="443851" y="714"/>
                      <a:pt x="445281" y="714"/>
                      <a:pt x="445996" y="714"/>
                    </a:cubicBezTo>
                    <a:cubicBezTo>
                      <a:pt x="448141" y="714"/>
                      <a:pt x="449571" y="714"/>
                      <a:pt x="451001" y="714"/>
                    </a:cubicBezTo>
                    <a:cubicBezTo>
                      <a:pt x="452431" y="714"/>
                      <a:pt x="453146" y="714"/>
                      <a:pt x="4545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791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5D8393C-48B2-6E98-A119-E7EA811498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7ACD32-5381-02D1-D371-0B5C3AE66F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633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37ACD32-5381-02D1-D371-0B5C3AE66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75FE743-F667-5765-FA1D-BF2AF44DAF91}"/>
              </a:ext>
            </a:extLst>
          </p:cNvPr>
          <p:cNvSpPr/>
          <p:nvPr/>
        </p:nvSpPr>
        <p:spPr>
          <a:xfrm rot="10800000" flipH="1" flipV="1">
            <a:off x="628650" y="1956121"/>
            <a:ext cx="10934700" cy="4433103"/>
          </a:xfrm>
          <a:prstGeom prst="roundRect">
            <a:avLst>
              <a:gd name="adj" fmla="val 3412"/>
            </a:avLst>
          </a:prstGeom>
          <a:solidFill>
            <a:srgbClr val="F2F2F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F1E6C0-A870-9751-36C8-61D74CEB685C}"/>
              </a:ext>
            </a:extLst>
          </p:cNvPr>
          <p:cNvSpPr txBox="1">
            <a:spLocks/>
          </p:cNvSpPr>
          <p:nvPr/>
        </p:nvSpPr>
        <p:spPr>
          <a:xfrm>
            <a:off x="1048292" y="1757143"/>
            <a:ext cx="10096766" cy="325095"/>
          </a:xfrm>
          <a:prstGeom prst="roundRect">
            <a:avLst>
              <a:gd name="adj" fmla="val 55089"/>
            </a:avLst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3500000" scaled="1"/>
            <a:tileRect/>
          </a:gradFill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pt-BR" sz="1600" kern="0">
                <a:solidFill>
                  <a:prstClr val="white"/>
                </a:solidFill>
              </a:rPr>
              <a:t>Visão geral de alocação de estoque - CDs e lojas (UFs)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A93732C-9AED-0677-52C0-0375BEDA7EFD}"/>
              </a:ext>
            </a:extLst>
          </p:cNvPr>
          <p:cNvSpPr>
            <a:spLocks noChangeAspect="1"/>
          </p:cNvSpPr>
          <p:nvPr/>
        </p:nvSpPr>
        <p:spPr>
          <a:xfrm>
            <a:off x="1046087" y="1879475"/>
            <a:ext cx="112331" cy="113355"/>
          </a:xfrm>
          <a:prstGeom prst="ellipse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51EF967-3D4D-2D11-8FF2-71EF6C852733}"/>
              </a:ext>
            </a:extLst>
          </p:cNvPr>
          <p:cNvSpPr>
            <a:spLocks noChangeAspect="1"/>
          </p:cNvSpPr>
          <p:nvPr/>
        </p:nvSpPr>
        <p:spPr>
          <a:xfrm>
            <a:off x="11040741" y="1879475"/>
            <a:ext cx="112331" cy="113355"/>
          </a:xfrm>
          <a:prstGeom prst="ellipse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C0DAB3-AF45-CBC5-6C08-C52D251967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692150"/>
            <a:ext cx="10933112" cy="861774"/>
          </a:xfrm>
        </p:spPr>
        <p:txBody>
          <a:bodyPr vert="horz"/>
          <a:lstStyle/>
          <a:p>
            <a:r>
              <a:rPr lang="en-US" noProof="0">
                <a:solidFill>
                  <a:schemeClr val="accent6"/>
                </a:solidFill>
              </a:rPr>
              <a:t>Como? | </a:t>
            </a:r>
            <a:r>
              <a:rPr lang="en-US" err="1"/>
              <a:t>Visualização</a:t>
            </a:r>
            <a:r>
              <a:rPr lang="en-US"/>
              <a:t> de status da </a:t>
            </a:r>
            <a:r>
              <a:rPr lang="en-US" err="1"/>
              <a:t>alocação</a:t>
            </a:r>
            <a:r>
              <a:rPr lang="en-US"/>
              <a:t> de estoque de </a:t>
            </a:r>
            <a:r>
              <a:rPr lang="en-US" err="1"/>
              <a:t>maneira</a:t>
            </a:r>
            <a:r>
              <a:rPr lang="en-US"/>
              <a:t> simples e </a:t>
            </a:r>
            <a:r>
              <a:rPr lang="en-US" err="1"/>
              <a:t>direta</a:t>
            </a:r>
            <a:endParaRPr lang="en-US" noProof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E5A0B6E-2FFD-E199-381F-9F86BED2704F}"/>
              </a:ext>
            </a:extLst>
          </p:cNvPr>
          <p:cNvSpPr/>
          <p:nvPr/>
        </p:nvSpPr>
        <p:spPr>
          <a:xfrm>
            <a:off x="5234177" y="-17003"/>
            <a:ext cx="1724845" cy="312822"/>
          </a:xfrm>
          <a:prstGeom prst="rect">
            <a:avLst/>
          </a:prstGeom>
          <a:solidFill>
            <a:srgbClr val="E71A3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noProof="0">
                <a:solidFill>
                  <a:srgbClr val="FFFFFF"/>
                </a:solidFill>
              </a:rPr>
              <a:t>ILUSTRATIVO</a:t>
            </a:r>
          </a:p>
        </p:txBody>
      </p:sp>
      <p:sp>
        <p:nvSpPr>
          <p:cNvPr id="256" name="Rectangle 255" hidden="1">
            <a:extLst>
              <a:ext uri="{FF2B5EF4-FFF2-40B4-BE49-F238E27FC236}">
                <a16:creationId xmlns:a16="http://schemas.microsoft.com/office/drawing/2014/main" id="{427627C8-4945-E595-BBAA-80323ADD125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noProof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0393C8D4-5210-8389-A1F2-7DD4517A2FDF}"/>
              </a:ext>
            </a:extLst>
          </p:cNvPr>
          <p:cNvSpPr txBox="1"/>
          <p:nvPr/>
        </p:nvSpPr>
        <p:spPr>
          <a:xfrm>
            <a:off x="-391886" y="-1756229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noProof="0">
              <a:solidFill>
                <a:schemeClr val="tx1"/>
              </a:solidFill>
            </a:endParaRPr>
          </a:p>
        </p:txBody>
      </p:sp>
      <p:sp>
        <p:nvSpPr>
          <p:cNvPr id="8" name="Textfeld 1">
            <a:extLst>
              <a:ext uri="{FF2B5EF4-FFF2-40B4-BE49-F238E27FC236}">
                <a16:creationId xmlns:a16="http://schemas.microsoft.com/office/drawing/2014/main" id="{0BF4407E-A396-F870-6BE7-94F1C3B4452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324551" y="5611263"/>
            <a:ext cx="2743200" cy="483209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SD 22.Oct.25:
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mapes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e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outras</a:t>
            </a:r>
            <a:r>
              <a:rPr lang="en-US" sz="12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1200" b="1" err="1">
                <a:solidFill>
                  <a:srgbClr val="575757"/>
                </a:solidFill>
                <a:sym typeface="Trebuchet MS" panose="020B0603020202020204" pitchFamily="34" charset="0"/>
              </a:rPr>
              <a:t>métricas</a:t>
            </a:r>
            <a:endParaRPr lang="en-US" sz="1200" b="1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23AB8330-9843-8370-C7AE-3DEBEE01B802}"/>
              </a:ext>
            </a:extLst>
          </p:cNvPr>
          <p:cNvSpPr>
            <a:spLocks/>
          </p:cNvSpPr>
          <p:nvPr/>
        </p:nvSpPr>
        <p:spPr>
          <a:xfrm>
            <a:off x="4735714" y="3217077"/>
            <a:ext cx="3057695" cy="2116923"/>
          </a:xfrm>
          <a:prstGeom prst="roundRect">
            <a:avLst>
              <a:gd name="adj" fmla="val 4426"/>
            </a:avLst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28" name="Rounded Rectangle 287">
            <a:extLst>
              <a:ext uri="{FF2B5EF4-FFF2-40B4-BE49-F238E27FC236}">
                <a16:creationId xmlns:a16="http://schemas.microsoft.com/office/drawing/2014/main" id="{472A7994-0BE9-5115-C25A-0E5BB92E9C7D}"/>
              </a:ext>
            </a:extLst>
          </p:cNvPr>
          <p:cNvSpPr>
            <a:spLocks/>
          </p:cNvSpPr>
          <p:nvPr/>
        </p:nvSpPr>
        <p:spPr>
          <a:xfrm>
            <a:off x="6951472" y="3477958"/>
            <a:ext cx="659621" cy="203935"/>
          </a:xfrm>
          <a:prstGeom prst="round2SameRect">
            <a:avLst/>
          </a:prstGeom>
          <a:solidFill>
            <a:schemeClr val="accent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rgbClr val="FFFFFF"/>
                </a:solidFill>
              </a:rPr>
              <a:t>% baixa cobertura</a:t>
            </a:r>
          </a:p>
        </p:txBody>
      </p:sp>
      <p:sp>
        <p:nvSpPr>
          <p:cNvPr id="49" name="Rounded Rectangle 287">
            <a:extLst>
              <a:ext uri="{FF2B5EF4-FFF2-40B4-BE49-F238E27FC236}">
                <a16:creationId xmlns:a16="http://schemas.microsoft.com/office/drawing/2014/main" id="{0836254F-C6F2-BCEE-B892-4743360DD5EA}"/>
              </a:ext>
            </a:extLst>
          </p:cNvPr>
          <p:cNvSpPr>
            <a:spLocks/>
          </p:cNvSpPr>
          <p:nvPr/>
        </p:nvSpPr>
        <p:spPr>
          <a:xfrm>
            <a:off x="6254743" y="3477958"/>
            <a:ext cx="659621" cy="203935"/>
          </a:xfrm>
          <a:prstGeom prst="round2SameRect">
            <a:avLst/>
          </a:prstGeom>
          <a:solidFill>
            <a:schemeClr val="accent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% excesso</a:t>
            </a:r>
            <a:endParaRPr lang="en-US" sz="600" noProof="0">
              <a:solidFill>
                <a:srgbClr val="FFFFFF"/>
              </a:solidFill>
            </a:endParaRPr>
          </a:p>
        </p:txBody>
      </p:sp>
      <p:sp>
        <p:nvSpPr>
          <p:cNvPr id="53" name="Rounded Rectangle 287">
            <a:extLst>
              <a:ext uri="{FF2B5EF4-FFF2-40B4-BE49-F238E27FC236}">
                <a16:creationId xmlns:a16="http://schemas.microsoft.com/office/drawing/2014/main" id="{660A5456-B1D1-F0ED-A286-160E1D0CF5D7}"/>
              </a:ext>
            </a:extLst>
          </p:cNvPr>
          <p:cNvSpPr>
            <a:spLocks/>
          </p:cNvSpPr>
          <p:nvPr/>
        </p:nvSpPr>
        <p:spPr>
          <a:xfrm>
            <a:off x="5558015" y="3477958"/>
            <a:ext cx="659621" cy="203935"/>
          </a:xfrm>
          <a:prstGeom prst="round2SameRect">
            <a:avLst/>
          </a:prstGeom>
          <a:solidFill>
            <a:schemeClr val="accent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Receita com baixa saúde</a:t>
            </a:r>
            <a:endParaRPr lang="en-US" sz="600" noProof="0">
              <a:solidFill>
                <a:srgbClr val="FFFFFF"/>
              </a:solidFill>
            </a:endParaRP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E9355E25-6D6B-C6EE-04D5-044F193EB766}"/>
              </a:ext>
            </a:extLst>
          </p:cNvPr>
          <p:cNvGrpSpPr/>
          <p:nvPr/>
        </p:nvGrpSpPr>
        <p:grpSpPr>
          <a:xfrm>
            <a:off x="7636990" y="3732013"/>
            <a:ext cx="51005" cy="1503474"/>
            <a:chOff x="7538836" y="3770113"/>
            <a:chExt cx="51005" cy="1503474"/>
          </a:xfrm>
        </p:grpSpPr>
        <p:sp>
          <p:nvSpPr>
            <p:cNvPr id="457" name="Rectangle: Rounded Corners 61">
              <a:extLst>
                <a:ext uri="{FF2B5EF4-FFF2-40B4-BE49-F238E27FC236}">
                  <a16:creationId xmlns:a16="http://schemas.microsoft.com/office/drawing/2014/main" id="{265BA4E9-68CC-B3F3-1AC3-1647C26E4DD8}"/>
                </a:ext>
              </a:extLst>
            </p:cNvPr>
            <p:cNvSpPr>
              <a:spLocks/>
            </p:cNvSpPr>
            <p:nvPr/>
          </p:nvSpPr>
          <p:spPr>
            <a:xfrm>
              <a:off x="7538836" y="3770113"/>
              <a:ext cx="51005" cy="560731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 w="9525" cap="rnd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sp>
          <p:nvSpPr>
            <p:cNvPr id="458" name="Rectangle: Rounded Corners 62">
              <a:extLst>
                <a:ext uri="{FF2B5EF4-FFF2-40B4-BE49-F238E27FC236}">
                  <a16:creationId xmlns:a16="http://schemas.microsoft.com/office/drawing/2014/main" id="{8AA0EF39-38C6-17C1-58EF-5755DA6E9BBD}"/>
                </a:ext>
              </a:extLst>
            </p:cNvPr>
            <p:cNvSpPr>
              <a:spLocks/>
            </p:cNvSpPr>
            <p:nvPr/>
          </p:nvSpPr>
          <p:spPr>
            <a:xfrm>
              <a:off x="7551200" y="3804707"/>
              <a:ext cx="26281" cy="147658"/>
            </a:xfrm>
            <a:prstGeom prst="roundRect">
              <a:avLst>
                <a:gd name="adj" fmla="val 50000"/>
              </a:avLst>
            </a:prstGeom>
            <a:solidFill>
              <a:srgbClr val="C8C8C8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BA208201-6DF3-027D-DB9D-D416F70E0AA5}"/>
                </a:ext>
              </a:extLst>
            </p:cNvPr>
            <p:cNvGrpSpPr/>
            <p:nvPr/>
          </p:nvGrpSpPr>
          <p:grpSpPr>
            <a:xfrm>
              <a:off x="7538836" y="4509494"/>
              <a:ext cx="51005" cy="764093"/>
              <a:chOff x="7538836" y="4509494"/>
              <a:chExt cx="51005" cy="764093"/>
            </a:xfrm>
          </p:grpSpPr>
          <p:sp>
            <p:nvSpPr>
              <p:cNvPr id="493" name="Rectangle: Rounded Corners 61">
                <a:extLst>
                  <a:ext uri="{FF2B5EF4-FFF2-40B4-BE49-F238E27FC236}">
                    <a16:creationId xmlns:a16="http://schemas.microsoft.com/office/drawing/2014/main" id="{2E56AFCC-B680-30E7-6EE4-C47BA55CAC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38836" y="4509494"/>
                <a:ext cx="51005" cy="764093"/>
              </a:xfrm>
              <a:prstGeom prst="roundRect">
                <a:avLst>
                  <a:gd name="adj" fmla="val 50000"/>
                </a:avLst>
              </a:prstGeom>
              <a:solidFill>
                <a:srgbClr val="F2F2F2"/>
              </a:solidFill>
              <a:ln w="9525" cap="rnd" cmpd="sng" algn="ctr">
                <a:solidFill>
                  <a:srgbClr val="7F7F7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>
                  <a:solidFill>
                    <a:schemeClr val="tx1"/>
                  </a:solidFill>
                </a:endParaRPr>
              </a:p>
            </p:txBody>
          </p:sp>
          <p:sp>
            <p:nvSpPr>
              <p:cNvPr id="494" name="Rectangle: Rounded Corners 62">
                <a:extLst>
                  <a:ext uri="{FF2B5EF4-FFF2-40B4-BE49-F238E27FC236}">
                    <a16:creationId xmlns:a16="http://schemas.microsoft.com/office/drawing/2014/main" id="{05944393-6E88-6D3E-0DFF-FAA4EFAC75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51200" y="4536338"/>
                <a:ext cx="26281" cy="62622"/>
              </a:xfrm>
              <a:prstGeom prst="roundRect">
                <a:avLst>
                  <a:gd name="adj" fmla="val 50000"/>
                </a:avLst>
              </a:prstGeom>
              <a:solidFill>
                <a:srgbClr val="C8C8C8"/>
              </a:solidFill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50" name="Rounded Rectangle 287">
            <a:extLst>
              <a:ext uri="{FF2B5EF4-FFF2-40B4-BE49-F238E27FC236}">
                <a16:creationId xmlns:a16="http://schemas.microsoft.com/office/drawing/2014/main" id="{B491E1F2-43AA-F4C4-55F6-F33EDC57F095}"/>
              </a:ext>
            </a:extLst>
          </p:cNvPr>
          <p:cNvSpPr>
            <a:spLocks/>
          </p:cNvSpPr>
          <p:nvPr/>
        </p:nvSpPr>
        <p:spPr>
          <a:xfrm>
            <a:off x="5558015" y="373023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11M </a:t>
            </a:r>
            <a:r>
              <a:rPr lang="en-US" sz="600" spc="-20">
                <a:solidFill>
                  <a:schemeClr val="accent1"/>
                </a:solidFill>
              </a:rPr>
              <a:t>(12%)</a:t>
            </a:r>
            <a:endParaRPr lang="en-US" sz="800" spc="-20" noProof="0">
              <a:solidFill>
                <a:schemeClr val="accent1"/>
              </a:solidFill>
            </a:endParaRPr>
          </a:p>
        </p:txBody>
      </p:sp>
      <p:sp>
        <p:nvSpPr>
          <p:cNvPr id="495" name="Rounded Rectangle 287">
            <a:extLst>
              <a:ext uri="{FF2B5EF4-FFF2-40B4-BE49-F238E27FC236}">
                <a16:creationId xmlns:a16="http://schemas.microsoft.com/office/drawing/2014/main" id="{830ED43D-A656-082F-244F-A6AFBC3BF6F8}"/>
              </a:ext>
            </a:extLst>
          </p:cNvPr>
          <p:cNvSpPr>
            <a:spLocks/>
          </p:cNvSpPr>
          <p:nvPr/>
        </p:nvSpPr>
        <p:spPr>
          <a:xfrm>
            <a:off x="5558015" y="4398027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1,2M </a:t>
            </a:r>
            <a:r>
              <a:rPr lang="en-US" sz="600" spc="-20">
                <a:solidFill>
                  <a:schemeClr val="accent1"/>
                </a:solidFill>
              </a:rPr>
              <a:t>(14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60" name="Rounded Rectangle 287">
            <a:extLst>
              <a:ext uri="{FF2B5EF4-FFF2-40B4-BE49-F238E27FC236}">
                <a16:creationId xmlns:a16="http://schemas.microsoft.com/office/drawing/2014/main" id="{B6CAFACC-565F-ECFE-87FA-71394594C72C}"/>
              </a:ext>
            </a:extLst>
          </p:cNvPr>
          <p:cNvSpPr>
            <a:spLocks/>
          </p:cNvSpPr>
          <p:nvPr/>
        </p:nvSpPr>
        <p:spPr>
          <a:xfrm>
            <a:off x="6254743" y="373023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 noProof="0">
                <a:solidFill>
                  <a:schemeClr val="accent1"/>
                </a:solidFill>
              </a:rPr>
              <a:t>15% </a:t>
            </a:r>
            <a:r>
              <a:rPr lang="en-US" sz="400" spc="-20" noProof="0">
                <a:solidFill>
                  <a:schemeClr val="accent1"/>
                </a:solidFill>
              </a:rPr>
              <a:t>(82/740 </a:t>
            </a:r>
            <a:r>
              <a:rPr lang="en-US" sz="400" spc="-20" noProof="0" err="1">
                <a:solidFill>
                  <a:schemeClr val="accent1"/>
                </a:solidFill>
              </a:rPr>
              <a:t>lojas</a:t>
            </a:r>
            <a:r>
              <a:rPr lang="en-US" sz="400" spc="-20" noProof="0">
                <a:solidFill>
                  <a:schemeClr val="accent1"/>
                </a:solidFill>
              </a:rPr>
              <a:t>)</a:t>
            </a:r>
            <a:endParaRPr lang="en-US" sz="800" spc="-20" noProof="0">
              <a:solidFill>
                <a:schemeClr val="accent1"/>
              </a:solidFill>
            </a:endParaRPr>
          </a:p>
        </p:txBody>
      </p:sp>
      <p:sp>
        <p:nvSpPr>
          <p:cNvPr id="496" name="Rounded Rectangle 287">
            <a:extLst>
              <a:ext uri="{FF2B5EF4-FFF2-40B4-BE49-F238E27FC236}">
                <a16:creationId xmlns:a16="http://schemas.microsoft.com/office/drawing/2014/main" id="{79027A67-39DE-812C-7320-3EEE462893C2}"/>
              </a:ext>
            </a:extLst>
          </p:cNvPr>
          <p:cNvSpPr>
            <a:spLocks/>
          </p:cNvSpPr>
          <p:nvPr/>
        </p:nvSpPr>
        <p:spPr>
          <a:xfrm>
            <a:off x="6254743" y="4398027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18% </a:t>
            </a:r>
            <a:r>
              <a:rPr lang="en-US" sz="400" spc="-20">
                <a:solidFill>
                  <a:schemeClr val="accent1"/>
                </a:solidFill>
              </a:rPr>
              <a:t>(8/42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63" name="Rounded Rectangle 287">
            <a:extLst>
              <a:ext uri="{FF2B5EF4-FFF2-40B4-BE49-F238E27FC236}">
                <a16:creationId xmlns:a16="http://schemas.microsoft.com/office/drawing/2014/main" id="{5CE8E049-CB9A-BAA1-F920-0421A34F9241}"/>
              </a:ext>
            </a:extLst>
          </p:cNvPr>
          <p:cNvSpPr>
            <a:spLocks/>
          </p:cNvSpPr>
          <p:nvPr/>
        </p:nvSpPr>
        <p:spPr>
          <a:xfrm>
            <a:off x="6951472" y="373023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35% </a:t>
            </a:r>
            <a:r>
              <a:rPr lang="en-US" sz="400" spc="-20">
                <a:solidFill>
                  <a:schemeClr val="accent1"/>
                </a:solidFill>
              </a:rPr>
              <a:t>(213/740 </a:t>
            </a:r>
            <a:r>
              <a:rPr lang="en-US" sz="400" spc="-20" err="1">
                <a:solidFill>
                  <a:schemeClr val="accent1"/>
                </a:solidFill>
              </a:rPr>
              <a:t>lojas</a:t>
            </a:r>
            <a:r>
              <a:rPr lang="en-US" sz="400" spc="-20">
                <a:solidFill>
                  <a:schemeClr val="accent1"/>
                </a:solidFill>
              </a:rPr>
              <a:t>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97" name="Rounded Rectangle 287">
            <a:extLst>
              <a:ext uri="{FF2B5EF4-FFF2-40B4-BE49-F238E27FC236}">
                <a16:creationId xmlns:a16="http://schemas.microsoft.com/office/drawing/2014/main" id="{4AD5E0E9-9FEC-6F5D-37C9-CC2DA657762B}"/>
              </a:ext>
            </a:extLst>
          </p:cNvPr>
          <p:cNvSpPr>
            <a:spLocks/>
          </p:cNvSpPr>
          <p:nvPr/>
        </p:nvSpPr>
        <p:spPr>
          <a:xfrm>
            <a:off x="6951472" y="4398027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21% </a:t>
            </a:r>
            <a:r>
              <a:rPr lang="en-US" sz="400" spc="-20">
                <a:solidFill>
                  <a:schemeClr val="accent1"/>
                </a:solidFill>
              </a:rPr>
              <a:t>(9/42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4" name="Rounded Rectangle 287">
            <a:extLst>
              <a:ext uri="{FF2B5EF4-FFF2-40B4-BE49-F238E27FC236}">
                <a16:creationId xmlns:a16="http://schemas.microsoft.com/office/drawing/2014/main" id="{2A7151D0-C224-2641-13ED-F4DC7F90F30B}"/>
              </a:ext>
            </a:extLst>
          </p:cNvPr>
          <p:cNvSpPr>
            <a:spLocks/>
          </p:cNvSpPr>
          <p:nvPr/>
        </p:nvSpPr>
        <p:spPr>
          <a:xfrm>
            <a:off x="4861287" y="3477958"/>
            <a:ext cx="659621" cy="203935"/>
          </a:xfrm>
          <a:prstGeom prst="round2SameRect">
            <a:avLst/>
          </a:prstGeom>
          <a:solidFill>
            <a:schemeClr val="accent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 err="1">
                <a:solidFill>
                  <a:srgbClr val="FFFFFF"/>
                </a:solidFill>
              </a:rPr>
              <a:t>Produto</a:t>
            </a:r>
            <a:r>
              <a:rPr lang="en-US" sz="600" noProof="0">
                <a:solidFill>
                  <a:srgbClr val="FFFFFF"/>
                </a:solidFill>
              </a:rPr>
              <a:t> / local</a:t>
            </a:r>
          </a:p>
        </p:txBody>
      </p:sp>
      <p:sp>
        <p:nvSpPr>
          <p:cNvPr id="451" name="Rounded Rectangle 287">
            <a:extLst>
              <a:ext uri="{FF2B5EF4-FFF2-40B4-BE49-F238E27FC236}">
                <a16:creationId xmlns:a16="http://schemas.microsoft.com/office/drawing/2014/main" id="{4A8F93D9-7FEC-557A-7B7B-9516130FCB85}"/>
              </a:ext>
            </a:extLst>
          </p:cNvPr>
          <p:cNvSpPr>
            <a:spLocks/>
          </p:cNvSpPr>
          <p:nvPr/>
        </p:nvSpPr>
        <p:spPr>
          <a:xfrm>
            <a:off x="4861699" y="3725989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rgbClr val="1F22CF"/>
                </a:solidFill>
              </a:rPr>
              <a:t>Sams. Gal. A06</a:t>
            </a:r>
          </a:p>
        </p:txBody>
      </p:sp>
      <p:sp>
        <p:nvSpPr>
          <p:cNvPr id="479" name="Rounded Rectangle 287">
            <a:extLst>
              <a:ext uri="{FF2B5EF4-FFF2-40B4-BE49-F238E27FC236}">
                <a16:creationId xmlns:a16="http://schemas.microsoft.com/office/drawing/2014/main" id="{E4B2B566-B037-5909-B8B0-C12863C9425B}"/>
              </a:ext>
            </a:extLst>
          </p:cNvPr>
          <p:cNvSpPr>
            <a:spLocks/>
          </p:cNvSpPr>
          <p:nvPr/>
        </p:nvSpPr>
        <p:spPr>
          <a:xfrm>
            <a:off x="5558015" y="3952831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10M </a:t>
            </a:r>
            <a:r>
              <a:rPr lang="en-US" sz="600" spc="-20">
                <a:solidFill>
                  <a:schemeClr val="accent1"/>
                </a:solidFill>
              </a:rPr>
              <a:t>(15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80" name="Rounded Rectangle 287">
            <a:extLst>
              <a:ext uri="{FF2B5EF4-FFF2-40B4-BE49-F238E27FC236}">
                <a16:creationId xmlns:a16="http://schemas.microsoft.com/office/drawing/2014/main" id="{C18D931B-8C4E-FD48-F1CD-CCCDBA3E911A}"/>
              </a:ext>
            </a:extLst>
          </p:cNvPr>
          <p:cNvSpPr>
            <a:spLocks/>
          </p:cNvSpPr>
          <p:nvPr/>
        </p:nvSpPr>
        <p:spPr>
          <a:xfrm>
            <a:off x="6254743" y="3952831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11% </a:t>
            </a:r>
            <a:r>
              <a:rPr lang="en-US" sz="400" spc="-20">
                <a:solidFill>
                  <a:schemeClr val="accent1"/>
                </a:solidFill>
              </a:rPr>
              <a:t>(63/598 lojas)</a:t>
            </a:r>
            <a:endParaRPr lang="en-US" sz="1000" spc="-20">
              <a:solidFill>
                <a:schemeClr val="accent1"/>
              </a:solidFill>
            </a:endParaRPr>
          </a:p>
        </p:txBody>
      </p:sp>
      <p:sp>
        <p:nvSpPr>
          <p:cNvPr id="481" name="Rounded Rectangle 287">
            <a:extLst>
              <a:ext uri="{FF2B5EF4-FFF2-40B4-BE49-F238E27FC236}">
                <a16:creationId xmlns:a16="http://schemas.microsoft.com/office/drawing/2014/main" id="{8AE89FB3-4DE8-EBD9-BFB7-D034254E1370}"/>
              </a:ext>
            </a:extLst>
          </p:cNvPr>
          <p:cNvSpPr>
            <a:spLocks/>
          </p:cNvSpPr>
          <p:nvPr/>
        </p:nvSpPr>
        <p:spPr>
          <a:xfrm>
            <a:off x="6951472" y="3952831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23% </a:t>
            </a:r>
            <a:r>
              <a:rPr lang="en-US" sz="400" spc="-20">
                <a:solidFill>
                  <a:schemeClr val="accent1"/>
                </a:solidFill>
              </a:rPr>
              <a:t>(125/598 lojas)</a:t>
            </a:r>
            <a:endParaRPr lang="en-US" sz="1000" spc="-20">
              <a:solidFill>
                <a:schemeClr val="accent1"/>
              </a:solidFill>
            </a:endParaRPr>
          </a:p>
        </p:txBody>
      </p:sp>
      <p:sp>
        <p:nvSpPr>
          <p:cNvPr id="452" name="Rounded Rectangle 287">
            <a:extLst>
              <a:ext uri="{FF2B5EF4-FFF2-40B4-BE49-F238E27FC236}">
                <a16:creationId xmlns:a16="http://schemas.microsoft.com/office/drawing/2014/main" id="{6FD62954-0124-7AD9-6FB3-8B935D930367}"/>
              </a:ext>
            </a:extLst>
          </p:cNvPr>
          <p:cNvSpPr>
            <a:spLocks/>
          </p:cNvSpPr>
          <p:nvPr/>
        </p:nvSpPr>
        <p:spPr>
          <a:xfrm>
            <a:off x="4861699" y="3948587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1F22CF"/>
                </a:solidFill>
              </a:rPr>
              <a:t>Motorola G05</a:t>
            </a:r>
            <a:endParaRPr lang="en-US" sz="600" noProof="0">
              <a:solidFill>
                <a:srgbClr val="1F22CF"/>
              </a:solidFill>
            </a:endParaRPr>
          </a:p>
        </p:txBody>
      </p:sp>
      <p:sp>
        <p:nvSpPr>
          <p:cNvPr id="483" name="Rounded Rectangle 287">
            <a:extLst>
              <a:ext uri="{FF2B5EF4-FFF2-40B4-BE49-F238E27FC236}">
                <a16:creationId xmlns:a16="http://schemas.microsoft.com/office/drawing/2014/main" id="{3AC4FA57-3D56-955B-AB21-154A0EEC06F4}"/>
              </a:ext>
            </a:extLst>
          </p:cNvPr>
          <p:cNvSpPr>
            <a:spLocks/>
          </p:cNvSpPr>
          <p:nvPr/>
        </p:nvSpPr>
        <p:spPr>
          <a:xfrm>
            <a:off x="5558015" y="4175429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9M </a:t>
            </a:r>
            <a:r>
              <a:rPr lang="en-US" sz="600" spc="-20">
                <a:solidFill>
                  <a:schemeClr val="accent1"/>
                </a:solidFill>
              </a:rPr>
              <a:t>(21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84" name="Rounded Rectangle 287">
            <a:extLst>
              <a:ext uri="{FF2B5EF4-FFF2-40B4-BE49-F238E27FC236}">
                <a16:creationId xmlns:a16="http://schemas.microsoft.com/office/drawing/2014/main" id="{C38AE8F5-86D3-7B6B-87C5-69B21501AB09}"/>
              </a:ext>
            </a:extLst>
          </p:cNvPr>
          <p:cNvSpPr>
            <a:spLocks/>
          </p:cNvSpPr>
          <p:nvPr/>
        </p:nvSpPr>
        <p:spPr>
          <a:xfrm>
            <a:off x="6254743" y="4175429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1% </a:t>
            </a:r>
            <a:r>
              <a:rPr lang="en-US" sz="400" spc="-20">
                <a:solidFill>
                  <a:schemeClr val="accent1"/>
                </a:solidFill>
              </a:rPr>
              <a:t>(5/523 lojas)</a:t>
            </a:r>
            <a:endParaRPr lang="en-US" sz="1000" spc="-20">
              <a:solidFill>
                <a:schemeClr val="accent1"/>
              </a:solidFill>
            </a:endParaRPr>
          </a:p>
        </p:txBody>
      </p:sp>
      <p:sp>
        <p:nvSpPr>
          <p:cNvPr id="485" name="Rounded Rectangle 287">
            <a:extLst>
              <a:ext uri="{FF2B5EF4-FFF2-40B4-BE49-F238E27FC236}">
                <a16:creationId xmlns:a16="http://schemas.microsoft.com/office/drawing/2014/main" id="{79912B43-D60C-AF64-1521-1F21638B737F}"/>
              </a:ext>
            </a:extLst>
          </p:cNvPr>
          <p:cNvSpPr>
            <a:spLocks/>
          </p:cNvSpPr>
          <p:nvPr/>
        </p:nvSpPr>
        <p:spPr>
          <a:xfrm>
            <a:off x="6951472" y="4175429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42% </a:t>
            </a:r>
            <a:r>
              <a:rPr lang="en-US" sz="400" spc="-20">
                <a:solidFill>
                  <a:schemeClr val="accent1"/>
                </a:solidFill>
              </a:rPr>
              <a:t>(210/523 lojas)</a:t>
            </a:r>
            <a:endParaRPr lang="en-US" sz="1000" spc="-20">
              <a:solidFill>
                <a:schemeClr val="accent1"/>
              </a:solidFill>
            </a:endParaRPr>
          </a:p>
        </p:txBody>
      </p:sp>
      <p:sp>
        <p:nvSpPr>
          <p:cNvPr id="456" name="Rounded Rectangle 287">
            <a:extLst>
              <a:ext uri="{FF2B5EF4-FFF2-40B4-BE49-F238E27FC236}">
                <a16:creationId xmlns:a16="http://schemas.microsoft.com/office/drawing/2014/main" id="{FBCFDCAA-B5F4-BF43-F94F-1BC0B8BF05D6}"/>
              </a:ext>
            </a:extLst>
          </p:cNvPr>
          <p:cNvSpPr>
            <a:spLocks/>
          </p:cNvSpPr>
          <p:nvPr/>
        </p:nvSpPr>
        <p:spPr>
          <a:xfrm>
            <a:off x="4861699" y="4171185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err="1">
                <a:solidFill>
                  <a:srgbClr val="1F22CF"/>
                </a:solidFill>
              </a:rPr>
              <a:t>Iphone</a:t>
            </a:r>
            <a:r>
              <a:rPr lang="en-US" sz="600">
                <a:solidFill>
                  <a:srgbClr val="1F22CF"/>
                </a:solidFill>
              </a:rPr>
              <a:t> 15 128gb</a:t>
            </a:r>
            <a:endParaRPr lang="en-US" sz="600" noProof="0">
              <a:solidFill>
                <a:srgbClr val="1F22CF"/>
              </a:solidFill>
            </a:endParaRPr>
          </a:p>
        </p:txBody>
      </p:sp>
      <p:sp>
        <p:nvSpPr>
          <p:cNvPr id="499" name="Rounded Rectangle 287">
            <a:extLst>
              <a:ext uri="{FF2B5EF4-FFF2-40B4-BE49-F238E27FC236}">
                <a16:creationId xmlns:a16="http://schemas.microsoft.com/office/drawing/2014/main" id="{2A6C4F84-C977-74C4-2F7A-BE8C87793EFC}"/>
              </a:ext>
            </a:extLst>
          </p:cNvPr>
          <p:cNvSpPr>
            <a:spLocks/>
          </p:cNvSpPr>
          <p:nvPr/>
        </p:nvSpPr>
        <p:spPr>
          <a:xfrm>
            <a:off x="5558015" y="4620624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860k </a:t>
            </a:r>
            <a:r>
              <a:rPr lang="en-US" sz="600" spc="-20">
                <a:solidFill>
                  <a:schemeClr val="accent1"/>
                </a:solidFill>
              </a:rPr>
              <a:t>(22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00" name="Rounded Rectangle 287">
            <a:extLst>
              <a:ext uri="{FF2B5EF4-FFF2-40B4-BE49-F238E27FC236}">
                <a16:creationId xmlns:a16="http://schemas.microsoft.com/office/drawing/2014/main" id="{9F1496FF-020E-6592-2B6D-2A8025C91A11}"/>
              </a:ext>
            </a:extLst>
          </p:cNvPr>
          <p:cNvSpPr>
            <a:spLocks/>
          </p:cNvSpPr>
          <p:nvPr/>
        </p:nvSpPr>
        <p:spPr>
          <a:xfrm>
            <a:off x="6254743" y="4620624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15% </a:t>
            </a:r>
            <a:r>
              <a:rPr lang="en-US" sz="400" spc="-20">
                <a:solidFill>
                  <a:schemeClr val="accent1"/>
                </a:solidFill>
              </a:rPr>
              <a:t>(7/42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01" name="Rounded Rectangle 287">
            <a:extLst>
              <a:ext uri="{FF2B5EF4-FFF2-40B4-BE49-F238E27FC236}">
                <a16:creationId xmlns:a16="http://schemas.microsoft.com/office/drawing/2014/main" id="{9934B06F-D163-09F6-CB61-1CC164958FD6}"/>
              </a:ext>
            </a:extLst>
          </p:cNvPr>
          <p:cNvSpPr>
            <a:spLocks/>
          </p:cNvSpPr>
          <p:nvPr/>
        </p:nvSpPr>
        <p:spPr>
          <a:xfrm>
            <a:off x="6951472" y="4620624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37% </a:t>
            </a:r>
            <a:r>
              <a:rPr lang="en-US" sz="400" spc="-20">
                <a:solidFill>
                  <a:schemeClr val="accent1"/>
                </a:solidFill>
              </a:rPr>
              <a:t>(17/42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489" name="Rounded Rectangle 287">
            <a:extLst>
              <a:ext uri="{FF2B5EF4-FFF2-40B4-BE49-F238E27FC236}">
                <a16:creationId xmlns:a16="http://schemas.microsoft.com/office/drawing/2014/main" id="{0B6B983C-A83E-E62E-6E44-5CE74FD54888}"/>
              </a:ext>
            </a:extLst>
          </p:cNvPr>
          <p:cNvSpPr>
            <a:spLocks/>
          </p:cNvSpPr>
          <p:nvPr/>
        </p:nvSpPr>
        <p:spPr>
          <a:xfrm>
            <a:off x="4861698" y="4616381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noProof="0">
              <a:solidFill>
                <a:srgbClr val="7173E9"/>
              </a:solidFill>
            </a:endParaRPr>
          </a:p>
        </p:txBody>
      </p:sp>
      <p:cxnSp>
        <p:nvCxnSpPr>
          <p:cNvPr id="490" name="Straight Connector 489">
            <a:extLst>
              <a:ext uri="{FF2B5EF4-FFF2-40B4-BE49-F238E27FC236}">
                <a16:creationId xmlns:a16="http://schemas.microsoft.com/office/drawing/2014/main" id="{FF36DDE8-20CB-432F-7559-3A0D928C3F2F}"/>
              </a:ext>
            </a:extLst>
          </p:cNvPr>
          <p:cNvCxnSpPr>
            <a:cxnSpLocks/>
          </p:cNvCxnSpPr>
          <p:nvPr/>
        </p:nvCxnSpPr>
        <p:spPr>
          <a:xfrm>
            <a:off x="5103829" y="4630919"/>
            <a:ext cx="0" cy="149084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" name="Rounded Rectangle 287">
            <a:extLst>
              <a:ext uri="{FF2B5EF4-FFF2-40B4-BE49-F238E27FC236}">
                <a16:creationId xmlns:a16="http://schemas.microsoft.com/office/drawing/2014/main" id="{87F86DE3-7BF3-2696-DA1D-82FD0348A90A}"/>
              </a:ext>
            </a:extLst>
          </p:cNvPr>
          <p:cNvSpPr>
            <a:spLocks/>
          </p:cNvSpPr>
          <p:nvPr/>
        </p:nvSpPr>
        <p:spPr>
          <a:xfrm>
            <a:off x="4861287" y="4630919"/>
            <a:ext cx="216743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chemeClr val="tx2"/>
                </a:solidFill>
              </a:rPr>
              <a:t>4000</a:t>
            </a:r>
          </a:p>
        </p:txBody>
      </p:sp>
      <p:sp>
        <p:nvSpPr>
          <p:cNvPr id="492" name="Rounded Rectangle 287">
            <a:extLst>
              <a:ext uri="{FF2B5EF4-FFF2-40B4-BE49-F238E27FC236}">
                <a16:creationId xmlns:a16="http://schemas.microsoft.com/office/drawing/2014/main" id="{B1D65A8C-7E9A-C28A-8127-FA1B2E6236EA}"/>
              </a:ext>
            </a:extLst>
          </p:cNvPr>
          <p:cNvSpPr>
            <a:spLocks/>
          </p:cNvSpPr>
          <p:nvPr/>
        </p:nvSpPr>
        <p:spPr>
          <a:xfrm>
            <a:off x="5103829" y="4630919"/>
            <a:ext cx="403729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500" spc="-20" err="1">
                <a:solidFill>
                  <a:schemeClr val="tx2"/>
                </a:solidFill>
              </a:rPr>
              <a:t>Berrini</a:t>
            </a:r>
            <a:endParaRPr lang="en-US" sz="500" spc="-20" noProof="0">
              <a:solidFill>
                <a:schemeClr val="tx2"/>
              </a:solidFill>
            </a:endParaRPr>
          </a:p>
        </p:txBody>
      </p:sp>
      <p:sp>
        <p:nvSpPr>
          <p:cNvPr id="92" name="Rounded Rectangle 287">
            <a:extLst>
              <a:ext uri="{FF2B5EF4-FFF2-40B4-BE49-F238E27FC236}">
                <a16:creationId xmlns:a16="http://schemas.microsoft.com/office/drawing/2014/main" id="{17BA0505-F125-ACF4-9954-2AA52141CE3B}"/>
              </a:ext>
            </a:extLst>
          </p:cNvPr>
          <p:cNvSpPr>
            <a:spLocks/>
          </p:cNvSpPr>
          <p:nvPr/>
        </p:nvSpPr>
        <p:spPr>
          <a:xfrm>
            <a:off x="5558015" y="5065822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423k </a:t>
            </a:r>
            <a:r>
              <a:rPr lang="en-US" sz="600" spc="-20">
                <a:solidFill>
                  <a:schemeClr val="accent1"/>
                </a:solidFill>
              </a:rPr>
              <a:t>(7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93" name="Rounded Rectangle 287">
            <a:extLst>
              <a:ext uri="{FF2B5EF4-FFF2-40B4-BE49-F238E27FC236}">
                <a16:creationId xmlns:a16="http://schemas.microsoft.com/office/drawing/2014/main" id="{D2F2A250-4265-7151-FB75-516B629FC755}"/>
              </a:ext>
            </a:extLst>
          </p:cNvPr>
          <p:cNvSpPr>
            <a:spLocks/>
          </p:cNvSpPr>
          <p:nvPr/>
        </p:nvSpPr>
        <p:spPr>
          <a:xfrm>
            <a:off x="6254743" y="5065822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12% </a:t>
            </a:r>
            <a:r>
              <a:rPr lang="en-US" sz="400" spc="-20">
                <a:solidFill>
                  <a:schemeClr val="accent1"/>
                </a:solidFill>
              </a:rPr>
              <a:t>(4/36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95" name="Rounded Rectangle 287">
            <a:extLst>
              <a:ext uri="{FF2B5EF4-FFF2-40B4-BE49-F238E27FC236}">
                <a16:creationId xmlns:a16="http://schemas.microsoft.com/office/drawing/2014/main" id="{5897961D-98EE-842B-CECC-C685F00D9DC1}"/>
              </a:ext>
            </a:extLst>
          </p:cNvPr>
          <p:cNvSpPr>
            <a:spLocks/>
          </p:cNvSpPr>
          <p:nvPr/>
        </p:nvSpPr>
        <p:spPr>
          <a:xfrm>
            <a:off x="6951472" y="5065822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27% </a:t>
            </a:r>
            <a:r>
              <a:rPr lang="en-US" sz="400" spc="-20">
                <a:solidFill>
                  <a:schemeClr val="accent1"/>
                </a:solidFill>
              </a:rPr>
              <a:t>(10/36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08" name="Rounded Rectangle 287">
            <a:extLst>
              <a:ext uri="{FF2B5EF4-FFF2-40B4-BE49-F238E27FC236}">
                <a16:creationId xmlns:a16="http://schemas.microsoft.com/office/drawing/2014/main" id="{25A4D62F-948D-9C5A-9FE1-59FCC03D7E3F}"/>
              </a:ext>
            </a:extLst>
          </p:cNvPr>
          <p:cNvSpPr>
            <a:spLocks/>
          </p:cNvSpPr>
          <p:nvPr/>
        </p:nvSpPr>
        <p:spPr>
          <a:xfrm>
            <a:off x="4861698" y="5061579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noProof="0">
              <a:solidFill>
                <a:srgbClr val="7173E9"/>
              </a:solidFill>
            </a:endParaRPr>
          </a:p>
        </p:txBody>
      </p:sp>
      <p:sp>
        <p:nvSpPr>
          <p:cNvPr id="509" name="Rounded Rectangle 287">
            <a:extLst>
              <a:ext uri="{FF2B5EF4-FFF2-40B4-BE49-F238E27FC236}">
                <a16:creationId xmlns:a16="http://schemas.microsoft.com/office/drawing/2014/main" id="{83690CF2-7B93-5DC4-0299-DE82BA1DB474}"/>
              </a:ext>
            </a:extLst>
          </p:cNvPr>
          <p:cNvSpPr>
            <a:spLocks/>
          </p:cNvSpPr>
          <p:nvPr/>
        </p:nvSpPr>
        <p:spPr>
          <a:xfrm>
            <a:off x="4861287" y="5076117"/>
            <a:ext cx="216743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chemeClr val="tx2"/>
                </a:solidFill>
              </a:rPr>
              <a:t>1171</a:t>
            </a:r>
          </a:p>
        </p:txBody>
      </p:sp>
      <p:sp>
        <p:nvSpPr>
          <p:cNvPr id="510" name="Rounded Rectangle 287">
            <a:extLst>
              <a:ext uri="{FF2B5EF4-FFF2-40B4-BE49-F238E27FC236}">
                <a16:creationId xmlns:a16="http://schemas.microsoft.com/office/drawing/2014/main" id="{F4E6261D-141B-31A2-BFE5-5E204F2997EC}"/>
              </a:ext>
            </a:extLst>
          </p:cNvPr>
          <p:cNvSpPr>
            <a:spLocks/>
          </p:cNvSpPr>
          <p:nvPr/>
        </p:nvSpPr>
        <p:spPr>
          <a:xfrm>
            <a:off x="5103829" y="5076117"/>
            <a:ext cx="403729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500" spc="-20" noProof="0">
                <a:solidFill>
                  <a:schemeClr val="tx2"/>
                </a:solidFill>
              </a:rPr>
              <a:t>Duque de Caxias</a:t>
            </a:r>
          </a:p>
        </p:txBody>
      </p:sp>
      <p:cxnSp>
        <p:nvCxnSpPr>
          <p:cNvPr id="511" name="Straight Connector 510">
            <a:extLst>
              <a:ext uri="{FF2B5EF4-FFF2-40B4-BE49-F238E27FC236}">
                <a16:creationId xmlns:a16="http://schemas.microsoft.com/office/drawing/2014/main" id="{D0AE207B-C12F-AFA8-0404-03B769FC6D91}"/>
              </a:ext>
            </a:extLst>
          </p:cNvPr>
          <p:cNvCxnSpPr>
            <a:cxnSpLocks/>
          </p:cNvCxnSpPr>
          <p:nvPr/>
        </p:nvCxnSpPr>
        <p:spPr>
          <a:xfrm>
            <a:off x="5103829" y="5076117"/>
            <a:ext cx="0" cy="149084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ounded Rectangle 287">
            <a:extLst>
              <a:ext uri="{FF2B5EF4-FFF2-40B4-BE49-F238E27FC236}">
                <a16:creationId xmlns:a16="http://schemas.microsoft.com/office/drawing/2014/main" id="{992D7D8C-AE39-FDBB-8251-470C01E41AF6}"/>
              </a:ext>
            </a:extLst>
          </p:cNvPr>
          <p:cNvSpPr>
            <a:spLocks/>
          </p:cNvSpPr>
          <p:nvPr/>
        </p:nvSpPr>
        <p:spPr>
          <a:xfrm>
            <a:off x="5558015" y="484322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R$ 458k </a:t>
            </a:r>
            <a:r>
              <a:rPr lang="en-US" sz="600" spc="-20">
                <a:solidFill>
                  <a:schemeClr val="accent1"/>
                </a:solidFill>
              </a:rPr>
              <a:t>(13%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04" name="Rounded Rectangle 287">
            <a:extLst>
              <a:ext uri="{FF2B5EF4-FFF2-40B4-BE49-F238E27FC236}">
                <a16:creationId xmlns:a16="http://schemas.microsoft.com/office/drawing/2014/main" id="{64A2396F-713A-317F-3834-7459E84B1DA1}"/>
              </a:ext>
            </a:extLst>
          </p:cNvPr>
          <p:cNvSpPr>
            <a:spLocks/>
          </p:cNvSpPr>
          <p:nvPr/>
        </p:nvSpPr>
        <p:spPr>
          <a:xfrm>
            <a:off x="6254743" y="484322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21% </a:t>
            </a:r>
            <a:r>
              <a:rPr lang="en-US" sz="400" spc="-20">
                <a:solidFill>
                  <a:schemeClr val="accent1"/>
                </a:solidFill>
              </a:rPr>
              <a:t>(9/45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505" name="Rounded Rectangle 287">
            <a:extLst>
              <a:ext uri="{FF2B5EF4-FFF2-40B4-BE49-F238E27FC236}">
                <a16:creationId xmlns:a16="http://schemas.microsoft.com/office/drawing/2014/main" id="{12886326-6553-5D20-E32D-02BC6AF70585}"/>
              </a:ext>
            </a:extLst>
          </p:cNvPr>
          <p:cNvSpPr>
            <a:spLocks/>
          </p:cNvSpPr>
          <p:nvPr/>
        </p:nvSpPr>
        <p:spPr>
          <a:xfrm>
            <a:off x="6951472" y="4843223"/>
            <a:ext cx="659621" cy="1696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spc="-20">
                <a:solidFill>
                  <a:schemeClr val="accent1"/>
                </a:solidFill>
              </a:rPr>
              <a:t>32% </a:t>
            </a:r>
            <a:r>
              <a:rPr lang="en-US" sz="400" spc="-20">
                <a:solidFill>
                  <a:schemeClr val="accent1"/>
                </a:solidFill>
              </a:rPr>
              <a:t>(14/45 SKUs)</a:t>
            </a:r>
            <a:endParaRPr lang="en-US" sz="800" spc="-20">
              <a:solidFill>
                <a:schemeClr val="accent1"/>
              </a:solidFill>
            </a:endParaRPr>
          </a:p>
        </p:txBody>
      </p:sp>
      <p:sp>
        <p:nvSpPr>
          <p:cNvPr id="99" name="Rounded Rectangle 287">
            <a:extLst>
              <a:ext uri="{FF2B5EF4-FFF2-40B4-BE49-F238E27FC236}">
                <a16:creationId xmlns:a16="http://schemas.microsoft.com/office/drawing/2014/main" id="{982F47ED-1FF9-F543-5489-DAB8EC782E2A}"/>
              </a:ext>
            </a:extLst>
          </p:cNvPr>
          <p:cNvSpPr>
            <a:spLocks/>
          </p:cNvSpPr>
          <p:nvPr/>
        </p:nvSpPr>
        <p:spPr>
          <a:xfrm>
            <a:off x="4861698" y="4838979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noProof="0">
              <a:solidFill>
                <a:srgbClr val="7173E9"/>
              </a:solidFill>
            </a:endParaRPr>
          </a:p>
        </p:txBody>
      </p:sp>
      <p:sp>
        <p:nvSpPr>
          <p:cNvPr id="100" name="Rounded Rectangle 287">
            <a:extLst>
              <a:ext uri="{FF2B5EF4-FFF2-40B4-BE49-F238E27FC236}">
                <a16:creationId xmlns:a16="http://schemas.microsoft.com/office/drawing/2014/main" id="{B51D1783-B43A-0EF3-17DE-50E3E02F1908}"/>
              </a:ext>
            </a:extLst>
          </p:cNvPr>
          <p:cNvSpPr>
            <a:spLocks/>
          </p:cNvSpPr>
          <p:nvPr/>
        </p:nvSpPr>
        <p:spPr>
          <a:xfrm>
            <a:off x="4861287" y="4853517"/>
            <a:ext cx="216743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chemeClr val="tx2"/>
                </a:solidFill>
              </a:rPr>
              <a:t>1008</a:t>
            </a:r>
          </a:p>
        </p:txBody>
      </p:sp>
      <p:sp>
        <p:nvSpPr>
          <p:cNvPr id="101" name="Rounded Rectangle 287">
            <a:extLst>
              <a:ext uri="{FF2B5EF4-FFF2-40B4-BE49-F238E27FC236}">
                <a16:creationId xmlns:a16="http://schemas.microsoft.com/office/drawing/2014/main" id="{7FD817B1-6B46-EA6C-7C83-D574B925990B}"/>
              </a:ext>
            </a:extLst>
          </p:cNvPr>
          <p:cNvSpPr>
            <a:spLocks/>
          </p:cNvSpPr>
          <p:nvPr/>
        </p:nvSpPr>
        <p:spPr>
          <a:xfrm>
            <a:off x="5103829" y="4853517"/>
            <a:ext cx="403729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500" spc="-20" noProof="0">
                <a:solidFill>
                  <a:schemeClr val="tx2"/>
                </a:solidFill>
              </a:rPr>
              <a:t>Suzano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CBFD931-2023-5E5A-3ED0-55C18C3366BE}"/>
              </a:ext>
            </a:extLst>
          </p:cNvPr>
          <p:cNvCxnSpPr>
            <a:cxnSpLocks/>
          </p:cNvCxnSpPr>
          <p:nvPr/>
        </p:nvCxnSpPr>
        <p:spPr>
          <a:xfrm>
            <a:off x="5103829" y="4853517"/>
            <a:ext cx="0" cy="149084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ounded Rectangle 287">
            <a:extLst>
              <a:ext uri="{FF2B5EF4-FFF2-40B4-BE49-F238E27FC236}">
                <a16:creationId xmlns:a16="http://schemas.microsoft.com/office/drawing/2014/main" id="{F6C7CB88-00E2-B052-D236-43F0A308CB41}"/>
              </a:ext>
            </a:extLst>
          </p:cNvPr>
          <p:cNvSpPr>
            <a:spLocks/>
          </p:cNvSpPr>
          <p:nvPr/>
        </p:nvSpPr>
        <p:spPr>
          <a:xfrm>
            <a:off x="4861698" y="4393783"/>
            <a:ext cx="659209" cy="178160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noProof="0">
              <a:solidFill>
                <a:srgbClr val="7173E9"/>
              </a:solidFill>
            </a:endParaRPr>
          </a:p>
        </p:txBody>
      </p:sp>
      <p:sp>
        <p:nvSpPr>
          <p:cNvPr id="107" name="Rounded Rectangle 287">
            <a:extLst>
              <a:ext uri="{FF2B5EF4-FFF2-40B4-BE49-F238E27FC236}">
                <a16:creationId xmlns:a16="http://schemas.microsoft.com/office/drawing/2014/main" id="{898085D5-496F-2872-4EC1-7DC19C190E11}"/>
              </a:ext>
            </a:extLst>
          </p:cNvPr>
          <p:cNvSpPr>
            <a:spLocks/>
          </p:cNvSpPr>
          <p:nvPr/>
        </p:nvSpPr>
        <p:spPr>
          <a:xfrm>
            <a:off x="4861287" y="4408321"/>
            <a:ext cx="216743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chemeClr val="tx2"/>
                </a:solidFill>
              </a:rPr>
              <a:t>3000</a:t>
            </a:r>
          </a:p>
        </p:txBody>
      </p:sp>
      <p:sp>
        <p:nvSpPr>
          <p:cNvPr id="108" name="Rounded Rectangle 287">
            <a:extLst>
              <a:ext uri="{FF2B5EF4-FFF2-40B4-BE49-F238E27FC236}">
                <a16:creationId xmlns:a16="http://schemas.microsoft.com/office/drawing/2014/main" id="{FFEAD609-79A4-77DE-6EDF-942C529C8E49}"/>
              </a:ext>
            </a:extLst>
          </p:cNvPr>
          <p:cNvSpPr>
            <a:spLocks/>
          </p:cNvSpPr>
          <p:nvPr/>
        </p:nvSpPr>
        <p:spPr>
          <a:xfrm>
            <a:off x="5103829" y="4408321"/>
            <a:ext cx="403729" cy="149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500" spc="-20" noProof="0">
                <a:solidFill>
                  <a:schemeClr val="tx2"/>
                </a:solidFill>
              </a:rPr>
              <a:t>CB </a:t>
            </a:r>
            <a:r>
              <a:rPr lang="en-US" sz="500" spc="-20" noProof="0" err="1">
                <a:solidFill>
                  <a:schemeClr val="tx2"/>
                </a:solidFill>
              </a:rPr>
              <a:t>Exper</a:t>
            </a:r>
            <a:r>
              <a:rPr lang="en-US" sz="500" spc="-20" noProof="0">
                <a:solidFill>
                  <a:schemeClr val="tx2"/>
                </a:solidFill>
              </a:rPr>
              <a:t>.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4F0A26F-5F50-CEEC-A7AA-76DC43B1EE5C}"/>
              </a:ext>
            </a:extLst>
          </p:cNvPr>
          <p:cNvCxnSpPr>
            <a:cxnSpLocks/>
          </p:cNvCxnSpPr>
          <p:nvPr/>
        </p:nvCxnSpPr>
        <p:spPr>
          <a:xfrm>
            <a:off x="5103829" y="4408321"/>
            <a:ext cx="0" cy="149084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C8BEF277-91D5-22A8-52FA-64E56B6A659B}"/>
              </a:ext>
            </a:extLst>
          </p:cNvPr>
          <p:cNvSpPr txBox="1">
            <a:spLocks/>
          </p:cNvSpPr>
          <p:nvPr/>
        </p:nvSpPr>
        <p:spPr>
          <a:xfrm>
            <a:off x="4750851" y="3249186"/>
            <a:ext cx="3027421" cy="174906"/>
          </a:xfrm>
          <a:prstGeom prst="roundRect">
            <a:avLst>
              <a:gd name="adj" fmla="val 26140"/>
            </a:avLst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>
                <a:solidFill>
                  <a:schemeClr val="bg1"/>
                </a:solidFill>
              </a:rPr>
              <a:t>Maiores </a:t>
            </a:r>
            <a:r>
              <a:rPr lang="en-US" sz="1000" b="1" err="1">
                <a:solidFill>
                  <a:schemeClr val="bg1"/>
                </a:solidFill>
              </a:rPr>
              <a:t>ofensores</a:t>
            </a:r>
            <a:endParaRPr lang="en-US" sz="1000" b="1">
              <a:solidFill>
                <a:schemeClr val="bg1"/>
              </a:solidFill>
            </a:endParaRPr>
          </a:p>
        </p:txBody>
      </p:sp>
      <p:grpSp>
        <p:nvGrpSpPr>
          <p:cNvPr id="127" name="bcgIcons_Alert ">
            <a:extLst>
              <a:ext uri="{FF2B5EF4-FFF2-40B4-BE49-F238E27FC236}">
                <a16:creationId xmlns:a16="http://schemas.microsoft.com/office/drawing/2014/main" id="{8FAF1AFC-26EF-EFA7-95F1-C37695CCB66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50829" y="3244732"/>
            <a:ext cx="183643" cy="183814"/>
            <a:chOff x="1682" y="0"/>
            <a:chExt cx="4316" cy="4320"/>
          </a:xfrm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A908751F-3212-043B-8249-5A78F5B52F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5">
              <a:extLst>
                <a:ext uri="{FF2B5EF4-FFF2-40B4-BE49-F238E27FC236}">
                  <a16:creationId xmlns:a16="http://schemas.microsoft.com/office/drawing/2014/main" id="{AAB89580-C88C-74E1-99BE-0BEE19055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8" y="720"/>
              <a:ext cx="3300" cy="2876"/>
            </a:xfrm>
            <a:custGeom>
              <a:avLst/>
              <a:gdLst>
                <a:gd name="T0" fmla="*/ 1716 w 1762"/>
                <a:gd name="T1" fmla="*/ 1534 h 1534"/>
                <a:gd name="T2" fmla="*/ 46 w 1762"/>
                <a:gd name="T3" fmla="*/ 1534 h 1534"/>
                <a:gd name="T4" fmla="*/ 8 w 1762"/>
                <a:gd name="T5" fmla="*/ 1512 h 1534"/>
                <a:gd name="T6" fmla="*/ 8 w 1762"/>
                <a:gd name="T7" fmla="*/ 1468 h 1534"/>
                <a:gd name="T8" fmla="*/ 843 w 1762"/>
                <a:gd name="T9" fmla="*/ 22 h 1534"/>
                <a:gd name="T10" fmla="*/ 881 w 1762"/>
                <a:gd name="T11" fmla="*/ 0 h 1534"/>
                <a:gd name="T12" fmla="*/ 919 w 1762"/>
                <a:gd name="T13" fmla="*/ 22 h 1534"/>
                <a:gd name="T14" fmla="*/ 919 w 1762"/>
                <a:gd name="T15" fmla="*/ 22 h 1534"/>
                <a:gd name="T16" fmla="*/ 1754 w 1762"/>
                <a:gd name="T17" fmla="*/ 1468 h 1534"/>
                <a:gd name="T18" fmla="*/ 1754 w 1762"/>
                <a:gd name="T19" fmla="*/ 1512 h 1534"/>
                <a:gd name="T20" fmla="*/ 1716 w 1762"/>
                <a:gd name="T21" fmla="*/ 1534 h 1534"/>
                <a:gd name="T22" fmla="*/ 881 w 1762"/>
                <a:gd name="T23" fmla="*/ 44 h 1534"/>
                <a:gd name="T24" fmla="*/ 46 w 1762"/>
                <a:gd name="T25" fmla="*/ 1490 h 1534"/>
                <a:gd name="T26" fmla="*/ 1716 w 1762"/>
                <a:gd name="T27" fmla="*/ 1490 h 1534"/>
                <a:gd name="T28" fmla="*/ 881 w 1762"/>
                <a:gd name="T29" fmla="*/ 44 h 1534"/>
                <a:gd name="T30" fmla="*/ 881 w 1762"/>
                <a:gd name="T31" fmla="*/ 44 h 1534"/>
                <a:gd name="T32" fmla="*/ 881 w 1762"/>
                <a:gd name="T33" fmla="*/ 44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2" h="1534">
                  <a:moveTo>
                    <a:pt x="1716" y="1534"/>
                  </a:moveTo>
                  <a:cubicBezTo>
                    <a:pt x="46" y="1534"/>
                    <a:pt x="46" y="1534"/>
                    <a:pt x="46" y="1534"/>
                  </a:cubicBezTo>
                  <a:cubicBezTo>
                    <a:pt x="30" y="1534"/>
                    <a:pt x="16" y="1526"/>
                    <a:pt x="8" y="1512"/>
                  </a:cubicBezTo>
                  <a:cubicBezTo>
                    <a:pt x="0" y="1498"/>
                    <a:pt x="0" y="1482"/>
                    <a:pt x="8" y="1468"/>
                  </a:cubicBezTo>
                  <a:cubicBezTo>
                    <a:pt x="843" y="22"/>
                    <a:pt x="843" y="22"/>
                    <a:pt x="843" y="22"/>
                  </a:cubicBezTo>
                  <a:cubicBezTo>
                    <a:pt x="851" y="8"/>
                    <a:pt x="865" y="0"/>
                    <a:pt x="881" y="0"/>
                  </a:cubicBezTo>
                  <a:cubicBezTo>
                    <a:pt x="897" y="0"/>
                    <a:pt x="911" y="8"/>
                    <a:pt x="919" y="22"/>
                  </a:cubicBezTo>
                  <a:cubicBezTo>
                    <a:pt x="919" y="22"/>
                    <a:pt x="919" y="22"/>
                    <a:pt x="919" y="22"/>
                  </a:cubicBezTo>
                  <a:cubicBezTo>
                    <a:pt x="1754" y="1468"/>
                    <a:pt x="1754" y="1468"/>
                    <a:pt x="1754" y="1468"/>
                  </a:cubicBezTo>
                  <a:cubicBezTo>
                    <a:pt x="1762" y="1482"/>
                    <a:pt x="1762" y="1498"/>
                    <a:pt x="1754" y="1512"/>
                  </a:cubicBezTo>
                  <a:cubicBezTo>
                    <a:pt x="1746" y="1526"/>
                    <a:pt x="1732" y="1534"/>
                    <a:pt x="1716" y="1534"/>
                  </a:cubicBezTo>
                  <a:close/>
                  <a:moveTo>
                    <a:pt x="881" y="44"/>
                  </a:moveTo>
                  <a:cubicBezTo>
                    <a:pt x="46" y="1490"/>
                    <a:pt x="46" y="1490"/>
                    <a:pt x="46" y="1490"/>
                  </a:cubicBezTo>
                  <a:cubicBezTo>
                    <a:pt x="1716" y="1490"/>
                    <a:pt x="1716" y="1490"/>
                    <a:pt x="1716" y="1490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ubicBezTo>
                    <a:pt x="881" y="44"/>
                    <a:pt x="881" y="44"/>
                    <a:pt x="881" y="4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63" name="Freeform 6">
              <a:extLst>
                <a:ext uri="{FF2B5EF4-FFF2-40B4-BE49-F238E27FC236}">
                  <a16:creationId xmlns:a16="http://schemas.microsoft.com/office/drawing/2014/main" id="{D9784745-97DA-BB05-1731-0D8BDE395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6" y="982"/>
              <a:ext cx="2825" cy="2449"/>
            </a:xfrm>
            <a:custGeom>
              <a:avLst/>
              <a:gdLst>
                <a:gd name="T0" fmla="*/ 1504 w 1508"/>
                <a:gd name="T1" fmla="*/ 1291 h 1306"/>
                <a:gd name="T2" fmla="*/ 763 w 1508"/>
                <a:gd name="T3" fmla="*/ 7 h 1306"/>
                <a:gd name="T4" fmla="*/ 745 w 1508"/>
                <a:gd name="T5" fmla="*/ 7 h 1306"/>
                <a:gd name="T6" fmla="*/ 4 w 1508"/>
                <a:gd name="T7" fmla="*/ 1291 h 1306"/>
                <a:gd name="T8" fmla="*/ 13 w 1508"/>
                <a:gd name="T9" fmla="*/ 1306 h 1306"/>
                <a:gd name="T10" fmla="*/ 1495 w 1508"/>
                <a:gd name="T11" fmla="*/ 1306 h 1306"/>
                <a:gd name="T12" fmla="*/ 1504 w 1508"/>
                <a:gd name="T13" fmla="*/ 1291 h 1306"/>
                <a:gd name="T14" fmla="*/ 694 w 1508"/>
                <a:gd name="T15" fmla="*/ 419 h 1306"/>
                <a:gd name="T16" fmla="*/ 814 w 1508"/>
                <a:gd name="T17" fmla="*/ 419 h 1306"/>
                <a:gd name="T18" fmla="*/ 814 w 1508"/>
                <a:gd name="T19" fmla="*/ 608 h 1306"/>
                <a:gd name="T20" fmla="*/ 778 w 1508"/>
                <a:gd name="T21" fmla="*/ 932 h 1306"/>
                <a:gd name="T22" fmla="*/ 730 w 1508"/>
                <a:gd name="T23" fmla="*/ 932 h 1306"/>
                <a:gd name="T24" fmla="*/ 694 w 1508"/>
                <a:gd name="T25" fmla="*/ 608 h 1306"/>
                <a:gd name="T26" fmla="*/ 694 w 1508"/>
                <a:gd name="T27" fmla="*/ 419 h 1306"/>
                <a:gd name="T28" fmla="*/ 808 w 1508"/>
                <a:gd name="T29" fmla="*/ 1095 h 1306"/>
                <a:gd name="T30" fmla="*/ 755 w 1508"/>
                <a:gd name="T31" fmla="*/ 1117 h 1306"/>
                <a:gd name="T32" fmla="*/ 701 w 1508"/>
                <a:gd name="T33" fmla="*/ 1095 h 1306"/>
                <a:gd name="T34" fmla="*/ 678 w 1508"/>
                <a:gd name="T35" fmla="*/ 1041 h 1306"/>
                <a:gd name="T36" fmla="*/ 701 w 1508"/>
                <a:gd name="T37" fmla="*/ 988 h 1306"/>
                <a:gd name="T38" fmla="*/ 755 w 1508"/>
                <a:gd name="T39" fmla="*/ 965 h 1306"/>
                <a:gd name="T40" fmla="*/ 808 w 1508"/>
                <a:gd name="T41" fmla="*/ 988 h 1306"/>
                <a:gd name="T42" fmla="*/ 830 w 1508"/>
                <a:gd name="T43" fmla="*/ 1041 h 1306"/>
                <a:gd name="T44" fmla="*/ 808 w 1508"/>
                <a:gd name="T45" fmla="*/ 1095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08" h="1306">
                  <a:moveTo>
                    <a:pt x="1504" y="1291"/>
                  </a:moveTo>
                  <a:cubicBezTo>
                    <a:pt x="763" y="7"/>
                    <a:pt x="763" y="7"/>
                    <a:pt x="763" y="7"/>
                  </a:cubicBezTo>
                  <a:cubicBezTo>
                    <a:pt x="759" y="0"/>
                    <a:pt x="749" y="0"/>
                    <a:pt x="745" y="7"/>
                  </a:cubicBezTo>
                  <a:cubicBezTo>
                    <a:pt x="4" y="1291"/>
                    <a:pt x="4" y="1291"/>
                    <a:pt x="4" y="1291"/>
                  </a:cubicBezTo>
                  <a:cubicBezTo>
                    <a:pt x="0" y="1298"/>
                    <a:pt x="5" y="1306"/>
                    <a:pt x="13" y="1306"/>
                  </a:cubicBezTo>
                  <a:cubicBezTo>
                    <a:pt x="1495" y="1306"/>
                    <a:pt x="1495" y="1306"/>
                    <a:pt x="1495" y="1306"/>
                  </a:cubicBezTo>
                  <a:cubicBezTo>
                    <a:pt x="1503" y="1306"/>
                    <a:pt x="1508" y="1298"/>
                    <a:pt x="1504" y="1291"/>
                  </a:cubicBezTo>
                  <a:close/>
                  <a:moveTo>
                    <a:pt x="694" y="419"/>
                  </a:moveTo>
                  <a:cubicBezTo>
                    <a:pt x="814" y="419"/>
                    <a:pt x="814" y="419"/>
                    <a:pt x="814" y="419"/>
                  </a:cubicBezTo>
                  <a:cubicBezTo>
                    <a:pt x="814" y="608"/>
                    <a:pt x="814" y="608"/>
                    <a:pt x="814" y="608"/>
                  </a:cubicBezTo>
                  <a:cubicBezTo>
                    <a:pt x="814" y="669"/>
                    <a:pt x="803" y="778"/>
                    <a:pt x="778" y="932"/>
                  </a:cubicBezTo>
                  <a:cubicBezTo>
                    <a:pt x="730" y="932"/>
                    <a:pt x="730" y="932"/>
                    <a:pt x="730" y="932"/>
                  </a:cubicBezTo>
                  <a:cubicBezTo>
                    <a:pt x="706" y="778"/>
                    <a:pt x="694" y="669"/>
                    <a:pt x="694" y="608"/>
                  </a:cubicBezTo>
                  <a:lnTo>
                    <a:pt x="694" y="419"/>
                  </a:lnTo>
                  <a:close/>
                  <a:moveTo>
                    <a:pt x="808" y="1095"/>
                  </a:moveTo>
                  <a:cubicBezTo>
                    <a:pt x="794" y="1110"/>
                    <a:pt x="776" y="1117"/>
                    <a:pt x="755" y="1117"/>
                  </a:cubicBezTo>
                  <a:cubicBezTo>
                    <a:pt x="733" y="1117"/>
                    <a:pt x="715" y="1110"/>
                    <a:pt x="701" y="1095"/>
                  </a:cubicBezTo>
                  <a:cubicBezTo>
                    <a:pt x="686" y="1080"/>
                    <a:pt x="678" y="1063"/>
                    <a:pt x="678" y="1041"/>
                  </a:cubicBezTo>
                  <a:cubicBezTo>
                    <a:pt x="678" y="1020"/>
                    <a:pt x="686" y="1002"/>
                    <a:pt x="701" y="988"/>
                  </a:cubicBezTo>
                  <a:cubicBezTo>
                    <a:pt x="715" y="973"/>
                    <a:pt x="733" y="965"/>
                    <a:pt x="755" y="965"/>
                  </a:cubicBezTo>
                  <a:cubicBezTo>
                    <a:pt x="776" y="965"/>
                    <a:pt x="794" y="973"/>
                    <a:pt x="808" y="988"/>
                  </a:cubicBezTo>
                  <a:cubicBezTo>
                    <a:pt x="823" y="1002"/>
                    <a:pt x="830" y="1020"/>
                    <a:pt x="830" y="1041"/>
                  </a:cubicBezTo>
                  <a:cubicBezTo>
                    <a:pt x="830" y="1063"/>
                    <a:pt x="823" y="1080"/>
                    <a:pt x="808" y="109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0ED42B72-0C45-1C37-9E38-DB49825F200B}"/>
              </a:ext>
            </a:extLst>
          </p:cNvPr>
          <p:cNvCxnSpPr>
            <a:cxnSpLocks/>
          </p:cNvCxnSpPr>
          <p:nvPr/>
        </p:nvCxnSpPr>
        <p:spPr>
          <a:xfrm>
            <a:off x="4832436" y="4371564"/>
            <a:ext cx="2872369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D60F7C38-A278-1DDC-DA1D-91D068BA615C}"/>
              </a:ext>
            </a:extLst>
          </p:cNvPr>
          <p:cNvSpPr/>
          <p:nvPr/>
        </p:nvSpPr>
        <p:spPr>
          <a:xfrm>
            <a:off x="7981045" y="5422900"/>
            <a:ext cx="3467766" cy="793697"/>
          </a:xfrm>
          <a:prstGeom prst="roundRect">
            <a:avLst>
              <a:gd name="adj" fmla="val 12459"/>
            </a:avLst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5" name="Rectangle: Rounded Corners 238">
            <a:extLst>
              <a:ext uri="{FF2B5EF4-FFF2-40B4-BE49-F238E27FC236}">
                <a16:creationId xmlns:a16="http://schemas.microsoft.com/office/drawing/2014/main" id="{6F244F3E-9570-FBE2-20DF-27C3C4EEBF29}"/>
              </a:ext>
            </a:extLst>
          </p:cNvPr>
          <p:cNvSpPr>
            <a:spLocks/>
          </p:cNvSpPr>
          <p:nvPr/>
        </p:nvSpPr>
        <p:spPr>
          <a:xfrm>
            <a:off x="8048372" y="5461004"/>
            <a:ext cx="3355320" cy="1508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noProof="0">
                <a:solidFill>
                  <a:schemeClr val="bg1"/>
                </a:solidFill>
              </a:rPr>
              <a:t>Previsão de demanda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B946B83-1060-8451-BAD1-156DCF92837F}"/>
              </a:ext>
            </a:extLst>
          </p:cNvPr>
          <p:cNvSpPr/>
          <p:nvPr/>
        </p:nvSpPr>
        <p:spPr>
          <a:xfrm>
            <a:off x="1050323" y="2422495"/>
            <a:ext cx="1160166" cy="113308"/>
          </a:xfrm>
          <a:prstGeom prst="roundRect">
            <a:avLst>
              <a:gd name="adj" fmla="val 40350"/>
            </a:avLst>
          </a:prstGeom>
          <a:solidFill>
            <a:srgbClr val="FFFFFF"/>
          </a:solidFill>
          <a:ln w="9525" cap="rnd" cmpd="sng" algn="ctr">
            <a:solidFill>
              <a:srgbClr val="7173E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TELEFONIA CELULAR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8539E25-C238-A79A-1E85-2A4B6730D09F}"/>
              </a:ext>
            </a:extLst>
          </p:cNvPr>
          <p:cNvSpPr/>
          <p:nvPr/>
        </p:nvSpPr>
        <p:spPr>
          <a:xfrm>
            <a:off x="2381043" y="2422495"/>
            <a:ext cx="1160166" cy="113308"/>
          </a:xfrm>
          <a:prstGeom prst="roundRect">
            <a:avLst>
              <a:gd name="adj" fmla="val 40350"/>
            </a:avLst>
          </a:prstGeom>
          <a:solidFill>
            <a:srgbClr val="FFFFFF"/>
          </a:solidFill>
          <a:ln w="9525" cap="rnd" cmpd="sng" algn="ctr">
            <a:solidFill>
              <a:srgbClr val="7173E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122" name="Freeform 5">
            <a:extLst>
              <a:ext uri="{FF2B5EF4-FFF2-40B4-BE49-F238E27FC236}">
                <a16:creationId xmlns:a16="http://schemas.microsoft.com/office/drawing/2014/main" id="{2896CC4A-9319-C331-CB6C-0DEEE2ED1010}"/>
              </a:ext>
            </a:extLst>
          </p:cNvPr>
          <p:cNvSpPr>
            <a:spLocks/>
          </p:cNvSpPr>
          <p:nvPr/>
        </p:nvSpPr>
        <p:spPr bwMode="auto">
          <a:xfrm>
            <a:off x="3067175" y="4026837"/>
            <a:ext cx="545530" cy="499352"/>
          </a:xfrm>
          <a:custGeom>
            <a:avLst/>
            <a:gdLst>
              <a:gd name="T0" fmla="*/ 456 w 463"/>
              <a:gd name="T1" fmla="*/ 74 h 444"/>
              <a:gd name="T2" fmla="*/ 449 w 463"/>
              <a:gd name="T3" fmla="*/ 93 h 444"/>
              <a:gd name="T4" fmla="*/ 456 w 463"/>
              <a:gd name="T5" fmla="*/ 139 h 444"/>
              <a:gd name="T6" fmla="*/ 460 w 463"/>
              <a:gd name="T7" fmla="*/ 167 h 444"/>
              <a:gd name="T8" fmla="*/ 437 w 463"/>
              <a:gd name="T9" fmla="*/ 179 h 444"/>
              <a:gd name="T10" fmla="*/ 418 w 463"/>
              <a:gd name="T11" fmla="*/ 174 h 444"/>
              <a:gd name="T12" fmla="*/ 404 w 463"/>
              <a:gd name="T13" fmla="*/ 183 h 444"/>
              <a:gd name="T14" fmla="*/ 397 w 463"/>
              <a:gd name="T15" fmla="*/ 202 h 444"/>
              <a:gd name="T16" fmla="*/ 397 w 463"/>
              <a:gd name="T17" fmla="*/ 235 h 444"/>
              <a:gd name="T18" fmla="*/ 379 w 463"/>
              <a:gd name="T19" fmla="*/ 237 h 444"/>
              <a:gd name="T20" fmla="*/ 365 w 463"/>
              <a:gd name="T21" fmla="*/ 237 h 444"/>
              <a:gd name="T22" fmla="*/ 367 w 463"/>
              <a:gd name="T23" fmla="*/ 216 h 444"/>
              <a:gd name="T24" fmla="*/ 311 w 463"/>
              <a:gd name="T25" fmla="*/ 218 h 444"/>
              <a:gd name="T26" fmla="*/ 309 w 463"/>
              <a:gd name="T27" fmla="*/ 239 h 444"/>
              <a:gd name="T28" fmla="*/ 363 w 463"/>
              <a:gd name="T29" fmla="*/ 263 h 444"/>
              <a:gd name="T30" fmla="*/ 365 w 463"/>
              <a:gd name="T31" fmla="*/ 281 h 444"/>
              <a:gd name="T32" fmla="*/ 372 w 463"/>
              <a:gd name="T33" fmla="*/ 305 h 444"/>
              <a:gd name="T34" fmla="*/ 358 w 463"/>
              <a:gd name="T35" fmla="*/ 314 h 444"/>
              <a:gd name="T36" fmla="*/ 346 w 463"/>
              <a:gd name="T37" fmla="*/ 328 h 444"/>
              <a:gd name="T38" fmla="*/ 360 w 463"/>
              <a:gd name="T39" fmla="*/ 339 h 444"/>
              <a:gd name="T40" fmla="*/ 356 w 463"/>
              <a:gd name="T41" fmla="*/ 360 h 444"/>
              <a:gd name="T42" fmla="*/ 346 w 463"/>
              <a:gd name="T43" fmla="*/ 377 h 444"/>
              <a:gd name="T44" fmla="*/ 309 w 463"/>
              <a:gd name="T45" fmla="*/ 391 h 444"/>
              <a:gd name="T46" fmla="*/ 263 w 463"/>
              <a:gd name="T47" fmla="*/ 381 h 444"/>
              <a:gd name="T48" fmla="*/ 223 w 463"/>
              <a:gd name="T49" fmla="*/ 393 h 444"/>
              <a:gd name="T50" fmla="*/ 190 w 463"/>
              <a:gd name="T51" fmla="*/ 393 h 444"/>
              <a:gd name="T52" fmla="*/ 160 w 463"/>
              <a:gd name="T53" fmla="*/ 416 h 444"/>
              <a:gd name="T54" fmla="*/ 144 w 463"/>
              <a:gd name="T55" fmla="*/ 428 h 444"/>
              <a:gd name="T56" fmla="*/ 132 w 463"/>
              <a:gd name="T57" fmla="*/ 444 h 444"/>
              <a:gd name="T58" fmla="*/ 111 w 463"/>
              <a:gd name="T59" fmla="*/ 430 h 444"/>
              <a:gd name="T60" fmla="*/ 76 w 463"/>
              <a:gd name="T61" fmla="*/ 412 h 444"/>
              <a:gd name="T62" fmla="*/ 48 w 463"/>
              <a:gd name="T63" fmla="*/ 398 h 444"/>
              <a:gd name="T64" fmla="*/ 25 w 463"/>
              <a:gd name="T65" fmla="*/ 372 h 444"/>
              <a:gd name="T66" fmla="*/ 9 w 463"/>
              <a:gd name="T67" fmla="*/ 346 h 444"/>
              <a:gd name="T68" fmla="*/ 2 w 463"/>
              <a:gd name="T69" fmla="*/ 312 h 444"/>
              <a:gd name="T70" fmla="*/ 11 w 463"/>
              <a:gd name="T71" fmla="*/ 286 h 444"/>
              <a:gd name="T72" fmla="*/ 27 w 463"/>
              <a:gd name="T73" fmla="*/ 267 h 444"/>
              <a:gd name="T74" fmla="*/ 41 w 463"/>
              <a:gd name="T75" fmla="*/ 246 h 444"/>
              <a:gd name="T76" fmla="*/ 46 w 463"/>
              <a:gd name="T77" fmla="*/ 230 h 444"/>
              <a:gd name="T78" fmla="*/ 69 w 463"/>
              <a:gd name="T79" fmla="*/ 214 h 444"/>
              <a:gd name="T80" fmla="*/ 95 w 463"/>
              <a:gd name="T81" fmla="*/ 197 h 444"/>
              <a:gd name="T82" fmla="*/ 104 w 463"/>
              <a:gd name="T83" fmla="*/ 174 h 444"/>
              <a:gd name="T84" fmla="*/ 123 w 463"/>
              <a:gd name="T85" fmla="*/ 160 h 444"/>
              <a:gd name="T86" fmla="*/ 139 w 463"/>
              <a:gd name="T87" fmla="*/ 153 h 444"/>
              <a:gd name="T88" fmla="*/ 148 w 463"/>
              <a:gd name="T89" fmla="*/ 130 h 444"/>
              <a:gd name="T90" fmla="*/ 158 w 463"/>
              <a:gd name="T91" fmla="*/ 104 h 444"/>
              <a:gd name="T92" fmla="*/ 160 w 463"/>
              <a:gd name="T93" fmla="*/ 83 h 444"/>
              <a:gd name="T94" fmla="*/ 172 w 463"/>
              <a:gd name="T95" fmla="*/ 65 h 444"/>
              <a:gd name="T96" fmla="*/ 179 w 463"/>
              <a:gd name="T97" fmla="*/ 41 h 444"/>
              <a:gd name="T98" fmla="*/ 188 w 463"/>
              <a:gd name="T99" fmla="*/ 23 h 444"/>
              <a:gd name="T100" fmla="*/ 197 w 463"/>
              <a:gd name="T101" fmla="*/ 7 h 444"/>
              <a:gd name="T102" fmla="*/ 204 w 463"/>
              <a:gd name="T103" fmla="*/ 11 h 444"/>
              <a:gd name="T104" fmla="*/ 218 w 463"/>
              <a:gd name="T105" fmla="*/ 41 h 444"/>
              <a:gd name="T106" fmla="*/ 260 w 463"/>
              <a:gd name="T107" fmla="*/ 41 h 444"/>
              <a:gd name="T108" fmla="*/ 290 w 463"/>
              <a:gd name="T109" fmla="*/ 37 h 444"/>
              <a:gd name="T110" fmla="*/ 293 w 463"/>
              <a:gd name="T111" fmla="*/ 69 h 444"/>
              <a:gd name="T112" fmla="*/ 314 w 463"/>
              <a:gd name="T113" fmla="*/ 58 h 444"/>
              <a:gd name="T114" fmla="*/ 337 w 463"/>
              <a:gd name="T115" fmla="*/ 62 h 444"/>
              <a:gd name="T116" fmla="*/ 358 w 463"/>
              <a:gd name="T117" fmla="*/ 58 h 444"/>
              <a:gd name="T118" fmla="*/ 370 w 463"/>
              <a:gd name="T119" fmla="*/ 67 h 444"/>
              <a:gd name="T120" fmla="*/ 411 w 463"/>
              <a:gd name="T121" fmla="*/ 60 h 444"/>
              <a:gd name="T122" fmla="*/ 444 w 463"/>
              <a:gd name="T123" fmla="*/ 48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63" h="444">
                <a:moveTo>
                  <a:pt x="453" y="46"/>
                </a:moveTo>
                <a:lnTo>
                  <a:pt x="453" y="48"/>
                </a:lnTo>
                <a:lnTo>
                  <a:pt x="460" y="53"/>
                </a:lnTo>
                <a:lnTo>
                  <a:pt x="463" y="55"/>
                </a:lnTo>
                <a:lnTo>
                  <a:pt x="463" y="58"/>
                </a:lnTo>
                <a:lnTo>
                  <a:pt x="460" y="58"/>
                </a:lnTo>
                <a:lnTo>
                  <a:pt x="456" y="60"/>
                </a:lnTo>
                <a:lnTo>
                  <a:pt x="456" y="62"/>
                </a:lnTo>
                <a:lnTo>
                  <a:pt x="453" y="69"/>
                </a:lnTo>
                <a:lnTo>
                  <a:pt x="453" y="72"/>
                </a:lnTo>
                <a:lnTo>
                  <a:pt x="456" y="74"/>
                </a:lnTo>
                <a:lnTo>
                  <a:pt x="458" y="76"/>
                </a:lnTo>
                <a:lnTo>
                  <a:pt x="460" y="76"/>
                </a:lnTo>
                <a:lnTo>
                  <a:pt x="460" y="79"/>
                </a:lnTo>
                <a:lnTo>
                  <a:pt x="458" y="79"/>
                </a:lnTo>
                <a:lnTo>
                  <a:pt x="458" y="81"/>
                </a:lnTo>
                <a:lnTo>
                  <a:pt x="456" y="83"/>
                </a:lnTo>
                <a:lnTo>
                  <a:pt x="453" y="83"/>
                </a:lnTo>
                <a:lnTo>
                  <a:pt x="451" y="83"/>
                </a:lnTo>
                <a:lnTo>
                  <a:pt x="451" y="86"/>
                </a:lnTo>
                <a:lnTo>
                  <a:pt x="449" y="88"/>
                </a:lnTo>
                <a:lnTo>
                  <a:pt x="449" y="93"/>
                </a:lnTo>
                <a:lnTo>
                  <a:pt x="446" y="95"/>
                </a:lnTo>
                <a:lnTo>
                  <a:pt x="446" y="100"/>
                </a:lnTo>
                <a:lnTo>
                  <a:pt x="444" y="100"/>
                </a:lnTo>
                <a:lnTo>
                  <a:pt x="444" y="107"/>
                </a:lnTo>
                <a:lnTo>
                  <a:pt x="444" y="114"/>
                </a:lnTo>
                <a:lnTo>
                  <a:pt x="446" y="121"/>
                </a:lnTo>
                <a:lnTo>
                  <a:pt x="449" y="125"/>
                </a:lnTo>
                <a:lnTo>
                  <a:pt x="449" y="128"/>
                </a:lnTo>
                <a:lnTo>
                  <a:pt x="451" y="135"/>
                </a:lnTo>
                <a:lnTo>
                  <a:pt x="453" y="137"/>
                </a:lnTo>
                <a:lnTo>
                  <a:pt x="456" y="139"/>
                </a:lnTo>
                <a:lnTo>
                  <a:pt x="458" y="142"/>
                </a:lnTo>
                <a:lnTo>
                  <a:pt x="460" y="144"/>
                </a:lnTo>
                <a:lnTo>
                  <a:pt x="463" y="146"/>
                </a:lnTo>
                <a:lnTo>
                  <a:pt x="460" y="151"/>
                </a:lnTo>
                <a:lnTo>
                  <a:pt x="458" y="153"/>
                </a:lnTo>
                <a:lnTo>
                  <a:pt x="458" y="156"/>
                </a:lnTo>
                <a:lnTo>
                  <a:pt x="458" y="158"/>
                </a:lnTo>
                <a:lnTo>
                  <a:pt x="458" y="160"/>
                </a:lnTo>
                <a:lnTo>
                  <a:pt x="460" y="163"/>
                </a:lnTo>
                <a:lnTo>
                  <a:pt x="460" y="165"/>
                </a:lnTo>
                <a:lnTo>
                  <a:pt x="460" y="167"/>
                </a:lnTo>
                <a:lnTo>
                  <a:pt x="460" y="170"/>
                </a:lnTo>
                <a:lnTo>
                  <a:pt x="458" y="172"/>
                </a:lnTo>
                <a:lnTo>
                  <a:pt x="456" y="174"/>
                </a:lnTo>
                <a:lnTo>
                  <a:pt x="453" y="179"/>
                </a:lnTo>
                <a:lnTo>
                  <a:pt x="451" y="179"/>
                </a:lnTo>
                <a:lnTo>
                  <a:pt x="449" y="181"/>
                </a:lnTo>
                <a:lnTo>
                  <a:pt x="446" y="181"/>
                </a:lnTo>
                <a:lnTo>
                  <a:pt x="444" y="181"/>
                </a:lnTo>
                <a:lnTo>
                  <a:pt x="442" y="181"/>
                </a:lnTo>
                <a:lnTo>
                  <a:pt x="439" y="179"/>
                </a:lnTo>
                <a:lnTo>
                  <a:pt x="437" y="179"/>
                </a:lnTo>
                <a:lnTo>
                  <a:pt x="435" y="179"/>
                </a:lnTo>
                <a:lnTo>
                  <a:pt x="435" y="174"/>
                </a:lnTo>
                <a:lnTo>
                  <a:pt x="432" y="172"/>
                </a:lnTo>
                <a:lnTo>
                  <a:pt x="432" y="170"/>
                </a:lnTo>
                <a:lnTo>
                  <a:pt x="430" y="170"/>
                </a:lnTo>
                <a:lnTo>
                  <a:pt x="425" y="167"/>
                </a:lnTo>
                <a:lnTo>
                  <a:pt x="425" y="165"/>
                </a:lnTo>
                <a:lnTo>
                  <a:pt x="423" y="165"/>
                </a:lnTo>
                <a:lnTo>
                  <a:pt x="418" y="170"/>
                </a:lnTo>
                <a:lnTo>
                  <a:pt x="418" y="172"/>
                </a:lnTo>
                <a:lnTo>
                  <a:pt x="418" y="174"/>
                </a:lnTo>
                <a:lnTo>
                  <a:pt x="421" y="174"/>
                </a:lnTo>
                <a:lnTo>
                  <a:pt x="418" y="174"/>
                </a:lnTo>
                <a:lnTo>
                  <a:pt x="418" y="176"/>
                </a:lnTo>
                <a:lnTo>
                  <a:pt x="418" y="179"/>
                </a:lnTo>
                <a:lnTo>
                  <a:pt x="418" y="181"/>
                </a:lnTo>
                <a:lnTo>
                  <a:pt x="418" y="183"/>
                </a:lnTo>
                <a:lnTo>
                  <a:pt x="418" y="186"/>
                </a:lnTo>
                <a:lnTo>
                  <a:pt x="416" y="188"/>
                </a:lnTo>
                <a:lnTo>
                  <a:pt x="414" y="188"/>
                </a:lnTo>
                <a:lnTo>
                  <a:pt x="407" y="183"/>
                </a:lnTo>
                <a:lnTo>
                  <a:pt x="404" y="183"/>
                </a:lnTo>
                <a:lnTo>
                  <a:pt x="402" y="183"/>
                </a:lnTo>
                <a:lnTo>
                  <a:pt x="400" y="183"/>
                </a:lnTo>
                <a:lnTo>
                  <a:pt x="397" y="183"/>
                </a:lnTo>
                <a:lnTo>
                  <a:pt x="397" y="186"/>
                </a:lnTo>
                <a:lnTo>
                  <a:pt x="395" y="195"/>
                </a:lnTo>
                <a:lnTo>
                  <a:pt x="397" y="195"/>
                </a:lnTo>
                <a:lnTo>
                  <a:pt x="397" y="197"/>
                </a:lnTo>
                <a:lnTo>
                  <a:pt x="397" y="200"/>
                </a:lnTo>
                <a:lnTo>
                  <a:pt x="400" y="200"/>
                </a:lnTo>
                <a:lnTo>
                  <a:pt x="400" y="202"/>
                </a:lnTo>
                <a:lnTo>
                  <a:pt x="397" y="202"/>
                </a:lnTo>
                <a:lnTo>
                  <a:pt x="397" y="204"/>
                </a:lnTo>
                <a:lnTo>
                  <a:pt x="395" y="204"/>
                </a:lnTo>
                <a:lnTo>
                  <a:pt x="395" y="207"/>
                </a:lnTo>
                <a:lnTo>
                  <a:pt x="393" y="207"/>
                </a:lnTo>
                <a:lnTo>
                  <a:pt x="393" y="209"/>
                </a:lnTo>
                <a:lnTo>
                  <a:pt x="393" y="216"/>
                </a:lnTo>
                <a:lnTo>
                  <a:pt x="395" y="218"/>
                </a:lnTo>
                <a:lnTo>
                  <a:pt x="397" y="228"/>
                </a:lnTo>
                <a:lnTo>
                  <a:pt x="397" y="230"/>
                </a:lnTo>
                <a:lnTo>
                  <a:pt x="397" y="232"/>
                </a:lnTo>
                <a:lnTo>
                  <a:pt x="397" y="235"/>
                </a:lnTo>
                <a:lnTo>
                  <a:pt x="397" y="237"/>
                </a:lnTo>
                <a:lnTo>
                  <a:pt x="395" y="237"/>
                </a:lnTo>
                <a:lnTo>
                  <a:pt x="393" y="237"/>
                </a:lnTo>
                <a:lnTo>
                  <a:pt x="391" y="237"/>
                </a:lnTo>
                <a:lnTo>
                  <a:pt x="388" y="239"/>
                </a:lnTo>
                <a:lnTo>
                  <a:pt x="386" y="237"/>
                </a:lnTo>
                <a:lnTo>
                  <a:pt x="384" y="237"/>
                </a:lnTo>
                <a:lnTo>
                  <a:pt x="384" y="239"/>
                </a:lnTo>
                <a:lnTo>
                  <a:pt x="381" y="239"/>
                </a:lnTo>
                <a:lnTo>
                  <a:pt x="379" y="239"/>
                </a:lnTo>
                <a:lnTo>
                  <a:pt x="379" y="237"/>
                </a:lnTo>
                <a:lnTo>
                  <a:pt x="379" y="239"/>
                </a:lnTo>
                <a:lnTo>
                  <a:pt x="377" y="239"/>
                </a:lnTo>
                <a:lnTo>
                  <a:pt x="377" y="242"/>
                </a:lnTo>
                <a:lnTo>
                  <a:pt x="374" y="242"/>
                </a:lnTo>
                <a:lnTo>
                  <a:pt x="374" y="244"/>
                </a:lnTo>
                <a:lnTo>
                  <a:pt x="372" y="244"/>
                </a:lnTo>
                <a:lnTo>
                  <a:pt x="370" y="244"/>
                </a:lnTo>
                <a:lnTo>
                  <a:pt x="367" y="244"/>
                </a:lnTo>
                <a:lnTo>
                  <a:pt x="365" y="242"/>
                </a:lnTo>
                <a:lnTo>
                  <a:pt x="365" y="239"/>
                </a:lnTo>
                <a:lnTo>
                  <a:pt x="365" y="237"/>
                </a:lnTo>
                <a:lnTo>
                  <a:pt x="365" y="235"/>
                </a:lnTo>
                <a:lnTo>
                  <a:pt x="365" y="232"/>
                </a:lnTo>
                <a:lnTo>
                  <a:pt x="365" y="230"/>
                </a:lnTo>
                <a:lnTo>
                  <a:pt x="367" y="230"/>
                </a:lnTo>
                <a:lnTo>
                  <a:pt x="367" y="228"/>
                </a:lnTo>
                <a:lnTo>
                  <a:pt x="370" y="223"/>
                </a:lnTo>
                <a:lnTo>
                  <a:pt x="367" y="223"/>
                </a:lnTo>
                <a:lnTo>
                  <a:pt x="367" y="221"/>
                </a:lnTo>
                <a:lnTo>
                  <a:pt x="370" y="218"/>
                </a:lnTo>
                <a:lnTo>
                  <a:pt x="370" y="216"/>
                </a:lnTo>
                <a:lnTo>
                  <a:pt x="367" y="216"/>
                </a:lnTo>
                <a:lnTo>
                  <a:pt x="367" y="214"/>
                </a:lnTo>
                <a:lnTo>
                  <a:pt x="365" y="214"/>
                </a:lnTo>
                <a:lnTo>
                  <a:pt x="363" y="211"/>
                </a:lnTo>
                <a:lnTo>
                  <a:pt x="363" y="209"/>
                </a:lnTo>
                <a:lnTo>
                  <a:pt x="342" y="207"/>
                </a:lnTo>
                <a:lnTo>
                  <a:pt x="325" y="207"/>
                </a:lnTo>
                <a:lnTo>
                  <a:pt x="316" y="204"/>
                </a:lnTo>
                <a:lnTo>
                  <a:pt x="316" y="207"/>
                </a:lnTo>
                <a:lnTo>
                  <a:pt x="314" y="214"/>
                </a:lnTo>
                <a:lnTo>
                  <a:pt x="311" y="216"/>
                </a:lnTo>
                <a:lnTo>
                  <a:pt x="311" y="218"/>
                </a:lnTo>
                <a:lnTo>
                  <a:pt x="314" y="221"/>
                </a:lnTo>
                <a:lnTo>
                  <a:pt x="314" y="223"/>
                </a:lnTo>
                <a:lnTo>
                  <a:pt x="311" y="223"/>
                </a:lnTo>
                <a:lnTo>
                  <a:pt x="311" y="225"/>
                </a:lnTo>
                <a:lnTo>
                  <a:pt x="309" y="225"/>
                </a:lnTo>
                <a:lnTo>
                  <a:pt x="309" y="228"/>
                </a:lnTo>
                <a:lnTo>
                  <a:pt x="309" y="230"/>
                </a:lnTo>
                <a:lnTo>
                  <a:pt x="309" y="232"/>
                </a:lnTo>
                <a:lnTo>
                  <a:pt x="311" y="235"/>
                </a:lnTo>
                <a:lnTo>
                  <a:pt x="309" y="237"/>
                </a:lnTo>
                <a:lnTo>
                  <a:pt x="309" y="239"/>
                </a:lnTo>
                <a:lnTo>
                  <a:pt x="314" y="239"/>
                </a:lnTo>
                <a:lnTo>
                  <a:pt x="332" y="242"/>
                </a:lnTo>
                <a:lnTo>
                  <a:pt x="349" y="244"/>
                </a:lnTo>
                <a:lnTo>
                  <a:pt x="367" y="244"/>
                </a:lnTo>
                <a:lnTo>
                  <a:pt x="367" y="246"/>
                </a:lnTo>
                <a:lnTo>
                  <a:pt x="365" y="249"/>
                </a:lnTo>
                <a:lnTo>
                  <a:pt x="365" y="251"/>
                </a:lnTo>
                <a:lnTo>
                  <a:pt x="365" y="256"/>
                </a:lnTo>
                <a:lnTo>
                  <a:pt x="365" y="258"/>
                </a:lnTo>
                <a:lnTo>
                  <a:pt x="363" y="260"/>
                </a:lnTo>
                <a:lnTo>
                  <a:pt x="363" y="263"/>
                </a:lnTo>
                <a:lnTo>
                  <a:pt x="360" y="263"/>
                </a:lnTo>
                <a:lnTo>
                  <a:pt x="360" y="265"/>
                </a:lnTo>
                <a:lnTo>
                  <a:pt x="358" y="267"/>
                </a:lnTo>
                <a:lnTo>
                  <a:pt x="356" y="272"/>
                </a:lnTo>
                <a:lnTo>
                  <a:pt x="356" y="274"/>
                </a:lnTo>
                <a:lnTo>
                  <a:pt x="358" y="277"/>
                </a:lnTo>
                <a:lnTo>
                  <a:pt x="358" y="279"/>
                </a:lnTo>
                <a:lnTo>
                  <a:pt x="360" y="279"/>
                </a:lnTo>
                <a:lnTo>
                  <a:pt x="363" y="279"/>
                </a:lnTo>
                <a:lnTo>
                  <a:pt x="363" y="281"/>
                </a:lnTo>
                <a:lnTo>
                  <a:pt x="365" y="281"/>
                </a:lnTo>
                <a:lnTo>
                  <a:pt x="365" y="284"/>
                </a:lnTo>
                <a:lnTo>
                  <a:pt x="367" y="286"/>
                </a:lnTo>
                <a:lnTo>
                  <a:pt x="367" y="288"/>
                </a:lnTo>
                <a:lnTo>
                  <a:pt x="367" y="293"/>
                </a:lnTo>
                <a:lnTo>
                  <a:pt x="370" y="293"/>
                </a:lnTo>
                <a:lnTo>
                  <a:pt x="370" y="295"/>
                </a:lnTo>
                <a:lnTo>
                  <a:pt x="370" y="298"/>
                </a:lnTo>
                <a:lnTo>
                  <a:pt x="370" y="300"/>
                </a:lnTo>
                <a:lnTo>
                  <a:pt x="372" y="300"/>
                </a:lnTo>
                <a:lnTo>
                  <a:pt x="372" y="302"/>
                </a:lnTo>
                <a:lnTo>
                  <a:pt x="372" y="305"/>
                </a:lnTo>
                <a:lnTo>
                  <a:pt x="370" y="305"/>
                </a:lnTo>
                <a:lnTo>
                  <a:pt x="367" y="305"/>
                </a:lnTo>
                <a:lnTo>
                  <a:pt x="367" y="307"/>
                </a:lnTo>
                <a:lnTo>
                  <a:pt x="365" y="307"/>
                </a:lnTo>
                <a:lnTo>
                  <a:pt x="365" y="309"/>
                </a:lnTo>
                <a:lnTo>
                  <a:pt x="367" y="309"/>
                </a:lnTo>
                <a:lnTo>
                  <a:pt x="365" y="312"/>
                </a:lnTo>
                <a:lnTo>
                  <a:pt x="363" y="312"/>
                </a:lnTo>
                <a:lnTo>
                  <a:pt x="363" y="314"/>
                </a:lnTo>
                <a:lnTo>
                  <a:pt x="360" y="314"/>
                </a:lnTo>
                <a:lnTo>
                  <a:pt x="358" y="314"/>
                </a:lnTo>
                <a:lnTo>
                  <a:pt x="358" y="316"/>
                </a:lnTo>
                <a:lnTo>
                  <a:pt x="358" y="318"/>
                </a:lnTo>
                <a:lnTo>
                  <a:pt x="356" y="318"/>
                </a:lnTo>
                <a:lnTo>
                  <a:pt x="356" y="321"/>
                </a:lnTo>
                <a:lnTo>
                  <a:pt x="356" y="318"/>
                </a:lnTo>
                <a:lnTo>
                  <a:pt x="353" y="321"/>
                </a:lnTo>
                <a:lnTo>
                  <a:pt x="353" y="323"/>
                </a:lnTo>
                <a:lnTo>
                  <a:pt x="351" y="325"/>
                </a:lnTo>
                <a:lnTo>
                  <a:pt x="349" y="325"/>
                </a:lnTo>
                <a:lnTo>
                  <a:pt x="346" y="325"/>
                </a:lnTo>
                <a:lnTo>
                  <a:pt x="346" y="328"/>
                </a:lnTo>
                <a:lnTo>
                  <a:pt x="346" y="330"/>
                </a:lnTo>
                <a:lnTo>
                  <a:pt x="346" y="332"/>
                </a:lnTo>
                <a:lnTo>
                  <a:pt x="346" y="335"/>
                </a:lnTo>
                <a:lnTo>
                  <a:pt x="349" y="337"/>
                </a:lnTo>
                <a:lnTo>
                  <a:pt x="351" y="337"/>
                </a:lnTo>
                <a:lnTo>
                  <a:pt x="351" y="335"/>
                </a:lnTo>
                <a:lnTo>
                  <a:pt x="353" y="335"/>
                </a:lnTo>
                <a:lnTo>
                  <a:pt x="353" y="337"/>
                </a:lnTo>
                <a:lnTo>
                  <a:pt x="356" y="337"/>
                </a:lnTo>
                <a:lnTo>
                  <a:pt x="358" y="339"/>
                </a:lnTo>
                <a:lnTo>
                  <a:pt x="360" y="339"/>
                </a:lnTo>
                <a:lnTo>
                  <a:pt x="360" y="342"/>
                </a:lnTo>
                <a:lnTo>
                  <a:pt x="360" y="344"/>
                </a:lnTo>
                <a:lnTo>
                  <a:pt x="360" y="346"/>
                </a:lnTo>
                <a:lnTo>
                  <a:pt x="358" y="349"/>
                </a:lnTo>
                <a:lnTo>
                  <a:pt x="356" y="351"/>
                </a:lnTo>
                <a:lnTo>
                  <a:pt x="356" y="353"/>
                </a:lnTo>
                <a:lnTo>
                  <a:pt x="356" y="356"/>
                </a:lnTo>
                <a:lnTo>
                  <a:pt x="353" y="356"/>
                </a:lnTo>
                <a:lnTo>
                  <a:pt x="353" y="358"/>
                </a:lnTo>
                <a:lnTo>
                  <a:pt x="353" y="360"/>
                </a:lnTo>
                <a:lnTo>
                  <a:pt x="356" y="360"/>
                </a:lnTo>
                <a:lnTo>
                  <a:pt x="356" y="363"/>
                </a:lnTo>
                <a:lnTo>
                  <a:pt x="356" y="365"/>
                </a:lnTo>
                <a:lnTo>
                  <a:pt x="356" y="367"/>
                </a:lnTo>
                <a:lnTo>
                  <a:pt x="358" y="372"/>
                </a:lnTo>
                <a:lnTo>
                  <a:pt x="356" y="372"/>
                </a:lnTo>
                <a:lnTo>
                  <a:pt x="353" y="372"/>
                </a:lnTo>
                <a:lnTo>
                  <a:pt x="353" y="374"/>
                </a:lnTo>
                <a:lnTo>
                  <a:pt x="351" y="374"/>
                </a:lnTo>
                <a:lnTo>
                  <a:pt x="351" y="377"/>
                </a:lnTo>
                <a:lnTo>
                  <a:pt x="349" y="377"/>
                </a:lnTo>
                <a:lnTo>
                  <a:pt x="346" y="377"/>
                </a:lnTo>
                <a:lnTo>
                  <a:pt x="339" y="379"/>
                </a:lnTo>
                <a:lnTo>
                  <a:pt x="339" y="381"/>
                </a:lnTo>
                <a:lnTo>
                  <a:pt x="337" y="381"/>
                </a:lnTo>
                <a:lnTo>
                  <a:pt x="335" y="384"/>
                </a:lnTo>
                <a:lnTo>
                  <a:pt x="335" y="386"/>
                </a:lnTo>
                <a:lnTo>
                  <a:pt x="332" y="386"/>
                </a:lnTo>
                <a:lnTo>
                  <a:pt x="318" y="393"/>
                </a:lnTo>
                <a:lnTo>
                  <a:pt x="316" y="393"/>
                </a:lnTo>
                <a:lnTo>
                  <a:pt x="314" y="393"/>
                </a:lnTo>
                <a:lnTo>
                  <a:pt x="311" y="391"/>
                </a:lnTo>
                <a:lnTo>
                  <a:pt x="309" y="391"/>
                </a:lnTo>
                <a:lnTo>
                  <a:pt x="309" y="388"/>
                </a:lnTo>
                <a:lnTo>
                  <a:pt x="307" y="391"/>
                </a:lnTo>
                <a:lnTo>
                  <a:pt x="304" y="391"/>
                </a:lnTo>
                <a:lnTo>
                  <a:pt x="304" y="388"/>
                </a:lnTo>
                <a:lnTo>
                  <a:pt x="302" y="388"/>
                </a:lnTo>
                <a:lnTo>
                  <a:pt x="300" y="386"/>
                </a:lnTo>
                <a:lnTo>
                  <a:pt x="297" y="386"/>
                </a:lnTo>
                <a:lnTo>
                  <a:pt x="295" y="384"/>
                </a:lnTo>
                <a:lnTo>
                  <a:pt x="290" y="384"/>
                </a:lnTo>
                <a:lnTo>
                  <a:pt x="276" y="384"/>
                </a:lnTo>
                <a:lnTo>
                  <a:pt x="263" y="381"/>
                </a:lnTo>
                <a:lnTo>
                  <a:pt x="260" y="381"/>
                </a:lnTo>
                <a:lnTo>
                  <a:pt x="258" y="381"/>
                </a:lnTo>
                <a:lnTo>
                  <a:pt x="256" y="379"/>
                </a:lnTo>
                <a:lnTo>
                  <a:pt x="251" y="381"/>
                </a:lnTo>
                <a:lnTo>
                  <a:pt x="244" y="384"/>
                </a:lnTo>
                <a:lnTo>
                  <a:pt x="242" y="386"/>
                </a:lnTo>
                <a:lnTo>
                  <a:pt x="239" y="388"/>
                </a:lnTo>
                <a:lnTo>
                  <a:pt x="230" y="398"/>
                </a:lnTo>
                <a:lnTo>
                  <a:pt x="228" y="398"/>
                </a:lnTo>
                <a:lnTo>
                  <a:pt x="225" y="395"/>
                </a:lnTo>
                <a:lnTo>
                  <a:pt x="223" y="393"/>
                </a:lnTo>
                <a:lnTo>
                  <a:pt x="223" y="391"/>
                </a:lnTo>
                <a:lnTo>
                  <a:pt x="223" y="388"/>
                </a:lnTo>
                <a:lnTo>
                  <a:pt x="221" y="388"/>
                </a:lnTo>
                <a:lnTo>
                  <a:pt x="218" y="388"/>
                </a:lnTo>
                <a:lnTo>
                  <a:pt x="218" y="391"/>
                </a:lnTo>
                <a:lnTo>
                  <a:pt x="216" y="391"/>
                </a:lnTo>
                <a:lnTo>
                  <a:pt x="202" y="395"/>
                </a:lnTo>
                <a:lnTo>
                  <a:pt x="200" y="395"/>
                </a:lnTo>
                <a:lnTo>
                  <a:pt x="197" y="395"/>
                </a:lnTo>
                <a:lnTo>
                  <a:pt x="193" y="393"/>
                </a:lnTo>
                <a:lnTo>
                  <a:pt x="190" y="393"/>
                </a:lnTo>
                <a:lnTo>
                  <a:pt x="188" y="393"/>
                </a:lnTo>
                <a:lnTo>
                  <a:pt x="188" y="395"/>
                </a:lnTo>
                <a:lnTo>
                  <a:pt x="186" y="395"/>
                </a:lnTo>
                <a:lnTo>
                  <a:pt x="183" y="395"/>
                </a:lnTo>
                <a:lnTo>
                  <a:pt x="174" y="398"/>
                </a:lnTo>
                <a:lnTo>
                  <a:pt x="172" y="398"/>
                </a:lnTo>
                <a:lnTo>
                  <a:pt x="162" y="409"/>
                </a:lnTo>
                <a:lnTo>
                  <a:pt x="160" y="409"/>
                </a:lnTo>
                <a:lnTo>
                  <a:pt x="160" y="412"/>
                </a:lnTo>
                <a:lnTo>
                  <a:pt x="160" y="414"/>
                </a:lnTo>
                <a:lnTo>
                  <a:pt x="160" y="416"/>
                </a:lnTo>
                <a:lnTo>
                  <a:pt x="160" y="419"/>
                </a:lnTo>
                <a:lnTo>
                  <a:pt x="158" y="419"/>
                </a:lnTo>
                <a:lnTo>
                  <a:pt x="158" y="421"/>
                </a:lnTo>
                <a:lnTo>
                  <a:pt x="155" y="423"/>
                </a:lnTo>
                <a:lnTo>
                  <a:pt x="153" y="423"/>
                </a:lnTo>
                <a:lnTo>
                  <a:pt x="151" y="421"/>
                </a:lnTo>
                <a:lnTo>
                  <a:pt x="148" y="423"/>
                </a:lnTo>
                <a:lnTo>
                  <a:pt x="146" y="423"/>
                </a:lnTo>
                <a:lnTo>
                  <a:pt x="146" y="426"/>
                </a:lnTo>
                <a:lnTo>
                  <a:pt x="144" y="426"/>
                </a:lnTo>
                <a:lnTo>
                  <a:pt x="144" y="428"/>
                </a:lnTo>
                <a:lnTo>
                  <a:pt x="141" y="430"/>
                </a:lnTo>
                <a:lnTo>
                  <a:pt x="139" y="430"/>
                </a:lnTo>
                <a:lnTo>
                  <a:pt x="139" y="433"/>
                </a:lnTo>
                <a:lnTo>
                  <a:pt x="137" y="433"/>
                </a:lnTo>
                <a:lnTo>
                  <a:pt x="137" y="435"/>
                </a:lnTo>
                <a:lnTo>
                  <a:pt x="137" y="437"/>
                </a:lnTo>
                <a:lnTo>
                  <a:pt x="135" y="440"/>
                </a:lnTo>
                <a:lnTo>
                  <a:pt x="137" y="442"/>
                </a:lnTo>
                <a:lnTo>
                  <a:pt x="137" y="444"/>
                </a:lnTo>
                <a:lnTo>
                  <a:pt x="135" y="444"/>
                </a:lnTo>
                <a:lnTo>
                  <a:pt x="132" y="444"/>
                </a:lnTo>
                <a:lnTo>
                  <a:pt x="132" y="442"/>
                </a:lnTo>
                <a:lnTo>
                  <a:pt x="130" y="442"/>
                </a:lnTo>
                <a:lnTo>
                  <a:pt x="130" y="444"/>
                </a:lnTo>
                <a:lnTo>
                  <a:pt x="125" y="437"/>
                </a:lnTo>
                <a:lnTo>
                  <a:pt x="123" y="433"/>
                </a:lnTo>
                <a:lnTo>
                  <a:pt x="121" y="433"/>
                </a:lnTo>
                <a:lnTo>
                  <a:pt x="121" y="430"/>
                </a:lnTo>
                <a:lnTo>
                  <a:pt x="118" y="430"/>
                </a:lnTo>
                <a:lnTo>
                  <a:pt x="116" y="430"/>
                </a:lnTo>
                <a:lnTo>
                  <a:pt x="114" y="430"/>
                </a:lnTo>
                <a:lnTo>
                  <a:pt x="111" y="430"/>
                </a:lnTo>
                <a:lnTo>
                  <a:pt x="111" y="428"/>
                </a:lnTo>
                <a:lnTo>
                  <a:pt x="109" y="428"/>
                </a:lnTo>
                <a:lnTo>
                  <a:pt x="109" y="426"/>
                </a:lnTo>
                <a:lnTo>
                  <a:pt x="104" y="423"/>
                </a:lnTo>
                <a:lnTo>
                  <a:pt x="104" y="421"/>
                </a:lnTo>
                <a:lnTo>
                  <a:pt x="102" y="421"/>
                </a:lnTo>
                <a:lnTo>
                  <a:pt x="97" y="421"/>
                </a:lnTo>
                <a:lnTo>
                  <a:pt x="95" y="421"/>
                </a:lnTo>
                <a:lnTo>
                  <a:pt x="90" y="419"/>
                </a:lnTo>
                <a:lnTo>
                  <a:pt x="79" y="414"/>
                </a:lnTo>
                <a:lnTo>
                  <a:pt x="76" y="412"/>
                </a:lnTo>
                <a:lnTo>
                  <a:pt x="74" y="409"/>
                </a:lnTo>
                <a:lnTo>
                  <a:pt x="72" y="409"/>
                </a:lnTo>
                <a:lnTo>
                  <a:pt x="69" y="407"/>
                </a:lnTo>
                <a:lnTo>
                  <a:pt x="67" y="407"/>
                </a:lnTo>
                <a:lnTo>
                  <a:pt x="65" y="405"/>
                </a:lnTo>
                <a:lnTo>
                  <a:pt x="65" y="402"/>
                </a:lnTo>
                <a:lnTo>
                  <a:pt x="60" y="400"/>
                </a:lnTo>
                <a:lnTo>
                  <a:pt x="58" y="398"/>
                </a:lnTo>
                <a:lnTo>
                  <a:pt x="55" y="398"/>
                </a:lnTo>
                <a:lnTo>
                  <a:pt x="51" y="398"/>
                </a:lnTo>
                <a:lnTo>
                  <a:pt x="48" y="398"/>
                </a:lnTo>
                <a:lnTo>
                  <a:pt x="44" y="391"/>
                </a:lnTo>
                <a:lnTo>
                  <a:pt x="41" y="391"/>
                </a:lnTo>
                <a:lnTo>
                  <a:pt x="34" y="391"/>
                </a:lnTo>
                <a:lnTo>
                  <a:pt x="32" y="391"/>
                </a:lnTo>
                <a:lnTo>
                  <a:pt x="30" y="391"/>
                </a:lnTo>
                <a:lnTo>
                  <a:pt x="25" y="388"/>
                </a:lnTo>
                <a:lnTo>
                  <a:pt x="18" y="386"/>
                </a:lnTo>
                <a:lnTo>
                  <a:pt x="18" y="384"/>
                </a:lnTo>
                <a:lnTo>
                  <a:pt x="20" y="379"/>
                </a:lnTo>
                <a:lnTo>
                  <a:pt x="25" y="374"/>
                </a:lnTo>
                <a:lnTo>
                  <a:pt x="25" y="372"/>
                </a:lnTo>
                <a:lnTo>
                  <a:pt x="25" y="370"/>
                </a:lnTo>
                <a:lnTo>
                  <a:pt x="20" y="367"/>
                </a:lnTo>
                <a:lnTo>
                  <a:pt x="18" y="365"/>
                </a:lnTo>
                <a:lnTo>
                  <a:pt x="16" y="367"/>
                </a:lnTo>
                <a:lnTo>
                  <a:pt x="13" y="367"/>
                </a:lnTo>
                <a:lnTo>
                  <a:pt x="11" y="367"/>
                </a:lnTo>
                <a:lnTo>
                  <a:pt x="9" y="367"/>
                </a:lnTo>
                <a:lnTo>
                  <a:pt x="9" y="365"/>
                </a:lnTo>
                <a:lnTo>
                  <a:pt x="9" y="363"/>
                </a:lnTo>
                <a:lnTo>
                  <a:pt x="11" y="349"/>
                </a:lnTo>
                <a:lnTo>
                  <a:pt x="9" y="346"/>
                </a:lnTo>
                <a:lnTo>
                  <a:pt x="9" y="344"/>
                </a:lnTo>
                <a:lnTo>
                  <a:pt x="9" y="342"/>
                </a:lnTo>
                <a:lnTo>
                  <a:pt x="7" y="337"/>
                </a:lnTo>
                <a:lnTo>
                  <a:pt x="7" y="332"/>
                </a:lnTo>
                <a:lnTo>
                  <a:pt x="4" y="330"/>
                </a:lnTo>
                <a:lnTo>
                  <a:pt x="4" y="328"/>
                </a:lnTo>
                <a:lnTo>
                  <a:pt x="0" y="321"/>
                </a:lnTo>
                <a:lnTo>
                  <a:pt x="0" y="318"/>
                </a:lnTo>
                <a:lnTo>
                  <a:pt x="0" y="316"/>
                </a:lnTo>
                <a:lnTo>
                  <a:pt x="0" y="312"/>
                </a:lnTo>
                <a:lnTo>
                  <a:pt x="2" y="312"/>
                </a:lnTo>
                <a:lnTo>
                  <a:pt x="2" y="309"/>
                </a:lnTo>
                <a:lnTo>
                  <a:pt x="2" y="307"/>
                </a:lnTo>
                <a:lnTo>
                  <a:pt x="2" y="305"/>
                </a:lnTo>
                <a:lnTo>
                  <a:pt x="4" y="305"/>
                </a:lnTo>
                <a:lnTo>
                  <a:pt x="4" y="302"/>
                </a:lnTo>
                <a:lnTo>
                  <a:pt x="4" y="298"/>
                </a:lnTo>
                <a:lnTo>
                  <a:pt x="7" y="295"/>
                </a:lnTo>
                <a:lnTo>
                  <a:pt x="7" y="293"/>
                </a:lnTo>
                <a:lnTo>
                  <a:pt x="7" y="291"/>
                </a:lnTo>
                <a:lnTo>
                  <a:pt x="9" y="291"/>
                </a:lnTo>
                <a:lnTo>
                  <a:pt x="11" y="286"/>
                </a:lnTo>
                <a:lnTo>
                  <a:pt x="13" y="286"/>
                </a:lnTo>
                <a:lnTo>
                  <a:pt x="13" y="284"/>
                </a:lnTo>
                <a:lnTo>
                  <a:pt x="13" y="281"/>
                </a:lnTo>
                <a:lnTo>
                  <a:pt x="13" y="279"/>
                </a:lnTo>
                <a:lnTo>
                  <a:pt x="16" y="277"/>
                </a:lnTo>
                <a:lnTo>
                  <a:pt x="16" y="274"/>
                </a:lnTo>
                <a:lnTo>
                  <a:pt x="16" y="272"/>
                </a:lnTo>
                <a:lnTo>
                  <a:pt x="18" y="270"/>
                </a:lnTo>
                <a:lnTo>
                  <a:pt x="23" y="267"/>
                </a:lnTo>
                <a:lnTo>
                  <a:pt x="25" y="267"/>
                </a:lnTo>
                <a:lnTo>
                  <a:pt x="27" y="267"/>
                </a:lnTo>
                <a:lnTo>
                  <a:pt x="27" y="265"/>
                </a:lnTo>
                <a:lnTo>
                  <a:pt x="30" y="265"/>
                </a:lnTo>
                <a:lnTo>
                  <a:pt x="32" y="263"/>
                </a:lnTo>
                <a:lnTo>
                  <a:pt x="34" y="260"/>
                </a:lnTo>
                <a:lnTo>
                  <a:pt x="34" y="258"/>
                </a:lnTo>
                <a:lnTo>
                  <a:pt x="37" y="256"/>
                </a:lnTo>
                <a:lnTo>
                  <a:pt x="37" y="253"/>
                </a:lnTo>
                <a:lnTo>
                  <a:pt x="39" y="253"/>
                </a:lnTo>
                <a:lnTo>
                  <a:pt x="41" y="251"/>
                </a:lnTo>
                <a:lnTo>
                  <a:pt x="41" y="249"/>
                </a:lnTo>
                <a:lnTo>
                  <a:pt x="41" y="246"/>
                </a:lnTo>
                <a:lnTo>
                  <a:pt x="41" y="244"/>
                </a:lnTo>
                <a:lnTo>
                  <a:pt x="39" y="244"/>
                </a:lnTo>
                <a:lnTo>
                  <a:pt x="37" y="244"/>
                </a:lnTo>
                <a:lnTo>
                  <a:pt x="37" y="242"/>
                </a:lnTo>
                <a:lnTo>
                  <a:pt x="37" y="239"/>
                </a:lnTo>
                <a:lnTo>
                  <a:pt x="39" y="239"/>
                </a:lnTo>
                <a:lnTo>
                  <a:pt x="39" y="237"/>
                </a:lnTo>
                <a:lnTo>
                  <a:pt x="41" y="235"/>
                </a:lnTo>
                <a:lnTo>
                  <a:pt x="46" y="235"/>
                </a:lnTo>
                <a:lnTo>
                  <a:pt x="46" y="232"/>
                </a:lnTo>
                <a:lnTo>
                  <a:pt x="46" y="230"/>
                </a:lnTo>
                <a:lnTo>
                  <a:pt x="48" y="228"/>
                </a:lnTo>
                <a:lnTo>
                  <a:pt x="51" y="228"/>
                </a:lnTo>
                <a:lnTo>
                  <a:pt x="53" y="225"/>
                </a:lnTo>
                <a:lnTo>
                  <a:pt x="55" y="223"/>
                </a:lnTo>
                <a:lnTo>
                  <a:pt x="58" y="223"/>
                </a:lnTo>
                <a:lnTo>
                  <a:pt x="60" y="223"/>
                </a:lnTo>
                <a:lnTo>
                  <a:pt x="62" y="218"/>
                </a:lnTo>
                <a:lnTo>
                  <a:pt x="65" y="216"/>
                </a:lnTo>
                <a:lnTo>
                  <a:pt x="65" y="214"/>
                </a:lnTo>
                <a:lnTo>
                  <a:pt x="67" y="214"/>
                </a:lnTo>
                <a:lnTo>
                  <a:pt x="69" y="214"/>
                </a:lnTo>
                <a:lnTo>
                  <a:pt x="72" y="214"/>
                </a:lnTo>
                <a:lnTo>
                  <a:pt x="79" y="214"/>
                </a:lnTo>
                <a:lnTo>
                  <a:pt x="79" y="211"/>
                </a:lnTo>
                <a:lnTo>
                  <a:pt x="81" y="211"/>
                </a:lnTo>
                <a:lnTo>
                  <a:pt x="83" y="209"/>
                </a:lnTo>
                <a:lnTo>
                  <a:pt x="86" y="209"/>
                </a:lnTo>
                <a:lnTo>
                  <a:pt x="88" y="209"/>
                </a:lnTo>
                <a:lnTo>
                  <a:pt x="90" y="207"/>
                </a:lnTo>
                <a:lnTo>
                  <a:pt x="93" y="204"/>
                </a:lnTo>
                <a:lnTo>
                  <a:pt x="95" y="200"/>
                </a:lnTo>
                <a:lnTo>
                  <a:pt x="95" y="197"/>
                </a:lnTo>
                <a:lnTo>
                  <a:pt x="95" y="195"/>
                </a:lnTo>
                <a:lnTo>
                  <a:pt x="95" y="193"/>
                </a:lnTo>
                <a:lnTo>
                  <a:pt x="97" y="193"/>
                </a:lnTo>
                <a:lnTo>
                  <a:pt x="100" y="190"/>
                </a:lnTo>
                <a:lnTo>
                  <a:pt x="100" y="188"/>
                </a:lnTo>
                <a:lnTo>
                  <a:pt x="102" y="183"/>
                </a:lnTo>
                <a:lnTo>
                  <a:pt x="102" y="181"/>
                </a:lnTo>
                <a:lnTo>
                  <a:pt x="102" y="179"/>
                </a:lnTo>
                <a:lnTo>
                  <a:pt x="102" y="176"/>
                </a:lnTo>
                <a:lnTo>
                  <a:pt x="104" y="176"/>
                </a:lnTo>
                <a:lnTo>
                  <a:pt x="104" y="174"/>
                </a:lnTo>
                <a:lnTo>
                  <a:pt x="104" y="172"/>
                </a:lnTo>
                <a:lnTo>
                  <a:pt x="107" y="170"/>
                </a:lnTo>
                <a:lnTo>
                  <a:pt x="109" y="170"/>
                </a:lnTo>
                <a:lnTo>
                  <a:pt x="109" y="167"/>
                </a:lnTo>
                <a:lnTo>
                  <a:pt x="114" y="165"/>
                </a:lnTo>
                <a:lnTo>
                  <a:pt x="114" y="163"/>
                </a:lnTo>
                <a:lnTo>
                  <a:pt x="116" y="163"/>
                </a:lnTo>
                <a:lnTo>
                  <a:pt x="118" y="163"/>
                </a:lnTo>
                <a:lnTo>
                  <a:pt x="118" y="160"/>
                </a:lnTo>
                <a:lnTo>
                  <a:pt x="121" y="160"/>
                </a:lnTo>
                <a:lnTo>
                  <a:pt x="123" y="160"/>
                </a:lnTo>
                <a:lnTo>
                  <a:pt x="125" y="158"/>
                </a:lnTo>
                <a:lnTo>
                  <a:pt x="128" y="158"/>
                </a:lnTo>
                <a:lnTo>
                  <a:pt x="128" y="160"/>
                </a:lnTo>
                <a:lnTo>
                  <a:pt x="128" y="163"/>
                </a:lnTo>
                <a:lnTo>
                  <a:pt x="130" y="160"/>
                </a:lnTo>
                <a:lnTo>
                  <a:pt x="132" y="160"/>
                </a:lnTo>
                <a:lnTo>
                  <a:pt x="135" y="160"/>
                </a:lnTo>
                <a:lnTo>
                  <a:pt x="137" y="158"/>
                </a:lnTo>
                <a:lnTo>
                  <a:pt x="137" y="156"/>
                </a:lnTo>
                <a:lnTo>
                  <a:pt x="139" y="156"/>
                </a:lnTo>
                <a:lnTo>
                  <a:pt x="139" y="153"/>
                </a:lnTo>
                <a:lnTo>
                  <a:pt x="141" y="151"/>
                </a:lnTo>
                <a:lnTo>
                  <a:pt x="141" y="149"/>
                </a:lnTo>
                <a:lnTo>
                  <a:pt x="141" y="144"/>
                </a:lnTo>
                <a:lnTo>
                  <a:pt x="144" y="144"/>
                </a:lnTo>
                <a:lnTo>
                  <a:pt x="144" y="142"/>
                </a:lnTo>
                <a:lnTo>
                  <a:pt x="144" y="139"/>
                </a:lnTo>
                <a:lnTo>
                  <a:pt x="146" y="139"/>
                </a:lnTo>
                <a:lnTo>
                  <a:pt x="146" y="137"/>
                </a:lnTo>
                <a:lnTo>
                  <a:pt x="148" y="135"/>
                </a:lnTo>
                <a:lnTo>
                  <a:pt x="148" y="132"/>
                </a:lnTo>
                <a:lnTo>
                  <a:pt x="148" y="130"/>
                </a:lnTo>
                <a:lnTo>
                  <a:pt x="148" y="128"/>
                </a:lnTo>
                <a:lnTo>
                  <a:pt x="148" y="125"/>
                </a:lnTo>
                <a:lnTo>
                  <a:pt x="148" y="123"/>
                </a:lnTo>
                <a:lnTo>
                  <a:pt x="148" y="121"/>
                </a:lnTo>
                <a:lnTo>
                  <a:pt x="151" y="118"/>
                </a:lnTo>
                <a:lnTo>
                  <a:pt x="151" y="116"/>
                </a:lnTo>
                <a:lnTo>
                  <a:pt x="151" y="114"/>
                </a:lnTo>
                <a:lnTo>
                  <a:pt x="153" y="109"/>
                </a:lnTo>
                <a:lnTo>
                  <a:pt x="153" y="107"/>
                </a:lnTo>
                <a:lnTo>
                  <a:pt x="155" y="107"/>
                </a:lnTo>
                <a:lnTo>
                  <a:pt x="158" y="104"/>
                </a:lnTo>
                <a:lnTo>
                  <a:pt x="160" y="104"/>
                </a:lnTo>
                <a:lnTo>
                  <a:pt x="160" y="102"/>
                </a:lnTo>
                <a:lnTo>
                  <a:pt x="158" y="102"/>
                </a:lnTo>
                <a:lnTo>
                  <a:pt x="158" y="100"/>
                </a:lnTo>
                <a:lnTo>
                  <a:pt x="158" y="97"/>
                </a:lnTo>
                <a:lnTo>
                  <a:pt x="158" y="95"/>
                </a:lnTo>
                <a:lnTo>
                  <a:pt x="160" y="93"/>
                </a:lnTo>
                <a:lnTo>
                  <a:pt x="160" y="90"/>
                </a:lnTo>
                <a:lnTo>
                  <a:pt x="160" y="88"/>
                </a:lnTo>
                <a:lnTo>
                  <a:pt x="160" y="86"/>
                </a:lnTo>
                <a:lnTo>
                  <a:pt x="160" y="83"/>
                </a:lnTo>
                <a:lnTo>
                  <a:pt x="160" y="81"/>
                </a:lnTo>
                <a:lnTo>
                  <a:pt x="160" y="79"/>
                </a:lnTo>
                <a:lnTo>
                  <a:pt x="162" y="79"/>
                </a:lnTo>
                <a:lnTo>
                  <a:pt x="165" y="79"/>
                </a:lnTo>
                <a:lnTo>
                  <a:pt x="165" y="76"/>
                </a:lnTo>
                <a:lnTo>
                  <a:pt x="165" y="74"/>
                </a:lnTo>
                <a:lnTo>
                  <a:pt x="167" y="69"/>
                </a:lnTo>
                <a:lnTo>
                  <a:pt x="167" y="67"/>
                </a:lnTo>
                <a:lnTo>
                  <a:pt x="169" y="67"/>
                </a:lnTo>
                <a:lnTo>
                  <a:pt x="169" y="65"/>
                </a:lnTo>
                <a:lnTo>
                  <a:pt x="172" y="65"/>
                </a:lnTo>
                <a:lnTo>
                  <a:pt x="172" y="62"/>
                </a:lnTo>
                <a:lnTo>
                  <a:pt x="174" y="62"/>
                </a:lnTo>
                <a:lnTo>
                  <a:pt x="174" y="60"/>
                </a:lnTo>
                <a:lnTo>
                  <a:pt x="174" y="58"/>
                </a:lnTo>
                <a:lnTo>
                  <a:pt x="176" y="58"/>
                </a:lnTo>
                <a:lnTo>
                  <a:pt x="176" y="55"/>
                </a:lnTo>
                <a:lnTo>
                  <a:pt x="179" y="51"/>
                </a:lnTo>
                <a:lnTo>
                  <a:pt x="179" y="48"/>
                </a:lnTo>
                <a:lnTo>
                  <a:pt x="179" y="46"/>
                </a:lnTo>
                <a:lnTo>
                  <a:pt x="179" y="44"/>
                </a:lnTo>
                <a:lnTo>
                  <a:pt x="179" y="41"/>
                </a:lnTo>
                <a:lnTo>
                  <a:pt x="179" y="39"/>
                </a:lnTo>
                <a:lnTo>
                  <a:pt x="181" y="39"/>
                </a:lnTo>
                <a:lnTo>
                  <a:pt x="181" y="37"/>
                </a:lnTo>
                <a:lnTo>
                  <a:pt x="183" y="34"/>
                </a:lnTo>
                <a:lnTo>
                  <a:pt x="186" y="34"/>
                </a:lnTo>
                <a:lnTo>
                  <a:pt x="186" y="32"/>
                </a:lnTo>
                <a:lnTo>
                  <a:pt x="188" y="30"/>
                </a:lnTo>
                <a:lnTo>
                  <a:pt x="188" y="27"/>
                </a:lnTo>
                <a:lnTo>
                  <a:pt x="186" y="27"/>
                </a:lnTo>
                <a:lnTo>
                  <a:pt x="188" y="25"/>
                </a:lnTo>
                <a:lnTo>
                  <a:pt x="188" y="23"/>
                </a:lnTo>
                <a:lnTo>
                  <a:pt x="188" y="21"/>
                </a:lnTo>
                <a:lnTo>
                  <a:pt x="188" y="18"/>
                </a:lnTo>
                <a:lnTo>
                  <a:pt x="190" y="18"/>
                </a:lnTo>
                <a:lnTo>
                  <a:pt x="190" y="16"/>
                </a:lnTo>
                <a:lnTo>
                  <a:pt x="193" y="16"/>
                </a:lnTo>
                <a:lnTo>
                  <a:pt x="193" y="14"/>
                </a:lnTo>
                <a:lnTo>
                  <a:pt x="193" y="11"/>
                </a:lnTo>
                <a:lnTo>
                  <a:pt x="195" y="11"/>
                </a:lnTo>
                <a:lnTo>
                  <a:pt x="195" y="9"/>
                </a:lnTo>
                <a:lnTo>
                  <a:pt x="197" y="9"/>
                </a:lnTo>
                <a:lnTo>
                  <a:pt x="197" y="7"/>
                </a:lnTo>
                <a:lnTo>
                  <a:pt x="200" y="7"/>
                </a:lnTo>
                <a:lnTo>
                  <a:pt x="200" y="4"/>
                </a:lnTo>
                <a:lnTo>
                  <a:pt x="202" y="4"/>
                </a:lnTo>
                <a:lnTo>
                  <a:pt x="204" y="2"/>
                </a:lnTo>
                <a:lnTo>
                  <a:pt x="209" y="0"/>
                </a:lnTo>
                <a:lnTo>
                  <a:pt x="211" y="0"/>
                </a:lnTo>
                <a:lnTo>
                  <a:pt x="211" y="2"/>
                </a:lnTo>
                <a:lnTo>
                  <a:pt x="211" y="4"/>
                </a:lnTo>
                <a:lnTo>
                  <a:pt x="209" y="4"/>
                </a:lnTo>
                <a:lnTo>
                  <a:pt x="207" y="9"/>
                </a:lnTo>
                <a:lnTo>
                  <a:pt x="204" y="11"/>
                </a:lnTo>
                <a:lnTo>
                  <a:pt x="207" y="14"/>
                </a:lnTo>
                <a:lnTo>
                  <a:pt x="204" y="16"/>
                </a:lnTo>
                <a:lnTo>
                  <a:pt x="202" y="21"/>
                </a:lnTo>
                <a:lnTo>
                  <a:pt x="200" y="23"/>
                </a:lnTo>
                <a:lnTo>
                  <a:pt x="200" y="30"/>
                </a:lnTo>
                <a:lnTo>
                  <a:pt x="200" y="32"/>
                </a:lnTo>
                <a:lnTo>
                  <a:pt x="202" y="32"/>
                </a:lnTo>
                <a:lnTo>
                  <a:pt x="214" y="39"/>
                </a:lnTo>
                <a:lnTo>
                  <a:pt x="216" y="39"/>
                </a:lnTo>
                <a:lnTo>
                  <a:pt x="218" y="39"/>
                </a:lnTo>
                <a:lnTo>
                  <a:pt x="218" y="41"/>
                </a:lnTo>
                <a:lnTo>
                  <a:pt x="221" y="44"/>
                </a:lnTo>
                <a:lnTo>
                  <a:pt x="235" y="51"/>
                </a:lnTo>
                <a:lnTo>
                  <a:pt x="242" y="53"/>
                </a:lnTo>
                <a:lnTo>
                  <a:pt x="246" y="53"/>
                </a:lnTo>
                <a:lnTo>
                  <a:pt x="251" y="58"/>
                </a:lnTo>
                <a:lnTo>
                  <a:pt x="253" y="58"/>
                </a:lnTo>
                <a:lnTo>
                  <a:pt x="253" y="55"/>
                </a:lnTo>
                <a:lnTo>
                  <a:pt x="256" y="55"/>
                </a:lnTo>
                <a:lnTo>
                  <a:pt x="256" y="53"/>
                </a:lnTo>
                <a:lnTo>
                  <a:pt x="256" y="51"/>
                </a:lnTo>
                <a:lnTo>
                  <a:pt x="260" y="41"/>
                </a:lnTo>
                <a:lnTo>
                  <a:pt x="272" y="25"/>
                </a:lnTo>
                <a:lnTo>
                  <a:pt x="276" y="23"/>
                </a:lnTo>
                <a:lnTo>
                  <a:pt x="279" y="21"/>
                </a:lnTo>
                <a:lnTo>
                  <a:pt x="281" y="21"/>
                </a:lnTo>
                <a:lnTo>
                  <a:pt x="279" y="25"/>
                </a:lnTo>
                <a:lnTo>
                  <a:pt x="279" y="27"/>
                </a:lnTo>
                <a:lnTo>
                  <a:pt x="281" y="27"/>
                </a:lnTo>
                <a:lnTo>
                  <a:pt x="283" y="30"/>
                </a:lnTo>
                <a:lnTo>
                  <a:pt x="288" y="32"/>
                </a:lnTo>
                <a:lnTo>
                  <a:pt x="290" y="34"/>
                </a:lnTo>
                <a:lnTo>
                  <a:pt x="290" y="37"/>
                </a:lnTo>
                <a:lnTo>
                  <a:pt x="293" y="39"/>
                </a:lnTo>
                <a:lnTo>
                  <a:pt x="293" y="41"/>
                </a:lnTo>
                <a:lnTo>
                  <a:pt x="290" y="44"/>
                </a:lnTo>
                <a:lnTo>
                  <a:pt x="290" y="46"/>
                </a:lnTo>
                <a:lnTo>
                  <a:pt x="293" y="48"/>
                </a:lnTo>
                <a:lnTo>
                  <a:pt x="293" y="51"/>
                </a:lnTo>
                <a:lnTo>
                  <a:pt x="293" y="58"/>
                </a:lnTo>
                <a:lnTo>
                  <a:pt x="290" y="62"/>
                </a:lnTo>
                <a:lnTo>
                  <a:pt x="290" y="65"/>
                </a:lnTo>
                <a:lnTo>
                  <a:pt x="290" y="67"/>
                </a:lnTo>
                <a:lnTo>
                  <a:pt x="293" y="69"/>
                </a:lnTo>
                <a:lnTo>
                  <a:pt x="295" y="67"/>
                </a:lnTo>
                <a:lnTo>
                  <a:pt x="297" y="67"/>
                </a:lnTo>
                <a:lnTo>
                  <a:pt x="297" y="65"/>
                </a:lnTo>
                <a:lnTo>
                  <a:pt x="297" y="62"/>
                </a:lnTo>
                <a:lnTo>
                  <a:pt x="297" y="58"/>
                </a:lnTo>
                <a:lnTo>
                  <a:pt x="300" y="58"/>
                </a:lnTo>
                <a:lnTo>
                  <a:pt x="300" y="55"/>
                </a:lnTo>
                <a:lnTo>
                  <a:pt x="302" y="55"/>
                </a:lnTo>
                <a:lnTo>
                  <a:pt x="304" y="55"/>
                </a:lnTo>
                <a:lnTo>
                  <a:pt x="309" y="58"/>
                </a:lnTo>
                <a:lnTo>
                  <a:pt x="314" y="58"/>
                </a:lnTo>
                <a:lnTo>
                  <a:pt x="316" y="58"/>
                </a:lnTo>
                <a:lnTo>
                  <a:pt x="318" y="58"/>
                </a:lnTo>
                <a:lnTo>
                  <a:pt x="321" y="58"/>
                </a:lnTo>
                <a:lnTo>
                  <a:pt x="328" y="53"/>
                </a:lnTo>
                <a:lnTo>
                  <a:pt x="330" y="51"/>
                </a:lnTo>
                <a:lnTo>
                  <a:pt x="332" y="51"/>
                </a:lnTo>
                <a:lnTo>
                  <a:pt x="332" y="53"/>
                </a:lnTo>
                <a:lnTo>
                  <a:pt x="330" y="58"/>
                </a:lnTo>
                <a:lnTo>
                  <a:pt x="332" y="60"/>
                </a:lnTo>
                <a:lnTo>
                  <a:pt x="335" y="60"/>
                </a:lnTo>
                <a:lnTo>
                  <a:pt x="337" y="62"/>
                </a:lnTo>
                <a:lnTo>
                  <a:pt x="339" y="65"/>
                </a:lnTo>
                <a:lnTo>
                  <a:pt x="342" y="65"/>
                </a:lnTo>
                <a:lnTo>
                  <a:pt x="344" y="65"/>
                </a:lnTo>
                <a:lnTo>
                  <a:pt x="346" y="67"/>
                </a:lnTo>
                <a:lnTo>
                  <a:pt x="349" y="67"/>
                </a:lnTo>
                <a:lnTo>
                  <a:pt x="358" y="72"/>
                </a:lnTo>
                <a:lnTo>
                  <a:pt x="360" y="72"/>
                </a:lnTo>
                <a:lnTo>
                  <a:pt x="360" y="69"/>
                </a:lnTo>
                <a:lnTo>
                  <a:pt x="358" y="62"/>
                </a:lnTo>
                <a:lnTo>
                  <a:pt x="358" y="60"/>
                </a:lnTo>
                <a:lnTo>
                  <a:pt x="358" y="58"/>
                </a:lnTo>
                <a:lnTo>
                  <a:pt x="360" y="58"/>
                </a:lnTo>
                <a:lnTo>
                  <a:pt x="363" y="58"/>
                </a:lnTo>
                <a:lnTo>
                  <a:pt x="363" y="55"/>
                </a:lnTo>
                <a:lnTo>
                  <a:pt x="363" y="58"/>
                </a:lnTo>
                <a:lnTo>
                  <a:pt x="363" y="60"/>
                </a:lnTo>
                <a:lnTo>
                  <a:pt x="365" y="62"/>
                </a:lnTo>
                <a:lnTo>
                  <a:pt x="365" y="65"/>
                </a:lnTo>
                <a:lnTo>
                  <a:pt x="367" y="67"/>
                </a:lnTo>
                <a:lnTo>
                  <a:pt x="367" y="69"/>
                </a:lnTo>
                <a:lnTo>
                  <a:pt x="370" y="69"/>
                </a:lnTo>
                <a:lnTo>
                  <a:pt x="370" y="67"/>
                </a:lnTo>
                <a:lnTo>
                  <a:pt x="374" y="67"/>
                </a:lnTo>
                <a:lnTo>
                  <a:pt x="377" y="67"/>
                </a:lnTo>
                <a:lnTo>
                  <a:pt x="381" y="65"/>
                </a:lnTo>
                <a:lnTo>
                  <a:pt x="384" y="65"/>
                </a:lnTo>
                <a:lnTo>
                  <a:pt x="386" y="65"/>
                </a:lnTo>
                <a:lnTo>
                  <a:pt x="397" y="60"/>
                </a:lnTo>
                <a:lnTo>
                  <a:pt x="400" y="58"/>
                </a:lnTo>
                <a:lnTo>
                  <a:pt x="404" y="58"/>
                </a:lnTo>
                <a:lnTo>
                  <a:pt x="407" y="58"/>
                </a:lnTo>
                <a:lnTo>
                  <a:pt x="407" y="60"/>
                </a:lnTo>
                <a:lnTo>
                  <a:pt x="411" y="60"/>
                </a:lnTo>
                <a:lnTo>
                  <a:pt x="414" y="60"/>
                </a:lnTo>
                <a:lnTo>
                  <a:pt x="416" y="60"/>
                </a:lnTo>
                <a:lnTo>
                  <a:pt x="416" y="58"/>
                </a:lnTo>
                <a:lnTo>
                  <a:pt x="418" y="58"/>
                </a:lnTo>
                <a:lnTo>
                  <a:pt x="425" y="51"/>
                </a:lnTo>
                <a:lnTo>
                  <a:pt x="428" y="51"/>
                </a:lnTo>
                <a:lnTo>
                  <a:pt x="430" y="48"/>
                </a:lnTo>
                <a:lnTo>
                  <a:pt x="435" y="48"/>
                </a:lnTo>
                <a:lnTo>
                  <a:pt x="437" y="48"/>
                </a:lnTo>
                <a:lnTo>
                  <a:pt x="439" y="48"/>
                </a:lnTo>
                <a:lnTo>
                  <a:pt x="444" y="48"/>
                </a:lnTo>
                <a:lnTo>
                  <a:pt x="449" y="48"/>
                </a:lnTo>
                <a:lnTo>
                  <a:pt x="453" y="46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23" name="Freeform 6">
            <a:extLst>
              <a:ext uri="{FF2B5EF4-FFF2-40B4-BE49-F238E27FC236}">
                <a16:creationId xmlns:a16="http://schemas.microsoft.com/office/drawing/2014/main" id="{3E3F63DD-EE89-A6A9-C388-9DF38E9B63E7}"/>
              </a:ext>
            </a:extLst>
          </p:cNvPr>
          <p:cNvSpPr>
            <a:spLocks noEditPoints="1"/>
          </p:cNvSpPr>
          <p:nvPr/>
        </p:nvSpPr>
        <p:spPr bwMode="auto">
          <a:xfrm>
            <a:off x="3053036" y="4549807"/>
            <a:ext cx="617403" cy="400382"/>
          </a:xfrm>
          <a:custGeom>
            <a:avLst/>
            <a:gdLst>
              <a:gd name="T0" fmla="*/ 298 w 524"/>
              <a:gd name="T1" fmla="*/ 333 h 356"/>
              <a:gd name="T2" fmla="*/ 389 w 524"/>
              <a:gd name="T3" fmla="*/ 282 h 356"/>
              <a:gd name="T4" fmla="*/ 451 w 524"/>
              <a:gd name="T5" fmla="*/ 286 h 356"/>
              <a:gd name="T6" fmla="*/ 454 w 524"/>
              <a:gd name="T7" fmla="*/ 277 h 356"/>
              <a:gd name="T8" fmla="*/ 237 w 524"/>
              <a:gd name="T9" fmla="*/ 23 h 356"/>
              <a:gd name="T10" fmla="*/ 256 w 524"/>
              <a:gd name="T11" fmla="*/ 33 h 356"/>
              <a:gd name="T12" fmla="*/ 263 w 524"/>
              <a:gd name="T13" fmla="*/ 35 h 356"/>
              <a:gd name="T14" fmla="*/ 298 w 524"/>
              <a:gd name="T15" fmla="*/ 30 h 356"/>
              <a:gd name="T16" fmla="*/ 316 w 524"/>
              <a:gd name="T17" fmla="*/ 30 h 356"/>
              <a:gd name="T18" fmla="*/ 335 w 524"/>
              <a:gd name="T19" fmla="*/ 26 h 356"/>
              <a:gd name="T20" fmla="*/ 356 w 524"/>
              <a:gd name="T21" fmla="*/ 35 h 356"/>
              <a:gd name="T22" fmla="*/ 363 w 524"/>
              <a:gd name="T23" fmla="*/ 63 h 356"/>
              <a:gd name="T24" fmla="*/ 361 w 524"/>
              <a:gd name="T25" fmla="*/ 91 h 356"/>
              <a:gd name="T26" fmla="*/ 372 w 524"/>
              <a:gd name="T27" fmla="*/ 119 h 356"/>
              <a:gd name="T28" fmla="*/ 393 w 524"/>
              <a:gd name="T29" fmla="*/ 121 h 356"/>
              <a:gd name="T30" fmla="*/ 386 w 524"/>
              <a:gd name="T31" fmla="*/ 144 h 356"/>
              <a:gd name="T32" fmla="*/ 386 w 524"/>
              <a:gd name="T33" fmla="*/ 165 h 356"/>
              <a:gd name="T34" fmla="*/ 391 w 524"/>
              <a:gd name="T35" fmla="*/ 191 h 356"/>
              <a:gd name="T36" fmla="*/ 393 w 524"/>
              <a:gd name="T37" fmla="*/ 203 h 356"/>
              <a:gd name="T38" fmla="*/ 409 w 524"/>
              <a:gd name="T39" fmla="*/ 217 h 356"/>
              <a:gd name="T40" fmla="*/ 430 w 524"/>
              <a:gd name="T41" fmla="*/ 212 h 356"/>
              <a:gd name="T42" fmla="*/ 437 w 524"/>
              <a:gd name="T43" fmla="*/ 198 h 356"/>
              <a:gd name="T44" fmla="*/ 454 w 524"/>
              <a:gd name="T45" fmla="*/ 205 h 356"/>
              <a:gd name="T46" fmla="*/ 486 w 524"/>
              <a:gd name="T47" fmla="*/ 193 h 356"/>
              <a:gd name="T48" fmla="*/ 507 w 524"/>
              <a:gd name="T49" fmla="*/ 210 h 356"/>
              <a:gd name="T50" fmla="*/ 519 w 524"/>
              <a:gd name="T51" fmla="*/ 219 h 356"/>
              <a:gd name="T52" fmla="*/ 496 w 524"/>
              <a:gd name="T53" fmla="*/ 224 h 356"/>
              <a:gd name="T54" fmla="*/ 479 w 524"/>
              <a:gd name="T55" fmla="*/ 242 h 356"/>
              <a:gd name="T56" fmla="*/ 472 w 524"/>
              <a:gd name="T57" fmla="*/ 252 h 356"/>
              <a:gd name="T58" fmla="*/ 461 w 524"/>
              <a:gd name="T59" fmla="*/ 259 h 356"/>
              <a:gd name="T60" fmla="*/ 444 w 524"/>
              <a:gd name="T61" fmla="*/ 270 h 356"/>
              <a:gd name="T62" fmla="*/ 430 w 524"/>
              <a:gd name="T63" fmla="*/ 275 h 356"/>
              <a:gd name="T64" fmla="*/ 396 w 524"/>
              <a:gd name="T65" fmla="*/ 280 h 356"/>
              <a:gd name="T66" fmla="*/ 393 w 524"/>
              <a:gd name="T67" fmla="*/ 280 h 356"/>
              <a:gd name="T68" fmla="*/ 382 w 524"/>
              <a:gd name="T69" fmla="*/ 286 h 356"/>
              <a:gd name="T70" fmla="*/ 342 w 524"/>
              <a:gd name="T71" fmla="*/ 310 h 356"/>
              <a:gd name="T72" fmla="*/ 293 w 524"/>
              <a:gd name="T73" fmla="*/ 340 h 356"/>
              <a:gd name="T74" fmla="*/ 293 w 524"/>
              <a:gd name="T75" fmla="*/ 347 h 356"/>
              <a:gd name="T76" fmla="*/ 279 w 524"/>
              <a:gd name="T77" fmla="*/ 349 h 356"/>
              <a:gd name="T78" fmla="*/ 261 w 524"/>
              <a:gd name="T79" fmla="*/ 338 h 356"/>
              <a:gd name="T80" fmla="*/ 258 w 524"/>
              <a:gd name="T81" fmla="*/ 314 h 356"/>
              <a:gd name="T82" fmla="*/ 233 w 524"/>
              <a:gd name="T83" fmla="*/ 310 h 356"/>
              <a:gd name="T84" fmla="*/ 219 w 524"/>
              <a:gd name="T85" fmla="*/ 300 h 356"/>
              <a:gd name="T86" fmla="*/ 216 w 524"/>
              <a:gd name="T87" fmla="*/ 280 h 356"/>
              <a:gd name="T88" fmla="*/ 205 w 524"/>
              <a:gd name="T89" fmla="*/ 261 h 356"/>
              <a:gd name="T90" fmla="*/ 202 w 524"/>
              <a:gd name="T91" fmla="*/ 235 h 356"/>
              <a:gd name="T92" fmla="*/ 188 w 524"/>
              <a:gd name="T93" fmla="*/ 205 h 356"/>
              <a:gd name="T94" fmla="*/ 165 w 524"/>
              <a:gd name="T95" fmla="*/ 200 h 356"/>
              <a:gd name="T96" fmla="*/ 142 w 524"/>
              <a:gd name="T97" fmla="*/ 198 h 356"/>
              <a:gd name="T98" fmla="*/ 107 w 524"/>
              <a:gd name="T99" fmla="*/ 177 h 356"/>
              <a:gd name="T100" fmla="*/ 84 w 524"/>
              <a:gd name="T101" fmla="*/ 172 h 356"/>
              <a:gd name="T102" fmla="*/ 53 w 524"/>
              <a:gd name="T103" fmla="*/ 170 h 356"/>
              <a:gd name="T104" fmla="*/ 21 w 524"/>
              <a:gd name="T105" fmla="*/ 168 h 356"/>
              <a:gd name="T106" fmla="*/ 7 w 524"/>
              <a:gd name="T107" fmla="*/ 165 h 356"/>
              <a:gd name="T108" fmla="*/ 37 w 524"/>
              <a:gd name="T109" fmla="*/ 147 h 356"/>
              <a:gd name="T110" fmla="*/ 58 w 524"/>
              <a:gd name="T111" fmla="*/ 124 h 356"/>
              <a:gd name="T112" fmla="*/ 67 w 524"/>
              <a:gd name="T113" fmla="*/ 100 h 356"/>
              <a:gd name="T114" fmla="*/ 88 w 524"/>
              <a:gd name="T115" fmla="*/ 75 h 356"/>
              <a:gd name="T116" fmla="*/ 109 w 524"/>
              <a:gd name="T117" fmla="*/ 40 h 356"/>
              <a:gd name="T118" fmla="*/ 158 w 524"/>
              <a:gd name="T119" fmla="*/ 7 h 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24" h="356">
                <a:moveTo>
                  <a:pt x="321" y="321"/>
                </a:moveTo>
                <a:lnTo>
                  <a:pt x="319" y="324"/>
                </a:lnTo>
                <a:lnTo>
                  <a:pt x="316" y="324"/>
                </a:lnTo>
                <a:lnTo>
                  <a:pt x="302" y="333"/>
                </a:lnTo>
                <a:lnTo>
                  <a:pt x="300" y="335"/>
                </a:lnTo>
                <a:lnTo>
                  <a:pt x="298" y="335"/>
                </a:lnTo>
                <a:lnTo>
                  <a:pt x="298" y="338"/>
                </a:lnTo>
                <a:lnTo>
                  <a:pt x="295" y="340"/>
                </a:lnTo>
                <a:lnTo>
                  <a:pt x="293" y="340"/>
                </a:lnTo>
                <a:lnTo>
                  <a:pt x="295" y="340"/>
                </a:lnTo>
                <a:lnTo>
                  <a:pt x="295" y="338"/>
                </a:lnTo>
                <a:lnTo>
                  <a:pt x="295" y="335"/>
                </a:lnTo>
                <a:lnTo>
                  <a:pt x="298" y="333"/>
                </a:lnTo>
                <a:lnTo>
                  <a:pt x="305" y="328"/>
                </a:lnTo>
                <a:lnTo>
                  <a:pt x="309" y="328"/>
                </a:lnTo>
                <a:lnTo>
                  <a:pt x="312" y="324"/>
                </a:lnTo>
                <a:lnTo>
                  <a:pt x="314" y="324"/>
                </a:lnTo>
                <a:lnTo>
                  <a:pt x="316" y="321"/>
                </a:lnTo>
                <a:lnTo>
                  <a:pt x="319" y="321"/>
                </a:lnTo>
                <a:lnTo>
                  <a:pt x="321" y="321"/>
                </a:lnTo>
                <a:close/>
                <a:moveTo>
                  <a:pt x="389" y="280"/>
                </a:moveTo>
                <a:lnTo>
                  <a:pt x="391" y="280"/>
                </a:lnTo>
                <a:lnTo>
                  <a:pt x="391" y="282"/>
                </a:lnTo>
                <a:lnTo>
                  <a:pt x="393" y="282"/>
                </a:lnTo>
                <a:lnTo>
                  <a:pt x="393" y="284"/>
                </a:lnTo>
                <a:lnTo>
                  <a:pt x="389" y="282"/>
                </a:lnTo>
                <a:lnTo>
                  <a:pt x="386" y="282"/>
                </a:lnTo>
                <a:lnTo>
                  <a:pt x="386" y="280"/>
                </a:lnTo>
                <a:lnTo>
                  <a:pt x="389" y="280"/>
                </a:lnTo>
                <a:close/>
                <a:moveTo>
                  <a:pt x="454" y="277"/>
                </a:moveTo>
                <a:lnTo>
                  <a:pt x="454" y="280"/>
                </a:lnTo>
                <a:lnTo>
                  <a:pt x="451" y="280"/>
                </a:lnTo>
                <a:lnTo>
                  <a:pt x="451" y="282"/>
                </a:lnTo>
                <a:lnTo>
                  <a:pt x="451" y="284"/>
                </a:lnTo>
                <a:lnTo>
                  <a:pt x="454" y="284"/>
                </a:lnTo>
                <a:lnTo>
                  <a:pt x="454" y="286"/>
                </a:lnTo>
                <a:lnTo>
                  <a:pt x="454" y="289"/>
                </a:lnTo>
                <a:lnTo>
                  <a:pt x="451" y="289"/>
                </a:lnTo>
                <a:lnTo>
                  <a:pt x="451" y="286"/>
                </a:lnTo>
                <a:lnTo>
                  <a:pt x="451" y="284"/>
                </a:lnTo>
                <a:lnTo>
                  <a:pt x="449" y="284"/>
                </a:lnTo>
                <a:lnTo>
                  <a:pt x="447" y="284"/>
                </a:lnTo>
                <a:lnTo>
                  <a:pt x="444" y="286"/>
                </a:lnTo>
                <a:lnTo>
                  <a:pt x="442" y="284"/>
                </a:lnTo>
                <a:lnTo>
                  <a:pt x="442" y="282"/>
                </a:lnTo>
                <a:lnTo>
                  <a:pt x="442" y="280"/>
                </a:lnTo>
                <a:lnTo>
                  <a:pt x="447" y="277"/>
                </a:lnTo>
                <a:lnTo>
                  <a:pt x="449" y="275"/>
                </a:lnTo>
                <a:lnTo>
                  <a:pt x="449" y="273"/>
                </a:lnTo>
                <a:lnTo>
                  <a:pt x="451" y="273"/>
                </a:lnTo>
                <a:lnTo>
                  <a:pt x="454" y="275"/>
                </a:lnTo>
                <a:lnTo>
                  <a:pt x="454" y="277"/>
                </a:lnTo>
                <a:close/>
                <a:moveTo>
                  <a:pt x="195" y="9"/>
                </a:moveTo>
                <a:lnTo>
                  <a:pt x="205" y="12"/>
                </a:lnTo>
                <a:lnTo>
                  <a:pt x="223" y="14"/>
                </a:lnTo>
                <a:lnTo>
                  <a:pt x="228" y="14"/>
                </a:lnTo>
                <a:lnTo>
                  <a:pt x="233" y="16"/>
                </a:lnTo>
                <a:lnTo>
                  <a:pt x="237" y="16"/>
                </a:lnTo>
                <a:lnTo>
                  <a:pt x="240" y="16"/>
                </a:lnTo>
                <a:lnTo>
                  <a:pt x="242" y="16"/>
                </a:lnTo>
                <a:lnTo>
                  <a:pt x="242" y="19"/>
                </a:lnTo>
                <a:lnTo>
                  <a:pt x="240" y="19"/>
                </a:lnTo>
                <a:lnTo>
                  <a:pt x="240" y="21"/>
                </a:lnTo>
                <a:lnTo>
                  <a:pt x="237" y="21"/>
                </a:lnTo>
                <a:lnTo>
                  <a:pt x="237" y="23"/>
                </a:lnTo>
                <a:lnTo>
                  <a:pt x="237" y="26"/>
                </a:lnTo>
                <a:lnTo>
                  <a:pt x="237" y="28"/>
                </a:lnTo>
                <a:lnTo>
                  <a:pt x="240" y="33"/>
                </a:lnTo>
                <a:lnTo>
                  <a:pt x="240" y="35"/>
                </a:lnTo>
                <a:lnTo>
                  <a:pt x="242" y="37"/>
                </a:lnTo>
                <a:lnTo>
                  <a:pt x="244" y="37"/>
                </a:lnTo>
                <a:lnTo>
                  <a:pt x="247" y="37"/>
                </a:lnTo>
                <a:lnTo>
                  <a:pt x="247" y="35"/>
                </a:lnTo>
                <a:lnTo>
                  <a:pt x="249" y="35"/>
                </a:lnTo>
                <a:lnTo>
                  <a:pt x="251" y="30"/>
                </a:lnTo>
                <a:lnTo>
                  <a:pt x="254" y="28"/>
                </a:lnTo>
                <a:lnTo>
                  <a:pt x="256" y="30"/>
                </a:lnTo>
                <a:lnTo>
                  <a:pt x="256" y="33"/>
                </a:lnTo>
                <a:lnTo>
                  <a:pt x="256" y="35"/>
                </a:lnTo>
                <a:lnTo>
                  <a:pt x="256" y="40"/>
                </a:lnTo>
                <a:lnTo>
                  <a:pt x="256" y="44"/>
                </a:lnTo>
                <a:lnTo>
                  <a:pt x="256" y="47"/>
                </a:lnTo>
                <a:lnTo>
                  <a:pt x="258" y="47"/>
                </a:lnTo>
                <a:lnTo>
                  <a:pt x="261" y="47"/>
                </a:lnTo>
                <a:lnTo>
                  <a:pt x="263" y="47"/>
                </a:lnTo>
                <a:lnTo>
                  <a:pt x="263" y="44"/>
                </a:lnTo>
                <a:lnTo>
                  <a:pt x="261" y="44"/>
                </a:lnTo>
                <a:lnTo>
                  <a:pt x="261" y="42"/>
                </a:lnTo>
                <a:lnTo>
                  <a:pt x="263" y="40"/>
                </a:lnTo>
                <a:lnTo>
                  <a:pt x="261" y="37"/>
                </a:lnTo>
                <a:lnTo>
                  <a:pt x="263" y="35"/>
                </a:lnTo>
                <a:lnTo>
                  <a:pt x="263" y="33"/>
                </a:lnTo>
                <a:lnTo>
                  <a:pt x="265" y="30"/>
                </a:lnTo>
                <a:lnTo>
                  <a:pt x="270" y="30"/>
                </a:lnTo>
                <a:lnTo>
                  <a:pt x="272" y="30"/>
                </a:lnTo>
                <a:lnTo>
                  <a:pt x="275" y="30"/>
                </a:lnTo>
                <a:lnTo>
                  <a:pt x="277" y="30"/>
                </a:lnTo>
                <a:lnTo>
                  <a:pt x="279" y="30"/>
                </a:lnTo>
                <a:lnTo>
                  <a:pt x="281" y="30"/>
                </a:lnTo>
                <a:lnTo>
                  <a:pt x="286" y="30"/>
                </a:lnTo>
                <a:lnTo>
                  <a:pt x="288" y="30"/>
                </a:lnTo>
                <a:lnTo>
                  <a:pt x="291" y="30"/>
                </a:lnTo>
                <a:lnTo>
                  <a:pt x="295" y="30"/>
                </a:lnTo>
                <a:lnTo>
                  <a:pt x="298" y="30"/>
                </a:lnTo>
                <a:lnTo>
                  <a:pt x="300" y="33"/>
                </a:lnTo>
                <a:lnTo>
                  <a:pt x="302" y="30"/>
                </a:lnTo>
                <a:lnTo>
                  <a:pt x="300" y="26"/>
                </a:lnTo>
                <a:lnTo>
                  <a:pt x="302" y="23"/>
                </a:lnTo>
                <a:lnTo>
                  <a:pt x="302" y="26"/>
                </a:lnTo>
                <a:lnTo>
                  <a:pt x="305" y="28"/>
                </a:lnTo>
                <a:lnTo>
                  <a:pt x="305" y="30"/>
                </a:lnTo>
                <a:lnTo>
                  <a:pt x="307" y="33"/>
                </a:lnTo>
                <a:lnTo>
                  <a:pt x="309" y="33"/>
                </a:lnTo>
                <a:lnTo>
                  <a:pt x="312" y="33"/>
                </a:lnTo>
                <a:lnTo>
                  <a:pt x="314" y="33"/>
                </a:lnTo>
                <a:lnTo>
                  <a:pt x="314" y="30"/>
                </a:lnTo>
                <a:lnTo>
                  <a:pt x="316" y="30"/>
                </a:lnTo>
                <a:lnTo>
                  <a:pt x="316" y="26"/>
                </a:lnTo>
                <a:lnTo>
                  <a:pt x="316" y="28"/>
                </a:lnTo>
                <a:lnTo>
                  <a:pt x="319" y="28"/>
                </a:lnTo>
                <a:lnTo>
                  <a:pt x="319" y="30"/>
                </a:lnTo>
                <a:lnTo>
                  <a:pt x="319" y="33"/>
                </a:lnTo>
                <a:lnTo>
                  <a:pt x="321" y="33"/>
                </a:lnTo>
                <a:lnTo>
                  <a:pt x="323" y="30"/>
                </a:lnTo>
                <a:lnTo>
                  <a:pt x="323" y="28"/>
                </a:lnTo>
                <a:lnTo>
                  <a:pt x="323" y="26"/>
                </a:lnTo>
                <a:lnTo>
                  <a:pt x="323" y="23"/>
                </a:lnTo>
                <a:lnTo>
                  <a:pt x="326" y="23"/>
                </a:lnTo>
                <a:lnTo>
                  <a:pt x="333" y="26"/>
                </a:lnTo>
                <a:lnTo>
                  <a:pt x="335" y="26"/>
                </a:lnTo>
                <a:lnTo>
                  <a:pt x="335" y="28"/>
                </a:lnTo>
                <a:lnTo>
                  <a:pt x="337" y="28"/>
                </a:lnTo>
                <a:lnTo>
                  <a:pt x="340" y="28"/>
                </a:lnTo>
                <a:lnTo>
                  <a:pt x="340" y="26"/>
                </a:lnTo>
                <a:lnTo>
                  <a:pt x="342" y="26"/>
                </a:lnTo>
                <a:lnTo>
                  <a:pt x="344" y="26"/>
                </a:lnTo>
                <a:lnTo>
                  <a:pt x="347" y="26"/>
                </a:lnTo>
                <a:lnTo>
                  <a:pt x="349" y="26"/>
                </a:lnTo>
                <a:lnTo>
                  <a:pt x="349" y="28"/>
                </a:lnTo>
                <a:lnTo>
                  <a:pt x="349" y="30"/>
                </a:lnTo>
                <a:lnTo>
                  <a:pt x="349" y="33"/>
                </a:lnTo>
                <a:lnTo>
                  <a:pt x="351" y="33"/>
                </a:lnTo>
                <a:lnTo>
                  <a:pt x="356" y="35"/>
                </a:lnTo>
                <a:lnTo>
                  <a:pt x="356" y="37"/>
                </a:lnTo>
                <a:lnTo>
                  <a:pt x="358" y="40"/>
                </a:lnTo>
                <a:lnTo>
                  <a:pt x="361" y="42"/>
                </a:lnTo>
                <a:lnTo>
                  <a:pt x="358" y="42"/>
                </a:lnTo>
                <a:lnTo>
                  <a:pt x="358" y="44"/>
                </a:lnTo>
                <a:lnTo>
                  <a:pt x="358" y="47"/>
                </a:lnTo>
                <a:lnTo>
                  <a:pt x="356" y="47"/>
                </a:lnTo>
                <a:lnTo>
                  <a:pt x="356" y="49"/>
                </a:lnTo>
                <a:lnTo>
                  <a:pt x="356" y="51"/>
                </a:lnTo>
                <a:lnTo>
                  <a:pt x="356" y="54"/>
                </a:lnTo>
                <a:lnTo>
                  <a:pt x="356" y="56"/>
                </a:lnTo>
                <a:lnTo>
                  <a:pt x="356" y="58"/>
                </a:lnTo>
                <a:lnTo>
                  <a:pt x="363" y="63"/>
                </a:lnTo>
                <a:lnTo>
                  <a:pt x="365" y="70"/>
                </a:lnTo>
                <a:lnTo>
                  <a:pt x="363" y="72"/>
                </a:lnTo>
                <a:lnTo>
                  <a:pt x="361" y="72"/>
                </a:lnTo>
                <a:lnTo>
                  <a:pt x="361" y="75"/>
                </a:lnTo>
                <a:lnTo>
                  <a:pt x="361" y="77"/>
                </a:lnTo>
                <a:lnTo>
                  <a:pt x="358" y="77"/>
                </a:lnTo>
                <a:lnTo>
                  <a:pt x="358" y="79"/>
                </a:lnTo>
                <a:lnTo>
                  <a:pt x="356" y="84"/>
                </a:lnTo>
                <a:lnTo>
                  <a:pt x="356" y="86"/>
                </a:lnTo>
                <a:lnTo>
                  <a:pt x="358" y="86"/>
                </a:lnTo>
                <a:lnTo>
                  <a:pt x="358" y="89"/>
                </a:lnTo>
                <a:lnTo>
                  <a:pt x="361" y="89"/>
                </a:lnTo>
                <a:lnTo>
                  <a:pt x="361" y="91"/>
                </a:lnTo>
                <a:lnTo>
                  <a:pt x="361" y="93"/>
                </a:lnTo>
                <a:lnTo>
                  <a:pt x="361" y="98"/>
                </a:lnTo>
                <a:lnTo>
                  <a:pt x="361" y="100"/>
                </a:lnTo>
                <a:lnTo>
                  <a:pt x="363" y="103"/>
                </a:lnTo>
                <a:lnTo>
                  <a:pt x="363" y="105"/>
                </a:lnTo>
                <a:lnTo>
                  <a:pt x="365" y="105"/>
                </a:lnTo>
                <a:lnTo>
                  <a:pt x="365" y="107"/>
                </a:lnTo>
                <a:lnTo>
                  <a:pt x="365" y="110"/>
                </a:lnTo>
                <a:lnTo>
                  <a:pt x="365" y="112"/>
                </a:lnTo>
                <a:lnTo>
                  <a:pt x="368" y="114"/>
                </a:lnTo>
                <a:lnTo>
                  <a:pt x="368" y="117"/>
                </a:lnTo>
                <a:lnTo>
                  <a:pt x="368" y="119"/>
                </a:lnTo>
                <a:lnTo>
                  <a:pt x="372" y="119"/>
                </a:lnTo>
                <a:lnTo>
                  <a:pt x="375" y="119"/>
                </a:lnTo>
                <a:lnTo>
                  <a:pt x="375" y="117"/>
                </a:lnTo>
                <a:lnTo>
                  <a:pt x="375" y="119"/>
                </a:lnTo>
                <a:lnTo>
                  <a:pt x="377" y="117"/>
                </a:lnTo>
                <a:lnTo>
                  <a:pt x="379" y="117"/>
                </a:lnTo>
                <a:lnTo>
                  <a:pt x="382" y="117"/>
                </a:lnTo>
                <a:lnTo>
                  <a:pt x="384" y="119"/>
                </a:lnTo>
                <a:lnTo>
                  <a:pt x="386" y="119"/>
                </a:lnTo>
                <a:lnTo>
                  <a:pt x="386" y="117"/>
                </a:lnTo>
                <a:lnTo>
                  <a:pt x="389" y="119"/>
                </a:lnTo>
                <a:lnTo>
                  <a:pt x="389" y="121"/>
                </a:lnTo>
                <a:lnTo>
                  <a:pt x="391" y="121"/>
                </a:lnTo>
                <a:lnTo>
                  <a:pt x="393" y="121"/>
                </a:lnTo>
                <a:lnTo>
                  <a:pt x="393" y="124"/>
                </a:lnTo>
                <a:lnTo>
                  <a:pt x="396" y="124"/>
                </a:lnTo>
                <a:lnTo>
                  <a:pt x="396" y="126"/>
                </a:lnTo>
                <a:lnTo>
                  <a:pt x="396" y="128"/>
                </a:lnTo>
                <a:lnTo>
                  <a:pt x="393" y="128"/>
                </a:lnTo>
                <a:lnTo>
                  <a:pt x="393" y="131"/>
                </a:lnTo>
                <a:lnTo>
                  <a:pt x="393" y="133"/>
                </a:lnTo>
                <a:lnTo>
                  <a:pt x="393" y="135"/>
                </a:lnTo>
                <a:lnTo>
                  <a:pt x="391" y="135"/>
                </a:lnTo>
                <a:lnTo>
                  <a:pt x="391" y="137"/>
                </a:lnTo>
                <a:lnTo>
                  <a:pt x="389" y="137"/>
                </a:lnTo>
                <a:lnTo>
                  <a:pt x="386" y="142"/>
                </a:lnTo>
                <a:lnTo>
                  <a:pt x="386" y="144"/>
                </a:lnTo>
                <a:lnTo>
                  <a:pt x="384" y="144"/>
                </a:lnTo>
                <a:lnTo>
                  <a:pt x="384" y="147"/>
                </a:lnTo>
                <a:lnTo>
                  <a:pt x="384" y="149"/>
                </a:lnTo>
                <a:lnTo>
                  <a:pt x="384" y="151"/>
                </a:lnTo>
                <a:lnTo>
                  <a:pt x="384" y="154"/>
                </a:lnTo>
                <a:lnTo>
                  <a:pt x="386" y="156"/>
                </a:lnTo>
                <a:lnTo>
                  <a:pt x="384" y="158"/>
                </a:lnTo>
                <a:lnTo>
                  <a:pt x="382" y="158"/>
                </a:lnTo>
                <a:lnTo>
                  <a:pt x="382" y="161"/>
                </a:lnTo>
                <a:lnTo>
                  <a:pt x="379" y="161"/>
                </a:lnTo>
                <a:lnTo>
                  <a:pt x="382" y="163"/>
                </a:lnTo>
                <a:lnTo>
                  <a:pt x="384" y="163"/>
                </a:lnTo>
                <a:lnTo>
                  <a:pt x="386" y="165"/>
                </a:lnTo>
                <a:lnTo>
                  <a:pt x="384" y="168"/>
                </a:lnTo>
                <a:lnTo>
                  <a:pt x="382" y="168"/>
                </a:lnTo>
                <a:lnTo>
                  <a:pt x="382" y="170"/>
                </a:lnTo>
                <a:lnTo>
                  <a:pt x="379" y="175"/>
                </a:lnTo>
                <a:lnTo>
                  <a:pt x="379" y="177"/>
                </a:lnTo>
                <a:lnTo>
                  <a:pt x="382" y="179"/>
                </a:lnTo>
                <a:lnTo>
                  <a:pt x="382" y="182"/>
                </a:lnTo>
                <a:lnTo>
                  <a:pt x="384" y="184"/>
                </a:lnTo>
                <a:lnTo>
                  <a:pt x="386" y="184"/>
                </a:lnTo>
                <a:lnTo>
                  <a:pt x="386" y="186"/>
                </a:lnTo>
                <a:lnTo>
                  <a:pt x="386" y="189"/>
                </a:lnTo>
                <a:lnTo>
                  <a:pt x="389" y="189"/>
                </a:lnTo>
                <a:lnTo>
                  <a:pt x="391" y="191"/>
                </a:lnTo>
                <a:lnTo>
                  <a:pt x="393" y="191"/>
                </a:lnTo>
                <a:lnTo>
                  <a:pt x="396" y="191"/>
                </a:lnTo>
                <a:lnTo>
                  <a:pt x="396" y="193"/>
                </a:lnTo>
                <a:lnTo>
                  <a:pt x="393" y="193"/>
                </a:lnTo>
                <a:lnTo>
                  <a:pt x="393" y="196"/>
                </a:lnTo>
                <a:lnTo>
                  <a:pt x="396" y="198"/>
                </a:lnTo>
                <a:lnTo>
                  <a:pt x="393" y="198"/>
                </a:lnTo>
                <a:lnTo>
                  <a:pt x="391" y="198"/>
                </a:lnTo>
                <a:lnTo>
                  <a:pt x="391" y="200"/>
                </a:lnTo>
                <a:lnTo>
                  <a:pt x="389" y="200"/>
                </a:lnTo>
                <a:lnTo>
                  <a:pt x="391" y="200"/>
                </a:lnTo>
                <a:lnTo>
                  <a:pt x="391" y="203"/>
                </a:lnTo>
                <a:lnTo>
                  <a:pt x="393" y="203"/>
                </a:lnTo>
                <a:lnTo>
                  <a:pt x="396" y="205"/>
                </a:lnTo>
                <a:lnTo>
                  <a:pt x="396" y="207"/>
                </a:lnTo>
                <a:lnTo>
                  <a:pt x="396" y="210"/>
                </a:lnTo>
                <a:lnTo>
                  <a:pt x="396" y="212"/>
                </a:lnTo>
                <a:lnTo>
                  <a:pt x="398" y="214"/>
                </a:lnTo>
                <a:lnTo>
                  <a:pt x="400" y="214"/>
                </a:lnTo>
                <a:lnTo>
                  <a:pt x="403" y="214"/>
                </a:lnTo>
                <a:lnTo>
                  <a:pt x="405" y="214"/>
                </a:lnTo>
                <a:lnTo>
                  <a:pt x="405" y="212"/>
                </a:lnTo>
                <a:lnTo>
                  <a:pt x="407" y="212"/>
                </a:lnTo>
                <a:lnTo>
                  <a:pt x="407" y="214"/>
                </a:lnTo>
                <a:lnTo>
                  <a:pt x="407" y="217"/>
                </a:lnTo>
                <a:lnTo>
                  <a:pt x="409" y="217"/>
                </a:lnTo>
                <a:lnTo>
                  <a:pt x="414" y="214"/>
                </a:lnTo>
                <a:lnTo>
                  <a:pt x="416" y="214"/>
                </a:lnTo>
                <a:lnTo>
                  <a:pt x="419" y="214"/>
                </a:lnTo>
                <a:lnTo>
                  <a:pt x="419" y="212"/>
                </a:lnTo>
                <a:lnTo>
                  <a:pt x="419" y="214"/>
                </a:lnTo>
                <a:lnTo>
                  <a:pt x="421" y="214"/>
                </a:lnTo>
                <a:lnTo>
                  <a:pt x="421" y="212"/>
                </a:lnTo>
                <a:lnTo>
                  <a:pt x="421" y="214"/>
                </a:lnTo>
                <a:lnTo>
                  <a:pt x="423" y="214"/>
                </a:lnTo>
                <a:lnTo>
                  <a:pt x="426" y="214"/>
                </a:lnTo>
                <a:lnTo>
                  <a:pt x="428" y="214"/>
                </a:lnTo>
                <a:lnTo>
                  <a:pt x="430" y="214"/>
                </a:lnTo>
                <a:lnTo>
                  <a:pt x="430" y="212"/>
                </a:lnTo>
                <a:lnTo>
                  <a:pt x="433" y="212"/>
                </a:lnTo>
                <a:lnTo>
                  <a:pt x="433" y="210"/>
                </a:lnTo>
                <a:lnTo>
                  <a:pt x="433" y="207"/>
                </a:lnTo>
                <a:lnTo>
                  <a:pt x="430" y="207"/>
                </a:lnTo>
                <a:lnTo>
                  <a:pt x="428" y="207"/>
                </a:lnTo>
                <a:lnTo>
                  <a:pt x="428" y="205"/>
                </a:lnTo>
                <a:lnTo>
                  <a:pt x="433" y="203"/>
                </a:lnTo>
                <a:lnTo>
                  <a:pt x="435" y="203"/>
                </a:lnTo>
                <a:lnTo>
                  <a:pt x="435" y="200"/>
                </a:lnTo>
                <a:lnTo>
                  <a:pt x="433" y="200"/>
                </a:lnTo>
                <a:lnTo>
                  <a:pt x="433" y="198"/>
                </a:lnTo>
                <a:lnTo>
                  <a:pt x="435" y="198"/>
                </a:lnTo>
                <a:lnTo>
                  <a:pt x="437" y="198"/>
                </a:lnTo>
                <a:lnTo>
                  <a:pt x="437" y="200"/>
                </a:lnTo>
                <a:lnTo>
                  <a:pt x="435" y="203"/>
                </a:lnTo>
                <a:lnTo>
                  <a:pt x="437" y="203"/>
                </a:lnTo>
                <a:lnTo>
                  <a:pt x="440" y="203"/>
                </a:lnTo>
                <a:lnTo>
                  <a:pt x="442" y="203"/>
                </a:lnTo>
                <a:lnTo>
                  <a:pt x="444" y="205"/>
                </a:lnTo>
                <a:lnTo>
                  <a:pt x="447" y="205"/>
                </a:lnTo>
                <a:lnTo>
                  <a:pt x="447" y="203"/>
                </a:lnTo>
                <a:lnTo>
                  <a:pt x="449" y="203"/>
                </a:lnTo>
                <a:lnTo>
                  <a:pt x="449" y="200"/>
                </a:lnTo>
                <a:lnTo>
                  <a:pt x="451" y="203"/>
                </a:lnTo>
                <a:lnTo>
                  <a:pt x="451" y="205"/>
                </a:lnTo>
                <a:lnTo>
                  <a:pt x="454" y="205"/>
                </a:lnTo>
                <a:lnTo>
                  <a:pt x="456" y="203"/>
                </a:lnTo>
                <a:lnTo>
                  <a:pt x="461" y="203"/>
                </a:lnTo>
                <a:lnTo>
                  <a:pt x="461" y="200"/>
                </a:lnTo>
                <a:lnTo>
                  <a:pt x="463" y="200"/>
                </a:lnTo>
                <a:lnTo>
                  <a:pt x="465" y="198"/>
                </a:lnTo>
                <a:lnTo>
                  <a:pt x="470" y="198"/>
                </a:lnTo>
                <a:lnTo>
                  <a:pt x="470" y="196"/>
                </a:lnTo>
                <a:lnTo>
                  <a:pt x="472" y="196"/>
                </a:lnTo>
                <a:lnTo>
                  <a:pt x="475" y="196"/>
                </a:lnTo>
                <a:lnTo>
                  <a:pt x="477" y="196"/>
                </a:lnTo>
                <a:lnTo>
                  <a:pt x="479" y="196"/>
                </a:lnTo>
                <a:lnTo>
                  <a:pt x="482" y="196"/>
                </a:lnTo>
                <a:lnTo>
                  <a:pt x="486" y="193"/>
                </a:lnTo>
                <a:lnTo>
                  <a:pt x="489" y="193"/>
                </a:lnTo>
                <a:lnTo>
                  <a:pt x="491" y="196"/>
                </a:lnTo>
                <a:lnTo>
                  <a:pt x="493" y="200"/>
                </a:lnTo>
                <a:lnTo>
                  <a:pt x="496" y="203"/>
                </a:lnTo>
                <a:lnTo>
                  <a:pt x="496" y="205"/>
                </a:lnTo>
                <a:lnTo>
                  <a:pt x="496" y="207"/>
                </a:lnTo>
                <a:lnTo>
                  <a:pt x="498" y="207"/>
                </a:lnTo>
                <a:lnTo>
                  <a:pt x="500" y="207"/>
                </a:lnTo>
                <a:lnTo>
                  <a:pt x="503" y="207"/>
                </a:lnTo>
                <a:lnTo>
                  <a:pt x="503" y="210"/>
                </a:lnTo>
                <a:lnTo>
                  <a:pt x="505" y="210"/>
                </a:lnTo>
                <a:lnTo>
                  <a:pt x="505" y="207"/>
                </a:lnTo>
                <a:lnTo>
                  <a:pt x="507" y="210"/>
                </a:lnTo>
                <a:lnTo>
                  <a:pt x="507" y="207"/>
                </a:lnTo>
                <a:lnTo>
                  <a:pt x="510" y="207"/>
                </a:lnTo>
                <a:lnTo>
                  <a:pt x="512" y="207"/>
                </a:lnTo>
                <a:lnTo>
                  <a:pt x="514" y="207"/>
                </a:lnTo>
                <a:lnTo>
                  <a:pt x="517" y="207"/>
                </a:lnTo>
                <a:lnTo>
                  <a:pt x="519" y="210"/>
                </a:lnTo>
                <a:lnTo>
                  <a:pt x="521" y="210"/>
                </a:lnTo>
                <a:lnTo>
                  <a:pt x="524" y="212"/>
                </a:lnTo>
                <a:lnTo>
                  <a:pt x="524" y="214"/>
                </a:lnTo>
                <a:lnTo>
                  <a:pt x="524" y="217"/>
                </a:lnTo>
                <a:lnTo>
                  <a:pt x="521" y="217"/>
                </a:lnTo>
                <a:lnTo>
                  <a:pt x="519" y="217"/>
                </a:lnTo>
                <a:lnTo>
                  <a:pt x="519" y="219"/>
                </a:lnTo>
                <a:lnTo>
                  <a:pt x="519" y="221"/>
                </a:lnTo>
                <a:lnTo>
                  <a:pt x="517" y="221"/>
                </a:lnTo>
                <a:lnTo>
                  <a:pt x="517" y="224"/>
                </a:lnTo>
                <a:lnTo>
                  <a:pt x="514" y="224"/>
                </a:lnTo>
                <a:lnTo>
                  <a:pt x="512" y="224"/>
                </a:lnTo>
                <a:lnTo>
                  <a:pt x="510" y="224"/>
                </a:lnTo>
                <a:lnTo>
                  <a:pt x="507" y="224"/>
                </a:lnTo>
                <a:lnTo>
                  <a:pt x="505" y="224"/>
                </a:lnTo>
                <a:lnTo>
                  <a:pt x="500" y="224"/>
                </a:lnTo>
                <a:lnTo>
                  <a:pt x="500" y="226"/>
                </a:lnTo>
                <a:lnTo>
                  <a:pt x="500" y="224"/>
                </a:lnTo>
                <a:lnTo>
                  <a:pt x="498" y="224"/>
                </a:lnTo>
                <a:lnTo>
                  <a:pt x="496" y="224"/>
                </a:lnTo>
                <a:lnTo>
                  <a:pt x="493" y="226"/>
                </a:lnTo>
                <a:lnTo>
                  <a:pt x="491" y="226"/>
                </a:lnTo>
                <a:lnTo>
                  <a:pt x="489" y="226"/>
                </a:lnTo>
                <a:lnTo>
                  <a:pt x="489" y="228"/>
                </a:lnTo>
                <a:lnTo>
                  <a:pt x="486" y="228"/>
                </a:lnTo>
                <a:lnTo>
                  <a:pt x="484" y="231"/>
                </a:lnTo>
                <a:lnTo>
                  <a:pt x="484" y="233"/>
                </a:lnTo>
                <a:lnTo>
                  <a:pt x="484" y="235"/>
                </a:lnTo>
                <a:lnTo>
                  <a:pt x="484" y="238"/>
                </a:lnTo>
                <a:lnTo>
                  <a:pt x="484" y="240"/>
                </a:lnTo>
                <a:lnTo>
                  <a:pt x="482" y="240"/>
                </a:lnTo>
                <a:lnTo>
                  <a:pt x="482" y="242"/>
                </a:lnTo>
                <a:lnTo>
                  <a:pt x="479" y="242"/>
                </a:lnTo>
                <a:lnTo>
                  <a:pt x="479" y="245"/>
                </a:lnTo>
                <a:lnTo>
                  <a:pt x="482" y="247"/>
                </a:lnTo>
                <a:lnTo>
                  <a:pt x="482" y="249"/>
                </a:lnTo>
                <a:lnTo>
                  <a:pt x="484" y="249"/>
                </a:lnTo>
                <a:lnTo>
                  <a:pt x="484" y="252"/>
                </a:lnTo>
                <a:lnTo>
                  <a:pt x="486" y="254"/>
                </a:lnTo>
                <a:lnTo>
                  <a:pt x="484" y="254"/>
                </a:lnTo>
                <a:lnTo>
                  <a:pt x="482" y="254"/>
                </a:lnTo>
                <a:lnTo>
                  <a:pt x="479" y="254"/>
                </a:lnTo>
                <a:lnTo>
                  <a:pt x="479" y="252"/>
                </a:lnTo>
                <a:lnTo>
                  <a:pt x="477" y="252"/>
                </a:lnTo>
                <a:lnTo>
                  <a:pt x="475" y="252"/>
                </a:lnTo>
                <a:lnTo>
                  <a:pt x="472" y="252"/>
                </a:lnTo>
                <a:lnTo>
                  <a:pt x="472" y="254"/>
                </a:lnTo>
                <a:lnTo>
                  <a:pt x="470" y="254"/>
                </a:lnTo>
                <a:lnTo>
                  <a:pt x="468" y="254"/>
                </a:lnTo>
                <a:lnTo>
                  <a:pt x="468" y="256"/>
                </a:lnTo>
                <a:lnTo>
                  <a:pt x="470" y="259"/>
                </a:lnTo>
                <a:lnTo>
                  <a:pt x="468" y="259"/>
                </a:lnTo>
                <a:lnTo>
                  <a:pt x="465" y="261"/>
                </a:lnTo>
                <a:lnTo>
                  <a:pt x="465" y="259"/>
                </a:lnTo>
                <a:lnTo>
                  <a:pt x="463" y="261"/>
                </a:lnTo>
                <a:lnTo>
                  <a:pt x="465" y="261"/>
                </a:lnTo>
                <a:lnTo>
                  <a:pt x="463" y="261"/>
                </a:lnTo>
                <a:lnTo>
                  <a:pt x="463" y="259"/>
                </a:lnTo>
                <a:lnTo>
                  <a:pt x="461" y="259"/>
                </a:lnTo>
                <a:lnTo>
                  <a:pt x="461" y="261"/>
                </a:lnTo>
                <a:lnTo>
                  <a:pt x="458" y="261"/>
                </a:lnTo>
                <a:lnTo>
                  <a:pt x="456" y="261"/>
                </a:lnTo>
                <a:lnTo>
                  <a:pt x="458" y="263"/>
                </a:lnTo>
                <a:lnTo>
                  <a:pt x="456" y="263"/>
                </a:lnTo>
                <a:lnTo>
                  <a:pt x="454" y="266"/>
                </a:lnTo>
                <a:lnTo>
                  <a:pt x="454" y="263"/>
                </a:lnTo>
                <a:lnTo>
                  <a:pt x="451" y="263"/>
                </a:lnTo>
                <a:lnTo>
                  <a:pt x="449" y="266"/>
                </a:lnTo>
                <a:lnTo>
                  <a:pt x="447" y="266"/>
                </a:lnTo>
                <a:lnTo>
                  <a:pt x="444" y="266"/>
                </a:lnTo>
                <a:lnTo>
                  <a:pt x="444" y="268"/>
                </a:lnTo>
                <a:lnTo>
                  <a:pt x="444" y="270"/>
                </a:lnTo>
                <a:lnTo>
                  <a:pt x="444" y="273"/>
                </a:lnTo>
                <a:lnTo>
                  <a:pt x="444" y="275"/>
                </a:lnTo>
                <a:lnTo>
                  <a:pt x="444" y="277"/>
                </a:lnTo>
                <a:lnTo>
                  <a:pt x="442" y="280"/>
                </a:lnTo>
                <a:lnTo>
                  <a:pt x="442" y="277"/>
                </a:lnTo>
                <a:lnTo>
                  <a:pt x="440" y="277"/>
                </a:lnTo>
                <a:lnTo>
                  <a:pt x="440" y="280"/>
                </a:lnTo>
                <a:lnTo>
                  <a:pt x="437" y="280"/>
                </a:lnTo>
                <a:lnTo>
                  <a:pt x="437" y="277"/>
                </a:lnTo>
                <a:lnTo>
                  <a:pt x="435" y="277"/>
                </a:lnTo>
                <a:lnTo>
                  <a:pt x="435" y="275"/>
                </a:lnTo>
                <a:lnTo>
                  <a:pt x="433" y="275"/>
                </a:lnTo>
                <a:lnTo>
                  <a:pt x="430" y="275"/>
                </a:lnTo>
                <a:lnTo>
                  <a:pt x="426" y="273"/>
                </a:lnTo>
                <a:lnTo>
                  <a:pt x="423" y="273"/>
                </a:lnTo>
                <a:lnTo>
                  <a:pt x="421" y="273"/>
                </a:lnTo>
                <a:lnTo>
                  <a:pt x="419" y="270"/>
                </a:lnTo>
                <a:lnTo>
                  <a:pt x="412" y="273"/>
                </a:lnTo>
                <a:lnTo>
                  <a:pt x="409" y="273"/>
                </a:lnTo>
                <a:lnTo>
                  <a:pt x="409" y="275"/>
                </a:lnTo>
                <a:lnTo>
                  <a:pt x="407" y="275"/>
                </a:lnTo>
                <a:lnTo>
                  <a:pt x="405" y="275"/>
                </a:lnTo>
                <a:lnTo>
                  <a:pt x="403" y="275"/>
                </a:lnTo>
                <a:lnTo>
                  <a:pt x="400" y="277"/>
                </a:lnTo>
                <a:lnTo>
                  <a:pt x="398" y="280"/>
                </a:lnTo>
                <a:lnTo>
                  <a:pt x="396" y="280"/>
                </a:lnTo>
                <a:lnTo>
                  <a:pt x="398" y="280"/>
                </a:lnTo>
                <a:lnTo>
                  <a:pt x="403" y="277"/>
                </a:lnTo>
                <a:lnTo>
                  <a:pt x="400" y="280"/>
                </a:lnTo>
                <a:lnTo>
                  <a:pt x="400" y="282"/>
                </a:lnTo>
                <a:lnTo>
                  <a:pt x="400" y="284"/>
                </a:lnTo>
                <a:lnTo>
                  <a:pt x="398" y="284"/>
                </a:lnTo>
                <a:lnTo>
                  <a:pt x="396" y="284"/>
                </a:lnTo>
                <a:lnTo>
                  <a:pt x="393" y="284"/>
                </a:lnTo>
                <a:lnTo>
                  <a:pt x="393" y="286"/>
                </a:lnTo>
                <a:lnTo>
                  <a:pt x="391" y="284"/>
                </a:lnTo>
                <a:lnTo>
                  <a:pt x="393" y="284"/>
                </a:lnTo>
                <a:lnTo>
                  <a:pt x="393" y="282"/>
                </a:lnTo>
                <a:lnTo>
                  <a:pt x="393" y="280"/>
                </a:lnTo>
                <a:lnTo>
                  <a:pt x="391" y="280"/>
                </a:lnTo>
                <a:lnTo>
                  <a:pt x="391" y="277"/>
                </a:lnTo>
                <a:lnTo>
                  <a:pt x="389" y="277"/>
                </a:lnTo>
                <a:lnTo>
                  <a:pt x="389" y="275"/>
                </a:lnTo>
                <a:lnTo>
                  <a:pt x="386" y="277"/>
                </a:lnTo>
                <a:lnTo>
                  <a:pt x="386" y="280"/>
                </a:lnTo>
                <a:lnTo>
                  <a:pt x="384" y="280"/>
                </a:lnTo>
                <a:lnTo>
                  <a:pt x="386" y="282"/>
                </a:lnTo>
                <a:lnTo>
                  <a:pt x="389" y="284"/>
                </a:lnTo>
                <a:lnTo>
                  <a:pt x="386" y="284"/>
                </a:lnTo>
                <a:lnTo>
                  <a:pt x="386" y="286"/>
                </a:lnTo>
                <a:lnTo>
                  <a:pt x="386" y="284"/>
                </a:lnTo>
                <a:lnTo>
                  <a:pt x="382" y="286"/>
                </a:lnTo>
                <a:lnTo>
                  <a:pt x="375" y="289"/>
                </a:lnTo>
                <a:lnTo>
                  <a:pt x="365" y="293"/>
                </a:lnTo>
                <a:lnTo>
                  <a:pt x="358" y="296"/>
                </a:lnTo>
                <a:lnTo>
                  <a:pt x="354" y="298"/>
                </a:lnTo>
                <a:lnTo>
                  <a:pt x="351" y="298"/>
                </a:lnTo>
                <a:lnTo>
                  <a:pt x="351" y="300"/>
                </a:lnTo>
                <a:lnTo>
                  <a:pt x="349" y="303"/>
                </a:lnTo>
                <a:lnTo>
                  <a:pt x="349" y="305"/>
                </a:lnTo>
                <a:lnTo>
                  <a:pt x="349" y="307"/>
                </a:lnTo>
                <a:lnTo>
                  <a:pt x="347" y="307"/>
                </a:lnTo>
                <a:lnTo>
                  <a:pt x="347" y="305"/>
                </a:lnTo>
                <a:lnTo>
                  <a:pt x="344" y="307"/>
                </a:lnTo>
                <a:lnTo>
                  <a:pt x="342" y="310"/>
                </a:lnTo>
                <a:lnTo>
                  <a:pt x="337" y="312"/>
                </a:lnTo>
                <a:lnTo>
                  <a:pt x="323" y="321"/>
                </a:lnTo>
                <a:lnTo>
                  <a:pt x="321" y="319"/>
                </a:lnTo>
                <a:lnTo>
                  <a:pt x="321" y="321"/>
                </a:lnTo>
                <a:lnTo>
                  <a:pt x="319" y="321"/>
                </a:lnTo>
                <a:lnTo>
                  <a:pt x="316" y="321"/>
                </a:lnTo>
                <a:lnTo>
                  <a:pt x="314" y="324"/>
                </a:lnTo>
                <a:lnTo>
                  <a:pt x="312" y="324"/>
                </a:lnTo>
                <a:lnTo>
                  <a:pt x="300" y="333"/>
                </a:lnTo>
                <a:lnTo>
                  <a:pt x="298" y="333"/>
                </a:lnTo>
                <a:lnTo>
                  <a:pt x="298" y="335"/>
                </a:lnTo>
                <a:lnTo>
                  <a:pt x="295" y="335"/>
                </a:lnTo>
                <a:lnTo>
                  <a:pt x="293" y="340"/>
                </a:lnTo>
                <a:lnTo>
                  <a:pt x="291" y="340"/>
                </a:lnTo>
                <a:lnTo>
                  <a:pt x="288" y="340"/>
                </a:lnTo>
                <a:lnTo>
                  <a:pt x="291" y="340"/>
                </a:lnTo>
                <a:lnTo>
                  <a:pt x="291" y="338"/>
                </a:lnTo>
                <a:lnTo>
                  <a:pt x="288" y="338"/>
                </a:lnTo>
                <a:lnTo>
                  <a:pt x="286" y="338"/>
                </a:lnTo>
                <a:lnTo>
                  <a:pt x="286" y="340"/>
                </a:lnTo>
                <a:lnTo>
                  <a:pt x="286" y="342"/>
                </a:lnTo>
                <a:lnTo>
                  <a:pt x="288" y="342"/>
                </a:lnTo>
                <a:lnTo>
                  <a:pt x="291" y="342"/>
                </a:lnTo>
                <a:lnTo>
                  <a:pt x="293" y="342"/>
                </a:lnTo>
                <a:lnTo>
                  <a:pt x="295" y="342"/>
                </a:lnTo>
                <a:lnTo>
                  <a:pt x="293" y="347"/>
                </a:lnTo>
                <a:lnTo>
                  <a:pt x="291" y="352"/>
                </a:lnTo>
                <a:lnTo>
                  <a:pt x="288" y="352"/>
                </a:lnTo>
                <a:lnTo>
                  <a:pt x="286" y="352"/>
                </a:lnTo>
                <a:lnTo>
                  <a:pt x="284" y="354"/>
                </a:lnTo>
                <a:lnTo>
                  <a:pt x="284" y="356"/>
                </a:lnTo>
                <a:lnTo>
                  <a:pt x="281" y="356"/>
                </a:lnTo>
                <a:lnTo>
                  <a:pt x="284" y="356"/>
                </a:lnTo>
                <a:lnTo>
                  <a:pt x="284" y="354"/>
                </a:lnTo>
                <a:lnTo>
                  <a:pt x="286" y="352"/>
                </a:lnTo>
                <a:lnTo>
                  <a:pt x="284" y="352"/>
                </a:lnTo>
                <a:lnTo>
                  <a:pt x="281" y="352"/>
                </a:lnTo>
                <a:lnTo>
                  <a:pt x="279" y="352"/>
                </a:lnTo>
                <a:lnTo>
                  <a:pt x="279" y="349"/>
                </a:lnTo>
                <a:lnTo>
                  <a:pt x="277" y="349"/>
                </a:lnTo>
                <a:lnTo>
                  <a:pt x="277" y="347"/>
                </a:lnTo>
                <a:lnTo>
                  <a:pt x="277" y="342"/>
                </a:lnTo>
                <a:lnTo>
                  <a:pt x="277" y="340"/>
                </a:lnTo>
                <a:lnTo>
                  <a:pt x="275" y="338"/>
                </a:lnTo>
                <a:lnTo>
                  <a:pt x="272" y="338"/>
                </a:lnTo>
                <a:lnTo>
                  <a:pt x="270" y="338"/>
                </a:lnTo>
                <a:lnTo>
                  <a:pt x="270" y="335"/>
                </a:lnTo>
                <a:lnTo>
                  <a:pt x="268" y="335"/>
                </a:lnTo>
                <a:lnTo>
                  <a:pt x="265" y="333"/>
                </a:lnTo>
                <a:lnTo>
                  <a:pt x="263" y="335"/>
                </a:lnTo>
                <a:lnTo>
                  <a:pt x="263" y="338"/>
                </a:lnTo>
                <a:lnTo>
                  <a:pt x="261" y="338"/>
                </a:lnTo>
                <a:lnTo>
                  <a:pt x="261" y="340"/>
                </a:lnTo>
                <a:lnTo>
                  <a:pt x="258" y="340"/>
                </a:lnTo>
                <a:lnTo>
                  <a:pt x="256" y="338"/>
                </a:lnTo>
                <a:lnTo>
                  <a:pt x="256" y="335"/>
                </a:lnTo>
                <a:lnTo>
                  <a:pt x="256" y="333"/>
                </a:lnTo>
                <a:lnTo>
                  <a:pt x="258" y="331"/>
                </a:lnTo>
                <a:lnTo>
                  <a:pt x="258" y="328"/>
                </a:lnTo>
                <a:lnTo>
                  <a:pt x="258" y="326"/>
                </a:lnTo>
                <a:lnTo>
                  <a:pt x="258" y="324"/>
                </a:lnTo>
                <a:lnTo>
                  <a:pt x="261" y="321"/>
                </a:lnTo>
                <a:lnTo>
                  <a:pt x="263" y="319"/>
                </a:lnTo>
                <a:lnTo>
                  <a:pt x="258" y="317"/>
                </a:lnTo>
                <a:lnTo>
                  <a:pt x="258" y="314"/>
                </a:lnTo>
                <a:lnTo>
                  <a:pt x="256" y="314"/>
                </a:lnTo>
                <a:lnTo>
                  <a:pt x="254" y="314"/>
                </a:lnTo>
                <a:lnTo>
                  <a:pt x="254" y="317"/>
                </a:lnTo>
                <a:lnTo>
                  <a:pt x="251" y="317"/>
                </a:lnTo>
                <a:lnTo>
                  <a:pt x="251" y="314"/>
                </a:lnTo>
                <a:lnTo>
                  <a:pt x="249" y="314"/>
                </a:lnTo>
                <a:lnTo>
                  <a:pt x="247" y="314"/>
                </a:lnTo>
                <a:lnTo>
                  <a:pt x="244" y="314"/>
                </a:lnTo>
                <a:lnTo>
                  <a:pt x="244" y="312"/>
                </a:lnTo>
                <a:lnTo>
                  <a:pt x="242" y="312"/>
                </a:lnTo>
                <a:lnTo>
                  <a:pt x="240" y="312"/>
                </a:lnTo>
                <a:lnTo>
                  <a:pt x="235" y="312"/>
                </a:lnTo>
                <a:lnTo>
                  <a:pt x="233" y="310"/>
                </a:lnTo>
                <a:lnTo>
                  <a:pt x="233" y="312"/>
                </a:lnTo>
                <a:lnTo>
                  <a:pt x="230" y="312"/>
                </a:lnTo>
                <a:lnTo>
                  <a:pt x="228" y="312"/>
                </a:lnTo>
                <a:lnTo>
                  <a:pt x="226" y="312"/>
                </a:lnTo>
                <a:lnTo>
                  <a:pt x="223" y="312"/>
                </a:lnTo>
                <a:lnTo>
                  <a:pt x="221" y="312"/>
                </a:lnTo>
                <a:lnTo>
                  <a:pt x="216" y="312"/>
                </a:lnTo>
                <a:lnTo>
                  <a:pt x="216" y="310"/>
                </a:lnTo>
                <a:lnTo>
                  <a:pt x="216" y="307"/>
                </a:lnTo>
                <a:lnTo>
                  <a:pt x="216" y="305"/>
                </a:lnTo>
                <a:lnTo>
                  <a:pt x="216" y="303"/>
                </a:lnTo>
                <a:lnTo>
                  <a:pt x="219" y="303"/>
                </a:lnTo>
                <a:lnTo>
                  <a:pt x="219" y="300"/>
                </a:lnTo>
                <a:lnTo>
                  <a:pt x="219" y="298"/>
                </a:lnTo>
                <a:lnTo>
                  <a:pt x="216" y="298"/>
                </a:lnTo>
                <a:lnTo>
                  <a:pt x="219" y="298"/>
                </a:lnTo>
                <a:lnTo>
                  <a:pt x="219" y="296"/>
                </a:lnTo>
                <a:lnTo>
                  <a:pt x="221" y="296"/>
                </a:lnTo>
                <a:lnTo>
                  <a:pt x="221" y="293"/>
                </a:lnTo>
                <a:lnTo>
                  <a:pt x="221" y="291"/>
                </a:lnTo>
                <a:lnTo>
                  <a:pt x="221" y="289"/>
                </a:lnTo>
                <a:lnTo>
                  <a:pt x="219" y="289"/>
                </a:lnTo>
                <a:lnTo>
                  <a:pt x="219" y="284"/>
                </a:lnTo>
                <a:lnTo>
                  <a:pt x="216" y="284"/>
                </a:lnTo>
                <a:lnTo>
                  <a:pt x="216" y="282"/>
                </a:lnTo>
                <a:lnTo>
                  <a:pt x="216" y="280"/>
                </a:lnTo>
                <a:lnTo>
                  <a:pt x="216" y="277"/>
                </a:lnTo>
                <a:lnTo>
                  <a:pt x="216" y="275"/>
                </a:lnTo>
                <a:lnTo>
                  <a:pt x="214" y="275"/>
                </a:lnTo>
                <a:lnTo>
                  <a:pt x="212" y="275"/>
                </a:lnTo>
                <a:lnTo>
                  <a:pt x="212" y="273"/>
                </a:lnTo>
                <a:lnTo>
                  <a:pt x="209" y="273"/>
                </a:lnTo>
                <a:lnTo>
                  <a:pt x="209" y="270"/>
                </a:lnTo>
                <a:lnTo>
                  <a:pt x="209" y="268"/>
                </a:lnTo>
                <a:lnTo>
                  <a:pt x="207" y="268"/>
                </a:lnTo>
                <a:lnTo>
                  <a:pt x="207" y="266"/>
                </a:lnTo>
                <a:lnTo>
                  <a:pt x="207" y="263"/>
                </a:lnTo>
                <a:lnTo>
                  <a:pt x="205" y="263"/>
                </a:lnTo>
                <a:lnTo>
                  <a:pt x="205" y="261"/>
                </a:lnTo>
                <a:lnTo>
                  <a:pt x="202" y="261"/>
                </a:lnTo>
                <a:lnTo>
                  <a:pt x="202" y="259"/>
                </a:lnTo>
                <a:lnTo>
                  <a:pt x="205" y="259"/>
                </a:lnTo>
                <a:lnTo>
                  <a:pt x="205" y="256"/>
                </a:lnTo>
                <a:lnTo>
                  <a:pt x="205" y="254"/>
                </a:lnTo>
                <a:lnTo>
                  <a:pt x="207" y="249"/>
                </a:lnTo>
                <a:lnTo>
                  <a:pt x="205" y="249"/>
                </a:lnTo>
                <a:lnTo>
                  <a:pt x="205" y="247"/>
                </a:lnTo>
                <a:lnTo>
                  <a:pt x="202" y="245"/>
                </a:lnTo>
                <a:lnTo>
                  <a:pt x="202" y="242"/>
                </a:lnTo>
                <a:lnTo>
                  <a:pt x="202" y="240"/>
                </a:lnTo>
                <a:lnTo>
                  <a:pt x="202" y="238"/>
                </a:lnTo>
                <a:lnTo>
                  <a:pt x="202" y="235"/>
                </a:lnTo>
                <a:lnTo>
                  <a:pt x="205" y="231"/>
                </a:lnTo>
                <a:lnTo>
                  <a:pt x="205" y="226"/>
                </a:lnTo>
                <a:lnTo>
                  <a:pt x="202" y="221"/>
                </a:lnTo>
                <a:lnTo>
                  <a:pt x="202" y="217"/>
                </a:lnTo>
                <a:lnTo>
                  <a:pt x="200" y="214"/>
                </a:lnTo>
                <a:lnTo>
                  <a:pt x="200" y="212"/>
                </a:lnTo>
                <a:lnTo>
                  <a:pt x="198" y="212"/>
                </a:lnTo>
                <a:lnTo>
                  <a:pt x="198" y="210"/>
                </a:lnTo>
                <a:lnTo>
                  <a:pt x="195" y="210"/>
                </a:lnTo>
                <a:lnTo>
                  <a:pt x="193" y="207"/>
                </a:lnTo>
                <a:lnTo>
                  <a:pt x="191" y="207"/>
                </a:lnTo>
                <a:lnTo>
                  <a:pt x="188" y="207"/>
                </a:lnTo>
                <a:lnTo>
                  <a:pt x="188" y="205"/>
                </a:lnTo>
                <a:lnTo>
                  <a:pt x="188" y="203"/>
                </a:lnTo>
                <a:lnTo>
                  <a:pt x="186" y="200"/>
                </a:lnTo>
                <a:lnTo>
                  <a:pt x="186" y="198"/>
                </a:lnTo>
                <a:lnTo>
                  <a:pt x="184" y="198"/>
                </a:lnTo>
                <a:lnTo>
                  <a:pt x="181" y="198"/>
                </a:lnTo>
                <a:lnTo>
                  <a:pt x="179" y="198"/>
                </a:lnTo>
                <a:lnTo>
                  <a:pt x="177" y="198"/>
                </a:lnTo>
                <a:lnTo>
                  <a:pt x="177" y="200"/>
                </a:lnTo>
                <a:lnTo>
                  <a:pt x="172" y="200"/>
                </a:lnTo>
                <a:lnTo>
                  <a:pt x="170" y="198"/>
                </a:lnTo>
                <a:lnTo>
                  <a:pt x="167" y="198"/>
                </a:lnTo>
                <a:lnTo>
                  <a:pt x="167" y="200"/>
                </a:lnTo>
                <a:lnTo>
                  <a:pt x="165" y="200"/>
                </a:lnTo>
                <a:lnTo>
                  <a:pt x="165" y="198"/>
                </a:lnTo>
                <a:lnTo>
                  <a:pt x="163" y="198"/>
                </a:lnTo>
                <a:lnTo>
                  <a:pt x="163" y="196"/>
                </a:lnTo>
                <a:lnTo>
                  <a:pt x="160" y="196"/>
                </a:lnTo>
                <a:lnTo>
                  <a:pt x="160" y="198"/>
                </a:lnTo>
                <a:lnTo>
                  <a:pt x="158" y="198"/>
                </a:lnTo>
                <a:lnTo>
                  <a:pt x="156" y="198"/>
                </a:lnTo>
                <a:lnTo>
                  <a:pt x="153" y="198"/>
                </a:lnTo>
                <a:lnTo>
                  <a:pt x="151" y="198"/>
                </a:lnTo>
                <a:lnTo>
                  <a:pt x="147" y="196"/>
                </a:lnTo>
                <a:lnTo>
                  <a:pt x="144" y="196"/>
                </a:lnTo>
                <a:lnTo>
                  <a:pt x="144" y="198"/>
                </a:lnTo>
                <a:lnTo>
                  <a:pt x="142" y="198"/>
                </a:lnTo>
                <a:lnTo>
                  <a:pt x="140" y="198"/>
                </a:lnTo>
                <a:lnTo>
                  <a:pt x="137" y="198"/>
                </a:lnTo>
                <a:lnTo>
                  <a:pt x="137" y="196"/>
                </a:lnTo>
                <a:lnTo>
                  <a:pt x="137" y="193"/>
                </a:lnTo>
                <a:lnTo>
                  <a:pt x="135" y="189"/>
                </a:lnTo>
                <a:lnTo>
                  <a:pt x="133" y="189"/>
                </a:lnTo>
                <a:lnTo>
                  <a:pt x="126" y="186"/>
                </a:lnTo>
                <a:lnTo>
                  <a:pt x="121" y="184"/>
                </a:lnTo>
                <a:lnTo>
                  <a:pt x="116" y="182"/>
                </a:lnTo>
                <a:lnTo>
                  <a:pt x="112" y="179"/>
                </a:lnTo>
                <a:lnTo>
                  <a:pt x="109" y="179"/>
                </a:lnTo>
                <a:lnTo>
                  <a:pt x="109" y="177"/>
                </a:lnTo>
                <a:lnTo>
                  <a:pt x="107" y="177"/>
                </a:lnTo>
                <a:lnTo>
                  <a:pt x="105" y="177"/>
                </a:lnTo>
                <a:lnTo>
                  <a:pt x="102" y="177"/>
                </a:lnTo>
                <a:lnTo>
                  <a:pt x="100" y="177"/>
                </a:lnTo>
                <a:lnTo>
                  <a:pt x="98" y="177"/>
                </a:lnTo>
                <a:lnTo>
                  <a:pt x="95" y="177"/>
                </a:lnTo>
                <a:lnTo>
                  <a:pt x="93" y="177"/>
                </a:lnTo>
                <a:lnTo>
                  <a:pt x="91" y="177"/>
                </a:lnTo>
                <a:lnTo>
                  <a:pt x="91" y="175"/>
                </a:lnTo>
                <a:lnTo>
                  <a:pt x="88" y="175"/>
                </a:lnTo>
                <a:lnTo>
                  <a:pt x="88" y="177"/>
                </a:lnTo>
                <a:lnTo>
                  <a:pt x="86" y="177"/>
                </a:lnTo>
                <a:lnTo>
                  <a:pt x="86" y="175"/>
                </a:lnTo>
                <a:lnTo>
                  <a:pt x="84" y="172"/>
                </a:lnTo>
                <a:lnTo>
                  <a:pt x="81" y="172"/>
                </a:lnTo>
                <a:lnTo>
                  <a:pt x="79" y="172"/>
                </a:lnTo>
                <a:lnTo>
                  <a:pt x="77" y="172"/>
                </a:lnTo>
                <a:lnTo>
                  <a:pt x="70" y="168"/>
                </a:lnTo>
                <a:lnTo>
                  <a:pt x="67" y="168"/>
                </a:lnTo>
                <a:lnTo>
                  <a:pt x="65" y="165"/>
                </a:lnTo>
                <a:lnTo>
                  <a:pt x="63" y="165"/>
                </a:lnTo>
                <a:lnTo>
                  <a:pt x="60" y="168"/>
                </a:lnTo>
                <a:lnTo>
                  <a:pt x="60" y="170"/>
                </a:lnTo>
                <a:lnTo>
                  <a:pt x="58" y="172"/>
                </a:lnTo>
                <a:lnTo>
                  <a:pt x="56" y="172"/>
                </a:lnTo>
                <a:lnTo>
                  <a:pt x="56" y="170"/>
                </a:lnTo>
                <a:lnTo>
                  <a:pt x="53" y="170"/>
                </a:lnTo>
                <a:lnTo>
                  <a:pt x="51" y="170"/>
                </a:lnTo>
                <a:lnTo>
                  <a:pt x="49" y="170"/>
                </a:lnTo>
                <a:lnTo>
                  <a:pt x="46" y="170"/>
                </a:lnTo>
                <a:lnTo>
                  <a:pt x="44" y="170"/>
                </a:lnTo>
                <a:lnTo>
                  <a:pt x="42" y="170"/>
                </a:lnTo>
                <a:lnTo>
                  <a:pt x="39" y="170"/>
                </a:lnTo>
                <a:lnTo>
                  <a:pt x="37" y="170"/>
                </a:lnTo>
                <a:lnTo>
                  <a:pt x="35" y="168"/>
                </a:lnTo>
                <a:lnTo>
                  <a:pt x="32" y="168"/>
                </a:lnTo>
                <a:lnTo>
                  <a:pt x="30" y="168"/>
                </a:lnTo>
                <a:lnTo>
                  <a:pt x="28" y="170"/>
                </a:lnTo>
                <a:lnTo>
                  <a:pt x="23" y="168"/>
                </a:lnTo>
                <a:lnTo>
                  <a:pt x="21" y="168"/>
                </a:lnTo>
                <a:lnTo>
                  <a:pt x="19" y="168"/>
                </a:lnTo>
                <a:lnTo>
                  <a:pt x="19" y="165"/>
                </a:lnTo>
                <a:lnTo>
                  <a:pt x="16" y="165"/>
                </a:lnTo>
                <a:lnTo>
                  <a:pt x="14" y="165"/>
                </a:lnTo>
                <a:lnTo>
                  <a:pt x="12" y="168"/>
                </a:lnTo>
                <a:lnTo>
                  <a:pt x="9" y="168"/>
                </a:lnTo>
                <a:lnTo>
                  <a:pt x="7" y="170"/>
                </a:lnTo>
                <a:lnTo>
                  <a:pt x="5" y="172"/>
                </a:lnTo>
                <a:lnTo>
                  <a:pt x="2" y="175"/>
                </a:lnTo>
                <a:lnTo>
                  <a:pt x="0" y="175"/>
                </a:lnTo>
                <a:lnTo>
                  <a:pt x="2" y="172"/>
                </a:lnTo>
                <a:lnTo>
                  <a:pt x="5" y="170"/>
                </a:lnTo>
                <a:lnTo>
                  <a:pt x="7" y="165"/>
                </a:lnTo>
                <a:lnTo>
                  <a:pt x="9" y="163"/>
                </a:lnTo>
                <a:lnTo>
                  <a:pt x="12" y="163"/>
                </a:lnTo>
                <a:lnTo>
                  <a:pt x="12" y="161"/>
                </a:lnTo>
                <a:lnTo>
                  <a:pt x="14" y="158"/>
                </a:lnTo>
                <a:lnTo>
                  <a:pt x="16" y="158"/>
                </a:lnTo>
                <a:lnTo>
                  <a:pt x="21" y="156"/>
                </a:lnTo>
                <a:lnTo>
                  <a:pt x="21" y="154"/>
                </a:lnTo>
                <a:lnTo>
                  <a:pt x="23" y="154"/>
                </a:lnTo>
                <a:lnTo>
                  <a:pt x="28" y="151"/>
                </a:lnTo>
                <a:lnTo>
                  <a:pt x="30" y="149"/>
                </a:lnTo>
                <a:lnTo>
                  <a:pt x="35" y="149"/>
                </a:lnTo>
                <a:lnTo>
                  <a:pt x="35" y="147"/>
                </a:lnTo>
                <a:lnTo>
                  <a:pt x="37" y="147"/>
                </a:lnTo>
                <a:lnTo>
                  <a:pt x="39" y="147"/>
                </a:lnTo>
                <a:lnTo>
                  <a:pt x="42" y="144"/>
                </a:lnTo>
                <a:lnTo>
                  <a:pt x="44" y="144"/>
                </a:lnTo>
                <a:lnTo>
                  <a:pt x="44" y="142"/>
                </a:lnTo>
                <a:lnTo>
                  <a:pt x="49" y="137"/>
                </a:lnTo>
                <a:lnTo>
                  <a:pt x="49" y="135"/>
                </a:lnTo>
                <a:lnTo>
                  <a:pt x="51" y="135"/>
                </a:lnTo>
                <a:lnTo>
                  <a:pt x="51" y="133"/>
                </a:lnTo>
                <a:lnTo>
                  <a:pt x="53" y="131"/>
                </a:lnTo>
                <a:lnTo>
                  <a:pt x="53" y="128"/>
                </a:lnTo>
                <a:lnTo>
                  <a:pt x="56" y="126"/>
                </a:lnTo>
                <a:lnTo>
                  <a:pt x="58" y="126"/>
                </a:lnTo>
                <a:lnTo>
                  <a:pt x="58" y="124"/>
                </a:lnTo>
                <a:lnTo>
                  <a:pt x="60" y="124"/>
                </a:lnTo>
                <a:lnTo>
                  <a:pt x="60" y="121"/>
                </a:lnTo>
                <a:lnTo>
                  <a:pt x="60" y="119"/>
                </a:lnTo>
                <a:lnTo>
                  <a:pt x="63" y="117"/>
                </a:lnTo>
                <a:lnTo>
                  <a:pt x="65" y="117"/>
                </a:lnTo>
                <a:lnTo>
                  <a:pt x="65" y="114"/>
                </a:lnTo>
                <a:lnTo>
                  <a:pt x="67" y="114"/>
                </a:lnTo>
                <a:lnTo>
                  <a:pt x="70" y="114"/>
                </a:lnTo>
                <a:lnTo>
                  <a:pt x="70" y="112"/>
                </a:lnTo>
                <a:lnTo>
                  <a:pt x="70" y="110"/>
                </a:lnTo>
                <a:lnTo>
                  <a:pt x="67" y="105"/>
                </a:lnTo>
                <a:lnTo>
                  <a:pt x="67" y="103"/>
                </a:lnTo>
                <a:lnTo>
                  <a:pt x="67" y="100"/>
                </a:lnTo>
                <a:lnTo>
                  <a:pt x="70" y="100"/>
                </a:lnTo>
                <a:lnTo>
                  <a:pt x="72" y="100"/>
                </a:lnTo>
                <a:lnTo>
                  <a:pt x="74" y="100"/>
                </a:lnTo>
                <a:lnTo>
                  <a:pt x="77" y="98"/>
                </a:lnTo>
                <a:lnTo>
                  <a:pt x="77" y="96"/>
                </a:lnTo>
                <a:lnTo>
                  <a:pt x="81" y="93"/>
                </a:lnTo>
                <a:lnTo>
                  <a:pt x="81" y="91"/>
                </a:lnTo>
                <a:lnTo>
                  <a:pt x="81" y="86"/>
                </a:lnTo>
                <a:lnTo>
                  <a:pt x="81" y="82"/>
                </a:lnTo>
                <a:lnTo>
                  <a:pt x="81" y="79"/>
                </a:lnTo>
                <a:lnTo>
                  <a:pt x="84" y="79"/>
                </a:lnTo>
                <a:lnTo>
                  <a:pt x="86" y="77"/>
                </a:lnTo>
                <a:lnTo>
                  <a:pt x="88" y="75"/>
                </a:lnTo>
                <a:lnTo>
                  <a:pt x="91" y="72"/>
                </a:lnTo>
                <a:lnTo>
                  <a:pt x="91" y="70"/>
                </a:lnTo>
                <a:lnTo>
                  <a:pt x="95" y="65"/>
                </a:lnTo>
                <a:lnTo>
                  <a:pt x="98" y="65"/>
                </a:lnTo>
                <a:lnTo>
                  <a:pt x="98" y="58"/>
                </a:lnTo>
                <a:lnTo>
                  <a:pt x="98" y="54"/>
                </a:lnTo>
                <a:lnTo>
                  <a:pt x="100" y="51"/>
                </a:lnTo>
                <a:lnTo>
                  <a:pt x="100" y="49"/>
                </a:lnTo>
                <a:lnTo>
                  <a:pt x="100" y="47"/>
                </a:lnTo>
                <a:lnTo>
                  <a:pt x="102" y="47"/>
                </a:lnTo>
                <a:lnTo>
                  <a:pt x="105" y="47"/>
                </a:lnTo>
                <a:lnTo>
                  <a:pt x="109" y="42"/>
                </a:lnTo>
                <a:lnTo>
                  <a:pt x="109" y="40"/>
                </a:lnTo>
                <a:lnTo>
                  <a:pt x="112" y="37"/>
                </a:lnTo>
                <a:lnTo>
                  <a:pt x="114" y="37"/>
                </a:lnTo>
                <a:lnTo>
                  <a:pt x="116" y="33"/>
                </a:lnTo>
                <a:lnTo>
                  <a:pt x="121" y="30"/>
                </a:lnTo>
                <a:lnTo>
                  <a:pt x="128" y="30"/>
                </a:lnTo>
                <a:lnTo>
                  <a:pt x="130" y="28"/>
                </a:lnTo>
                <a:lnTo>
                  <a:pt x="133" y="26"/>
                </a:lnTo>
                <a:lnTo>
                  <a:pt x="135" y="23"/>
                </a:lnTo>
                <a:lnTo>
                  <a:pt x="137" y="19"/>
                </a:lnTo>
                <a:lnTo>
                  <a:pt x="140" y="14"/>
                </a:lnTo>
                <a:lnTo>
                  <a:pt x="144" y="12"/>
                </a:lnTo>
                <a:lnTo>
                  <a:pt x="156" y="9"/>
                </a:lnTo>
                <a:lnTo>
                  <a:pt x="158" y="7"/>
                </a:lnTo>
                <a:lnTo>
                  <a:pt x="163" y="2"/>
                </a:lnTo>
                <a:lnTo>
                  <a:pt x="165" y="0"/>
                </a:lnTo>
                <a:lnTo>
                  <a:pt x="167" y="0"/>
                </a:lnTo>
                <a:lnTo>
                  <a:pt x="170" y="0"/>
                </a:lnTo>
                <a:lnTo>
                  <a:pt x="172" y="0"/>
                </a:lnTo>
                <a:lnTo>
                  <a:pt x="174" y="2"/>
                </a:lnTo>
                <a:lnTo>
                  <a:pt x="177" y="5"/>
                </a:lnTo>
                <a:lnTo>
                  <a:pt x="195" y="9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28" name="Freeform 7">
            <a:extLst>
              <a:ext uri="{FF2B5EF4-FFF2-40B4-BE49-F238E27FC236}">
                <a16:creationId xmlns:a16="http://schemas.microsoft.com/office/drawing/2014/main" id="{1D8D6E20-F516-6544-B64B-4A8C82299FA0}"/>
              </a:ext>
            </a:extLst>
          </p:cNvPr>
          <p:cNvSpPr>
            <a:spLocks noEditPoints="1"/>
          </p:cNvSpPr>
          <p:nvPr/>
        </p:nvSpPr>
        <p:spPr bwMode="auto">
          <a:xfrm>
            <a:off x="3999171" y="3735548"/>
            <a:ext cx="506648" cy="183321"/>
          </a:xfrm>
          <a:custGeom>
            <a:avLst/>
            <a:gdLst>
              <a:gd name="T0" fmla="*/ 428 w 430"/>
              <a:gd name="T1" fmla="*/ 84 h 163"/>
              <a:gd name="T2" fmla="*/ 291 w 430"/>
              <a:gd name="T3" fmla="*/ 42 h 163"/>
              <a:gd name="T4" fmla="*/ 274 w 430"/>
              <a:gd name="T5" fmla="*/ 51 h 163"/>
              <a:gd name="T6" fmla="*/ 265 w 430"/>
              <a:gd name="T7" fmla="*/ 68 h 163"/>
              <a:gd name="T8" fmla="*/ 277 w 430"/>
              <a:gd name="T9" fmla="*/ 72 h 163"/>
              <a:gd name="T10" fmla="*/ 279 w 430"/>
              <a:gd name="T11" fmla="*/ 89 h 163"/>
              <a:gd name="T12" fmla="*/ 302 w 430"/>
              <a:gd name="T13" fmla="*/ 89 h 163"/>
              <a:gd name="T14" fmla="*/ 309 w 430"/>
              <a:gd name="T15" fmla="*/ 77 h 163"/>
              <a:gd name="T16" fmla="*/ 323 w 430"/>
              <a:gd name="T17" fmla="*/ 75 h 163"/>
              <a:gd name="T18" fmla="*/ 337 w 430"/>
              <a:gd name="T19" fmla="*/ 70 h 163"/>
              <a:gd name="T20" fmla="*/ 354 w 430"/>
              <a:gd name="T21" fmla="*/ 75 h 163"/>
              <a:gd name="T22" fmla="*/ 361 w 430"/>
              <a:gd name="T23" fmla="*/ 70 h 163"/>
              <a:gd name="T24" fmla="*/ 386 w 430"/>
              <a:gd name="T25" fmla="*/ 61 h 163"/>
              <a:gd name="T26" fmla="*/ 400 w 430"/>
              <a:gd name="T27" fmla="*/ 54 h 163"/>
              <a:gd name="T28" fmla="*/ 421 w 430"/>
              <a:gd name="T29" fmla="*/ 65 h 163"/>
              <a:gd name="T30" fmla="*/ 428 w 430"/>
              <a:gd name="T31" fmla="*/ 77 h 163"/>
              <a:gd name="T32" fmla="*/ 423 w 430"/>
              <a:gd name="T33" fmla="*/ 82 h 163"/>
              <a:gd name="T34" fmla="*/ 426 w 430"/>
              <a:gd name="T35" fmla="*/ 89 h 163"/>
              <a:gd name="T36" fmla="*/ 419 w 430"/>
              <a:gd name="T37" fmla="*/ 100 h 163"/>
              <a:gd name="T38" fmla="*/ 414 w 430"/>
              <a:gd name="T39" fmla="*/ 114 h 163"/>
              <a:gd name="T40" fmla="*/ 398 w 430"/>
              <a:gd name="T41" fmla="*/ 144 h 163"/>
              <a:gd name="T42" fmla="*/ 375 w 430"/>
              <a:gd name="T43" fmla="*/ 147 h 163"/>
              <a:gd name="T44" fmla="*/ 354 w 430"/>
              <a:gd name="T45" fmla="*/ 142 h 163"/>
              <a:gd name="T46" fmla="*/ 333 w 430"/>
              <a:gd name="T47" fmla="*/ 147 h 163"/>
              <a:gd name="T48" fmla="*/ 305 w 430"/>
              <a:gd name="T49" fmla="*/ 158 h 163"/>
              <a:gd name="T50" fmla="*/ 279 w 430"/>
              <a:gd name="T51" fmla="*/ 158 h 163"/>
              <a:gd name="T52" fmla="*/ 249 w 430"/>
              <a:gd name="T53" fmla="*/ 138 h 163"/>
              <a:gd name="T54" fmla="*/ 235 w 430"/>
              <a:gd name="T55" fmla="*/ 131 h 163"/>
              <a:gd name="T56" fmla="*/ 223 w 430"/>
              <a:gd name="T57" fmla="*/ 128 h 163"/>
              <a:gd name="T58" fmla="*/ 205 w 430"/>
              <a:gd name="T59" fmla="*/ 140 h 163"/>
              <a:gd name="T60" fmla="*/ 191 w 430"/>
              <a:gd name="T61" fmla="*/ 133 h 163"/>
              <a:gd name="T62" fmla="*/ 186 w 430"/>
              <a:gd name="T63" fmla="*/ 126 h 163"/>
              <a:gd name="T64" fmla="*/ 177 w 430"/>
              <a:gd name="T65" fmla="*/ 112 h 163"/>
              <a:gd name="T66" fmla="*/ 167 w 430"/>
              <a:gd name="T67" fmla="*/ 110 h 163"/>
              <a:gd name="T68" fmla="*/ 151 w 430"/>
              <a:gd name="T69" fmla="*/ 103 h 163"/>
              <a:gd name="T70" fmla="*/ 135 w 430"/>
              <a:gd name="T71" fmla="*/ 93 h 163"/>
              <a:gd name="T72" fmla="*/ 107 w 430"/>
              <a:gd name="T73" fmla="*/ 91 h 163"/>
              <a:gd name="T74" fmla="*/ 91 w 430"/>
              <a:gd name="T75" fmla="*/ 100 h 163"/>
              <a:gd name="T76" fmla="*/ 77 w 430"/>
              <a:gd name="T77" fmla="*/ 114 h 163"/>
              <a:gd name="T78" fmla="*/ 60 w 430"/>
              <a:gd name="T79" fmla="*/ 131 h 163"/>
              <a:gd name="T80" fmla="*/ 39 w 430"/>
              <a:gd name="T81" fmla="*/ 135 h 163"/>
              <a:gd name="T82" fmla="*/ 37 w 430"/>
              <a:gd name="T83" fmla="*/ 124 h 163"/>
              <a:gd name="T84" fmla="*/ 28 w 430"/>
              <a:gd name="T85" fmla="*/ 107 h 163"/>
              <a:gd name="T86" fmla="*/ 23 w 430"/>
              <a:gd name="T87" fmla="*/ 91 h 163"/>
              <a:gd name="T88" fmla="*/ 11 w 430"/>
              <a:gd name="T89" fmla="*/ 79 h 163"/>
              <a:gd name="T90" fmla="*/ 11 w 430"/>
              <a:gd name="T91" fmla="*/ 75 h 163"/>
              <a:gd name="T92" fmla="*/ 23 w 430"/>
              <a:gd name="T93" fmla="*/ 65 h 163"/>
              <a:gd name="T94" fmla="*/ 35 w 430"/>
              <a:gd name="T95" fmla="*/ 61 h 163"/>
              <a:gd name="T96" fmla="*/ 51 w 430"/>
              <a:gd name="T97" fmla="*/ 49 h 163"/>
              <a:gd name="T98" fmla="*/ 58 w 430"/>
              <a:gd name="T99" fmla="*/ 28 h 163"/>
              <a:gd name="T100" fmla="*/ 53 w 430"/>
              <a:gd name="T101" fmla="*/ 5 h 163"/>
              <a:gd name="T102" fmla="*/ 95 w 430"/>
              <a:gd name="T103" fmla="*/ 7 h 163"/>
              <a:gd name="T104" fmla="*/ 128 w 430"/>
              <a:gd name="T105" fmla="*/ 14 h 163"/>
              <a:gd name="T106" fmla="*/ 142 w 430"/>
              <a:gd name="T107" fmla="*/ 26 h 163"/>
              <a:gd name="T108" fmla="*/ 153 w 430"/>
              <a:gd name="T109" fmla="*/ 44 h 163"/>
              <a:gd name="T110" fmla="*/ 167 w 430"/>
              <a:gd name="T111" fmla="*/ 37 h 163"/>
              <a:gd name="T112" fmla="*/ 184 w 430"/>
              <a:gd name="T113" fmla="*/ 35 h 163"/>
              <a:gd name="T114" fmla="*/ 195 w 430"/>
              <a:gd name="T115" fmla="*/ 44 h 163"/>
              <a:gd name="T116" fmla="*/ 205 w 430"/>
              <a:gd name="T117" fmla="*/ 49 h 163"/>
              <a:gd name="T118" fmla="*/ 214 w 430"/>
              <a:gd name="T119" fmla="*/ 47 h 163"/>
              <a:gd name="T120" fmla="*/ 223 w 430"/>
              <a:gd name="T121" fmla="*/ 49 h 163"/>
              <a:gd name="T122" fmla="*/ 251 w 430"/>
              <a:gd name="T123" fmla="*/ 37 h 163"/>
              <a:gd name="T124" fmla="*/ 270 w 430"/>
              <a:gd name="T125" fmla="*/ 28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163">
                <a:moveTo>
                  <a:pt x="426" y="86"/>
                </a:moveTo>
                <a:lnTo>
                  <a:pt x="423" y="86"/>
                </a:lnTo>
                <a:lnTo>
                  <a:pt x="423" y="84"/>
                </a:lnTo>
                <a:lnTo>
                  <a:pt x="423" y="82"/>
                </a:lnTo>
                <a:lnTo>
                  <a:pt x="426" y="82"/>
                </a:lnTo>
                <a:lnTo>
                  <a:pt x="426" y="79"/>
                </a:lnTo>
                <a:lnTo>
                  <a:pt x="428" y="79"/>
                </a:lnTo>
                <a:lnTo>
                  <a:pt x="428" y="82"/>
                </a:lnTo>
                <a:lnTo>
                  <a:pt x="428" y="84"/>
                </a:lnTo>
                <a:lnTo>
                  <a:pt x="426" y="84"/>
                </a:lnTo>
                <a:lnTo>
                  <a:pt x="426" y="86"/>
                </a:lnTo>
                <a:close/>
                <a:moveTo>
                  <a:pt x="286" y="33"/>
                </a:moveTo>
                <a:lnTo>
                  <a:pt x="286" y="35"/>
                </a:lnTo>
                <a:lnTo>
                  <a:pt x="288" y="35"/>
                </a:lnTo>
                <a:lnTo>
                  <a:pt x="291" y="35"/>
                </a:lnTo>
                <a:lnTo>
                  <a:pt x="291" y="37"/>
                </a:lnTo>
                <a:lnTo>
                  <a:pt x="291" y="40"/>
                </a:lnTo>
                <a:lnTo>
                  <a:pt x="291" y="42"/>
                </a:lnTo>
                <a:lnTo>
                  <a:pt x="286" y="44"/>
                </a:lnTo>
                <a:lnTo>
                  <a:pt x="284" y="44"/>
                </a:lnTo>
                <a:lnTo>
                  <a:pt x="281" y="44"/>
                </a:lnTo>
                <a:lnTo>
                  <a:pt x="279" y="44"/>
                </a:lnTo>
                <a:lnTo>
                  <a:pt x="277" y="44"/>
                </a:lnTo>
                <a:lnTo>
                  <a:pt x="277" y="47"/>
                </a:lnTo>
                <a:lnTo>
                  <a:pt x="277" y="49"/>
                </a:lnTo>
                <a:lnTo>
                  <a:pt x="274" y="49"/>
                </a:lnTo>
                <a:lnTo>
                  <a:pt x="274" y="51"/>
                </a:lnTo>
                <a:lnTo>
                  <a:pt x="277" y="54"/>
                </a:lnTo>
                <a:lnTo>
                  <a:pt x="277" y="56"/>
                </a:lnTo>
                <a:lnTo>
                  <a:pt x="277" y="58"/>
                </a:lnTo>
                <a:lnTo>
                  <a:pt x="274" y="61"/>
                </a:lnTo>
                <a:lnTo>
                  <a:pt x="272" y="61"/>
                </a:lnTo>
                <a:lnTo>
                  <a:pt x="272" y="63"/>
                </a:lnTo>
                <a:lnTo>
                  <a:pt x="267" y="65"/>
                </a:lnTo>
                <a:lnTo>
                  <a:pt x="267" y="68"/>
                </a:lnTo>
                <a:lnTo>
                  <a:pt x="265" y="68"/>
                </a:lnTo>
                <a:lnTo>
                  <a:pt x="263" y="70"/>
                </a:lnTo>
                <a:lnTo>
                  <a:pt x="263" y="72"/>
                </a:lnTo>
                <a:lnTo>
                  <a:pt x="265" y="72"/>
                </a:lnTo>
                <a:lnTo>
                  <a:pt x="265" y="70"/>
                </a:lnTo>
                <a:lnTo>
                  <a:pt x="267" y="70"/>
                </a:lnTo>
                <a:lnTo>
                  <a:pt x="270" y="70"/>
                </a:lnTo>
                <a:lnTo>
                  <a:pt x="272" y="70"/>
                </a:lnTo>
                <a:lnTo>
                  <a:pt x="274" y="70"/>
                </a:lnTo>
                <a:lnTo>
                  <a:pt x="277" y="72"/>
                </a:lnTo>
                <a:lnTo>
                  <a:pt x="277" y="75"/>
                </a:lnTo>
                <a:lnTo>
                  <a:pt x="274" y="75"/>
                </a:lnTo>
                <a:lnTo>
                  <a:pt x="274" y="77"/>
                </a:lnTo>
                <a:lnTo>
                  <a:pt x="274" y="79"/>
                </a:lnTo>
                <a:lnTo>
                  <a:pt x="274" y="82"/>
                </a:lnTo>
                <a:lnTo>
                  <a:pt x="274" y="84"/>
                </a:lnTo>
                <a:lnTo>
                  <a:pt x="277" y="84"/>
                </a:lnTo>
                <a:lnTo>
                  <a:pt x="277" y="86"/>
                </a:lnTo>
                <a:lnTo>
                  <a:pt x="279" y="89"/>
                </a:lnTo>
                <a:lnTo>
                  <a:pt x="281" y="89"/>
                </a:lnTo>
                <a:lnTo>
                  <a:pt x="281" y="91"/>
                </a:lnTo>
                <a:lnTo>
                  <a:pt x="284" y="93"/>
                </a:lnTo>
                <a:lnTo>
                  <a:pt x="286" y="93"/>
                </a:lnTo>
                <a:lnTo>
                  <a:pt x="291" y="91"/>
                </a:lnTo>
                <a:lnTo>
                  <a:pt x="293" y="91"/>
                </a:lnTo>
                <a:lnTo>
                  <a:pt x="298" y="91"/>
                </a:lnTo>
                <a:lnTo>
                  <a:pt x="300" y="89"/>
                </a:lnTo>
                <a:lnTo>
                  <a:pt x="302" y="89"/>
                </a:lnTo>
                <a:lnTo>
                  <a:pt x="302" y="86"/>
                </a:lnTo>
                <a:lnTo>
                  <a:pt x="305" y="86"/>
                </a:lnTo>
                <a:lnTo>
                  <a:pt x="307" y="86"/>
                </a:lnTo>
                <a:lnTo>
                  <a:pt x="307" y="84"/>
                </a:lnTo>
                <a:lnTo>
                  <a:pt x="309" y="84"/>
                </a:lnTo>
                <a:lnTo>
                  <a:pt x="309" y="82"/>
                </a:lnTo>
                <a:lnTo>
                  <a:pt x="307" y="82"/>
                </a:lnTo>
                <a:lnTo>
                  <a:pt x="307" y="79"/>
                </a:lnTo>
                <a:lnTo>
                  <a:pt x="309" y="77"/>
                </a:lnTo>
                <a:lnTo>
                  <a:pt x="312" y="77"/>
                </a:lnTo>
                <a:lnTo>
                  <a:pt x="314" y="77"/>
                </a:lnTo>
                <a:lnTo>
                  <a:pt x="314" y="75"/>
                </a:lnTo>
                <a:lnTo>
                  <a:pt x="312" y="75"/>
                </a:lnTo>
                <a:lnTo>
                  <a:pt x="314" y="75"/>
                </a:lnTo>
                <a:lnTo>
                  <a:pt x="316" y="75"/>
                </a:lnTo>
                <a:lnTo>
                  <a:pt x="319" y="75"/>
                </a:lnTo>
                <a:lnTo>
                  <a:pt x="321" y="75"/>
                </a:lnTo>
                <a:lnTo>
                  <a:pt x="323" y="75"/>
                </a:lnTo>
                <a:lnTo>
                  <a:pt x="323" y="72"/>
                </a:lnTo>
                <a:lnTo>
                  <a:pt x="326" y="72"/>
                </a:lnTo>
                <a:lnTo>
                  <a:pt x="323" y="72"/>
                </a:lnTo>
                <a:lnTo>
                  <a:pt x="323" y="70"/>
                </a:lnTo>
                <a:lnTo>
                  <a:pt x="326" y="70"/>
                </a:lnTo>
                <a:lnTo>
                  <a:pt x="330" y="70"/>
                </a:lnTo>
                <a:lnTo>
                  <a:pt x="333" y="70"/>
                </a:lnTo>
                <a:lnTo>
                  <a:pt x="335" y="70"/>
                </a:lnTo>
                <a:lnTo>
                  <a:pt x="337" y="70"/>
                </a:lnTo>
                <a:lnTo>
                  <a:pt x="337" y="72"/>
                </a:lnTo>
                <a:lnTo>
                  <a:pt x="340" y="72"/>
                </a:lnTo>
                <a:lnTo>
                  <a:pt x="342" y="72"/>
                </a:lnTo>
                <a:lnTo>
                  <a:pt x="344" y="70"/>
                </a:lnTo>
                <a:lnTo>
                  <a:pt x="347" y="70"/>
                </a:lnTo>
                <a:lnTo>
                  <a:pt x="347" y="72"/>
                </a:lnTo>
                <a:lnTo>
                  <a:pt x="347" y="75"/>
                </a:lnTo>
                <a:lnTo>
                  <a:pt x="351" y="75"/>
                </a:lnTo>
                <a:lnTo>
                  <a:pt x="354" y="75"/>
                </a:lnTo>
                <a:lnTo>
                  <a:pt x="356" y="75"/>
                </a:lnTo>
                <a:lnTo>
                  <a:pt x="356" y="77"/>
                </a:lnTo>
                <a:lnTo>
                  <a:pt x="356" y="75"/>
                </a:lnTo>
                <a:lnTo>
                  <a:pt x="358" y="75"/>
                </a:lnTo>
                <a:lnTo>
                  <a:pt x="361" y="75"/>
                </a:lnTo>
                <a:lnTo>
                  <a:pt x="361" y="72"/>
                </a:lnTo>
                <a:lnTo>
                  <a:pt x="358" y="72"/>
                </a:lnTo>
                <a:lnTo>
                  <a:pt x="358" y="70"/>
                </a:lnTo>
                <a:lnTo>
                  <a:pt x="361" y="70"/>
                </a:lnTo>
                <a:lnTo>
                  <a:pt x="361" y="72"/>
                </a:lnTo>
                <a:lnTo>
                  <a:pt x="363" y="70"/>
                </a:lnTo>
                <a:lnTo>
                  <a:pt x="365" y="70"/>
                </a:lnTo>
                <a:lnTo>
                  <a:pt x="372" y="70"/>
                </a:lnTo>
                <a:lnTo>
                  <a:pt x="375" y="70"/>
                </a:lnTo>
                <a:lnTo>
                  <a:pt x="377" y="70"/>
                </a:lnTo>
                <a:lnTo>
                  <a:pt x="377" y="68"/>
                </a:lnTo>
                <a:lnTo>
                  <a:pt x="381" y="68"/>
                </a:lnTo>
                <a:lnTo>
                  <a:pt x="386" y="61"/>
                </a:lnTo>
                <a:lnTo>
                  <a:pt x="386" y="58"/>
                </a:lnTo>
                <a:lnTo>
                  <a:pt x="386" y="56"/>
                </a:lnTo>
                <a:lnTo>
                  <a:pt x="388" y="56"/>
                </a:lnTo>
                <a:lnTo>
                  <a:pt x="393" y="56"/>
                </a:lnTo>
                <a:lnTo>
                  <a:pt x="393" y="58"/>
                </a:lnTo>
                <a:lnTo>
                  <a:pt x="395" y="58"/>
                </a:lnTo>
                <a:lnTo>
                  <a:pt x="395" y="56"/>
                </a:lnTo>
                <a:lnTo>
                  <a:pt x="398" y="56"/>
                </a:lnTo>
                <a:lnTo>
                  <a:pt x="400" y="54"/>
                </a:lnTo>
                <a:lnTo>
                  <a:pt x="402" y="54"/>
                </a:lnTo>
                <a:lnTo>
                  <a:pt x="405" y="54"/>
                </a:lnTo>
                <a:lnTo>
                  <a:pt x="409" y="56"/>
                </a:lnTo>
                <a:lnTo>
                  <a:pt x="412" y="56"/>
                </a:lnTo>
                <a:lnTo>
                  <a:pt x="414" y="56"/>
                </a:lnTo>
                <a:lnTo>
                  <a:pt x="416" y="58"/>
                </a:lnTo>
                <a:lnTo>
                  <a:pt x="419" y="63"/>
                </a:lnTo>
                <a:lnTo>
                  <a:pt x="419" y="65"/>
                </a:lnTo>
                <a:lnTo>
                  <a:pt x="421" y="65"/>
                </a:lnTo>
                <a:lnTo>
                  <a:pt x="423" y="68"/>
                </a:lnTo>
                <a:lnTo>
                  <a:pt x="426" y="68"/>
                </a:lnTo>
                <a:lnTo>
                  <a:pt x="423" y="68"/>
                </a:lnTo>
                <a:lnTo>
                  <a:pt x="423" y="70"/>
                </a:lnTo>
                <a:lnTo>
                  <a:pt x="428" y="70"/>
                </a:lnTo>
                <a:lnTo>
                  <a:pt x="428" y="72"/>
                </a:lnTo>
                <a:lnTo>
                  <a:pt x="430" y="72"/>
                </a:lnTo>
                <a:lnTo>
                  <a:pt x="430" y="75"/>
                </a:lnTo>
                <a:lnTo>
                  <a:pt x="428" y="77"/>
                </a:lnTo>
                <a:lnTo>
                  <a:pt x="428" y="75"/>
                </a:lnTo>
                <a:lnTo>
                  <a:pt x="428" y="77"/>
                </a:lnTo>
                <a:lnTo>
                  <a:pt x="426" y="75"/>
                </a:lnTo>
                <a:lnTo>
                  <a:pt x="426" y="72"/>
                </a:lnTo>
                <a:lnTo>
                  <a:pt x="426" y="75"/>
                </a:lnTo>
                <a:lnTo>
                  <a:pt x="426" y="77"/>
                </a:lnTo>
                <a:lnTo>
                  <a:pt x="426" y="79"/>
                </a:lnTo>
                <a:lnTo>
                  <a:pt x="423" y="79"/>
                </a:lnTo>
                <a:lnTo>
                  <a:pt x="423" y="82"/>
                </a:lnTo>
                <a:lnTo>
                  <a:pt x="423" y="79"/>
                </a:lnTo>
                <a:lnTo>
                  <a:pt x="426" y="79"/>
                </a:lnTo>
                <a:lnTo>
                  <a:pt x="426" y="82"/>
                </a:lnTo>
                <a:lnTo>
                  <a:pt x="423" y="82"/>
                </a:lnTo>
                <a:lnTo>
                  <a:pt x="423" y="86"/>
                </a:lnTo>
                <a:lnTo>
                  <a:pt x="426" y="86"/>
                </a:lnTo>
                <a:lnTo>
                  <a:pt x="426" y="89"/>
                </a:lnTo>
                <a:lnTo>
                  <a:pt x="423" y="91"/>
                </a:lnTo>
                <a:lnTo>
                  <a:pt x="426" y="89"/>
                </a:lnTo>
                <a:lnTo>
                  <a:pt x="426" y="91"/>
                </a:lnTo>
                <a:lnTo>
                  <a:pt x="426" y="93"/>
                </a:lnTo>
                <a:lnTo>
                  <a:pt x="426" y="96"/>
                </a:lnTo>
                <a:lnTo>
                  <a:pt x="423" y="100"/>
                </a:lnTo>
                <a:lnTo>
                  <a:pt x="423" y="103"/>
                </a:lnTo>
                <a:lnTo>
                  <a:pt x="421" y="103"/>
                </a:lnTo>
                <a:lnTo>
                  <a:pt x="419" y="100"/>
                </a:lnTo>
                <a:lnTo>
                  <a:pt x="416" y="100"/>
                </a:lnTo>
                <a:lnTo>
                  <a:pt x="419" y="100"/>
                </a:lnTo>
                <a:lnTo>
                  <a:pt x="419" y="103"/>
                </a:lnTo>
                <a:lnTo>
                  <a:pt x="419" y="105"/>
                </a:lnTo>
                <a:lnTo>
                  <a:pt x="419" y="103"/>
                </a:lnTo>
                <a:lnTo>
                  <a:pt x="419" y="105"/>
                </a:lnTo>
                <a:lnTo>
                  <a:pt x="419" y="107"/>
                </a:lnTo>
                <a:lnTo>
                  <a:pt x="416" y="110"/>
                </a:lnTo>
                <a:lnTo>
                  <a:pt x="416" y="112"/>
                </a:lnTo>
                <a:lnTo>
                  <a:pt x="414" y="112"/>
                </a:lnTo>
                <a:lnTo>
                  <a:pt x="414" y="114"/>
                </a:lnTo>
                <a:lnTo>
                  <a:pt x="414" y="117"/>
                </a:lnTo>
                <a:lnTo>
                  <a:pt x="414" y="119"/>
                </a:lnTo>
                <a:lnTo>
                  <a:pt x="412" y="119"/>
                </a:lnTo>
                <a:lnTo>
                  <a:pt x="412" y="121"/>
                </a:lnTo>
                <a:lnTo>
                  <a:pt x="405" y="133"/>
                </a:lnTo>
                <a:lnTo>
                  <a:pt x="400" y="138"/>
                </a:lnTo>
                <a:lnTo>
                  <a:pt x="400" y="140"/>
                </a:lnTo>
                <a:lnTo>
                  <a:pt x="400" y="142"/>
                </a:lnTo>
                <a:lnTo>
                  <a:pt x="398" y="144"/>
                </a:lnTo>
                <a:lnTo>
                  <a:pt x="395" y="147"/>
                </a:lnTo>
                <a:lnTo>
                  <a:pt x="395" y="151"/>
                </a:lnTo>
                <a:lnTo>
                  <a:pt x="393" y="154"/>
                </a:lnTo>
                <a:lnTo>
                  <a:pt x="393" y="151"/>
                </a:lnTo>
                <a:lnTo>
                  <a:pt x="391" y="151"/>
                </a:lnTo>
                <a:lnTo>
                  <a:pt x="384" y="149"/>
                </a:lnTo>
                <a:lnTo>
                  <a:pt x="379" y="149"/>
                </a:lnTo>
                <a:lnTo>
                  <a:pt x="377" y="147"/>
                </a:lnTo>
                <a:lnTo>
                  <a:pt x="375" y="147"/>
                </a:lnTo>
                <a:lnTo>
                  <a:pt x="375" y="144"/>
                </a:lnTo>
                <a:lnTo>
                  <a:pt x="372" y="144"/>
                </a:lnTo>
                <a:lnTo>
                  <a:pt x="365" y="144"/>
                </a:lnTo>
                <a:lnTo>
                  <a:pt x="363" y="144"/>
                </a:lnTo>
                <a:lnTo>
                  <a:pt x="358" y="147"/>
                </a:lnTo>
                <a:lnTo>
                  <a:pt x="356" y="147"/>
                </a:lnTo>
                <a:lnTo>
                  <a:pt x="354" y="147"/>
                </a:lnTo>
                <a:lnTo>
                  <a:pt x="354" y="144"/>
                </a:lnTo>
                <a:lnTo>
                  <a:pt x="354" y="142"/>
                </a:lnTo>
                <a:lnTo>
                  <a:pt x="351" y="142"/>
                </a:lnTo>
                <a:lnTo>
                  <a:pt x="347" y="142"/>
                </a:lnTo>
                <a:lnTo>
                  <a:pt x="344" y="142"/>
                </a:lnTo>
                <a:lnTo>
                  <a:pt x="342" y="144"/>
                </a:lnTo>
                <a:lnTo>
                  <a:pt x="340" y="144"/>
                </a:lnTo>
                <a:lnTo>
                  <a:pt x="340" y="142"/>
                </a:lnTo>
                <a:lnTo>
                  <a:pt x="335" y="144"/>
                </a:lnTo>
                <a:lnTo>
                  <a:pt x="333" y="144"/>
                </a:lnTo>
                <a:lnTo>
                  <a:pt x="333" y="147"/>
                </a:lnTo>
                <a:lnTo>
                  <a:pt x="330" y="147"/>
                </a:lnTo>
                <a:lnTo>
                  <a:pt x="330" y="149"/>
                </a:lnTo>
                <a:lnTo>
                  <a:pt x="323" y="151"/>
                </a:lnTo>
                <a:lnTo>
                  <a:pt x="321" y="154"/>
                </a:lnTo>
                <a:lnTo>
                  <a:pt x="321" y="156"/>
                </a:lnTo>
                <a:lnTo>
                  <a:pt x="314" y="158"/>
                </a:lnTo>
                <a:lnTo>
                  <a:pt x="309" y="158"/>
                </a:lnTo>
                <a:lnTo>
                  <a:pt x="307" y="158"/>
                </a:lnTo>
                <a:lnTo>
                  <a:pt x="305" y="158"/>
                </a:lnTo>
                <a:lnTo>
                  <a:pt x="302" y="161"/>
                </a:lnTo>
                <a:lnTo>
                  <a:pt x="300" y="161"/>
                </a:lnTo>
                <a:lnTo>
                  <a:pt x="298" y="161"/>
                </a:lnTo>
                <a:lnTo>
                  <a:pt x="295" y="161"/>
                </a:lnTo>
                <a:lnTo>
                  <a:pt x="293" y="161"/>
                </a:lnTo>
                <a:lnTo>
                  <a:pt x="284" y="156"/>
                </a:lnTo>
                <a:lnTo>
                  <a:pt x="281" y="156"/>
                </a:lnTo>
                <a:lnTo>
                  <a:pt x="279" y="156"/>
                </a:lnTo>
                <a:lnTo>
                  <a:pt x="279" y="158"/>
                </a:lnTo>
                <a:lnTo>
                  <a:pt x="274" y="163"/>
                </a:lnTo>
                <a:lnTo>
                  <a:pt x="274" y="161"/>
                </a:lnTo>
                <a:lnTo>
                  <a:pt x="272" y="158"/>
                </a:lnTo>
                <a:lnTo>
                  <a:pt x="270" y="156"/>
                </a:lnTo>
                <a:lnTo>
                  <a:pt x="267" y="156"/>
                </a:lnTo>
                <a:lnTo>
                  <a:pt x="265" y="156"/>
                </a:lnTo>
                <a:lnTo>
                  <a:pt x="265" y="154"/>
                </a:lnTo>
                <a:lnTo>
                  <a:pt x="260" y="151"/>
                </a:lnTo>
                <a:lnTo>
                  <a:pt x="249" y="138"/>
                </a:lnTo>
                <a:lnTo>
                  <a:pt x="247" y="135"/>
                </a:lnTo>
                <a:lnTo>
                  <a:pt x="244" y="135"/>
                </a:lnTo>
                <a:lnTo>
                  <a:pt x="244" y="133"/>
                </a:lnTo>
                <a:lnTo>
                  <a:pt x="244" y="131"/>
                </a:lnTo>
                <a:lnTo>
                  <a:pt x="242" y="131"/>
                </a:lnTo>
                <a:lnTo>
                  <a:pt x="242" y="128"/>
                </a:lnTo>
                <a:lnTo>
                  <a:pt x="240" y="128"/>
                </a:lnTo>
                <a:lnTo>
                  <a:pt x="237" y="131"/>
                </a:lnTo>
                <a:lnTo>
                  <a:pt x="235" y="131"/>
                </a:lnTo>
                <a:lnTo>
                  <a:pt x="233" y="131"/>
                </a:lnTo>
                <a:lnTo>
                  <a:pt x="230" y="128"/>
                </a:lnTo>
                <a:lnTo>
                  <a:pt x="230" y="126"/>
                </a:lnTo>
                <a:lnTo>
                  <a:pt x="230" y="124"/>
                </a:lnTo>
                <a:lnTo>
                  <a:pt x="228" y="121"/>
                </a:lnTo>
                <a:lnTo>
                  <a:pt x="226" y="124"/>
                </a:lnTo>
                <a:lnTo>
                  <a:pt x="223" y="124"/>
                </a:lnTo>
                <a:lnTo>
                  <a:pt x="223" y="126"/>
                </a:lnTo>
                <a:lnTo>
                  <a:pt x="223" y="128"/>
                </a:lnTo>
                <a:lnTo>
                  <a:pt x="223" y="131"/>
                </a:lnTo>
                <a:lnTo>
                  <a:pt x="221" y="131"/>
                </a:lnTo>
                <a:lnTo>
                  <a:pt x="221" y="133"/>
                </a:lnTo>
                <a:lnTo>
                  <a:pt x="216" y="133"/>
                </a:lnTo>
                <a:lnTo>
                  <a:pt x="214" y="135"/>
                </a:lnTo>
                <a:lnTo>
                  <a:pt x="212" y="138"/>
                </a:lnTo>
                <a:lnTo>
                  <a:pt x="209" y="138"/>
                </a:lnTo>
                <a:lnTo>
                  <a:pt x="207" y="140"/>
                </a:lnTo>
                <a:lnTo>
                  <a:pt x="205" y="140"/>
                </a:lnTo>
                <a:lnTo>
                  <a:pt x="202" y="140"/>
                </a:lnTo>
                <a:lnTo>
                  <a:pt x="200" y="142"/>
                </a:lnTo>
                <a:lnTo>
                  <a:pt x="200" y="144"/>
                </a:lnTo>
                <a:lnTo>
                  <a:pt x="195" y="147"/>
                </a:lnTo>
                <a:lnTo>
                  <a:pt x="193" y="147"/>
                </a:lnTo>
                <a:lnTo>
                  <a:pt x="193" y="144"/>
                </a:lnTo>
                <a:lnTo>
                  <a:pt x="191" y="138"/>
                </a:lnTo>
                <a:lnTo>
                  <a:pt x="191" y="135"/>
                </a:lnTo>
                <a:lnTo>
                  <a:pt x="191" y="133"/>
                </a:lnTo>
                <a:lnTo>
                  <a:pt x="191" y="131"/>
                </a:lnTo>
                <a:lnTo>
                  <a:pt x="191" y="128"/>
                </a:lnTo>
                <a:lnTo>
                  <a:pt x="193" y="128"/>
                </a:lnTo>
                <a:lnTo>
                  <a:pt x="193" y="126"/>
                </a:lnTo>
                <a:lnTo>
                  <a:pt x="191" y="126"/>
                </a:lnTo>
                <a:lnTo>
                  <a:pt x="191" y="124"/>
                </a:lnTo>
                <a:lnTo>
                  <a:pt x="191" y="126"/>
                </a:lnTo>
                <a:lnTo>
                  <a:pt x="188" y="126"/>
                </a:lnTo>
                <a:lnTo>
                  <a:pt x="186" y="126"/>
                </a:lnTo>
                <a:lnTo>
                  <a:pt x="184" y="126"/>
                </a:lnTo>
                <a:lnTo>
                  <a:pt x="181" y="124"/>
                </a:lnTo>
                <a:lnTo>
                  <a:pt x="179" y="121"/>
                </a:lnTo>
                <a:lnTo>
                  <a:pt x="179" y="119"/>
                </a:lnTo>
                <a:lnTo>
                  <a:pt x="181" y="117"/>
                </a:lnTo>
                <a:lnTo>
                  <a:pt x="184" y="114"/>
                </a:lnTo>
                <a:lnTo>
                  <a:pt x="181" y="114"/>
                </a:lnTo>
                <a:lnTo>
                  <a:pt x="179" y="112"/>
                </a:lnTo>
                <a:lnTo>
                  <a:pt x="177" y="112"/>
                </a:lnTo>
                <a:lnTo>
                  <a:pt x="174" y="114"/>
                </a:lnTo>
                <a:lnTo>
                  <a:pt x="174" y="117"/>
                </a:lnTo>
                <a:lnTo>
                  <a:pt x="174" y="119"/>
                </a:lnTo>
                <a:lnTo>
                  <a:pt x="172" y="121"/>
                </a:lnTo>
                <a:lnTo>
                  <a:pt x="170" y="121"/>
                </a:lnTo>
                <a:lnTo>
                  <a:pt x="170" y="119"/>
                </a:lnTo>
                <a:lnTo>
                  <a:pt x="167" y="114"/>
                </a:lnTo>
                <a:lnTo>
                  <a:pt x="167" y="112"/>
                </a:lnTo>
                <a:lnTo>
                  <a:pt x="167" y="110"/>
                </a:lnTo>
                <a:lnTo>
                  <a:pt x="165" y="110"/>
                </a:lnTo>
                <a:lnTo>
                  <a:pt x="163" y="107"/>
                </a:lnTo>
                <a:lnTo>
                  <a:pt x="160" y="107"/>
                </a:lnTo>
                <a:lnTo>
                  <a:pt x="160" y="105"/>
                </a:lnTo>
                <a:lnTo>
                  <a:pt x="158" y="105"/>
                </a:lnTo>
                <a:lnTo>
                  <a:pt x="156" y="105"/>
                </a:lnTo>
                <a:lnTo>
                  <a:pt x="153" y="105"/>
                </a:lnTo>
                <a:lnTo>
                  <a:pt x="151" y="105"/>
                </a:lnTo>
                <a:lnTo>
                  <a:pt x="151" y="103"/>
                </a:lnTo>
                <a:lnTo>
                  <a:pt x="149" y="103"/>
                </a:lnTo>
                <a:lnTo>
                  <a:pt x="149" y="100"/>
                </a:lnTo>
                <a:lnTo>
                  <a:pt x="144" y="98"/>
                </a:lnTo>
                <a:lnTo>
                  <a:pt x="142" y="98"/>
                </a:lnTo>
                <a:lnTo>
                  <a:pt x="139" y="98"/>
                </a:lnTo>
                <a:lnTo>
                  <a:pt x="139" y="96"/>
                </a:lnTo>
                <a:lnTo>
                  <a:pt x="137" y="96"/>
                </a:lnTo>
                <a:lnTo>
                  <a:pt x="137" y="93"/>
                </a:lnTo>
                <a:lnTo>
                  <a:pt x="135" y="93"/>
                </a:lnTo>
                <a:lnTo>
                  <a:pt x="135" y="89"/>
                </a:lnTo>
                <a:lnTo>
                  <a:pt x="132" y="89"/>
                </a:lnTo>
                <a:lnTo>
                  <a:pt x="130" y="86"/>
                </a:lnTo>
                <a:lnTo>
                  <a:pt x="128" y="84"/>
                </a:lnTo>
                <a:lnTo>
                  <a:pt x="125" y="84"/>
                </a:lnTo>
                <a:lnTo>
                  <a:pt x="112" y="91"/>
                </a:lnTo>
                <a:lnTo>
                  <a:pt x="109" y="89"/>
                </a:lnTo>
                <a:lnTo>
                  <a:pt x="107" y="89"/>
                </a:lnTo>
                <a:lnTo>
                  <a:pt x="107" y="91"/>
                </a:lnTo>
                <a:lnTo>
                  <a:pt x="107" y="96"/>
                </a:lnTo>
                <a:lnTo>
                  <a:pt x="107" y="98"/>
                </a:lnTo>
                <a:lnTo>
                  <a:pt x="105" y="98"/>
                </a:lnTo>
                <a:lnTo>
                  <a:pt x="102" y="98"/>
                </a:lnTo>
                <a:lnTo>
                  <a:pt x="98" y="98"/>
                </a:lnTo>
                <a:lnTo>
                  <a:pt x="95" y="98"/>
                </a:lnTo>
                <a:lnTo>
                  <a:pt x="93" y="98"/>
                </a:lnTo>
                <a:lnTo>
                  <a:pt x="93" y="100"/>
                </a:lnTo>
                <a:lnTo>
                  <a:pt x="91" y="100"/>
                </a:lnTo>
                <a:lnTo>
                  <a:pt x="93" y="103"/>
                </a:lnTo>
                <a:lnTo>
                  <a:pt x="93" y="105"/>
                </a:lnTo>
                <a:lnTo>
                  <a:pt x="93" y="107"/>
                </a:lnTo>
                <a:lnTo>
                  <a:pt x="91" y="107"/>
                </a:lnTo>
                <a:lnTo>
                  <a:pt x="91" y="110"/>
                </a:lnTo>
                <a:lnTo>
                  <a:pt x="86" y="112"/>
                </a:lnTo>
                <a:lnTo>
                  <a:pt x="84" y="112"/>
                </a:lnTo>
                <a:lnTo>
                  <a:pt x="79" y="112"/>
                </a:lnTo>
                <a:lnTo>
                  <a:pt x="77" y="114"/>
                </a:lnTo>
                <a:lnTo>
                  <a:pt x="74" y="114"/>
                </a:lnTo>
                <a:lnTo>
                  <a:pt x="72" y="114"/>
                </a:lnTo>
                <a:lnTo>
                  <a:pt x="72" y="112"/>
                </a:lnTo>
                <a:lnTo>
                  <a:pt x="70" y="112"/>
                </a:lnTo>
                <a:lnTo>
                  <a:pt x="67" y="112"/>
                </a:lnTo>
                <a:lnTo>
                  <a:pt x="65" y="114"/>
                </a:lnTo>
                <a:lnTo>
                  <a:pt x="60" y="126"/>
                </a:lnTo>
                <a:lnTo>
                  <a:pt x="60" y="128"/>
                </a:lnTo>
                <a:lnTo>
                  <a:pt x="60" y="131"/>
                </a:lnTo>
                <a:lnTo>
                  <a:pt x="58" y="131"/>
                </a:lnTo>
                <a:lnTo>
                  <a:pt x="56" y="131"/>
                </a:lnTo>
                <a:lnTo>
                  <a:pt x="56" y="128"/>
                </a:lnTo>
                <a:lnTo>
                  <a:pt x="53" y="128"/>
                </a:lnTo>
                <a:lnTo>
                  <a:pt x="51" y="131"/>
                </a:lnTo>
                <a:lnTo>
                  <a:pt x="46" y="131"/>
                </a:lnTo>
                <a:lnTo>
                  <a:pt x="46" y="133"/>
                </a:lnTo>
                <a:lnTo>
                  <a:pt x="44" y="135"/>
                </a:lnTo>
                <a:lnTo>
                  <a:pt x="39" y="135"/>
                </a:lnTo>
                <a:lnTo>
                  <a:pt x="37" y="133"/>
                </a:lnTo>
                <a:lnTo>
                  <a:pt x="35" y="133"/>
                </a:lnTo>
                <a:lnTo>
                  <a:pt x="35" y="131"/>
                </a:lnTo>
                <a:lnTo>
                  <a:pt x="32" y="131"/>
                </a:lnTo>
                <a:lnTo>
                  <a:pt x="32" y="128"/>
                </a:lnTo>
                <a:lnTo>
                  <a:pt x="35" y="128"/>
                </a:lnTo>
                <a:lnTo>
                  <a:pt x="35" y="126"/>
                </a:lnTo>
                <a:lnTo>
                  <a:pt x="37" y="126"/>
                </a:lnTo>
                <a:lnTo>
                  <a:pt x="37" y="124"/>
                </a:lnTo>
                <a:lnTo>
                  <a:pt x="37" y="121"/>
                </a:lnTo>
                <a:lnTo>
                  <a:pt x="37" y="119"/>
                </a:lnTo>
                <a:lnTo>
                  <a:pt x="37" y="117"/>
                </a:lnTo>
                <a:lnTo>
                  <a:pt x="35" y="117"/>
                </a:lnTo>
                <a:lnTo>
                  <a:pt x="32" y="117"/>
                </a:lnTo>
                <a:lnTo>
                  <a:pt x="30" y="112"/>
                </a:lnTo>
                <a:lnTo>
                  <a:pt x="28" y="112"/>
                </a:lnTo>
                <a:lnTo>
                  <a:pt x="28" y="110"/>
                </a:lnTo>
                <a:lnTo>
                  <a:pt x="28" y="107"/>
                </a:lnTo>
                <a:lnTo>
                  <a:pt x="28" y="105"/>
                </a:lnTo>
                <a:lnTo>
                  <a:pt x="25" y="103"/>
                </a:lnTo>
                <a:lnTo>
                  <a:pt x="28" y="103"/>
                </a:lnTo>
                <a:lnTo>
                  <a:pt x="28" y="100"/>
                </a:lnTo>
                <a:lnTo>
                  <a:pt x="28" y="98"/>
                </a:lnTo>
                <a:lnTo>
                  <a:pt x="28" y="93"/>
                </a:lnTo>
                <a:lnTo>
                  <a:pt x="28" y="91"/>
                </a:lnTo>
                <a:lnTo>
                  <a:pt x="25" y="91"/>
                </a:lnTo>
                <a:lnTo>
                  <a:pt x="23" y="91"/>
                </a:lnTo>
                <a:lnTo>
                  <a:pt x="23" y="89"/>
                </a:lnTo>
                <a:lnTo>
                  <a:pt x="23" y="86"/>
                </a:lnTo>
                <a:lnTo>
                  <a:pt x="21" y="86"/>
                </a:lnTo>
                <a:lnTo>
                  <a:pt x="18" y="86"/>
                </a:lnTo>
                <a:lnTo>
                  <a:pt x="16" y="86"/>
                </a:lnTo>
                <a:lnTo>
                  <a:pt x="16" y="84"/>
                </a:lnTo>
                <a:lnTo>
                  <a:pt x="16" y="82"/>
                </a:lnTo>
                <a:lnTo>
                  <a:pt x="14" y="82"/>
                </a:lnTo>
                <a:lnTo>
                  <a:pt x="11" y="79"/>
                </a:lnTo>
                <a:lnTo>
                  <a:pt x="9" y="79"/>
                </a:lnTo>
                <a:lnTo>
                  <a:pt x="7" y="79"/>
                </a:lnTo>
                <a:lnTo>
                  <a:pt x="7" y="82"/>
                </a:lnTo>
                <a:lnTo>
                  <a:pt x="4" y="82"/>
                </a:lnTo>
                <a:lnTo>
                  <a:pt x="2" y="82"/>
                </a:lnTo>
                <a:lnTo>
                  <a:pt x="0" y="79"/>
                </a:lnTo>
                <a:lnTo>
                  <a:pt x="4" y="77"/>
                </a:lnTo>
                <a:lnTo>
                  <a:pt x="9" y="75"/>
                </a:lnTo>
                <a:lnTo>
                  <a:pt x="11" y="75"/>
                </a:lnTo>
                <a:lnTo>
                  <a:pt x="11" y="72"/>
                </a:lnTo>
                <a:lnTo>
                  <a:pt x="14" y="72"/>
                </a:lnTo>
                <a:lnTo>
                  <a:pt x="14" y="70"/>
                </a:lnTo>
                <a:lnTo>
                  <a:pt x="16" y="70"/>
                </a:lnTo>
                <a:lnTo>
                  <a:pt x="18" y="70"/>
                </a:lnTo>
                <a:lnTo>
                  <a:pt x="18" y="68"/>
                </a:lnTo>
                <a:lnTo>
                  <a:pt x="21" y="68"/>
                </a:lnTo>
                <a:lnTo>
                  <a:pt x="21" y="65"/>
                </a:lnTo>
                <a:lnTo>
                  <a:pt x="23" y="65"/>
                </a:lnTo>
                <a:lnTo>
                  <a:pt x="23" y="63"/>
                </a:lnTo>
                <a:lnTo>
                  <a:pt x="25" y="63"/>
                </a:lnTo>
                <a:lnTo>
                  <a:pt x="28" y="63"/>
                </a:lnTo>
                <a:lnTo>
                  <a:pt x="30" y="65"/>
                </a:lnTo>
                <a:lnTo>
                  <a:pt x="32" y="63"/>
                </a:lnTo>
                <a:lnTo>
                  <a:pt x="32" y="61"/>
                </a:lnTo>
                <a:lnTo>
                  <a:pt x="32" y="58"/>
                </a:lnTo>
                <a:lnTo>
                  <a:pt x="35" y="58"/>
                </a:lnTo>
                <a:lnTo>
                  <a:pt x="35" y="61"/>
                </a:lnTo>
                <a:lnTo>
                  <a:pt x="37" y="61"/>
                </a:lnTo>
                <a:lnTo>
                  <a:pt x="37" y="58"/>
                </a:lnTo>
                <a:lnTo>
                  <a:pt x="39" y="58"/>
                </a:lnTo>
                <a:lnTo>
                  <a:pt x="42" y="58"/>
                </a:lnTo>
                <a:lnTo>
                  <a:pt x="42" y="56"/>
                </a:lnTo>
                <a:lnTo>
                  <a:pt x="42" y="54"/>
                </a:lnTo>
                <a:lnTo>
                  <a:pt x="46" y="51"/>
                </a:lnTo>
                <a:lnTo>
                  <a:pt x="49" y="51"/>
                </a:lnTo>
                <a:lnTo>
                  <a:pt x="51" y="49"/>
                </a:lnTo>
                <a:lnTo>
                  <a:pt x="53" y="49"/>
                </a:lnTo>
                <a:lnTo>
                  <a:pt x="53" y="47"/>
                </a:lnTo>
                <a:lnTo>
                  <a:pt x="56" y="47"/>
                </a:lnTo>
                <a:lnTo>
                  <a:pt x="58" y="42"/>
                </a:lnTo>
                <a:lnTo>
                  <a:pt x="58" y="40"/>
                </a:lnTo>
                <a:lnTo>
                  <a:pt x="60" y="35"/>
                </a:lnTo>
                <a:lnTo>
                  <a:pt x="60" y="30"/>
                </a:lnTo>
                <a:lnTo>
                  <a:pt x="60" y="28"/>
                </a:lnTo>
                <a:lnTo>
                  <a:pt x="58" y="28"/>
                </a:lnTo>
                <a:lnTo>
                  <a:pt x="58" y="26"/>
                </a:lnTo>
                <a:lnTo>
                  <a:pt x="53" y="23"/>
                </a:lnTo>
                <a:lnTo>
                  <a:pt x="53" y="21"/>
                </a:lnTo>
                <a:lnTo>
                  <a:pt x="56" y="19"/>
                </a:lnTo>
                <a:lnTo>
                  <a:pt x="56" y="16"/>
                </a:lnTo>
                <a:lnTo>
                  <a:pt x="56" y="14"/>
                </a:lnTo>
                <a:lnTo>
                  <a:pt x="56" y="12"/>
                </a:lnTo>
                <a:lnTo>
                  <a:pt x="53" y="7"/>
                </a:lnTo>
                <a:lnTo>
                  <a:pt x="53" y="5"/>
                </a:lnTo>
                <a:lnTo>
                  <a:pt x="53" y="2"/>
                </a:lnTo>
                <a:lnTo>
                  <a:pt x="53" y="0"/>
                </a:lnTo>
                <a:lnTo>
                  <a:pt x="56" y="0"/>
                </a:lnTo>
                <a:lnTo>
                  <a:pt x="65" y="0"/>
                </a:lnTo>
                <a:lnTo>
                  <a:pt x="79" y="2"/>
                </a:lnTo>
                <a:lnTo>
                  <a:pt x="81" y="2"/>
                </a:lnTo>
                <a:lnTo>
                  <a:pt x="88" y="5"/>
                </a:lnTo>
                <a:lnTo>
                  <a:pt x="88" y="7"/>
                </a:lnTo>
                <a:lnTo>
                  <a:pt x="95" y="7"/>
                </a:lnTo>
                <a:lnTo>
                  <a:pt x="95" y="5"/>
                </a:lnTo>
                <a:lnTo>
                  <a:pt x="98" y="5"/>
                </a:lnTo>
                <a:lnTo>
                  <a:pt x="102" y="5"/>
                </a:lnTo>
                <a:lnTo>
                  <a:pt x="105" y="5"/>
                </a:lnTo>
                <a:lnTo>
                  <a:pt x="109" y="5"/>
                </a:lnTo>
                <a:lnTo>
                  <a:pt x="121" y="7"/>
                </a:lnTo>
                <a:lnTo>
                  <a:pt x="123" y="9"/>
                </a:lnTo>
                <a:lnTo>
                  <a:pt x="125" y="12"/>
                </a:lnTo>
                <a:lnTo>
                  <a:pt x="128" y="14"/>
                </a:lnTo>
                <a:lnTo>
                  <a:pt x="128" y="16"/>
                </a:lnTo>
                <a:lnTo>
                  <a:pt x="130" y="16"/>
                </a:lnTo>
                <a:lnTo>
                  <a:pt x="132" y="16"/>
                </a:lnTo>
                <a:lnTo>
                  <a:pt x="132" y="19"/>
                </a:lnTo>
                <a:lnTo>
                  <a:pt x="135" y="19"/>
                </a:lnTo>
                <a:lnTo>
                  <a:pt x="137" y="21"/>
                </a:lnTo>
                <a:lnTo>
                  <a:pt x="139" y="21"/>
                </a:lnTo>
                <a:lnTo>
                  <a:pt x="139" y="23"/>
                </a:lnTo>
                <a:lnTo>
                  <a:pt x="142" y="26"/>
                </a:lnTo>
                <a:lnTo>
                  <a:pt x="142" y="28"/>
                </a:lnTo>
                <a:lnTo>
                  <a:pt x="144" y="30"/>
                </a:lnTo>
                <a:lnTo>
                  <a:pt x="149" y="33"/>
                </a:lnTo>
                <a:lnTo>
                  <a:pt x="149" y="35"/>
                </a:lnTo>
                <a:lnTo>
                  <a:pt x="151" y="35"/>
                </a:lnTo>
                <a:lnTo>
                  <a:pt x="151" y="37"/>
                </a:lnTo>
                <a:lnTo>
                  <a:pt x="153" y="37"/>
                </a:lnTo>
                <a:lnTo>
                  <a:pt x="153" y="42"/>
                </a:lnTo>
                <a:lnTo>
                  <a:pt x="153" y="44"/>
                </a:lnTo>
                <a:lnTo>
                  <a:pt x="156" y="44"/>
                </a:lnTo>
                <a:lnTo>
                  <a:pt x="158" y="44"/>
                </a:lnTo>
                <a:lnTo>
                  <a:pt x="158" y="42"/>
                </a:lnTo>
                <a:lnTo>
                  <a:pt x="160" y="42"/>
                </a:lnTo>
                <a:lnTo>
                  <a:pt x="160" y="44"/>
                </a:lnTo>
                <a:lnTo>
                  <a:pt x="163" y="44"/>
                </a:lnTo>
                <a:lnTo>
                  <a:pt x="163" y="42"/>
                </a:lnTo>
                <a:lnTo>
                  <a:pt x="165" y="40"/>
                </a:lnTo>
                <a:lnTo>
                  <a:pt x="167" y="37"/>
                </a:lnTo>
                <a:lnTo>
                  <a:pt x="170" y="37"/>
                </a:lnTo>
                <a:lnTo>
                  <a:pt x="172" y="35"/>
                </a:lnTo>
                <a:lnTo>
                  <a:pt x="174" y="35"/>
                </a:lnTo>
                <a:lnTo>
                  <a:pt x="177" y="35"/>
                </a:lnTo>
                <a:lnTo>
                  <a:pt x="177" y="33"/>
                </a:lnTo>
                <a:lnTo>
                  <a:pt x="179" y="33"/>
                </a:lnTo>
                <a:lnTo>
                  <a:pt x="181" y="33"/>
                </a:lnTo>
                <a:lnTo>
                  <a:pt x="184" y="33"/>
                </a:lnTo>
                <a:lnTo>
                  <a:pt x="184" y="35"/>
                </a:lnTo>
                <a:lnTo>
                  <a:pt x="184" y="37"/>
                </a:lnTo>
                <a:lnTo>
                  <a:pt x="186" y="37"/>
                </a:lnTo>
                <a:lnTo>
                  <a:pt x="186" y="40"/>
                </a:lnTo>
                <a:lnTo>
                  <a:pt x="186" y="42"/>
                </a:lnTo>
                <a:lnTo>
                  <a:pt x="188" y="42"/>
                </a:lnTo>
                <a:lnTo>
                  <a:pt x="188" y="44"/>
                </a:lnTo>
                <a:lnTo>
                  <a:pt x="191" y="44"/>
                </a:lnTo>
                <a:lnTo>
                  <a:pt x="193" y="44"/>
                </a:lnTo>
                <a:lnTo>
                  <a:pt x="195" y="44"/>
                </a:lnTo>
                <a:lnTo>
                  <a:pt x="195" y="42"/>
                </a:lnTo>
                <a:lnTo>
                  <a:pt x="198" y="42"/>
                </a:lnTo>
                <a:lnTo>
                  <a:pt x="198" y="44"/>
                </a:lnTo>
                <a:lnTo>
                  <a:pt x="198" y="42"/>
                </a:lnTo>
                <a:lnTo>
                  <a:pt x="200" y="42"/>
                </a:lnTo>
                <a:lnTo>
                  <a:pt x="202" y="42"/>
                </a:lnTo>
                <a:lnTo>
                  <a:pt x="205" y="44"/>
                </a:lnTo>
                <a:lnTo>
                  <a:pt x="205" y="47"/>
                </a:lnTo>
                <a:lnTo>
                  <a:pt x="205" y="49"/>
                </a:lnTo>
                <a:lnTo>
                  <a:pt x="205" y="51"/>
                </a:lnTo>
                <a:lnTo>
                  <a:pt x="207" y="51"/>
                </a:lnTo>
                <a:lnTo>
                  <a:pt x="209" y="51"/>
                </a:lnTo>
                <a:lnTo>
                  <a:pt x="209" y="49"/>
                </a:lnTo>
                <a:lnTo>
                  <a:pt x="209" y="51"/>
                </a:lnTo>
                <a:lnTo>
                  <a:pt x="212" y="51"/>
                </a:lnTo>
                <a:lnTo>
                  <a:pt x="212" y="49"/>
                </a:lnTo>
                <a:lnTo>
                  <a:pt x="214" y="49"/>
                </a:lnTo>
                <a:lnTo>
                  <a:pt x="214" y="47"/>
                </a:lnTo>
                <a:lnTo>
                  <a:pt x="214" y="49"/>
                </a:lnTo>
                <a:lnTo>
                  <a:pt x="216" y="49"/>
                </a:lnTo>
                <a:lnTo>
                  <a:pt x="216" y="51"/>
                </a:lnTo>
                <a:lnTo>
                  <a:pt x="219" y="51"/>
                </a:lnTo>
                <a:lnTo>
                  <a:pt x="219" y="49"/>
                </a:lnTo>
                <a:lnTo>
                  <a:pt x="221" y="49"/>
                </a:lnTo>
                <a:lnTo>
                  <a:pt x="221" y="47"/>
                </a:lnTo>
                <a:lnTo>
                  <a:pt x="221" y="49"/>
                </a:lnTo>
                <a:lnTo>
                  <a:pt x="223" y="49"/>
                </a:lnTo>
                <a:lnTo>
                  <a:pt x="226" y="49"/>
                </a:lnTo>
                <a:lnTo>
                  <a:pt x="228" y="49"/>
                </a:lnTo>
                <a:lnTo>
                  <a:pt x="230" y="47"/>
                </a:lnTo>
                <a:lnTo>
                  <a:pt x="230" y="44"/>
                </a:lnTo>
                <a:lnTo>
                  <a:pt x="233" y="44"/>
                </a:lnTo>
                <a:lnTo>
                  <a:pt x="240" y="42"/>
                </a:lnTo>
                <a:lnTo>
                  <a:pt x="242" y="40"/>
                </a:lnTo>
                <a:lnTo>
                  <a:pt x="244" y="37"/>
                </a:lnTo>
                <a:lnTo>
                  <a:pt x="251" y="37"/>
                </a:lnTo>
                <a:lnTo>
                  <a:pt x="256" y="35"/>
                </a:lnTo>
                <a:lnTo>
                  <a:pt x="258" y="33"/>
                </a:lnTo>
                <a:lnTo>
                  <a:pt x="260" y="30"/>
                </a:lnTo>
                <a:lnTo>
                  <a:pt x="260" y="28"/>
                </a:lnTo>
                <a:lnTo>
                  <a:pt x="265" y="28"/>
                </a:lnTo>
                <a:lnTo>
                  <a:pt x="265" y="30"/>
                </a:lnTo>
                <a:lnTo>
                  <a:pt x="267" y="30"/>
                </a:lnTo>
                <a:lnTo>
                  <a:pt x="267" y="28"/>
                </a:lnTo>
                <a:lnTo>
                  <a:pt x="270" y="28"/>
                </a:lnTo>
                <a:lnTo>
                  <a:pt x="270" y="26"/>
                </a:lnTo>
                <a:lnTo>
                  <a:pt x="274" y="26"/>
                </a:lnTo>
                <a:lnTo>
                  <a:pt x="277" y="26"/>
                </a:lnTo>
                <a:lnTo>
                  <a:pt x="279" y="26"/>
                </a:lnTo>
                <a:lnTo>
                  <a:pt x="284" y="30"/>
                </a:lnTo>
                <a:lnTo>
                  <a:pt x="286" y="33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29" name="Freeform 8">
            <a:extLst>
              <a:ext uri="{FF2B5EF4-FFF2-40B4-BE49-F238E27FC236}">
                <a16:creationId xmlns:a16="http://schemas.microsoft.com/office/drawing/2014/main" id="{34560B77-2E2D-FC5E-4846-1EDFD22FFC21}"/>
              </a:ext>
            </a:extLst>
          </p:cNvPr>
          <p:cNvSpPr>
            <a:spLocks/>
          </p:cNvSpPr>
          <p:nvPr/>
        </p:nvSpPr>
        <p:spPr bwMode="auto">
          <a:xfrm>
            <a:off x="1511885" y="3668068"/>
            <a:ext cx="572630" cy="264297"/>
          </a:xfrm>
          <a:custGeom>
            <a:avLst/>
            <a:gdLst>
              <a:gd name="T0" fmla="*/ 484 w 486"/>
              <a:gd name="T1" fmla="*/ 149 h 235"/>
              <a:gd name="T2" fmla="*/ 456 w 486"/>
              <a:gd name="T3" fmla="*/ 172 h 235"/>
              <a:gd name="T4" fmla="*/ 454 w 486"/>
              <a:gd name="T5" fmla="*/ 174 h 235"/>
              <a:gd name="T6" fmla="*/ 444 w 486"/>
              <a:gd name="T7" fmla="*/ 177 h 235"/>
              <a:gd name="T8" fmla="*/ 442 w 486"/>
              <a:gd name="T9" fmla="*/ 179 h 235"/>
              <a:gd name="T10" fmla="*/ 437 w 486"/>
              <a:gd name="T11" fmla="*/ 181 h 235"/>
              <a:gd name="T12" fmla="*/ 428 w 486"/>
              <a:gd name="T13" fmla="*/ 188 h 235"/>
              <a:gd name="T14" fmla="*/ 424 w 486"/>
              <a:gd name="T15" fmla="*/ 195 h 235"/>
              <a:gd name="T16" fmla="*/ 417 w 486"/>
              <a:gd name="T17" fmla="*/ 202 h 235"/>
              <a:gd name="T18" fmla="*/ 400 w 486"/>
              <a:gd name="T19" fmla="*/ 200 h 235"/>
              <a:gd name="T20" fmla="*/ 393 w 486"/>
              <a:gd name="T21" fmla="*/ 207 h 235"/>
              <a:gd name="T22" fmla="*/ 384 w 486"/>
              <a:gd name="T23" fmla="*/ 221 h 235"/>
              <a:gd name="T24" fmla="*/ 375 w 486"/>
              <a:gd name="T25" fmla="*/ 225 h 235"/>
              <a:gd name="T26" fmla="*/ 365 w 486"/>
              <a:gd name="T27" fmla="*/ 230 h 235"/>
              <a:gd name="T28" fmla="*/ 354 w 486"/>
              <a:gd name="T29" fmla="*/ 228 h 235"/>
              <a:gd name="T30" fmla="*/ 349 w 486"/>
              <a:gd name="T31" fmla="*/ 225 h 235"/>
              <a:gd name="T32" fmla="*/ 340 w 486"/>
              <a:gd name="T33" fmla="*/ 225 h 235"/>
              <a:gd name="T34" fmla="*/ 323 w 486"/>
              <a:gd name="T35" fmla="*/ 223 h 235"/>
              <a:gd name="T36" fmla="*/ 307 w 486"/>
              <a:gd name="T37" fmla="*/ 225 h 235"/>
              <a:gd name="T38" fmla="*/ 289 w 486"/>
              <a:gd name="T39" fmla="*/ 223 h 235"/>
              <a:gd name="T40" fmla="*/ 263 w 486"/>
              <a:gd name="T41" fmla="*/ 232 h 235"/>
              <a:gd name="T42" fmla="*/ 247 w 486"/>
              <a:gd name="T43" fmla="*/ 232 h 235"/>
              <a:gd name="T44" fmla="*/ 235 w 486"/>
              <a:gd name="T45" fmla="*/ 221 h 235"/>
              <a:gd name="T46" fmla="*/ 230 w 486"/>
              <a:gd name="T47" fmla="*/ 172 h 235"/>
              <a:gd name="T48" fmla="*/ 233 w 486"/>
              <a:gd name="T49" fmla="*/ 156 h 235"/>
              <a:gd name="T50" fmla="*/ 235 w 486"/>
              <a:gd name="T51" fmla="*/ 153 h 235"/>
              <a:gd name="T52" fmla="*/ 235 w 486"/>
              <a:gd name="T53" fmla="*/ 149 h 235"/>
              <a:gd name="T54" fmla="*/ 230 w 486"/>
              <a:gd name="T55" fmla="*/ 139 h 235"/>
              <a:gd name="T56" fmla="*/ 233 w 486"/>
              <a:gd name="T57" fmla="*/ 139 h 235"/>
              <a:gd name="T58" fmla="*/ 233 w 486"/>
              <a:gd name="T59" fmla="*/ 137 h 235"/>
              <a:gd name="T60" fmla="*/ 235 w 486"/>
              <a:gd name="T61" fmla="*/ 132 h 235"/>
              <a:gd name="T62" fmla="*/ 226 w 486"/>
              <a:gd name="T63" fmla="*/ 139 h 235"/>
              <a:gd name="T64" fmla="*/ 214 w 486"/>
              <a:gd name="T65" fmla="*/ 149 h 235"/>
              <a:gd name="T66" fmla="*/ 207 w 486"/>
              <a:gd name="T67" fmla="*/ 156 h 235"/>
              <a:gd name="T68" fmla="*/ 195 w 486"/>
              <a:gd name="T69" fmla="*/ 165 h 235"/>
              <a:gd name="T70" fmla="*/ 188 w 486"/>
              <a:gd name="T71" fmla="*/ 172 h 235"/>
              <a:gd name="T72" fmla="*/ 184 w 486"/>
              <a:gd name="T73" fmla="*/ 172 h 235"/>
              <a:gd name="T74" fmla="*/ 147 w 486"/>
              <a:gd name="T75" fmla="*/ 177 h 235"/>
              <a:gd name="T76" fmla="*/ 133 w 486"/>
              <a:gd name="T77" fmla="*/ 172 h 235"/>
              <a:gd name="T78" fmla="*/ 133 w 486"/>
              <a:gd name="T79" fmla="*/ 167 h 235"/>
              <a:gd name="T80" fmla="*/ 126 w 486"/>
              <a:gd name="T81" fmla="*/ 153 h 235"/>
              <a:gd name="T82" fmla="*/ 121 w 486"/>
              <a:gd name="T83" fmla="*/ 146 h 235"/>
              <a:gd name="T84" fmla="*/ 116 w 486"/>
              <a:gd name="T85" fmla="*/ 144 h 235"/>
              <a:gd name="T86" fmla="*/ 100 w 486"/>
              <a:gd name="T87" fmla="*/ 144 h 235"/>
              <a:gd name="T88" fmla="*/ 98 w 486"/>
              <a:gd name="T89" fmla="*/ 144 h 235"/>
              <a:gd name="T90" fmla="*/ 70 w 486"/>
              <a:gd name="T91" fmla="*/ 137 h 235"/>
              <a:gd name="T92" fmla="*/ 74 w 486"/>
              <a:gd name="T93" fmla="*/ 132 h 235"/>
              <a:gd name="T94" fmla="*/ 77 w 486"/>
              <a:gd name="T95" fmla="*/ 123 h 235"/>
              <a:gd name="T96" fmla="*/ 70 w 486"/>
              <a:gd name="T97" fmla="*/ 111 h 235"/>
              <a:gd name="T98" fmla="*/ 56 w 486"/>
              <a:gd name="T99" fmla="*/ 97 h 235"/>
              <a:gd name="T100" fmla="*/ 49 w 486"/>
              <a:gd name="T101" fmla="*/ 88 h 235"/>
              <a:gd name="T102" fmla="*/ 44 w 486"/>
              <a:gd name="T103" fmla="*/ 83 h 235"/>
              <a:gd name="T104" fmla="*/ 35 w 486"/>
              <a:gd name="T105" fmla="*/ 76 h 235"/>
              <a:gd name="T106" fmla="*/ 30 w 486"/>
              <a:gd name="T107" fmla="*/ 65 h 235"/>
              <a:gd name="T108" fmla="*/ 23 w 486"/>
              <a:gd name="T109" fmla="*/ 56 h 235"/>
              <a:gd name="T110" fmla="*/ 19 w 486"/>
              <a:gd name="T111" fmla="*/ 49 h 235"/>
              <a:gd name="T112" fmla="*/ 16 w 486"/>
              <a:gd name="T113" fmla="*/ 42 h 235"/>
              <a:gd name="T114" fmla="*/ 2 w 486"/>
              <a:gd name="T115" fmla="*/ 28 h 235"/>
              <a:gd name="T116" fmla="*/ 5 w 486"/>
              <a:gd name="T117" fmla="*/ 21 h 235"/>
              <a:gd name="T118" fmla="*/ 7 w 486"/>
              <a:gd name="T119" fmla="*/ 16 h 235"/>
              <a:gd name="T120" fmla="*/ 19 w 486"/>
              <a:gd name="T121" fmla="*/ 14 h 235"/>
              <a:gd name="T122" fmla="*/ 12 w 486"/>
              <a:gd name="T123" fmla="*/ 0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86" h="235">
                <a:moveTo>
                  <a:pt x="475" y="144"/>
                </a:moveTo>
                <a:lnTo>
                  <a:pt x="486" y="146"/>
                </a:lnTo>
                <a:lnTo>
                  <a:pt x="486" y="146"/>
                </a:lnTo>
                <a:lnTo>
                  <a:pt x="486" y="149"/>
                </a:lnTo>
                <a:lnTo>
                  <a:pt x="486" y="149"/>
                </a:lnTo>
                <a:lnTo>
                  <a:pt x="484" y="149"/>
                </a:lnTo>
                <a:lnTo>
                  <a:pt x="484" y="149"/>
                </a:lnTo>
                <a:lnTo>
                  <a:pt x="479" y="151"/>
                </a:lnTo>
                <a:lnTo>
                  <a:pt x="477" y="153"/>
                </a:lnTo>
                <a:lnTo>
                  <a:pt x="470" y="160"/>
                </a:lnTo>
                <a:lnTo>
                  <a:pt x="461" y="170"/>
                </a:lnTo>
                <a:lnTo>
                  <a:pt x="456" y="172"/>
                </a:lnTo>
                <a:lnTo>
                  <a:pt x="456" y="172"/>
                </a:lnTo>
                <a:lnTo>
                  <a:pt x="456" y="172"/>
                </a:lnTo>
                <a:lnTo>
                  <a:pt x="454" y="172"/>
                </a:lnTo>
                <a:lnTo>
                  <a:pt x="454" y="174"/>
                </a:lnTo>
                <a:lnTo>
                  <a:pt x="454" y="174"/>
                </a:lnTo>
                <a:lnTo>
                  <a:pt x="454" y="174"/>
                </a:lnTo>
                <a:lnTo>
                  <a:pt x="454" y="177"/>
                </a:lnTo>
                <a:lnTo>
                  <a:pt x="451" y="177"/>
                </a:lnTo>
                <a:lnTo>
                  <a:pt x="449" y="174"/>
                </a:lnTo>
                <a:lnTo>
                  <a:pt x="447" y="174"/>
                </a:lnTo>
                <a:lnTo>
                  <a:pt x="444" y="174"/>
                </a:lnTo>
                <a:lnTo>
                  <a:pt x="444" y="177"/>
                </a:lnTo>
                <a:lnTo>
                  <a:pt x="442" y="177"/>
                </a:lnTo>
                <a:lnTo>
                  <a:pt x="442" y="177"/>
                </a:lnTo>
                <a:lnTo>
                  <a:pt x="442" y="179"/>
                </a:lnTo>
                <a:lnTo>
                  <a:pt x="442" y="179"/>
                </a:lnTo>
                <a:lnTo>
                  <a:pt x="442" y="179"/>
                </a:lnTo>
                <a:lnTo>
                  <a:pt x="442" y="179"/>
                </a:lnTo>
                <a:lnTo>
                  <a:pt x="442" y="179"/>
                </a:lnTo>
                <a:lnTo>
                  <a:pt x="437" y="179"/>
                </a:lnTo>
                <a:lnTo>
                  <a:pt x="437" y="179"/>
                </a:lnTo>
                <a:lnTo>
                  <a:pt x="437" y="181"/>
                </a:lnTo>
                <a:lnTo>
                  <a:pt x="437" y="181"/>
                </a:lnTo>
                <a:lnTo>
                  <a:pt x="437" y="181"/>
                </a:lnTo>
                <a:lnTo>
                  <a:pt x="437" y="181"/>
                </a:lnTo>
                <a:lnTo>
                  <a:pt x="435" y="184"/>
                </a:lnTo>
                <a:lnTo>
                  <a:pt x="435" y="184"/>
                </a:lnTo>
                <a:lnTo>
                  <a:pt x="433" y="186"/>
                </a:lnTo>
                <a:lnTo>
                  <a:pt x="430" y="186"/>
                </a:lnTo>
                <a:lnTo>
                  <a:pt x="428" y="188"/>
                </a:lnTo>
                <a:lnTo>
                  <a:pt x="428" y="188"/>
                </a:lnTo>
                <a:lnTo>
                  <a:pt x="426" y="188"/>
                </a:lnTo>
                <a:lnTo>
                  <a:pt x="426" y="191"/>
                </a:lnTo>
                <a:lnTo>
                  <a:pt x="426" y="193"/>
                </a:lnTo>
                <a:lnTo>
                  <a:pt x="424" y="193"/>
                </a:lnTo>
                <a:lnTo>
                  <a:pt x="424" y="195"/>
                </a:lnTo>
                <a:lnTo>
                  <a:pt x="421" y="195"/>
                </a:lnTo>
                <a:lnTo>
                  <a:pt x="421" y="198"/>
                </a:lnTo>
                <a:lnTo>
                  <a:pt x="421" y="200"/>
                </a:lnTo>
                <a:lnTo>
                  <a:pt x="419" y="202"/>
                </a:lnTo>
                <a:lnTo>
                  <a:pt x="417" y="202"/>
                </a:lnTo>
                <a:lnTo>
                  <a:pt x="417" y="202"/>
                </a:lnTo>
                <a:lnTo>
                  <a:pt x="414" y="200"/>
                </a:lnTo>
                <a:lnTo>
                  <a:pt x="412" y="200"/>
                </a:lnTo>
                <a:lnTo>
                  <a:pt x="412" y="200"/>
                </a:lnTo>
                <a:lnTo>
                  <a:pt x="410" y="200"/>
                </a:lnTo>
                <a:lnTo>
                  <a:pt x="403" y="200"/>
                </a:lnTo>
                <a:lnTo>
                  <a:pt x="400" y="200"/>
                </a:lnTo>
                <a:lnTo>
                  <a:pt x="400" y="200"/>
                </a:lnTo>
                <a:lnTo>
                  <a:pt x="400" y="200"/>
                </a:lnTo>
                <a:lnTo>
                  <a:pt x="398" y="202"/>
                </a:lnTo>
                <a:lnTo>
                  <a:pt x="396" y="202"/>
                </a:lnTo>
                <a:lnTo>
                  <a:pt x="396" y="204"/>
                </a:lnTo>
                <a:lnTo>
                  <a:pt x="393" y="207"/>
                </a:lnTo>
                <a:lnTo>
                  <a:pt x="389" y="211"/>
                </a:lnTo>
                <a:lnTo>
                  <a:pt x="389" y="214"/>
                </a:lnTo>
                <a:lnTo>
                  <a:pt x="386" y="216"/>
                </a:lnTo>
                <a:lnTo>
                  <a:pt x="386" y="218"/>
                </a:lnTo>
                <a:lnTo>
                  <a:pt x="386" y="221"/>
                </a:lnTo>
                <a:lnTo>
                  <a:pt x="384" y="221"/>
                </a:lnTo>
                <a:lnTo>
                  <a:pt x="384" y="223"/>
                </a:lnTo>
                <a:lnTo>
                  <a:pt x="382" y="223"/>
                </a:lnTo>
                <a:lnTo>
                  <a:pt x="379" y="223"/>
                </a:lnTo>
                <a:lnTo>
                  <a:pt x="377" y="223"/>
                </a:lnTo>
                <a:lnTo>
                  <a:pt x="377" y="225"/>
                </a:lnTo>
                <a:lnTo>
                  <a:pt x="375" y="225"/>
                </a:lnTo>
                <a:lnTo>
                  <a:pt x="375" y="225"/>
                </a:lnTo>
                <a:lnTo>
                  <a:pt x="372" y="225"/>
                </a:lnTo>
                <a:lnTo>
                  <a:pt x="372" y="225"/>
                </a:lnTo>
                <a:lnTo>
                  <a:pt x="370" y="228"/>
                </a:lnTo>
                <a:lnTo>
                  <a:pt x="365" y="230"/>
                </a:lnTo>
                <a:lnTo>
                  <a:pt x="365" y="230"/>
                </a:lnTo>
                <a:lnTo>
                  <a:pt x="356" y="232"/>
                </a:lnTo>
                <a:lnTo>
                  <a:pt x="354" y="232"/>
                </a:lnTo>
                <a:lnTo>
                  <a:pt x="354" y="232"/>
                </a:lnTo>
                <a:lnTo>
                  <a:pt x="354" y="232"/>
                </a:lnTo>
                <a:lnTo>
                  <a:pt x="354" y="230"/>
                </a:lnTo>
                <a:lnTo>
                  <a:pt x="354" y="228"/>
                </a:lnTo>
                <a:lnTo>
                  <a:pt x="354" y="228"/>
                </a:lnTo>
                <a:lnTo>
                  <a:pt x="356" y="225"/>
                </a:lnTo>
                <a:lnTo>
                  <a:pt x="354" y="225"/>
                </a:lnTo>
                <a:lnTo>
                  <a:pt x="351" y="225"/>
                </a:lnTo>
                <a:lnTo>
                  <a:pt x="351" y="225"/>
                </a:lnTo>
                <a:lnTo>
                  <a:pt x="349" y="225"/>
                </a:lnTo>
                <a:lnTo>
                  <a:pt x="347" y="225"/>
                </a:lnTo>
                <a:lnTo>
                  <a:pt x="347" y="225"/>
                </a:lnTo>
                <a:lnTo>
                  <a:pt x="342" y="225"/>
                </a:lnTo>
                <a:lnTo>
                  <a:pt x="342" y="225"/>
                </a:lnTo>
                <a:lnTo>
                  <a:pt x="340" y="225"/>
                </a:lnTo>
                <a:lnTo>
                  <a:pt x="340" y="225"/>
                </a:lnTo>
                <a:lnTo>
                  <a:pt x="340" y="225"/>
                </a:lnTo>
                <a:lnTo>
                  <a:pt x="335" y="223"/>
                </a:lnTo>
                <a:lnTo>
                  <a:pt x="335" y="223"/>
                </a:lnTo>
                <a:lnTo>
                  <a:pt x="333" y="223"/>
                </a:lnTo>
                <a:lnTo>
                  <a:pt x="330" y="223"/>
                </a:lnTo>
                <a:lnTo>
                  <a:pt x="323" y="223"/>
                </a:lnTo>
                <a:lnTo>
                  <a:pt x="321" y="223"/>
                </a:lnTo>
                <a:lnTo>
                  <a:pt x="319" y="223"/>
                </a:lnTo>
                <a:lnTo>
                  <a:pt x="316" y="223"/>
                </a:lnTo>
                <a:lnTo>
                  <a:pt x="314" y="223"/>
                </a:lnTo>
                <a:lnTo>
                  <a:pt x="309" y="223"/>
                </a:lnTo>
                <a:lnTo>
                  <a:pt x="307" y="225"/>
                </a:lnTo>
                <a:lnTo>
                  <a:pt x="302" y="225"/>
                </a:lnTo>
                <a:lnTo>
                  <a:pt x="302" y="225"/>
                </a:lnTo>
                <a:lnTo>
                  <a:pt x="293" y="225"/>
                </a:lnTo>
                <a:lnTo>
                  <a:pt x="291" y="225"/>
                </a:lnTo>
                <a:lnTo>
                  <a:pt x="289" y="225"/>
                </a:lnTo>
                <a:lnTo>
                  <a:pt x="289" y="223"/>
                </a:lnTo>
                <a:lnTo>
                  <a:pt x="286" y="223"/>
                </a:lnTo>
                <a:lnTo>
                  <a:pt x="284" y="225"/>
                </a:lnTo>
                <a:lnTo>
                  <a:pt x="282" y="225"/>
                </a:lnTo>
                <a:lnTo>
                  <a:pt x="282" y="223"/>
                </a:lnTo>
                <a:lnTo>
                  <a:pt x="279" y="225"/>
                </a:lnTo>
                <a:lnTo>
                  <a:pt x="263" y="232"/>
                </a:lnTo>
                <a:lnTo>
                  <a:pt x="261" y="235"/>
                </a:lnTo>
                <a:lnTo>
                  <a:pt x="258" y="235"/>
                </a:lnTo>
                <a:lnTo>
                  <a:pt x="256" y="235"/>
                </a:lnTo>
                <a:lnTo>
                  <a:pt x="251" y="235"/>
                </a:lnTo>
                <a:lnTo>
                  <a:pt x="249" y="235"/>
                </a:lnTo>
                <a:lnTo>
                  <a:pt x="247" y="232"/>
                </a:lnTo>
                <a:lnTo>
                  <a:pt x="244" y="230"/>
                </a:lnTo>
                <a:lnTo>
                  <a:pt x="242" y="228"/>
                </a:lnTo>
                <a:lnTo>
                  <a:pt x="242" y="228"/>
                </a:lnTo>
                <a:lnTo>
                  <a:pt x="235" y="232"/>
                </a:lnTo>
                <a:lnTo>
                  <a:pt x="235" y="228"/>
                </a:lnTo>
                <a:lnTo>
                  <a:pt x="235" y="221"/>
                </a:lnTo>
                <a:lnTo>
                  <a:pt x="235" y="211"/>
                </a:lnTo>
                <a:lnTo>
                  <a:pt x="233" y="204"/>
                </a:lnTo>
                <a:lnTo>
                  <a:pt x="233" y="195"/>
                </a:lnTo>
                <a:lnTo>
                  <a:pt x="233" y="188"/>
                </a:lnTo>
                <a:lnTo>
                  <a:pt x="233" y="179"/>
                </a:lnTo>
                <a:lnTo>
                  <a:pt x="230" y="172"/>
                </a:lnTo>
                <a:lnTo>
                  <a:pt x="230" y="165"/>
                </a:lnTo>
                <a:lnTo>
                  <a:pt x="230" y="163"/>
                </a:lnTo>
                <a:lnTo>
                  <a:pt x="230" y="158"/>
                </a:lnTo>
                <a:lnTo>
                  <a:pt x="230" y="156"/>
                </a:lnTo>
                <a:lnTo>
                  <a:pt x="230" y="156"/>
                </a:lnTo>
                <a:lnTo>
                  <a:pt x="233" y="156"/>
                </a:lnTo>
                <a:lnTo>
                  <a:pt x="233" y="153"/>
                </a:lnTo>
                <a:lnTo>
                  <a:pt x="233" y="153"/>
                </a:lnTo>
                <a:lnTo>
                  <a:pt x="233" y="153"/>
                </a:lnTo>
                <a:lnTo>
                  <a:pt x="233" y="153"/>
                </a:lnTo>
                <a:lnTo>
                  <a:pt x="235" y="153"/>
                </a:lnTo>
                <a:lnTo>
                  <a:pt x="235" y="153"/>
                </a:lnTo>
                <a:lnTo>
                  <a:pt x="235" y="153"/>
                </a:lnTo>
                <a:lnTo>
                  <a:pt x="235" y="153"/>
                </a:lnTo>
                <a:lnTo>
                  <a:pt x="235" y="151"/>
                </a:lnTo>
                <a:lnTo>
                  <a:pt x="235" y="151"/>
                </a:lnTo>
                <a:lnTo>
                  <a:pt x="235" y="149"/>
                </a:lnTo>
                <a:lnTo>
                  <a:pt x="235" y="149"/>
                </a:lnTo>
                <a:lnTo>
                  <a:pt x="235" y="146"/>
                </a:lnTo>
                <a:lnTo>
                  <a:pt x="233" y="146"/>
                </a:lnTo>
                <a:lnTo>
                  <a:pt x="233" y="144"/>
                </a:lnTo>
                <a:lnTo>
                  <a:pt x="230" y="144"/>
                </a:lnTo>
                <a:lnTo>
                  <a:pt x="230" y="142"/>
                </a:lnTo>
                <a:lnTo>
                  <a:pt x="230" y="139"/>
                </a:lnTo>
                <a:lnTo>
                  <a:pt x="230" y="139"/>
                </a:lnTo>
                <a:lnTo>
                  <a:pt x="233" y="139"/>
                </a:lnTo>
                <a:lnTo>
                  <a:pt x="233" y="139"/>
                </a:lnTo>
                <a:lnTo>
                  <a:pt x="233" y="139"/>
                </a:lnTo>
                <a:lnTo>
                  <a:pt x="233" y="139"/>
                </a:lnTo>
                <a:lnTo>
                  <a:pt x="233" y="139"/>
                </a:lnTo>
                <a:lnTo>
                  <a:pt x="233" y="137"/>
                </a:lnTo>
                <a:lnTo>
                  <a:pt x="233" y="137"/>
                </a:lnTo>
                <a:lnTo>
                  <a:pt x="235" y="137"/>
                </a:lnTo>
                <a:lnTo>
                  <a:pt x="235" y="137"/>
                </a:lnTo>
                <a:lnTo>
                  <a:pt x="233" y="137"/>
                </a:lnTo>
                <a:lnTo>
                  <a:pt x="233" y="137"/>
                </a:lnTo>
                <a:lnTo>
                  <a:pt x="235" y="135"/>
                </a:lnTo>
                <a:lnTo>
                  <a:pt x="235" y="135"/>
                </a:lnTo>
                <a:lnTo>
                  <a:pt x="235" y="132"/>
                </a:lnTo>
                <a:lnTo>
                  <a:pt x="235" y="132"/>
                </a:lnTo>
                <a:lnTo>
                  <a:pt x="235" y="132"/>
                </a:lnTo>
                <a:lnTo>
                  <a:pt x="235" y="132"/>
                </a:lnTo>
                <a:lnTo>
                  <a:pt x="233" y="132"/>
                </a:lnTo>
                <a:lnTo>
                  <a:pt x="233" y="132"/>
                </a:lnTo>
                <a:lnTo>
                  <a:pt x="230" y="132"/>
                </a:lnTo>
                <a:lnTo>
                  <a:pt x="230" y="135"/>
                </a:lnTo>
                <a:lnTo>
                  <a:pt x="228" y="137"/>
                </a:lnTo>
                <a:lnTo>
                  <a:pt x="226" y="139"/>
                </a:lnTo>
                <a:lnTo>
                  <a:pt x="221" y="142"/>
                </a:lnTo>
                <a:lnTo>
                  <a:pt x="221" y="142"/>
                </a:lnTo>
                <a:lnTo>
                  <a:pt x="219" y="144"/>
                </a:lnTo>
                <a:lnTo>
                  <a:pt x="216" y="146"/>
                </a:lnTo>
                <a:lnTo>
                  <a:pt x="214" y="149"/>
                </a:lnTo>
                <a:lnTo>
                  <a:pt x="214" y="149"/>
                </a:lnTo>
                <a:lnTo>
                  <a:pt x="212" y="151"/>
                </a:lnTo>
                <a:lnTo>
                  <a:pt x="212" y="153"/>
                </a:lnTo>
                <a:lnTo>
                  <a:pt x="209" y="153"/>
                </a:lnTo>
                <a:lnTo>
                  <a:pt x="209" y="153"/>
                </a:lnTo>
                <a:lnTo>
                  <a:pt x="209" y="156"/>
                </a:lnTo>
                <a:lnTo>
                  <a:pt x="207" y="156"/>
                </a:lnTo>
                <a:lnTo>
                  <a:pt x="207" y="158"/>
                </a:lnTo>
                <a:lnTo>
                  <a:pt x="207" y="158"/>
                </a:lnTo>
                <a:lnTo>
                  <a:pt x="202" y="160"/>
                </a:lnTo>
                <a:lnTo>
                  <a:pt x="198" y="163"/>
                </a:lnTo>
                <a:lnTo>
                  <a:pt x="198" y="163"/>
                </a:lnTo>
                <a:lnTo>
                  <a:pt x="195" y="165"/>
                </a:lnTo>
                <a:lnTo>
                  <a:pt x="195" y="165"/>
                </a:lnTo>
                <a:lnTo>
                  <a:pt x="195" y="167"/>
                </a:lnTo>
                <a:lnTo>
                  <a:pt x="193" y="170"/>
                </a:lnTo>
                <a:lnTo>
                  <a:pt x="191" y="170"/>
                </a:lnTo>
                <a:lnTo>
                  <a:pt x="188" y="172"/>
                </a:lnTo>
                <a:lnTo>
                  <a:pt x="188" y="172"/>
                </a:lnTo>
                <a:lnTo>
                  <a:pt x="188" y="172"/>
                </a:lnTo>
                <a:lnTo>
                  <a:pt x="186" y="172"/>
                </a:lnTo>
                <a:lnTo>
                  <a:pt x="186" y="170"/>
                </a:lnTo>
                <a:lnTo>
                  <a:pt x="186" y="172"/>
                </a:lnTo>
                <a:lnTo>
                  <a:pt x="186" y="172"/>
                </a:lnTo>
                <a:lnTo>
                  <a:pt x="184" y="172"/>
                </a:lnTo>
                <a:lnTo>
                  <a:pt x="184" y="172"/>
                </a:lnTo>
                <a:lnTo>
                  <a:pt x="184" y="172"/>
                </a:lnTo>
                <a:lnTo>
                  <a:pt x="181" y="172"/>
                </a:lnTo>
                <a:lnTo>
                  <a:pt x="170" y="174"/>
                </a:lnTo>
                <a:lnTo>
                  <a:pt x="158" y="174"/>
                </a:lnTo>
                <a:lnTo>
                  <a:pt x="147" y="177"/>
                </a:lnTo>
                <a:lnTo>
                  <a:pt x="135" y="177"/>
                </a:lnTo>
                <a:lnTo>
                  <a:pt x="133" y="177"/>
                </a:lnTo>
                <a:lnTo>
                  <a:pt x="133" y="177"/>
                </a:lnTo>
                <a:lnTo>
                  <a:pt x="133" y="174"/>
                </a:lnTo>
                <a:lnTo>
                  <a:pt x="133" y="174"/>
                </a:lnTo>
                <a:lnTo>
                  <a:pt x="133" y="172"/>
                </a:lnTo>
                <a:lnTo>
                  <a:pt x="133" y="172"/>
                </a:lnTo>
                <a:lnTo>
                  <a:pt x="133" y="170"/>
                </a:lnTo>
                <a:lnTo>
                  <a:pt x="133" y="170"/>
                </a:lnTo>
                <a:lnTo>
                  <a:pt x="133" y="167"/>
                </a:lnTo>
                <a:lnTo>
                  <a:pt x="133" y="167"/>
                </a:lnTo>
                <a:lnTo>
                  <a:pt x="133" y="167"/>
                </a:lnTo>
                <a:lnTo>
                  <a:pt x="130" y="165"/>
                </a:lnTo>
                <a:lnTo>
                  <a:pt x="126" y="163"/>
                </a:lnTo>
                <a:lnTo>
                  <a:pt x="126" y="160"/>
                </a:lnTo>
                <a:lnTo>
                  <a:pt x="126" y="156"/>
                </a:lnTo>
                <a:lnTo>
                  <a:pt x="126" y="156"/>
                </a:lnTo>
                <a:lnTo>
                  <a:pt x="126" y="153"/>
                </a:lnTo>
                <a:lnTo>
                  <a:pt x="123" y="153"/>
                </a:lnTo>
                <a:lnTo>
                  <a:pt x="123" y="151"/>
                </a:lnTo>
                <a:lnTo>
                  <a:pt x="123" y="151"/>
                </a:lnTo>
                <a:lnTo>
                  <a:pt x="123" y="149"/>
                </a:lnTo>
                <a:lnTo>
                  <a:pt x="123" y="149"/>
                </a:lnTo>
                <a:lnTo>
                  <a:pt x="121" y="146"/>
                </a:lnTo>
                <a:lnTo>
                  <a:pt x="121" y="146"/>
                </a:lnTo>
                <a:lnTo>
                  <a:pt x="121" y="146"/>
                </a:lnTo>
                <a:lnTo>
                  <a:pt x="119" y="146"/>
                </a:lnTo>
                <a:lnTo>
                  <a:pt x="119" y="146"/>
                </a:lnTo>
                <a:lnTo>
                  <a:pt x="116" y="146"/>
                </a:lnTo>
                <a:lnTo>
                  <a:pt x="116" y="144"/>
                </a:lnTo>
                <a:lnTo>
                  <a:pt x="114" y="144"/>
                </a:lnTo>
                <a:lnTo>
                  <a:pt x="109" y="144"/>
                </a:lnTo>
                <a:lnTo>
                  <a:pt x="107" y="144"/>
                </a:lnTo>
                <a:lnTo>
                  <a:pt x="107" y="144"/>
                </a:lnTo>
                <a:lnTo>
                  <a:pt x="102" y="144"/>
                </a:lnTo>
                <a:lnTo>
                  <a:pt x="100" y="144"/>
                </a:lnTo>
                <a:lnTo>
                  <a:pt x="100" y="144"/>
                </a:lnTo>
                <a:lnTo>
                  <a:pt x="100" y="144"/>
                </a:lnTo>
                <a:lnTo>
                  <a:pt x="98" y="144"/>
                </a:lnTo>
                <a:lnTo>
                  <a:pt x="98" y="144"/>
                </a:lnTo>
                <a:lnTo>
                  <a:pt x="98" y="144"/>
                </a:lnTo>
                <a:lnTo>
                  <a:pt x="98" y="144"/>
                </a:lnTo>
                <a:lnTo>
                  <a:pt x="98" y="144"/>
                </a:lnTo>
                <a:lnTo>
                  <a:pt x="88" y="142"/>
                </a:lnTo>
                <a:lnTo>
                  <a:pt x="63" y="144"/>
                </a:lnTo>
                <a:lnTo>
                  <a:pt x="65" y="142"/>
                </a:lnTo>
                <a:lnTo>
                  <a:pt x="67" y="139"/>
                </a:lnTo>
                <a:lnTo>
                  <a:pt x="70" y="137"/>
                </a:lnTo>
                <a:lnTo>
                  <a:pt x="70" y="135"/>
                </a:lnTo>
                <a:lnTo>
                  <a:pt x="70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4" y="132"/>
                </a:lnTo>
                <a:lnTo>
                  <a:pt x="74" y="130"/>
                </a:lnTo>
                <a:lnTo>
                  <a:pt x="74" y="128"/>
                </a:lnTo>
                <a:lnTo>
                  <a:pt x="77" y="125"/>
                </a:lnTo>
                <a:lnTo>
                  <a:pt x="77" y="125"/>
                </a:lnTo>
                <a:lnTo>
                  <a:pt x="77" y="123"/>
                </a:lnTo>
                <a:lnTo>
                  <a:pt x="77" y="123"/>
                </a:lnTo>
                <a:lnTo>
                  <a:pt x="77" y="116"/>
                </a:lnTo>
                <a:lnTo>
                  <a:pt x="77" y="116"/>
                </a:lnTo>
                <a:lnTo>
                  <a:pt x="74" y="114"/>
                </a:lnTo>
                <a:lnTo>
                  <a:pt x="72" y="111"/>
                </a:lnTo>
                <a:lnTo>
                  <a:pt x="70" y="111"/>
                </a:lnTo>
                <a:lnTo>
                  <a:pt x="70" y="111"/>
                </a:lnTo>
                <a:lnTo>
                  <a:pt x="65" y="104"/>
                </a:lnTo>
                <a:lnTo>
                  <a:pt x="63" y="100"/>
                </a:lnTo>
                <a:lnTo>
                  <a:pt x="63" y="100"/>
                </a:lnTo>
                <a:lnTo>
                  <a:pt x="60" y="100"/>
                </a:lnTo>
                <a:lnTo>
                  <a:pt x="58" y="97"/>
                </a:lnTo>
                <a:lnTo>
                  <a:pt x="56" y="97"/>
                </a:lnTo>
                <a:lnTo>
                  <a:pt x="53" y="97"/>
                </a:lnTo>
                <a:lnTo>
                  <a:pt x="53" y="95"/>
                </a:lnTo>
                <a:lnTo>
                  <a:pt x="49" y="93"/>
                </a:lnTo>
                <a:lnTo>
                  <a:pt x="49" y="93"/>
                </a:lnTo>
                <a:lnTo>
                  <a:pt x="49" y="90"/>
                </a:lnTo>
                <a:lnTo>
                  <a:pt x="49" y="88"/>
                </a:lnTo>
                <a:lnTo>
                  <a:pt x="49" y="86"/>
                </a:lnTo>
                <a:lnTo>
                  <a:pt x="49" y="86"/>
                </a:lnTo>
                <a:lnTo>
                  <a:pt x="46" y="83"/>
                </a:lnTo>
                <a:lnTo>
                  <a:pt x="46" y="83"/>
                </a:lnTo>
                <a:lnTo>
                  <a:pt x="46" y="83"/>
                </a:lnTo>
                <a:lnTo>
                  <a:pt x="44" y="83"/>
                </a:lnTo>
                <a:lnTo>
                  <a:pt x="44" y="83"/>
                </a:lnTo>
                <a:lnTo>
                  <a:pt x="44" y="81"/>
                </a:lnTo>
                <a:lnTo>
                  <a:pt x="42" y="81"/>
                </a:lnTo>
                <a:lnTo>
                  <a:pt x="37" y="79"/>
                </a:lnTo>
                <a:lnTo>
                  <a:pt x="35" y="79"/>
                </a:lnTo>
                <a:lnTo>
                  <a:pt x="35" y="76"/>
                </a:lnTo>
                <a:lnTo>
                  <a:pt x="35" y="74"/>
                </a:lnTo>
                <a:lnTo>
                  <a:pt x="35" y="74"/>
                </a:lnTo>
                <a:lnTo>
                  <a:pt x="33" y="72"/>
                </a:lnTo>
                <a:lnTo>
                  <a:pt x="30" y="69"/>
                </a:lnTo>
                <a:lnTo>
                  <a:pt x="30" y="67"/>
                </a:lnTo>
                <a:lnTo>
                  <a:pt x="30" y="65"/>
                </a:lnTo>
                <a:lnTo>
                  <a:pt x="30" y="65"/>
                </a:lnTo>
                <a:lnTo>
                  <a:pt x="30" y="62"/>
                </a:lnTo>
                <a:lnTo>
                  <a:pt x="28" y="60"/>
                </a:lnTo>
                <a:lnTo>
                  <a:pt x="28" y="58"/>
                </a:lnTo>
                <a:lnTo>
                  <a:pt x="26" y="58"/>
                </a:lnTo>
                <a:lnTo>
                  <a:pt x="23" y="56"/>
                </a:lnTo>
                <a:lnTo>
                  <a:pt x="21" y="56"/>
                </a:lnTo>
                <a:lnTo>
                  <a:pt x="19" y="53"/>
                </a:lnTo>
                <a:lnTo>
                  <a:pt x="19" y="53"/>
                </a:lnTo>
                <a:lnTo>
                  <a:pt x="16" y="51"/>
                </a:lnTo>
                <a:lnTo>
                  <a:pt x="16" y="49"/>
                </a:lnTo>
                <a:lnTo>
                  <a:pt x="19" y="49"/>
                </a:lnTo>
                <a:lnTo>
                  <a:pt x="21" y="49"/>
                </a:lnTo>
                <a:lnTo>
                  <a:pt x="21" y="49"/>
                </a:lnTo>
                <a:lnTo>
                  <a:pt x="23" y="46"/>
                </a:lnTo>
                <a:lnTo>
                  <a:pt x="21" y="42"/>
                </a:lnTo>
                <a:lnTo>
                  <a:pt x="19" y="42"/>
                </a:lnTo>
                <a:lnTo>
                  <a:pt x="16" y="42"/>
                </a:lnTo>
                <a:lnTo>
                  <a:pt x="14" y="39"/>
                </a:lnTo>
                <a:lnTo>
                  <a:pt x="12" y="39"/>
                </a:lnTo>
                <a:lnTo>
                  <a:pt x="2" y="32"/>
                </a:lnTo>
                <a:lnTo>
                  <a:pt x="0" y="30"/>
                </a:lnTo>
                <a:lnTo>
                  <a:pt x="0" y="28"/>
                </a:lnTo>
                <a:lnTo>
                  <a:pt x="2" y="28"/>
                </a:lnTo>
                <a:lnTo>
                  <a:pt x="2" y="28"/>
                </a:lnTo>
                <a:lnTo>
                  <a:pt x="5" y="25"/>
                </a:lnTo>
                <a:lnTo>
                  <a:pt x="5" y="25"/>
                </a:lnTo>
                <a:lnTo>
                  <a:pt x="5" y="23"/>
                </a:lnTo>
                <a:lnTo>
                  <a:pt x="5" y="23"/>
                </a:lnTo>
                <a:lnTo>
                  <a:pt x="5" y="21"/>
                </a:lnTo>
                <a:lnTo>
                  <a:pt x="2" y="18"/>
                </a:lnTo>
                <a:lnTo>
                  <a:pt x="0" y="16"/>
                </a:lnTo>
                <a:lnTo>
                  <a:pt x="2" y="16"/>
                </a:lnTo>
                <a:lnTo>
                  <a:pt x="5" y="16"/>
                </a:lnTo>
                <a:lnTo>
                  <a:pt x="7" y="16"/>
                </a:lnTo>
                <a:lnTo>
                  <a:pt x="7" y="16"/>
                </a:lnTo>
                <a:lnTo>
                  <a:pt x="9" y="14"/>
                </a:lnTo>
                <a:lnTo>
                  <a:pt x="12" y="14"/>
                </a:lnTo>
                <a:lnTo>
                  <a:pt x="14" y="14"/>
                </a:lnTo>
                <a:lnTo>
                  <a:pt x="16" y="14"/>
                </a:lnTo>
                <a:lnTo>
                  <a:pt x="16" y="14"/>
                </a:lnTo>
                <a:lnTo>
                  <a:pt x="19" y="14"/>
                </a:lnTo>
                <a:lnTo>
                  <a:pt x="19" y="11"/>
                </a:lnTo>
                <a:lnTo>
                  <a:pt x="19" y="9"/>
                </a:lnTo>
                <a:lnTo>
                  <a:pt x="16" y="9"/>
                </a:lnTo>
                <a:lnTo>
                  <a:pt x="16" y="7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88" y="23"/>
                </a:lnTo>
                <a:lnTo>
                  <a:pt x="240" y="49"/>
                </a:lnTo>
                <a:lnTo>
                  <a:pt x="277" y="65"/>
                </a:lnTo>
                <a:lnTo>
                  <a:pt x="475" y="144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1" name="Freeform 9">
            <a:extLst>
              <a:ext uri="{FF2B5EF4-FFF2-40B4-BE49-F238E27FC236}">
                <a16:creationId xmlns:a16="http://schemas.microsoft.com/office/drawing/2014/main" id="{760E95F6-086D-0057-DD47-8937EFCF93CC}"/>
              </a:ext>
            </a:extLst>
          </p:cNvPr>
          <p:cNvSpPr>
            <a:spLocks/>
          </p:cNvSpPr>
          <p:nvPr/>
        </p:nvSpPr>
        <p:spPr bwMode="auto">
          <a:xfrm>
            <a:off x="1526024" y="2913416"/>
            <a:ext cx="1351453" cy="916604"/>
          </a:xfrm>
          <a:custGeom>
            <a:avLst/>
            <a:gdLst>
              <a:gd name="T0" fmla="*/ 984 w 1147"/>
              <a:gd name="T1" fmla="*/ 196 h 815"/>
              <a:gd name="T2" fmla="*/ 1014 w 1147"/>
              <a:gd name="T3" fmla="*/ 228 h 815"/>
              <a:gd name="T4" fmla="*/ 1052 w 1147"/>
              <a:gd name="T5" fmla="*/ 256 h 815"/>
              <a:gd name="T6" fmla="*/ 1084 w 1147"/>
              <a:gd name="T7" fmla="*/ 273 h 815"/>
              <a:gd name="T8" fmla="*/ 1119 w 1147"/>
              <a:gd name="T9" fmla="*/ 296 h 815"/>
              <a:gd name="T10" fmla="*/ 1140 w 1147"/>
              <a:gd name="T11" fmla="*/ 307 h 815"/>
              <a:gd name="T12" fmla="*/ 998 w 1147"/>
              <a:gd name="T13" fmla="*/ 601 h 815"/>
              <a:gd name="T14" fmla="*/ 1019 w 1147"/>
              <a:gd name="T15" fmla="*/ 640 h 815"/>
              <a:gd name="T16" fmla="*/ 1005 w 1147"/>
              <a:gd name="T17" fmla="*/ 673 h 815"/>
              <a:gd name="T18" fmla="*/ 1000 w 1147"/>
              <a:gd name="T19" fmla="*/ 720 h 815"/>
              <a:gd name="T20" fmla="*/ 782 w 1147"/>
              <a:gd name="T21" fmla="*/ 733 h 815"/>
              <a:gd name="T22" fmla="*/ 758 w 1147"/>
              <a:gd name="T23" fmla="*/ 727 h 815"/>
              <a:gd name="T24" fmla="*/ 735 w 1147"/>
              <a:gd name="T25" fmla="*/ 708 h 815"/>
              <a:gd name="T26" fmla="*/ 668 w 1147"/>
              <a:gd name="T27" fmla="*/ 696 h 815"/>
              <a:gd name="T28" fmla="*/ 640 w 1147"/>
              <a:gd name="T29" fmla="*/ 717 h 815"/>
              <a:gd name="T30" fmla="*/ 633 w 1147"/>
              <a:gd name="T31" fmla="*/ 738 h 815"/>
              <a:gd name="T32" fmla="*/ 607 w 1147"/>
              <a:gd name="T33" fmla="*/ 752 h 815"/>
              <a:gd name="T34" fmla="*/ 581 w 1147"/>
              <a:gd name="T35" fmla="*/ 773 h 815"/>
              <a:gd name="T36" fmla="*/ 563 w 1147"/>
              <a:gd name="T37" fmla="*/ 773 h 815"/>
              <a:gd name="T38" fmla="*/ 535 w 1147"/>
              <a:gd name="T39" fmla="*/ 792 h 815"/>
              <a:gd name="T40" fmla="*/ 495 w 1147"/>
              <a:gd name="T41" fmla="*/ 785 h 815"/>
              <a:gd name="T42" fmla="*/ 463 w 1147"/>
              <a:gd name="T43" fmla="*/ 815 h 815"/>
              <a:gd name="T44" fmla="*/ 21 w 1147"/>
              <a:gd name="T45" fmla="*/ 638 h 815"/>
              <a:gd name="T46" fmla="*/ 30 w 1147"/>
              <a:gd name="T47" fmla="*/ 596 h 815"/>
              <a:gd name="T48" fmla="*/ 46 w 1147"/>
              <a:gd name="T49" fmla="*/ 538 h 815"/>
              <a:gd name="T50" fmla="*/ 72 w 1147"/>
              <a:gd name="T51" fmla="*/ 517 h 815"/>
              <a:gd name="T52" fmla="*/ 107 w 1147"/>
              <a:gd name="T53" fmla="*/ 491 h 815"/>
              <a:gd name="T54" fmla="*/ 142 w 1147"/>
              <a:gd name="T55" fmla="*/ 480 h 815"/>
              <a:gd name="T56" fmla="*/ 172 w 1147"/>
              <a:gd name="T57" fmla="*/ 473 h 815"/>
              <a:gd name="T58" fmla="*/ 197 w 1147"/>
              <a:gd name="T59" fmla="*/ 459 h 815"/>
              <a:gd name="T60" fmla="*/ 223 w 1147"/>
              <a:gd name="T61" fmla="*/ 466 h 815"/>
              <a:gd name="T62" fmla="*/ 242 w 1147"/>
              <a:gd name="T63" fmla="*/ 403 h 815"/>
              <a:gd name="T64" fmla="*/ 258 w 1147"/>
              <a:gd name="T65" fmla="*/ 259 h 815"/>
              <a:gd name="T66" fmla="*/ 242 w 1147"/>
              <a:gd name="T67" fmla="*/ 224 h 815"/>
              <a:gd name="T68" fmla="*/ 218 w 1147"/>
              <a:gd name="T69" fmla="*/ 196 h 815"/>
              <a:gd name="T70" fmla="*/ 211 w 1147"/>
              <a:gd name="T71" fmla="*/ 135 h 815"/>
              <a:gd name="T72" fmla="*/ 253 w 1147"/>
              <a:gd name="T73" fmla="*/ 128 h 815"/>
              <a:gd name="T74" fmla="*/ 265 w 1147"/>
              <a:gd name="T75" fmla="*/ 117 h 815"/>
              <a:gd name="T76" fmla="*/ 228 w 1147"/>
              <a:gd name="T77" fmla="*/ 103 h 815"/>
              <a:gd name="T78" fmla="*/ 223 w 1147"/>
              <a:gd name="T79" fmla="*/ 56 h 815"/>
              <a:gd name="T80" fmla="*/ 330 w 1147"/>
              <a:gd name="T81" fmla="*/ 49 h 815"/>
              <a:gd name="T82" fmla="*/ 346 w 1147"/>
              <a:gd name="T83" fmla="*/ 49 h 815"/>
              <a:gd name="T84" fmla="*/ 388 w 1147"/>
              <a:gd name="T85" fmla="*/ 23 h 815"/>
              <a:gd name="T86" fmla="*/ 444 w 1147"/>
              <a:gd name="T87" fmla="*/ 96 h 815"/>
              <a:gd name="T88" fmla="*/ 488 w 1147"/>
              <a:gd name="T89" fmla="*/ 105 h 815"/>
              <a:gd name="T90" fmla="*/ 514 w 1147"/>
              <a:gd name="T91" fmla="*/ 114 h 815"/>
              <a:gd name="T92" fmla="*/ 542 w 1147"/>
              <a:gd name="T93" fmla="*/ 84 h 815"/>
              <a:gd name="T94" fmla="*/ 581 w 1147"/>
              <a:gd name="T95" fmla="*/ 65 h 815"/>
              <a:gd name="T96" fmla="*/ 612 w 1147"/>
              <a:gd name="T97" fmla="*/ 47 h 815"/>
              <a:gd name="T98" fmla="*/ 658 w 1147"/>
              <a:gd name="T99" fmla="*/ 7 h 815"/>
              <a:gd name="T100" fmla="*/ 686 w 1147"/>
              <a:gd name="T101" fmla="*/ 14 h 815"/>
              <a:gd name="T102" fmla="*/ 709 w 1147"/>
              <a:gd name="T103" fmla="*/ 33 h 815"/>
              <a:gd name="T104" fmla="*/ 721 w 1147"/>
              <a:gd name="T105" fmla="*/ 75 h 815"/>
              <a:gd name="T106" fmla="*/ 723 w 1147"/>
              <a:gd name="T107" fmla="*/ 126 h 815"/>
              <a:gd name="T108" fmla="*/ 728 w 1147"/>
              <a:gd name="T109" fmla="*/ 168 h 815"/>
              <a:gd name="T110" fmla="*/ 730 w 1147"/>
              <a:gd name="T111" fmla="*/ 200 h 815"/>
              <a:gd name="T112" fmla="*/ 763 w 1147"/>
              <a:gd name="T113" fmla="*/ 233 h 815"/>
              <a:gd name="T114" fmla="*/ 791 w 1147"/>
              <a:gd name="T115" fmla="*/ 235 h 815"/>
              <a:gd name="T116" fmla="*/ 805 w 1147"/>
              <a:gd name="T117" fmla="*/ 193 h 815"/>
              <a:gd name="T118" fmla="*/ 840 w 1147"/>
              <a:gd name="T119" fmla="*/ 196 h 815"/>
              <a:gd name="T120" fmla="*/ 868 w 1147"/>
              <a:gd name="T121" fmla="*/ 203 h 815"/>
              <a:gd name="T122" fmla="*/ 877 w 1147"/>
              <a:gd name="T123" fmla="*/ 165 h 815"/>
              <a:gd name="T124" fmla="*/ 977 w 1147"/>
              <a:gd name="T125" fmla="*/ 138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47" h="815">
                <a:moveTo>
                  <a:pt x="977" y="138"/>
                </a:moveTo>
                <a:lnTo>
                  <a:pt x="977" y="158"/>
                </a:lnTo>
                <a:lnTo>
                  <a:pt x="977" y="161"/>
                </a:lnTo>
                <a:lnTo>
                  <a:pt x="977" y="163"/>
                </a:lnTo>
                <a:lnTo>
                  <a:pt x="977" y="172"/>
                </a:lnTo>
                <a:lnTo>
                  <a:pt x="977" y="175"/>
                </a:lnTo>
                <a:lnTo>
                  <a:pt x="977" y="177"/>
                </a:lnTo>
                <a:lnTo>
                  <a:pt x="979" y="177"/>
                </a:lnTo>
                <a:lnTo>
                  <a:pt x="979" y="179"/>
                </a:lnTo>
                <a:lnTo>
                  <a:pt x="984" y="179"/>
                </a:lnTo>
                <a:lnTo>
                  <a:pt x="984" y="182"/>
                </a:lnTo>
                <a:lnTo>
                  <a:pt x="986" y="182"/>
                </a:lnTo>
                <a:lnTo>
                  <a:pt x="986" y="184"/>
                </a:lnTo>
                <a:lnTo>
                  <a:pt x="984" y="186"/>
                </a:lnTo>
                <a:lnTo>
                  <a:pt x="984" y="189"/>
                </a:lnTo>
                <a:lnTo>
                  <a:pt x="984" y="193"/>
                </a:lnTo>
                <a:lnTo>
                  <a:pt x="984" y="196"/>
                </a:lnTo>
                <a:lnTo>
                  <a:pt x="986" y="200"/>
                </a:lnTo>
                <a:lnTo>
                  <a:pt x="993" y="205"/>
                </a:lnTo>
                <a:lnTo>
                  <a:pt x="996" y="205"/>
                </a:lnTo>
                <a:lnTo>
                  <a:pt x="998" y="205"/>
                </a:lnTo>
                <a:lnTo>
                  <a:pt x="1000" y="207"/>
                </a:lnTo>
                <a:lnTo>
                  <a:pt x="1003" y="207"/>
                </a:lnTo>
                <a:lnTo>
                  <a:pt x="1003" y="210"/>
                </a:lnTo>
                <a:lnTo>
                  <a:pt x="1005" y="210"/>
                </a:lnTo>
                <a:lnTo>
                  <a:pt x="1005" y="212"/>
                </a:lnTo>
                <a:lnTo>
                  <a:pt x="1005" y="214"/>
                </a:lnTo>
                <a:lnTo>
                  <a:pt x="1007" y="214"/>
                </a:lnTo>
                <a:lnTo>
                  <a:pt x="1007" y="217"/>
                </a:lnTo>
                <a:lnTo>
                  <a:pt x="1007" y="219"/>
                </a:lnTo>
                <a:lnTo>
                  <a:pt x="1007" y="221"/>
                </a:lnTo>
                <a:lnTo>
                  <a:pt x="1007" y="224"/>
                </a:lnTo>
                <a:lnTo>
                  <a:pt x="1010" y="224"/>
                </a:lnTo>
                <a:lnTo>
                  <a:pt x="1014" y="228"/>
                </a:lnTo>
                <a:lnTo>
                  <a:pt x="1017" y="228"/>
                </a:lnTo>
                <a:lnTo>
                  <a:pt x="1019" y="231"/>
                </a:lnTo>
                <a:lnTo>
                  <a:pt x="1021" y="235"/>
                </a:lnTo>
                <a:lnTo>
                  <a:pt x="1024" y="235"/>
                </a:lnTo>
                <a:lnTo>
                  <a:pt x="1024" y="238"/>
                </a:lnTo>
                <a:lnTo>
                  <a:pt x="1026" y="238"/>
                </a:lnTo>
                <a:lnTo>
                  <a:pt x="1028" y="238"/>
                </a:lnTo>
                <a:lnTo>
                  <a:pt x="1028" y="240"/>
                </a:lnTo>
                <a:lnTo>
                  <a:pt x="1035" y="245"/>
                </a:lnTo>
                <a:lnTo>
                  <a:pt x="1038" y="245"/>
                </a:lnTo>
                <a:lnTo>
                  <a:pt x="1038" y="247"/>
                </a:lnTo>
                <a:lnTo>
                  <a:pt x="1040" y="247"/>
                </a:lnTo>
                <a:lnTo>
                  <a:pt x="1040" y="249"/>
                </a:lnTo>
                <a:lnTo>
                  <a:pt x="1042" y="249"/>
                </a:lnTo>
                <a:lnTo>
                  <a:pt x="1047" y="252"/>
                </a:lnTo>
                <a:lnTo>
                  <a:pt x="1049" y="252"/>
                </a:lnTo>
                <a:lnTo>
                  <a:pt x="1052" y="256"/>
                </a:lnTo>
                <a:lnTo>
                  <a:pt x="1054" y="256"/>
                </a:lnTo>
                <a:lnTo>
                  <a:pt x="1056" y="259"/>
                </a:lnTo>
                <a:lnTo>
                  <a:pt x="1056" y="261"/>
                </a:lnTo>
                <a:lnTo>
                  <a:pt x="1059" y="261"/>
                </a:lnTo>
                <a:lnTo>
                  <a:pt x="1063" y="263"/>
                </a:lnTo>
                <a:lnTo>
                  <a:pt x="1065" y="263"/>
                </a:lnTo>
                <a:lnTo>
                  <a:pt x="1068" y="266"/>
                </a:lnTo>
                <a:lnTo>
                  <a:pt x="1070" y="266"/>
                </a:lnTo>
                <a:lnTo>
                  <a:pt x="1070" y="268"/>
                </a:lnTo>
                <a:lnTo>
                  <a:pt x="1072" y="268"/>
                </a:lnTo>
                <a:lnTo>
                  <a:pt x="1075" y="270"/>
                </a:lnTo>
                <a:lnTo>
                  <a:pt x="1077" y="270"/>
                </a:lnTo>
                <a:lnTo>
                  <a:pt x="1079" y="270"/>
                </a:lnTo>
                <a:lnTo>
                  <a:pt x="1082" y="270"/>
                </a:lnTo>
                <a:lnTo>
                  <a:pt x="1084" y="270"/>
                </a:lnTo>
                <a:lnTo>
                  <a:pt x="1086" y="270"/>
                </a:lnTo>
                <a:lnTo>
                  <a:pt x="1084" y="273"/>
                </a:lnTo>
                <a:lnTo>
                  <a:pt x="1086" y="273"/>
                </a:lnTo>
                <a:lnTo>
                  <a:pt x="1089" y="273"/>
                </a:lnTo>
                <a:lnTo>
                  <a:pt x="1091" y="275"/>
                </a:lnTo>
                <a:lnTo>
                  <a:pt x="1093" y="275"/>
                </a:lnTo>
                <a:lnTo>
                  <a:pt x="1096" y="277"/>
                </a:lnTo>
                <a:lnTo>
                  <a:pt x="1098" y="280"/>
                </a:lnTo>
                <a:lnTo>
                  <a:pt x="1098" y="282"/>
                </a:lnTo>
                <a:lnTo>
                  <a:pt x="1103" y="284"/>
                </a:lnTo>
                <a:lnTo>
                  <a:pt x="1103" y="287"/>
                </a:lnTo>
                <a:lnTo>
                  <a:pt x="1107" y="287"/>
                </a:lnTo>
                <a:lnTo>
                  <a:pt x="1107" y="289"/>
                </a:lnTo>
                <a:lnTo>
                  <a:pt x="1112" y="291"/>
                </a:lnTo>
                <a:lnTo>
                  <a:pt x="1114" y="291"/>
                </a:lnTo>
                <a:lnTo>
                  <a:pt x="1117" y="291"/>
                </a:lnTo>
                <a:lnTo>
                  <a:pt x="1119" y="291"/>
                </a:lnTo>
                <a:lnTo>
                  <a:pt x="1119" y="294"/>
                </a:lnTo>
                <a:lnTo>
                  <a:pt x="1119" y="296"/>
                </a:lnTo>
                <a:lnTo>
                  <a:pt x="1119" y="298"/>
                </a:lnTo>
                <a:lnTo>
                  <a:pt x="1117" y="298"/>
                </a:lnTo>
                <a:lnTo>
                  <a:pt x="1117" y="300"/>
                </a:lnTo>
                <a:lnTo>
                  <a:pt x="1119" y="300"/>
                </a:lnTo>
                <a:lnTo>
                  <a:pt x="1119" y="303"/>
                </a:lnTo>
                <a:lnTo>
                  <a:pt x="1121" y="303"/>
                </a:lnTo>
                <a:lnTo>
                  <a:pt x="1124" y="303"/>
                </a:lnTo>
                <a:lnTo>
                  <a:pt x="1124" y="305"/>
                </a:lnTo>
                <a:lnTo>
                  <a:pt x="1126" y="305"/>
                </a:lnTo>
                <a:lnTo>
                  <a:pt x="1131" y="303"/>
                </a:lnTo>
                <a:lnTo>
                  <a:pt x="1133" y="300"/>
                </a:lnTo>
                <a:lnTo>
                  <a:pt x="1135" y="300"/>
                </a:lnTo>
                <a:lnTo>
                  <a:pt x="1138" y="303"/>
                </a:lnTo>
                <a:lnTo>
                  <a:pt x="1135" y="305"/>
                </a:lnTo>
                <a:lnTo>
                  <a:pt x="1135" y="307"/>
                </a:lnTo>
                <a:lnTo>
                  <a:pt x="1138" y="307"/>
                </a:lnTo>
                <a:lnTo>
                  <a:pt x="1140" y="307"/>
                </a:lnTo>
                <a:lnTo>
                  <a:pt x="1142" y="307"/>
                </a:lnTo>
                <a:lnTo>
                  <a:pt x="1142" y="310"/>
                </a:lnTo>
                <a:lnTo>
                  <a:pt x="1142" y="307"/>
                </a:lnTo>
                <a:lnTo>
                  <a:pt x="1145" y="307"/>
                </a:lnTo>
                <a:lnTo>
                  <a:pt x="1147" y="307"/>
                </a:lnTo>
                <a:lnTo>
                  <a:pt x="1142" y="310"/>
                </a:lnTo>
                <a:lnTo>
                  <a:pt x="1142" y="312"/>
                </a:lnTo>
                <a:lnTo>
                  <a:pt x="1142" y="314"/>
                </a:lnTo>
                <a:lnTo>
                  <a:pt x="1142" y="317"/>
                </a:lnTo>
                <a:lnTo>
                  <a:pt x="1117" y="370"/>
                </a:lnTo>
                <a:lnTo>
                  <a:pt x="1010" y="587"/>
                </a:lnTo>
                <a:lnTo>
                  <a:pt x="1007" y="591"/>
                </a:lnTo>
                <a:lnTo>
                  <a:pt x="1003" y="596"/>
                </a:lnTo>
                <a:lnTo>
                  <a:pt x="1000" y="596"/>
                </a:lnTo>
                <a:lnTo>
                  <a:pt x="1000" y="598"/>
                </a:lnTo>
                <a:lnTo>
                  <a:pt x="1000" y="601"/>
                </a:lnTo>
                <a:lnTo>
                  <a:pt x="998" y="601"/>
                </a:lnTo>
                <a:lnTo>
                  <a:pt x="998" y="603"/>
                </a:lnTo>
                <a:lnTo>
                  <a:pt x="1000" y="605"/>
                </a:lnTo>
                <a:lnTo>
                  <a:pt x="1000" y="612"/>
                </a:lnTo>
                <a:lnTo>
                  <a:pt x="1003" y="615"/>
                </a:lnTo>
                <a:lnTo>
                  <a:pt x="1005" y="617"/>
                </a:lnTo>
                <a:lnTo>
                  <a:pt x="1007" y="619"/>
                </a:lnTo>
                <a:lnTo>
                  <a:pt x="1010" y="619"/>
                </a:lnTo>
                <a:lnTo>
                  <a:pt x="1012" y="624"/>
                </a:lnTo>
                <a:lnTo>
                  <a:pt x="1014" y="626"/>
                </a:lnTo>
                <a:lnTo>
                  <a:pt x="1017" y="629"/>
                </a:lnTo>
                <a:lnTo>
                  <a:pt x="1017" y="631"/>
                </a:lnTo>
                <a:lnTo>
                  <a:pt x="1019" y="633"/>
                </a:lnTo>
                <a:lnTo>
                  <a:pt x="1019" y="636"/>
                </a:lnTo>
                <a:lnTo>
                  <a:pt x="1017" y="636"/>
                </a:lnTo>
                <a:lnTo>
                  <a:pt x="1017" y="638"/>
                </a:lnTo>
                <a:lnTo>
                  <a:pt x="1019" y="638"/>
                </a:lnTo>
                <a:lnTo>
                  <a:pt x="1019" y="640"/>
                </a:lnTo>
                <a:lnTo>
                  <a:pt x="1021" y="643"/>
                </a:lnTo>
                <a:lnTo>
                  <a:pt x="1019" y="643"/>
                </a:lnTo>
                <a:lnTo>
                  <a:pt x="1019" y="645"/>
                </a:lnTo>
                <a:lnTo>
                  <a:pt x="1017" y="645"/>
                </a:lnTo>
                <a:lnTo>
                  <a:pt x="1017" y="647"/>
                </a:lnTo>
                <a:lnTo>
                  <a:pt x="1014" y="647"/>
                </a:lnTo>
                <a:lnTo>
                  <a:pt x="1014" y="650"/>
                </a:lnTo>
                <a:lnTo>
                  <a:pt x="1014" y="652"/>
                </a:lnTo>
                <a:lnTo>
                  <a:pt x="1014" y="654"/>
                </a:lnTo>
                <a:lnTo>
                  <a:pt x="1017" y="657"/>
                </a:lnTo>
                <a:lnTo>
                  <a:pt x="1014" y="659"/>
                </a:lnTo>
                <a:lnTo>
                  <a:pt x="1014" y="661"/>
                </a:lnTo>
                <a:lnTo>
                  <a:pt x="1012" y="664"/>
                </a:lnTo>
                <a:lnTo>
                  <a:pt x="1010" y="668"/>
                </a:lnTo>
                <a:lnTo>
                  <a:pt x="1007" y="668"/>
                </a:lnTo>
                <a:lnTo>
                  <a:pt x="1005" y="671"/>
                </a:lnTo>
                <a:lnTo>
                  <a:pt x="1005" y="673"/>
                </a:lnTo>
                <a:lnTo>
                  <a:pt x="1005" y="675"/>
                </a:lnTo>
                <a:lnTo>
                  <a:pt x="1005" y="678"/>
                </a:lnTo>
                <a:lnTo>
                  <a:pt x="1005" y="680"/>
                </a:lnTo>
                <a:lnTo>
                  <a:pt x="1007" y="682"/>
                </a:lnTo>
                <a:lnTo>
                  <a:pt x="1007" y="685"/>
                </a:lnTo>
                <a:lnTo>
                  <a:pt x="1010" y="689"/>
                </a:lnTo>
                <a:lnTo>
                  <a:pt x="1010" y="692"/>
                </a:lnTo>
                <a:lnTo>
                  <a:pt x="1007" y="699"/>
                </a:lnTo>
                <a:lnTo>
                  <a:pt x="1007" y="701"/>
                </a:lnTo>
                <a:lnTo>
                  <a:pt x="1005" y="703"/>
                </a:lnTo>
                <a:lnTo>
                  <a:pt x="1005" y="706"/>
                </a:lnTo>
                <a:lnTo>
                  <a:pt x="1003" y="708"/>
                </a:lnTo>
                <a:lnTo>
                  <a:pt x="1003" y="710"/>
                </a:lnTo>
                <a:lnTo>
                  <a:pt x="1000" y="710"/>
                </a:lnTo>
                <a:lnTo>
                  <a:pt x="1000" y="713"/>
                </a:lnTo>
                <a:lnTo>
                  <a:pt x="1000" y="717"/>
                </a:lnTo>
                <a:lnTo>
                  <a:pt x="1000" y="720"/>
                </a:lnTo>
                <a:lnTo>
                  <a:pt x="1000" y="722"/>
                </a:lnTo>
                <a:lnTo>
                  <a:pt x="1000" y="724"/>
                </a:lnTo>
                <a:lnTo>
                  <a:pt x="998" y="724"/>
                </a:lnTo>
                <a:lnTo>
                  <a:pt x="998" y="729"/>
                </a:lnTo>
                <a:lnTo>
                  <a:pt x="998" y="731"/>
                </a:lnTo>
                <a:lnTo>
                  <a:pt x="996" y="731"/>
                </a:lnTo>
                <a:lnTo>
                  <a:pt x="993" y="733"/>
                </a:lnTo>
                <a:lnTo>
                  <a:pt x="796" y="736"/>
                </a:lnTo>
                <a:lnTo>
                  <a:pt x="796" y="731"/>
                </a:lnTo>
                <a:lnTo>
                  <a:pt x="793" y="731"/>
                </a:lnTo>
                <a:lnTo>
                  <a:pt x="791" y="731"/>
                </a:lnTo>
                <a:lnTo>
                  <a:pt x="789" y="729"/>
                </a:lnTo>
                <a:lnTo>
                  <a:pt x="786" y="729"/>
                </a:lnTo>
                <a:lnTo>
                  <a:pt x="786" y="731"/>
                </a:lnTo>
                <a:lnTo>
                  <a:pt x="784" y="731"/>
                </a:lnTo>
                <a:lnTo>
                  <a:pt x="784" y="733"/>
                </a:lnTo>
                <a:lnTo>
                  <a:pt x="782" y="733"/>
                </a:lnTo>
                <a:lnTo>
                  <a:pt x="779" y="733"/>
                </a:lnTo>
                <a:lnTo>
                  <a:pt x="779" y="736"/>
                </a:lnTo>
                <a:lnTo>
                  <a:pt x="779" y="738"/>
                </a:lnTo>
                <a:lnTo>
                  <a:pt x="779" y="740"/>
                </a:lnTo>
                <a:lnTo>
                  <a:pt x="777" y="740"/>
                </a:lnTo>
                <a:lnTo>
                  <a:pt x="777" y="743"/>
                </a:lnTo>
                <a:lnTo>
                  <a:pt x="775" y="743"/>
                </a:lnTo>
                <a:lnTo>
                  <a:pt x="775" y="740"/>
                </a:lnTo>
                <a:lnTo>
                  <a:pt x="772" y="740"/>
                </a:lnTo>
                <a:lnTo>
                  <a:pt x="770" y="738"/>
                </a:lnTo>
                <a:lnTo>
                  <a:pt x="765" y="736"/>
                </a:lnTo>
                <a:lnTo>
                  <a:pt x="763" y="736"/>
                </a:lnTo>
                <a:lnTo>
                  <a:pt x="761" y="736"/>
                </a:lnTo>
                <a:lnTo>
                  <a:pt x="761" y="733"/>
                </a:lnTo>
                <a:lnTo>
                  <a:pt x="761" y="731"/>
                </a:lnTo>
                <a:lnTo>
                  <a:pt x="761" y="729"/>
                </a:lnTo>
                <a:lnTo>
                  <a:pt x="758" y="727"/>
                </a:lnTo>
                <a:lnTo>
                  <a:pt x="758" y="724"/>
                </a:lnTo>
                <a:lnTo>
                  <a:pt x="756" y="724"/>
                </a:lnTo>
                <a:lnTo>
                  <a:pt x="754" y="724"/>
                </a:lnTo>
                <a:lnTo>
                  <a:pt x="751" y="724"/>
                </a:lnTo>
                <a:lnTo>
                  <a:pt x="749" y="722"/>
                </a:lnTo>
                <a:lnTo>
                  <a:pt x="749" y="720"/>
                </a:lnTo>
                <a:lnTo>
                  <a:pt x="749" y="717"/>
                </a:lnTo>
                <a:lnTo>
                  <a:pt x="747" y="715"/>
                </a:lnTo>
                <a:lnTo>
                  <a:pt x="747" y="713"/>
                </a:lnTo>
                <a:lnTo>
                  <a:pt x="747" y="710"/>
                </a:lnTo>
                <a:lnTo>
                  <a:pt x="744" y="710"/>
                </a:lnTo>
                <a:lnTo>
                  <a:pt x="742" y="708"/>
                </a:lnTo>
                <a:lnTo>
                  <a:pt x="740" y="708"/>
                </a:lnTo>
                <a:lnTo>
                  <a:pt x="737" y="708"/>
                </a:lnTo>
                <a:lnTo>
                  <a:pt x="737" y="710"/>
                </a:lnTo>
                <a:lnTo>
                  <a:pt x="735" y="710"/>
                </a:lnTo>
                <a:lnTo>
                  <a:pt x="735" y="708"/>
                </a:lnTo>
                <a:lnTo>
                  <a:pt x="735" y="706"/>
                </a:lnTo>
                <a:lnTo>
                  <a:pt x="733" y="706"/>
                </a:lnTo>
                <a:lnTo>
                  <a:pt x="733" y="703"/>
                </a:lnTo>
                <a:lnTo>
                  <a:pt x="730" y="701"/>
                </a:lnTo>
                <a:lnTo>
                  <a:pt x="728" y="701"/>
                </a:lnTo>
                <a:lnTo>
                  <a:pt x="726" y="696"/>
                </a:lnTo>
                <a:lnTo>
                  <a:pt x="726" y="694"/>
                </a:lnTo>
                <a:lnTo>
                  <a:pt x="723" y="689"/>
                </a:lnTo>
                <a:lnTo>
                  <a:pt x="721" y="689"/>
                </a:lnTo>
                <a:lnTo>
                  <a:pt x="716" y="687"/>
                </a:lnTo>
                <a:lnTo>
                  <a:pt x="709" y="687"/>
                </a:lnTo>
                <a:lnTo>
                  <a:pt x="670" y="687"/>
                </a:lnTo>
                <a:lnTo>
                  <a:pt x="668" y="689"/>
                </a:lnTo>
                <a:lnTo>
                  <a:pt x="668" y="692"/>
                </a:lnTo>
                <a:lnTo>
                  <a:pt x="665" y="692"/>
                </a:lnTo>
                <a:lnTo>
                  <a:pt x="665" y="694"/>
                </a:lnTo>
                <a:lnTo>
                  <a:pt x="668" y="696"/>
                </a:lnTo>
                <a:lnTo>
                  <a:pt x="668" y="699"/>
                </a:lnTo>
                <a:lnTo>
                  <a:pt x="665" y="699"/>
                </a:lnTo>
                <a:lnTo>
                  <a:pt x="663" y="699"/>
                </a:lnTo>
                <a:lnTo>
                  <a:pt x="661" y="699"/>
                </a:lnTo>
                <a:lnTo>
                  <a:pt x="658" y="699"/>
                </a:lnTo>
                <a:lnTo>
                  <a:pt x="658" y="701"/>
                </a:lnTo>
                <a:lnTo>
                  <a:pt x="656" y="701"/>
                </a:lnTo>
                <a:lnTo>
                  <a:pt x="656" y="703"/>
                </a:lnTo>
                <a:lnTo>
                  <a:pt x="656" y="706"/>
                </a:lnTo>
                <a:lnTo>
                  <a:pt x="654" y="706"/>
                </a:lnTo>
                <a:lnTo>
                  <a:pt x="651" y="708"/>
                </a:lnTo>
                <a:lnTo>
                  <a:pt x="649" y="708"/>
                </a:lnTo>
                <a:lnTo>
                  <a:pt x="647" y="708"/>
                </a:lnTo>
                <a:lnTo>
                  <a:pt x="644" y="710"/>
                </a:lnTo>
                <a:lnTo>
                  <a:pt x="644" y="713"/>
                </a:lnTo>
                <a:lnTo>
                  <a:pt x="642" y="715"/>
                </a:lnTo>
                <a:lnTo>
                  <a:pt x="640" y="717"/>
                </a:lnTo>
                <a:lnTo>
                  <a:pt x="642" y="717"/>
                </a:lnTo>
                <a:lnTo>
                  <a:pt x="642" y="720"/>
                </a:lnTo>
                <a:lnTo>
                  <a:pt x="644" y="720"/>
                </a:lnTo>
                <a:lnTo>
                  <a:pt x="644" y="722"/>
                </a:lnTo>
                <a:lnTo>
                  <a:pt x="647" y="722"/>
                </a:lnTo>
                <a:lnTo>
                  <a:pt x="647" y="724"/>
                </a:lnTo>
                <a:lnTo>
                  <a:pt x="644" y="724"/>
                </a:lnTo>
                <a:lnTo>
                  <a:pt x="644" y="727"/>
                </a:lnTo>
                <a:lnTo>
                  <a:pt x="642" y="729"/>
                </a:lnTo>
                <a:lnTo>
                  <a:pt x="642" y="731"/>
                </a:lnTo>
                <a:lnTo>
                  <a:pt x="640" y="731"/>
                </a:lnTo>
                <a:lnTo>
                  <a:pt x="640" y="733"/>
                </a:lnTo>
                <a:lnTo>
                  <a:pt x="637" y="733"/>
                </a:lnTo>
                <a:lnTo>
                  <a:pt x="635" y="733"/>
                </a:lnTo>
                <a:lnTo>
                  <a:pt x="633" y="733"/>
                </a:lnTo>
                <a:lnTo>
                  <a:pt x="633" y="736"/>
                </a:lnTo>
                <a:lnTo>
                  <a:pt x="633" y="738"/>
                </a:lnTo>
                <a:lnTo>
                  <a:pt x="633" y="740"/>
                </a:lnTo>
                <a:lnTo>
                  <a:pt x="633" y="743"/>
                </a:lnTo>
                <a:lnTo>
                  <a:pt x="633" y="745"/>
                </a:lnTo>
                <a:lnTo>
                  <a:pt x="633" y="750"/>
                </a:lnTo>
                <a:lnTo>
                  <a:pt x="630" y="750"/>
                </a:lnTo>
                <a:lnTo>
                  <a:pt x="628" y="750"/>
                </a:lnTo>
                <a:lnTo>
                  <a:pt x="626" y="750"/>
                </a:lnTo>
                <a:lnTo>
                  <a:pt x="623" y="750"/>
                </a:lnTo>
                <a:lnTo>
                  <a:pt x="621" y="750"/>
                </a:lnTo>
                <a:lnTo>
                  <a:pt x="619" y="750"/>
                </a:lnTo>
                <a:lnTo>
                  <a:pt x="616" y="750"/>
                </a:lnTo>
                <a:lnTo>
                  <a:pt x="614" y="752"/>
                </a:lnTo>
                <a:lnTo>
                  <a:pt x="612" y="752"/>
                </a:lnTo>
                <a:lnTo>
                  <a:pt x="612" y="750"/>
                </a:lnTo>
                <a:lnTo>
                  <a:pt x="609" y="750"/>
                </a:lnTo>
                <a:lnTo>
                  <a:pt x="609" y="752"/>
                </a:lnTo>
                <a:lnTo>
                  <a:pt x="607" y="752"/>
                </a:lnTo>
                <a:lnTo>
                  <a:pt x="605" y="754"/>
                </a:lnTo>
                <a:lnTo>
                  <a:pt x="602" y="754"/>
                </a:lnTo>
                <a:lnTo>
                  <a:pt x="598" y="754"/>
                </a:lnTo>
                <a:lnTo>
                  <a:pt x="595" y="754"/>
                </a:lnTo>
                <a:lnTo>
                  <a:pt x="593" y="754"/>
                </a:lnTo>
                <a:lnTo>
                  <a:pt x="593" y="752"/>
                </a:lnTo>
                <a:lnTo>
                  <a:pt x="591" y="754"/>
                </a:lnTo>
                <a:lnTo>
                  <a:pt x="586" y="757"/>
                </a:lnTo>
                <a:lnTo>
                  <a:pt x="584" y="759"/>
                </a:lnTo>
                <a:lnTo>
                  <a:pt x="584" y="761"/>
                </a:lnTo>
                <a:lnTo>
                  <a:pt x="581" y="761"/>
                </a:lnTo>
                <a:lnTo>
                  <a:pt x="581" y="764"/>
                </a:lnTo>
                <a:lnTo>
                  <a:pt x="584" y="766"/>
                </a:lnTo>
                <a:lnTo>
                  <a:pt x="584" y="768"/>
                </a:lnTo>
                <a:lnTo>
                  <a:pt x="584" y="771"/>
                </a:lnTo>
                <a:lnTo>
                  <a:pt x="581" y="771"/>
                </a:lnTo>
                <a:lnTo>
                  <a:pt x="581" y="773"/>
                </a:lnTo>
                <a:lnTo>
                  <a:pt x="579" y="773"/>
                </a:lnTo>
                <a:lnTo>
                  <a:pt x="579" y="775"/>
                </a:lnTo>
                <a:lnTo>
                  <a:pt x="577" y="778"/>
                </a:lnTo>
                <a:lnTo>
                  <a:pt x="577" y="780"/>
                </a:lnTo>
                <a:lnTo>
                  <a:pt x="574" y="780"/>
                </a:lnTo>
                <a:lnTo>
                  <a:pt x="574" y="782"/>
                </a:lnTo>
                <a:lnTo>
                  <a:pt x="572" y="782"/>
                </a:lnTo>
                <a:lnTo>
                  <a:pt x="570" y="782"/>
                </a:lnTo>
                <a:lnTo>
                  <a:pt x="567" y="782"/>
                </a:lnTo>
                <a:lnTo>
                  <a:pt x="567" y="780"/>
                </a:lnTo>
                <a:lnTo>
                  <a:pt x="567" y="778"/>
                </a:lnTo>
                <a:lnTo>
                  <a:pt x="567" y="775"/>
                </a:lnTo>
                <a:lnTo>
                  <a:pt x="565" y="775"/>
                </a:lnTo>
                <a:lnTo>
                  <a:pt x="565" y="773"/>
                </a:lnTo>
                <a:lnTo>
                  <a:pt x="565" y="771"/>
                </a:lnTo>
                <a:lnTo>
                  <a:pt x="563" y="771"/>
                </a:lnTo>
                <a:lnTo>
                  <a:pt x="563" y="773"/>
                </a:lnTo>
                <a:lnTo>
                  <a:pt x="560" y="773"/>
                </a:lnTo>
                <a:lnTo>
                  <a:pt x="560" y="775"/>
                </a:lnTo>
                <a:lnTo>
                  <a:pt x="556" y="778"/>
                </a:lnTo>
                <a:lnTo>
                  <a:pt x="553" y="778"/>
                </a:lnTo>
                <a:lnTo>
                  <a:pt x="553" y="780"/>
                </a:lnTo>
                <a:lnTo>
                  <a:pt x="551" y="780"/>
                </a:lnTo>
                <a:lnTo>
                  <a:pt x="551" y="782"/>
                </a:lnTo>
                <a:lnTo>
                  <a:pt x="549" y="782"/>
                </a:lnTo>
                <a:lnTo>
                  <a:pt x="549" y="785"/>
                </a:lnTo>
                <a:lnTo>
                  <a:pt x="546" y="785"/>
                </a:lnTo>
                <a:lnTo>
                  <a:pt x="544" y="782"/>
                </a:lnTo>
                <a:lnTo>
                  <a:pt x="542" y="782"/>
                </a:lnTo>
                <a:lnTo>
                  <a:pt x="537" y="785"/>
                </a:lnTo>
                <a:lnTo>
                  <a:pt x="537" y="787"/>
                </a:lnTo>
                <a:lnTo>
                  <a:pt x="535" y="787"/>
                </a:lnTo>
                <a:lnTo>
                  <a:pt x="535" y="789"/>
                </a:lnTo>
                <a:lnTo>
                  <a:pt x="535" y="792"/>
                </a:lnTo>
                <a:lnTo>
                  <a:pt x="533" y="792"/>
                </a:lnTo>
                <a:lnTo>
                  <a:pt x="533" y="794"/>
                </a:lnTo>
                <a:lnTo>
                  <a:pt x="530" y="794"/>
                </a:lnTo>
                <a:lnTo>
                  <a:pt x="528" y="794"/>
                </a:lnTo>
                <a:lnTo>
                  <a:pt x="528" y="792"/>
                </a:lnTo>
                <a:lnTo>
                  <a:pt x="526" y="789"/>
                </a:lnTo>
                <a:lnTo>
                  <a:pt x="523" y="789"/>
                </a:lnTo>
                <a:lnTo>
                  <a:pt x="521" y="787"/>
                </a:lnTo>
                <a:lnTo>
                  <a:pt x="519" y="785"/>
                </a:lnTo>
                <a:lnTo>
                  <a:pt x="516" y="785"/>
                </a:lnTo>
                <a:lnTo>
                  <a:pt x="516" y="782"/>
                </a:lnTo>
                <a:lnTo>
                  <a:pt x="514" y="782"/>
                </a:lnTo>
                <a:lnTo>
                  <a:pt x="507" y="785"/>
                </a:lnTo>
                <a:lnTo>
                  <a:pt x="505" y="785"/>
                </a:lnTo>
                <a:lnTo>
                  <a:pt x="500" y="785"/>
                </a:lnTo>
                <a:lnTo>
                  <a:pt x="498" y="785"/>
                </a:lnTo>
                <a:lnTo>
                  <a:pt x="495" y="785"/>
                </a:lnTo>
                <a:lnTo>
                  <a:pt x="493" y="785"/>
                </a:lnTo>
                <a:lnTo>
                  <a:pt x="491" y="785"/>
                </a:lnTo>
                <a:lnTo>
                  <a:pt x="488" y="785"/>
                </a:lnTo>
                <a:lnTo>
                  <a:pt x="488" y="787"/>
                </a:lnTo>
                <a:lnTo>
                  <a:pt x="488" y="789"/>
                </a:lnTo>
                <a:lnTo>
                  <a:pt x="488" y="792"/>
                </a:lnTo>
                <a:lnTo>
                  <a:pt x="484" y="796"/>
                </a:lnTo>
                <a:lnTo>
                  <a:pt x="484" y="799"/>
                </a:lnTo>
                <a:lnTo>
                  <a:pt x="481" y="799"/>
                </a:lnTo>
                <a:lnTo>
                  <a:pt x="481" y="801"/>
                </a:lnTo>
                <a:lnTo>
                  <a:pt x="477" y="801"/>
                </a:lnTo>
                <a:lnTo>
                  <a:pt x="474" y="803"/>
                </a:lnTo>
                <a:lnTo>
                  <a:pt x="470" y="808"/>
                </a:lnTo>
                <a:lnTo>
                  <a:pt x="467" y="808"/>
                </a:lnTo>
                <a:lnTo>
                  <a:pt x="467" y="810"/>
                </a:lnTo>
                <a:lnTo>
                  <a:pt x="465" y="810"/>
                </a:lnTo>
                <a:lnTo>
                  <a:pt x="463" y="815"/>
                </a:lnTo>
                <a:lnTo>
                  <a:pt x="265" y="736"/>
                </a:lnTo>
                <a:lnTo>
                  <a:pt x="228" y="720"/>
                </a:lnTo>
                <a:lnTo>
                  <a:pt x="76" y="694"/>
                </a:lnTo>
                <a:lnTo>
                  <a:pt x="0" y="671"/>
                </a:lnTo>
                <a:lnTo>
                  <a:pt x="0" y="668"/>
                </a:lnTo>
                <a:lnTo>
                  <a:pt x="0" y="666"/>
                </a:lnTo>
                <a:lnTo>
                  <a:pt x="0" y="659"/>
                </a:lnTo>
                <a:lnTo>
                  <a:pt x="0" y="657"/>
                </a:lnTo>
                <a:lnTo>
                  <a:pt x="0" y="654"/>
                </a:lnTo>
                <a:lnTo>
                  <a:pt x="2" y="654"/>
                </a:lnTo>
                <a:lnTo>
                  <a:pt x="4" y="652"/>
                </a:lnTo>
                <a:lnTo>
                  <a:pt x="4" y="650"/>
                </a:lnTo>
                <a:lnTo>
                  <a:pt x="7" y="650"/>
                </a:lnTo>
                <a:lnTo>
                  <a:pt x="7" y="647"/>
                </a:lnTo>
                <a:lnTo>
                  <a:pt x="11" y="645"/>
                </a:lnTo>
                <a:lnTo>
                  <a:pt x="16" y="640"/>
                </a:lnTo>
                <a:lnTo>
                  <a:pt x="21" y="638"/>
                </a:lnTo>
                <a:lnTo>
                  <a:pt x="23" y="636"/>
                </a:lnTo>
                <a:lnTo>
                  <a:pt x="23" y="633"/>
                </a:lnTo>
                <a:lnTo>
                  <a:pt x="25" y="633"/>
                </a:lnTo>
                <a:lnTo>
                  <a:pt x="30" y="631"/>
                </a:lnTo>
                <a:lnTo>
                  <a:pt x="32" y="631"/>
                </a:lnTo>
                <a:lnTo>
                  <a:pt x="34" y="629"/>
                </a:lnTo>
                <a:lnTo>
                  <a:pt x="37" y="629"/>
                </a:lnTo>
                <a:lnTo>
                  <a:pt x="37" y="624"/>
                </a:lnTo>
                <a:lnTo>
                  <a:pt x="39" y="622"/>
                </a:lnTo>
                <a:lnTo>
                  <a:pt x="39" y="619"/>
                </a:lnTo>
                <a:lnTo>
                  <a:pt x="39" y="617"/>
                </a:lnTo>
                <a:lnTo>
                  <a:pt x="37" y="615"/>
                </a:lnTo>
                <a:lnTo>
                  <a:pt x="37" y="612"/>
                </a:lnTo>
                <a:lnTo>
                  <a:pt x="34" y="608"/>
                </a:lnTo>
                <a:lnTo>
                  <a:pt x="30" y="603"/>
                </a:lnTo>
                <a:lnTo>
                  <a:pt x="30" y="598"/>
                </a:lnTo>
                <a:lnTo>
                  <a:pt x="30" y="596"/>
                </a:lnTo>
                <a:lnTo>
                  <a:pt x="32" y="594"/>
                </a:lnTo>
                <a:lnTo>
                  <a:pt x="34" y="585"/>
                </a:lnTo>
                <a:lnTo>
                  <a:pt x="37" y="585"/>
                </a:lnTo>
                <a:lnTo>
                  <a:pt x="44" y="573"/>
                </a:lnTo>
                <a:lnTo>
                  <a:pt x="44" y="571"/>
                </a:lnTo>
                <a:lnTo>
                  <a:pt x="44" y="564"/>
                </a:lnTo>
                <a:lnTo>
                  <a:pt x="44" y="561"/>
                </a:lnTo>
                <a:lnTo>
                  <a:pt x="44" y="559"/>
                </a:lnTo>
                <a:lnTo>
                  <a:pt x="44" y="557"/>
                </a:lnTo>
                <a:lnTo>
                  <a:pt x="44" y="554"/>
                </a:lnTo>
                <a:lnTo>
                  <a:pt x="46" y="552"/>
                </a:lnTo>
                <a:lnTo>
                  <a:pt x="46" y="550"/>
                </a:lnTo>
                <a:lnTo>
                  <a:pt x="46" y="547"/>
                </a:lnTo>
                <a:lnTo>
                  <a:pt x="46" y="545"/>
                </a:lnTo>
                <a:lnTo>
                  <a:pt x="46" y="543"/>
                </a:lnTo>
                <a:lnTo>
                  <a:pt x="46" y="540"/>
                </a:lnTo>
                <a:lnTo>
                  <a:pt x="46" y="538"/>
                </a:lnTo>
                <a:lnTo>
                  <a:pt x="44" y="536"/>
                </a:lnTo>
                <a:lnTo>
                  <a:pt x="46" y="536"/>
                </a:lnTo>
                <a:lnTo>
                  <a:pt x="48" y="533"/>
                </a:lnTo>
                <a:lnTo>
                  <a:pt x="51" y="533"/>
                </a:lnTo>
                <a:lnTo>
                  <a:pt x="53" y="531"/>
                </a:lnTo>
                <a:lnTo>
                  <a:pt x="55" y="531"/>
                </a:lnTo>
                <a:lnTo>
                  <a:pt x="55" y="529"/>
                </a:lnTo>
                <a:lnTo>
                  <a:pt x="58" y="529"/>
                </a:lnTo>
                <a:lnTo>
                  <a:pt x="62" y="529"/>
                </a:lnTo>
                <a:lnTo>
                  <a:pt x="62" y="526"/>
                </a:lnTo>
                <a:lnTo>
                  <a:pt x="65" y="526"/>
                </a:lnTo>
                <a:lnTo>
                  <a:pt x="65" y="524"/>
                </a:lnTo>
                <a:lnTo>
                  <a:pt x="67" y="522"/>
                </a:lnTo>
                <a:lnTo>
                  <a:pt x="69" y="522"/>
                </a:lnTo>
                <a:lnTo>
                  <a:pt x="72" y="522"/>
                </a:lnTo>
                <a:lnTo>
                  <a:pt x="72" y="519"/>
                </a:lnTo>
                <a:lnTo>
                  <a:pt x="72" y="517"/>
                </a:lnTo>
                <a:lnTo>
                  <a:pt x="74" y="517"/>
                </a:lnTo>
                <a:lnTo>
                  <a:pt x="76" y="517"/>
                </a:lnTo>
                <a:lnTo>
                  <a:pt x="76" y="515"/>
                </a:lnTo>
                <a:lnTo>
                  <a:pt x="76" y="510"/>
                </a:lnTo>
                <a:lnTo>
                  <a:pt x="79" y="510"/>
                </a:lnTo>
                <a:lnTo>
                  <a:pt x="81" y="510"/>
                </a:lnTo>
                <a:lnTo>
                  <a:pt x="81" y="508"/>
                </a:lnTo>
                <a:lnTo>
                  <a:pt x="86" y="508"/>
                </a:lnTo>
                <a:lnTo>
                  <a:pt x="88" y="505"/>
                </a:lnTo>
                <a:lnTo>
                  <a:pt x="90" y="503"/>
                </a:lnTo>
                <a:lnTo>
                  <a:pt x="95" y="501"/>
                </a:lnTo>
                <a:lnTo>
                  <a:pt x="97" y="498"/>
                </a:lnTo>
                <a:lnTo>
                  <a:pt x="97" y="496"/>
                </a:lnTo>
                <a:lnTo>
                  <a:pt x="100" y="496"/>
                </a:lnTo>
                <a:lnTo>
                  <a:pt x="102" y="494"/>
                </a:lnTo>
                <a:lnTo>
                  <a:pt x="104" y="494"/>
                </a:lnTo>
                <a:lnTo>
                  <a:pt x="107" y="491"/>
                </a:lnTo>
                <a:lnTo>
                  <a:pt x="109" y="489"/>
                </a:lnTo>
                <a:lnTo>
                  <a:pt x="114" y="487"/>
                </a:lnTo>
                <a:lnTo>
                  <a:pt x="116" y="487"/>
                </a:lnTo>
                <a:lnTo>
                  <a:pt x="118" y="487"/>
                </a:lnTo>
                <a:lnTo>
                  <a:pt x="121" y="487"/>
                </a:lnTo>
                <a:lnTo>
                  <a:pt x="121" y="484"/>
                </a:lnTo>
                <a:lnTo>
                  <a:pt x="123" y="487"/>
                </a:lnTo>
                <a:lnTo>
                  <a:pt x="125" y="487"/>
                </a:lnTo>
                <a:lnTo>
                  <a:pt x="128" y="484"/>
                </a:lnTo>
                <a:lnTo>
                  <a:pt x="128" y="487"/>
                </a:lnTo>
                <a:lnTo>
                  <a:pt x="130" y="484"/>
                </a:lnTo>
                <a:lnTo>
                  <a:pt x="132" y="484"/>
                </a:lnTo>
                <a:lnTo>
                  <a:pt x="135" y="484"/>
                </a:lnTo>
                <a:lnTo>
                  <a:pt x="135" y="482"/>
                </a:lnTo>
                <a:lnTo>
                  <a:pt x="137" y="482"/>
                </a:lnTo>
                <a:lnTo>
                  <a:pt x="139" y="482"/>
                </a:lnTo>
                <a:lnTo>
                  <a:pt x="142" y="480"/>
                </a:lnTo>
                <a:lnTo>
                  <a:pt x="144" y="482"/>
                </a:lnTo>
                <a:lnTo>
                  <a:pt x="146" y="480"/>
                </a:lnTo>
                <a:lnTo>
                  <a:pt x="149" y="480"/>
                </a:lnTo>
                <a:lnTo>
                  <a:pt x="146" y="477"/>
                </a:lnTo>
                <a:lnTo>
                  <a:pt x="149" y="477"/>
                </a:lnTo>
                <a:lnTo>
                  <a:pt x="151" y="475"/>
                </a:lnTo>
                <a:lnTo>
                  <a:pt x="153" y="477"/>
                </a:lnTo>
                <a:lnTo>
                  <a:pt x="156" y="475"/>
                </a:lnTo>
                <a:lnTo>
                  <a:pt x="158" y="477"/>
                </a:lnTo>
                <a:lnTo>
                  <a:pt x="160" y="477"/>
                </a:lnTo>
                <a:lnTo>
                  <a:pt x="160" y="475"/>
                </a:lnTo>
                <a:lnTo>
                  <a:pt x="162" y="475"/>
                </a:lnTo>
                <a:lnTo>
                  <a:pt x="165" y="475"/>
                </a:lnTo>
                <a:lnTo>
                  <a:pt x="167" y="475"/>
                </a:lnTo>
                <a:lnTo>
                  <a:pt x="167" y="473"/>
                </a:lnTo>
                <a:lnTo>
                  <a:pt x="169" y="475"/>
                </a:lnTo>
                <a:lnTo>
                  <a:pt x="172" y="473"/>
                </a:lnTo>
                <a:lnTo>
                  <a:pt x="172" y="470"/>
                </a:lnTo>
                <a:lnTo>
                  <a:pt x="174" y="468"/>
                </a:lnTo>
                <a:lnTo>
                  <a:pt x="174" y="466"/>
                </a:lnTo>
                <a:lnTo>
                  <a:pt x="176" y="466"/>
                </a:lnTo>
                <a:lnTo>
                  <a:pt x="176" y="463"/>
                </a:lnTo>
                <a:lnTo>
                  <a:pt x="176" y="461"/>
                </a:lnTo>
                <a:lnTo>
                  <a:pt x="181" y="459"/>
                </a:lnTo>
                <a:lnTo>
                  <a:pt x="186" y="459"/>
                </a:lnTo>
                <a:lnTo>
                  <a:pt x="188" y="459"/>
                </a:lnTo>
                <a:lnTo>
                  <a:pt x="188" y="456"/>
                </a:lnTo>
                <a:lnTo>
                  <a:pt x="190" y="456"/>
                </a:lnTo>
                <a:lnTo>
                  <a:pt x="190" y="459"/>
                </a:lnTo>
                <a:lnTo>
                  <a:pt x="195" y="461"/>
                </a:lnTo>
                <a:lnTo>
                  <a:pt x="195" y="459"/>
                </a:lnTo>
                <a:lnTo>
                  <a:pt x="195" y="456"/>
                </a:lnTo>
                <a:lnTo>
                  <a:pt x="197" y="456"/>
                </a:lnTo>
                <a:lnTo>
                  <a:pt x="197" y="459"/>
                </a:lnTo>
                <a:lnTo>
                  <a:pt x="200" y="459"/>
                </a:lnTo>
                <a:lnTo>
                  <a:pt x="202" y="456"/>
                </a:lnTo>
                <a:lnTo>
                  <a:pt x="204" y="456"/>
                </a:lnTo>
                <a:lnTo>
                  <a:pt x="207" y="456"/>
                </a:lnTo>
                <a:lnTo>
                  <a:pt x="209" y="456"/>
                </a:lnTo>
                <a:lnTo>
                  <a:pt x="209" y="459"/>
                </a:lnTo>
                <a:lnTo>
                  <a:pt x="209" y="456"/>
                </a:lnTo>
                <a:lnTo>
                  <a:pt x="211" y="456"/>
                </a:lnTo>
                <a:lnTo>
                  <a:pt x="211" y="459"/>
                </a:lnTo>
                <a:lnTo>
                  <a:pt x="211" y="461"/>
                </a:lnTo>
                <a:lnTo>
                  <a:pt x="211" y="463"/>
                </a:lnTo>
                <a:lnTo>
                  <a:pt x="214" y="463"/>
                </a:lnTo>
                <a:lnTo>
                  <a:pt x="216" y="466"/>
                </a:lnTo>
                <a:lnTo>
                  <a:pt x="218" y="466"/>
                </a:lnTo>
                <a:lnTo>
                  <a:pt x="218" y="468"/>
                </a:lnTo>
                <a:lnTo>
                  <a:pt x="221" y="468"/>
                </a:lnTo>
                <a:lnTo>
                  <a:pt x="223" y="466"/>
                </a:lnTo>
                <a:lnTo>
                  <a:pt x="223" y="463"/>
                </a:lnTo>
                <a:lnTo>
                  <a:pt x="225" y="463"/>
                </a:lnTo>
                <a:lnTo>
                  <a:pt x="228" y="463"/>
                </a:lnTo>
                <a:lnTo>
                  <a:pt x="228" y="466"/>
                </a:lnTo>
                <a:lnTo>
                  <a:pt x="230" y="466"/>
                </a:lnTo>
                <a:lnTo>
                  <a:pt x="230" y="468"/>
                </a:lnTo>
                <a:lnTo>
                  <a:pt x="232" y="468"/>
                </a:lnTo>
                <a:lnTo>
                  <a:pt x="235" y="466"/>
                </a:lnTo>
                <a:lnTo>
                  <a:pt x="235" y="463"/>
                </a:lnTo>
                <a:lnTo>
                  <a:pt x="235" y="461"/>
                </a:lnTo>
                <a:lnTo>
                  <a:pt x="235" y="459"/>
                </a:lnTo>
                <a:lnTo>
                  <a:pt x="237" y="459"/>
                </a:lnTo>
                <a:lnTo>
                  <a:pt x="237" y="447"/>
                </a:lnTo>
                <a:lnTo>
                  <a:pt x="239" y="436"/>
                </a:lnTo>
                <a:lnTo>
                  <a:pt x="239" y="426"/>
                </a:lnTo>
                <a:lnTo>
                  <a:pt x="242" y="415"/>
                </a:lnTo>
                <a:lnTo>
                  <a:pt x="242" y="403"/>
                </a:lnTo>
                <a:lnTo>
                  <a:pt x="244" y="394"/>
                </a:lnTo>
                <a:lnTo>
                  <a:pt x="244" y="382"/>
                </a:lnTo>
                <a:lnTo>
                  <a:pt x="246" y="370"/>
                </a:lnTo>
                <a:lnTo>
                  <a:pt x="246" y="361"/>
                </a:lnTo>
                <a:lnTo>
                  <a:pt x="249" y="349"/>
                </a:lnTo>
                <a:lnTo>
                  <a:pt x="251" y="338"/>
                </a:lnTo>
                <a:lnTo>
                  <a:pt x="251" y="328"/>
                </a:lnTo>
                <a:lnTo>
                  <a:pt x="253" y="317"/>
                </a:lnTo>
                <a:lnTo>
                  <a:pt x="253" y="305"/>
                </a:lnTo>
                <a:lnTo>
                  <a:pt x="256" y="294"/>
                </a:lnTo>
                <a:lnTo>
                  <a:pt x="256" y="284"/>
                </a:lnTo>
                <a:lnTo>
                  <a:pt x="256" y="280"/>
                </a:lnTo>
                <a:lnTo>
                  <a:pt x="258" y="275"/>
                </a:lnTo>
                <a:lnTo>
                  <a:pt x="258" y="270"/>
                </a:lnTo>
                <a:lnTo>
                  <a:pt x="258" y="268"/>
                </a:lnTo>
                <a:lnTo>
                  <a:pt x="258" y="261"/>
                </a:lnTo>
                <a:lnTo>
                  <a:pt x="258" y="259"/>
                </a:lnTo>
                <a:lnTo>
                  <a:pt x="258" y="256"/>
                </a:lnTo>
                <a:lnTo>
                  <a:pt x="260" y="254"/>
                </a:lnTo>
                <a:lnTo>
                  <a:pt x="258" y="252"/>
                </a:lnTo>
                <a:lnTo>
                  <a:pt x="256" y="247"/>
                </a:lnTo>
                <a:lnTo>
                  <a:pt x="256" y="245"/>
                </a:lnTo>
                <a:lnTo>
                  <a:pt x="256" y="242"/>
                </a:lnTo>
                <a:lnTo>
                  <a:pt x="256" y="240"/>
                </a:lnTo>
                <a:lnTo>
                  <a:pt x="253" y="240"/>
                </a:lnTo>
                <a:lnTo>
                  <a:pt x="251" y="238"/>
                </a:lnTo>
                <a:lnTo>
                  <a:pt x="249" y="238"/>
                </a:lnTo>
                <a:lnTo>
                  <a:pt x="249" y="235"/>
                </a:lnTo>
                <a:lnTo>
                  <a:pt x="249" y="233"/>
                </a:lnTo>
                <a:lnTo>
                  <a:pt x="246" y="233"/>
                </a:lnTo>
                <a:lnTo>
                  <a:pt x="246" y="231"/>
                </a:lnTo>
                <a:lnTo>
                  <a:pt x="246" y="228"/>
                </a:lnTo>
                <a:lnTo>
                  <a:pt x="242" y="226"/>
                </a:lnTo>
                <a:lnTo>
                  <a:pt x="242" y="224"/>
                </a:lnTo>
                <a:lnTo>
                  <a:pt x="244" y="219"/>
                </a:lnTo>
                <a:lnTo>
                  <a:pt x="244" y="217"/>
                </a:lnTo>
                <a:lnTo>
                  <a:pt x="244" y="214"/>
                </a:lnTo>
                <a:lnTo>
                  <a:pt x="242" y="214"/>
                </a:lnTo>
                <a:lnTo>
                  <a:pt x="242" y="212"/>
                </a:lnTo>
                <a:lnTo>
                  <a:pt x="242" y="210"/>
                </a:lnTo>
                <a:lnTo>
                  <a:pt x="239" y="207"/>
                </a:lnTo>
                <a:lnTo>
                  <a:pt x="237" y="207"/>
                </a:lnTo>
                <a:lnTo>
                  <a:pt x="232" y="205"/>
                </a:lnTo>
                <a:lnTo>
                  <a:pt x="230" y="203"/>
                </a:lnTo>
                <a:lnTo>
                  <a:pt x="228" y="203"/>
                </a:lnTo>
                <a:lnTo>
                  <a:pt x="225" y="200"/>
                </a:lnTo>
                <a:lnTo>
                  <a:pt x="225" y="198"/>
                </a:lnTo>
                <a:lnTo>
                  <a:pt x="223" y="198"/>
                </a:lnTo>
                <a:lnTo>
                  <a:pt x="221" y="198"/>
                </a:lnTo>
                <a:lnTo>
                  <a:pt x="218" y="198"/>
                </a:lnTo>
                <a:lnTo>
                  <a:pt x="218" y="196"/>
                </a:lnTo>
                <a:lnTo>
                  <a:pt x="216" y="193"/>
                </a:lnTo>
                <a:lnTo>
                  <a:pt x="214" y="191"/>
                </a:lnTo>
                <a:lnTo>
                  <a:pt x="209" y="189"/>
                </a:lnTo>
                <a:lnTo>
                  <a:pt x="209" y="186"/>
                </a:lnTo>
                <a:lnTo>
                  <a:pt x="209" y="184"/>
                </a:lnTo>
                <a:lnTo>
                  <a:pt x="209" y="182"/>
                </a:lnTo>
                <a:lnTo>
                  <a:pt x="209" y="179"/>
                </a:lnTo>
                <a:lnTo>
                  <a:pt x="209" y="175"/>
                </a:lnTo>
                <a:lnTo>
                  <a:pt x="207" y="168"/>
                </a:lnTo>
                <a:lnTo>
                  <a:pt x="207" y="161"/>
                </a:lnTo>
                <a:lnTo>
                  <a:pt x="207" y="154"/>
                </a:lnTo>
                <a:lnTo>
                  <a:pt x="207" y="147"/>
                </a:lnTo>
                <a:lnTo>
                  <a:pt x="207" y="142"/>
                </a:lnTo>
                <a:lnTo>
                  <a:pt x="207" y="138"/>
                </a:lnTo>
                <a:lnTo>
                  <a:pt x="209" y="138"/>
                </a:lnTo>
                <a:lnTo>
                  <a:pt x="209" y="135"/>
                </a:lnTo>
                <a:lnTo>
                  <a:pt x="211" y="135"/>
                </a:lnTo>
                <a:lnTo>
                  <a:pt x="214" y="135"/>
                </a:lnTo>
                <a:lnTo>
                  <a:pt x="216" y="135"/>
                </a:lnTo>
                <a:lnTo>
                  <a:pt x="221" y="135"/>
                </a:lnTo>
                <a:lnTo>
                  <a:pt x="223" y="133"/>
                </a:lnTo>
                <a:lnTo>
                  <a:pt x="225" y="133"/>
                </a:lnTo>
                <a:lnTo>
                  <a:pt x="228" y="131"/>
                </a:lnTo>
                <a:lnTo>
                  <a:pt x="230" y="128"/>
                </a:lnTo>
                <a:lnTo>
                  <a:pt x="232" y="128"/>
                </a:lnTo>
                <a:lnTo>
                  <a:pt x="235" y="131"/>
                </a:lnTo>
                <a:lnTo>
                  <a:pt x="237" y="131"/>
                </a:lnTo>
                <a:lnTo>
                  <a:pt x="237" y="128"/>
                </a:lnTo>
                <a:lnTo>
                  <a:pt x="239" y="126"/>
                </a:lnTo>
                <a:lnTo>
                  <a:pt x="242" y="126"/>
                </a:lnTo>
                <a:lnTo>
                  <a:pt x="244" y="124"/>
                </a:lnTo>
                <a:lnTo>
                  <a:pt x="246" y="124"/>
                </a:lnTo>
                <a:lnTo>
                  <a:pt x="249" y="124"/>
                </a:lnTo>
                <a:lnTo>
                  <a:pt x="253" y="128"/>
                </a:lnTo>
                <a:lnTo>
                  <a:pt x="253" y="131"/>
                </a:lnTo>
                <a:lnTo>
                  <a:pt x="256" y="128"/>
                </a:lnTo>
                <a:lnTo>
                  <a:pt x="258" y="128"/>
                </a:lnTo>
                <a:lnTo>
                  <a:pt x="258" y="131"/>
                </a:lnTo>
                <a:lnTo>
                  <a:pt x="260" y="131"/>
                </a:lnTo>
                <a:lnTo>
                  <a:pt x="263" y="131"/>
                </a:lnTo>
                <a:lnTo>
                  <a:pt x="265" y="128"/>
                </a:lnTo>
                <a:lnTo>
                  <a:pt x="267" y="128"/>
                </a:lnTo>
                <a:lnTo>
                  <a:pt x="270" y="128"/>
                </a:lnTo>
                <a:lnTo>
                  <a:pt x="270" y="126"/>
                </a:lnTo>
                <a:lnTo>
                  <a:pt x="267" y="126"/>
                </a:lnTo>
                <a:lnTo>
                  <a:pt x="267" y="124"/>
                </a:lnTo>
                <a:lnTo>
                  <a:pt x="265" y="124"/>
                </a:lnTo>
                <a:lnTo>
                  <a:pt x="265" y="121"/>
                </a:lnTo>
                <a:lnTo>
                  <a:pt x="267" y="121"/>
                </a:lnTo>
                <a:lnTo>
                  <a:pt x="267" y="119"/>
                </a:lnTo>
                <a:lnTo>
                  <a:pt x="265" y="117"/>
                </a:lnTo>
                <a:lnTo>
                  <a:pt x="265" y="114"/>
                </a:lnTo>
                <a:lnTo>
                  <a:pt x="267" y="114"/>
                </a:lnTo>
                <a:lnTo>
                  <a:pt x="267" y="112"/>
                </a:lnTo>
                <a:lnTo>
                  <a:pt x="265" y="112"/>
                </a:lnTo>
                <a:lnTo>
                  <a:pt x="263" y="110"/>
                </a:lnTo>
                <a:lnTo>
                  <a:pt x="263" y="107"/>
                </a:lnTo>
                <a:lnTo>
                  <a:pt x="260" y="105"/>
                </a:lnTo>
                <a:lnTo>
                  <a:pt x="258" y="103"/>
                </a:lnTo>
                <a:lnTo>
                  <a:pt x="253" y="100"/>
                </a:lnTo>
                <a:lnTo>
                  <a:pt x="251" y="100"/>
                </a:lnTo>
                <a:lnTo>
                  <a:pt x="249" y="103"/>
                </a:lnTo>
                <a:lnTo>
                  <a:pt x="246" y="103"/>
                </a:lnTo>
                <a:lnTo>
                  <a:pt x="244" y="100"/>
                </a:lnTo>
                <a:lnTo>
                  <a:pt x="242" y="103"/>
                </a:lnTo>
                <a:lnTo>
                  <a:pt x="239" y="103"/>
                </a:lnTo>
                <a:lnTo>
                  <a:pt x="235" y="100"/>
                </a:lnTo>
                <a:lnTo>
                  <a:pt x="228" y="103"/>
                </a:lnTo>
                <a:lnTo>
                  <a:pt x="225" y="100"/>
                </a:lnTo>
                <a:lnTo>
                  <a:pt x="223" y="100"/>
                </a:lnTo>
                <a:lnTo>
                  <a:pt x="221" y="103"/>
                </a:lnTo>
                <a:lnTo>
                  <a:pt x="218" y="103"/>
                </a:lnTo>
                <a:lnTo>
                  <a:pt x="218" y="98"/>
                </a:lnTo>
                <a:lnTo>
                  <a:pt x="218" y="93"/>
                </a:lnTo>
                <a:lnTo>
                  <a:pt x="216" y="89"/>
                </a:lnTo>
                <a:lnTo>
                  <a:pt x="216" y="84"/>
                </a:lnTo>
                <a:lnTo>
                  <a:pt x="216" y="79"/>
                </a:lnTo>
                <a:lnTo>
                  <a:pt x="216" y="75"/>
                </a:lnTo>
                <a:lnTo>
                  <a:pt x="216" y="70"/>
                </a:lnTo>
                <a:lnTo>
                  <a:pt x="216" y="65"/>
                </a:lnTo>
                <a:lnTo>
                  <a:pt x="216" y="61"/>
                </a:lnTo>
                <a:lnTo>
                  <a:pt x="214" y="58"/>
                </a:lnTo>
                <a:lnTo>
                  <a:pt x="216" y="58"/>
                </a:lnTo>
                <a:lnTo>
                  <a:pt x="218" y="58"/>
                </a:lnTo>
                <a:lnTo>
                  <a:pt x="223" y="56"/>
                </a:lnTo>
                <a:lnTo>
                  <a:pt x="225" y="56"/>
                </a:lnTo>
                <a:lnTo>
                  <a:pt x="230" y="56"/>
                </a:lnTo>
                <a:lnTo>
                  <a:pt x="232" y="54"/>
                </a:lnTo>
                <a:lnTo>
                  <a:pt x="237" y="54"/>
                </a:lnTo>
                <a:lnTo>
                  <a:pt x="242" y="54"/>
                </a:lnTo>
                <a:lnTo>
                  <a:pt x="246" y="56"/>
                </a:lnTo>
                <a:lnTo>
                  <a:pt x="249" y="56"/>
                </a:lnTo>
                <a:lnTo>
                  <a:pt x="253" y="56"/>
                </a:lnTo>
                <a:lnTo>
                  <a:pt x="263" y="54"/>
                </a:lnTo>
                <a:lnTo>
                  <a:pt x="274" y="54"/>
                </a:lnTo>
                <a:lnTo>
                  <a:pt x="288" y="54"/>
                </a:lnTo>
                <a:lnTo>
                  <a:pt x="302" y="51"/>
                </a:lnTo>
                <a:lnTo>
                  <a:pt x="314" y="51"/>
                </a:lnTo>
                <a:lnTo>
                  <a:pt x="323" y="51"/>
                </a:lnTo>
                <a:lnTo>
                  <a:pt x="328" y="51"/>
                </a:lnTo>
                <a:lnTo>
                  <a:pt x="332" y="49"/>
                </a:lnTo>
                <a:lnTo>
                  <a:pt x="330" y="49"/>
                </a:lnTo>
                <a:lnTo>
                  <a:pt x="330" y="47"/>
                </a:lnTo>
                <a:lnTo>
                  <a:pt x="325" y="47"/>
                </a:lnTo>
                <a:lnTo>
                  <a:pt x="325" y="44"/>
                </a:lnTo>
                <a:lnTo>
                  <a:pt x="323" y="44"/>
                </a:lnTo>
                <a:lnTo>
                  <a:pt x="323" y="42"/>
                </a:lnTo>
                <a:lnTo>
                  <a:pt x="325" y="42"/>
                </a:lnTo>
                <a:lnTo>
                  <a:pt x="328" y="30"/>
                </a:lnTo>
                <a:lnTo>
                  <a:pt x="330" y="30"/>
                </a:lnTo>
                <a:lnTo>
                  <a:pt x="330" y="33"/>
                </a:lnTo>
                <a:lnTo>
                  <a:pt x="332" y="33"/>
                </a:lnTo>
                <a:lnTo>
                  <a:pt x="335" y="33"/>
                </a:lnTo>
                <a:lnTo>
                  <a:pt x="335" y="35"/>
                </a:lnTo>
                <a:lnTo>
                  <a:pt x="337" y="40"/>
                </a:lnTo>
                <a:lnTo>
                  <a:pt x="339" y="42"/>
                </a:lnTo>
                <a:lnTo>
                  <a:pt x="342" y="47"/>
                </a:lnTo>
                <a:lnTo>
                  <a:pt x="344" y="47"/>
                </a:lnTo>
                <a:lnTo>
                  <a:pt x="346" y="49"/>
                </a:lnTo>
                <a:lnTo>
                  <a:pt x="349" y="47"/>
                </a:lnTo>
                <a:lnTo>
                  <a:pt x="351" y="47"/>
                </a:lnTo>
                <a:lnTo>
                  <a:pt x="353" y="47"/>
                </a:lnTo>
                <a:lnTo>
                  <a:pt x="356" y="44"/>
                </a:lnTo>
                <a:lnTo>
                  <a:pt x="358" y="42"/>
                </a:lnTo>
                <a:lnTo>
                  <a:pt x="365" y="30"/>
                </a:lnTo>
                <a:lnTo>
                  <a:pt x="370" y="26"/>
                </a:lnTo>
                <a:lnTo>
                  <a:pt x="372" y="23"/>
                </a:lnTo>
                <a:lnTo>
                  <a:pt x="374" y="21"/>
                </a:lnTo>
                <a:lnTo>
                  <a:pt x="377" y="21"/>
                </a:lnTo>
                <a:lnTo>
                  <a:pt x="379" y="21"/>
                </a:lnTo>
                <a:lnTo>
                  <a:pt x="379" y="19"/>
                </a:lnTo>
                <a:lnTo>
                  <a:pt x="381" y="19"/>
                </a:lnTo>
                <a:lnTo>
                  <a:pt x="384" y="19"/>
                </a:lnTo>
                <a:lnTo>
                  <a:pt x="386" y="19"/>
                </a:lnTo>
                <a:lnTo>
                  <a:pt x="388" y="21"/>
                </a:lnTo>
                <a:lnTo>
                  <a:pt x="388" y="23"/>
                </a:lnTo>
                <a:lnTo>
                  <a:pt x="393" y="30"/>
                </a:lnTo>
                <a:lnTo>
                  <a:pt x="393" y="33"/>
                </a:lnTo>
                <a:lnTo>
                  <a:pt x="402" y="42"/>
                </a:lnTo>
                <a:lnTo>
                  <a:pt x="405" y="47"/>
                </a:lnTo>
                <a:lnTo>
                  <a:pt x="407" y="54"/>
                </a:lnTo>
                <a:lnTo>
                  <a:pt x="409" y="58"/>
                </a:lnTo>
                <a:lnTo>
                  <a:pt x="407" y="79"/>
                </a:lnTo>
                <a:lnTo>
                  <a:pt x="407" y="82"/>
                </a:lnTo>
                <a:lnTo>
                  <a:pt x="409" y="84"/>
                </a:lnTo>
                <a:lnTo>
                  <a:pt x="416" y="82"/>
                </a:lnTo>
                <a:lnTo>
                  <a:pt x="421" y="79"/>
                </a:lnTo>
                <a:lnTo>
                  <a:pt x="423" y="79"/>
                </a:lnTo>
                <a:lnTo>
                  <a:pt x="425" y="82"/>
                </a:lnTo>
                <a:lnTo>
                  <a:pt x="428" y="84"/>
                </a:lnTo>
                <a:lnTo>
                  <a:pt x="432" y="89"/>
                </a:lnTo>
                <a:lnTo>
                  <a:pt x="439" y="93"/>
                </a:lnTo>
                <a:lnTo>
                  <a:pt x="444" y="96"/>
                </a:lnTo>
                <a:lnTo>
                  <a:pt x="449" y="100"/>
                </a:lnTo>
                <a:lnTo>
                  <a:pt x="453" y="103"/>
                </a:lnTo>
                <a:lnTo>
                  <a:pt x="453" y="105"/>
                </a:lnTo>
                <a:lnTo>
                  <a:pt x="456" y="107"/>
                </a:lnTo>
                <a:lnTo>
                  <a:pt x="460" y="110"/>
                </a:lnTo>
                <a:lnTo>
                  <a:pt x="465" y="110"/>
                </a:lnTo>
                <a:lnTo>
                  <a:pt x="470" y="110"/>
                </a:lnTo>
                <a:lnTo>
                  <a:pt x="472" y="110"/>
                </a:lnTo>
                <a:lnTo>
                  <a:pt x="474" y="112"/>
                </a:lnTo>
                <a:lnTo>
                  <a:pt x="477" y="112"/>
                </a:lnTo>
                <a:lnTo>
                  <a:pt x="477" y="110"/>
                </a:lnTo>
                <a:lnTo>
                  <a:pt x="479" y="107"/>
                </a:lnTo>
                <a:lnTo>
                  <a:pt x="481" y="107"/>
                </a:lnTo>
                <a:lnTo>
                  <a:pt x="484" y="107"/>
                </a:lnTo>
                <a:lnTo>
                  <a:pt x="486" y="107"/>
                </a:lnTo>
                <a:lnTo>
                  <a:pt x="486" y="105"/>
                </a:lnTo>
                <a:lnTo>
                  <a:pt x="488" y="105"/>
                </a:lnTo>
                <a:lnTo>
                  <a:pt x="491" y="100"/>
                </a:lnTo>
                <a:lnTo>
                  <a:pt x="493" y="98"/>
                </a:lnTo>
                <a:lnTo>
                  <a:pt x="500" y="96"/>
                </a:lnTo>
                <a:lnTo>
                  <a:pt x="502" y="93"/>
                </a:lnTo>
                <a:lnTo>
                  <a:pt x="505" y="93"/>
                </a:lnTo>
                <a:lnTo>
                  <a:pt x="509" y="93"/>
                </a:lnTo>
                <a:lnTo>
                  <a:pt x="512" y="93"/>
                </a:lnTo>
                <a:lnTo>
                  <a:pt x="514" y="93"/>
                </a:lnTo>
                <a:lnTo>
                  <a:pt x="516" y="96"/>
                </a:lnTo>
                <a:lnTo>
                  <a:pt x="516" y="98"/>
                </a:lnTo>
                <a:lnTo>
                  <a:pt x="519" y="98"/>
                </a:lnTo>
                <a:lnTo>
                  <a:pt x="519" y="100"/>
                </a:lnTo>
                <a:lnTo>
                  <a:pt x="516" y="103"/>
                </a:lnTo>
                <a:lnTo>
                  <a:pt x="514" y="107"/>
                </a:lnTo>
                <a:lnTo>
                  <a:pt x="514" y="110"/>
                </a:lnTo>
                <a:lnTo>
                  <a:pt x="514" y="112"/>
                </a:lnTo>
                <a:lnTo>
                  <a:pt x="514" y="114"/>
                </a:lnTo>
                <a:lnTo>
                  <a:pt x="516" y="114"/>
                </a:lnTo>
                <a:lnTo>
                  <a:pt x="519" y="114"/>
                </a:lnTo>
                <a:lnTo>
                  <a:pt x="521" y="114"/>
                </a:lnTo>
                <a:lnTo>
                  <a:pt x="523" y="112"/>
                </a:lnTo>
                <a:lnTo>
                  <a:pt x="523" y="110"/>
                </a:lnTo>
                <a:lnTo>
                  <a:pt x="526" y="107"/>
                </a:lnTo>
                <a:lnTo>
                  <a:pt x="526" y="105"/>
                </a:lnTo>
                <a:lnTo>
                  <a:pt x="526" y="103"/>
                </a:lnTo>
                <a:lnTo>
                  <a:pt x="528" y="103"/>
                </a:lnTo>
                <a:lnTo>
                  <a:pt x="530" y="96"/>
                </a:lnTo>
                <a:lnTo>
                  <a:pt x="533" y="96"/>
                </a:lnTo>
                <a:lnTo>
                  <a:pt x="535" y="96"/>
                </a:lnTo>
                <a:lnTo>
                  <a:pt x="537" y="96"/>
                </a:lnTo>
                <a:lnTo>
                  <a:pt x="540" y="96"/>
                </a:lnTo>
                <a:lnTo>
                  <a:pt x="542" y="93"/>
                </a:lnTo>
                <a:lnTo>
                  <a:pt x="542" y="91"/>
                </a:lnTo>
                <a:lnTo>
                  <a:pt x="542" y="84"/>
                </a:lnTo>
                <a:lnTo>
                  <a:pt x="544" y="82"/>
                </a:lnTo>
                <a:lnTo>
                  <a:pt x="546" y="79"/>
                </a:lnTo>
                <a:lnTo>
                  <a:pt x="549" y="82"/>
                </a:lnTo>
                <a:lnTo>
                  <a:pt x="551" y="79"/>
                </a:lnTo>
                <a:lnTo>
                  <a:pt x="553" y="77"/>
                </a:lnTo>
                <a:lnTo>
                  <a:pt x="556" y="75"/>
                </a:lnTo>
                <a:lnTo>
                  <a:pt x="558" y="75"/>
                </a:lnTo>
                <a:lnTo>
                  <a:pt x="560" y="75"/>
                </a:lnTo>
                <a:lnTo>
                  <a:pt x="560" y="72"/>
                </a:lnTo>
                <a:lnTo>
                  <a:pt x="563" y="72"/>
                </a:lnTo>
                <a:lnTo>
                  <a:pt x="563" y="70"/>
                </a:lnTo>
                <a:lnTo>
                  <a:pt x="565" y="70"/>
                </a:lnTo>
                <a:lnTo>
                  <a:pt x="567" y="72"/>
                </a:lnTo>
                <a:lnTo>
                  <a:pt x="570" y="72"/>
                </a:lnTo>
                <a:lnTo>
                  <a:pt x="572" y="72"/>
                </a:lnTo>
                <a:lnTo>
                  <a:pt x="579" y="65"/>
                </a:lnTo>
                <a:lnTo>
                  <a:pt x="581" y="65"/>
                </a:lnTo>
                <a:lnTo>
                  <a:pt x="581" y="61"/>
                </a:lnTo>
                <a:lnTo>
                  <a:pt x="584" y="61"/>
                </a:lnTo>
                <a:lnTo>
                  <a:pt x="586" y="58"/>
                </a:lnTo>
                <a:lnTo>
                  <a:pt x="588" y="56"/>
                </a:lnTo>
                <a:lnTo>
                  <a:pt x="591" y="54"/>
                </a:lnTo>
                <a:lnTo>
                  <a:pt x="593" y="54"/>
                </a:lnTo>
                <a:lnTo>
                  <a:pt x="595" y="54"/>
                </a:lnTo>
                <a:lnTo>
                  <a:pt x="595" y="56"/>
                </a:lnTo>
                <a:lnTo>
                  <a:pt x="595" y="58"/>
                </a:lnTo>
                <a:lnTo>
                  <a:pt x="595" y="61"/>
                </a:lnTo>
                <a:lnTo>
                  <a:pt x="595" y="63"/>
                </a:lnTo>
                <a:lnTo>
                  <a:pt x="598" y="63"/>
                </a:lnTo>
                <a:lnTo>
                  <a:pt x="598" y="61"/>
                </a:lnTo>
                <a:lnTo>
                  <a:pt x="600" y="58"/>
                </a:lnTo>
                <a:lnTo>
                  <a:pt x="605" y="54"/>
                </a:lnTo>
                <a:lnTo>
                  <a:pt x="609" y="49"/>
                </a:lnTo>
                <a:lnTo>
                  <a:pt x="612" y="47"/>
                </a:lnTo>
                <a:lnTo>
                  <a:pt x="614" y="47"/>
                </a:lnTo>
                <a:lnTo>
                  <a:pt x="614" y="44"/>
                </a:lnTo>
                <a:lnTo>
                  <a:pt x="616" y="42"/>
                </a:lnTo>
                <a:lnTo>
                  <a:pt x="616" y="40"/>
                </a:lnTo>
                <a:lnTo>
                  <a:pt x="616" y="35"/>
                </a:lnTo>
                <a:lnTo>
                  <a:pt x="616" y="33"/>
                </a:lnTo>
                <a:lnTo>
                  <a:pt x="616" y="26"/>
                </a:lnTo>
                <a:lnTo>
                  <a:pt x="619" y="23"/>
                </a:lnTo>
                <a:lnTo>
                  <a:pt x="621" y="21"/>
                </a:lnTo>
                <a:lnTo>
                  <a:pt x="623" y="21"/>
                </a:lnTo>
                <a:lnTo>
                  <a:pt x="626" y="21"/>
                </a:lnTo>
                <a:lnTo>
                  <a:pt x="635" y="19"/>
                </a:lnTo>
                <a:lnTo>
                  <a:pt x="637" y="19"/>
                </a:lnTo>
                <a:lnTo>
                  <a:pt x="647" y="12"/>
                </a:lnTo>
                <a:lnTo>
                  <a:pt x="651" y="10"/>
                </a:lnTo>
                <a:lnTo>
                  <a:pt x="654" y="10"/>
                </a:lnTo>
                <a:lnTo>
                  <a:pt x="658" y="7"/>
                </a:lnTo>
                <a:lnTo>
                  <a:pt x="661" y="7"/>
                </a:lnTo>
                <a:lnTo>
                  <a:pt x="663" y="5"/>
                </a:lnTo>
                <a:lnTo>
                  <a:pt x="661" y="5"/>
                </a:lnTo>
                <a:lnTo>
                  <a:pt x="663" y="3"/>
                </a:lnTo>
                <a:lnTo>
                  <a:pt x="663" y="0"/>
                </a:lnTo>
                <a:lnTo>
                  <a:pt x="663" y="3"/>
                </a:lnTo>
                <a:lnTo>
                  <a:pt x="668" y="5"/>
                </a:lnTo>
                <a:lnTo>
                  <a:pt x="670" y="7"/>
                </a:lnTo>
                <a:lnTo>
                  <a:pt x="672" y="7"/>
                </a:lnTo>
                <a:lnTo>
                  <a:pt x="674" y="5"/>
                </a:lnTo>
                <a:lnTo>
                  <a:pt x="677" y="5"/>
                </a:lnTo>
                <a:lnTo>
                  <a:pt x="679" y="5"/>
                </a:lnTo>
                <a:lnTo>
                  <a:pt x="681" y="5"/>
                </a:lnTo>
                <a:lnTo>
                  <a:pt x="681" y="7"/>
                </a:lnTo>
                <a:lnTo>
                  <a:pt x="681" y="10"/>
                </a:lnTo>
                <a:lnTo>
                  <a:pt x="686" y="12"/>
                </a:lnTo>
                <a:lnTo>
                  <a:pt x="686" y="14"/>
                </a:lnTo>
                <a:lnTo>
                  <a:pt x="688" y="14"/>
                </a:lnTo>
                <a:lnTo>
                  <a:pt x="691" y="14"/>
                </a:lnTo>
                <a:lnTo>
                  <a:pt x="691" y="16"/>
                </a:lnTo>
                <a:lnTo>
                  <a:pt x="691" y="14"/>
                </a:lnTo>
                <a:lnTo>
                  <a:pt x="693" y="14"/>
                </a:lnTo>
                <a:lnTo>
                  <a:pt x="695" y="14"/>
                </a:lnTo>
                <a:lnTo>
                  <a:pt x="698" y="14"/>
                </a:lnTo>
                <a:lnTo>
                  <a:pt x="700" y="14"/>
                </a:lnTo>
                <a:lnTo>
                  <a:pt x="702" y="16"/>
                </a:lnTo>
                <a:lnTo>
                  <a:pt x="707" y="19"/>
                </a:lnTo>
                <a:lnTo>
                  <a:pt x="709" y="19"/>
                </a:lnTo>
                <a:lnTo>
                  <a:pt x="712" y="21"/>
                </a:lnTo>
                <a:lnTo>
                  <a:pt x="712" y="23"/>
                </a:lnTo>
                <a:lnTo>
                  <a:pt x="709" y="26"/>
                </a:lnTo>
                <a:lnTo>
                  <a:pt x="709" y="28"/>
                </a:lnTo>
                <a:lnTo>
                  <a:pt x="709" y="30"/>
                </a:lnTo>
                <a:lnTo>
                  <a:pt x="709" y="33"/>
                </a:lnTo>
                <a:lnTo>
                  <a:pt x="709" y="35"/>
                </a:lnTo>
                <a:lnTo>
                  <a:pt x="707" y="37"/>
                </a:lnTo>
                <a:lnTo>
                  <a:pt x="707" y="40"/>
                </a:lnTo>
                <a:lnTo>
                  <a:pt x="705" y="42"/>
                </a:lnTo>
                <a:lnTo>
                  <a:pt x="705" y="44"/>
                </a:lnTo>
                <a:lnTo>
                  <a:pt x="707" y="47"/>
                </a:lnTo>
                <a:lnTo>
                  <a:pt x="709" y="49"/>
                </a:lnTo>
                <a:lnTo>
                  <a:pt x="709" y="51"/>
                </a:lnTo>
                <a:lnTo>
                  <a:pt x="712" y="51"/>
                </a:lnTo>
                <a:lnTo>
                  <a:pt x="712" y="54"/>
                </a:lnTo>
                <a:lnTo>
                  <a:pt x="714" y="54"/>
                </a:lnTo>
                <a:lnTo>
                  <a:pt x="716" y="54"/>
                </a:lnTo>
                <a:lnTo>
                  <a:pt x="716" y="56"/>
                </a:lnTo>
                <a:lnTo>
                  <a:pt x="719" y="58"/>
                </a:lnTo>
                <a:lnTo>
                  <a:pt x="719" y="61"/>
                </a:lnTo>
                <a:lnTo>
                  <a:pt x="721" y="72"/>
                </a:lnTo>
                <a:lnTo>
                  <a:pt x="721" y="75"/>
                </a:lnTo>
                <a:lnTo>
                  <a:pt x="723" y="77"/>
                </a:lnTo>
                <a:lnTo>
                  <a:pt x="723" y="79"/>
                </a:lnTo>
                <a:lnTo>
                  <a:pt x="726" y="82"/>
                </a:lnTo>
                <a:lnTo>
                  <a:pt x="726" y="89"/>
                </a:lnTo>
                <a:lnTo>
                  <a:pt x="728" y="96"/>
                </a:lnTo>
                <a:lnTo>
                  <a:pt x="730" y="98"/>
                </a:lnTo>
                <a:lnTo>
                  <a:pt x="728" y="100"/>
                </a:lnTo>
                <a:lnTo>
                  <a:pt x="726" y="103"/>
                </a:lnTo>
                <a:lnTo>
                  <a:pt x="723" y="103"/>
                </a:lnTo>
                <a:lnTo>
                  <a:pt x="723" y="105"/>
                </a:lnTo>
                <a:lnTo>
                  <a:pt x="723" y="107"/>
                </a:lnTo>
                <a:lnTo>
                  <a:pt x="728" y="117"/>
                </a:lnTo>
                <a:lnTo>
                  <a:pt x="728" y="119"/>
                </a:lnTo>
                <a:lnTo>
                  <a:pt x="728" y="121"/>
                </a:lnTo>
                <a:lnTo>
                  <a:pt x="726" y="121"/>
                </a:lnTo>
                <a:lnTo>
                  <a:pt x="726" y="124"/>
                </a:lnTo>
                <a:lnTo>
                  <a:pt x="723" y="126"/>
                </a:lnTo>
                <a:lnTo>
                  <a:pt x="726" y="131"/>
                </a:lnTo>
                <a:lnTo>
                  <a:pt x="726" y="133"/>
                </a:lnTo>
                <a:lnTo>
                  <a:pt x="723" y="135"/>
                </a:lnTo>
                <a:lnTo>
                  <a:pt x="723" y="138"/>
                </a:lnTo>
                <a:lnTo>
                  <a:pt x="723" y="142"/>
                </a:lnTo>
                <a:lnTo>
                  <a:pt x="726" y="145"/>
                </a:lnTo>
                <a:lnTo>
                  <a:pt x="726" y="147"/>
                </a:lnTo>
                <a:lnTo>
                  <a:pt x="723" y="152"/>
                </a:lnTo>
                <a:lnTo>
                  <a:pt x="721" y="152"/>
                </a:lnTo>
                <a:lnTo>
                  <a:pt x="721" y="154"/>
                </a:lnTo>
                <a:lnTo>
                  <a:pt x="721" y="156"/>
                </a:lnTo>
                <a:lnTo>
                  <a:pt x="723" y="156"/>
                </a:lnTo>
                <a:lnTo>
                  <a:pt x="723" y="158"/>
                </a:lnTo>
                <a:lnTo>
                  <a:pt x="726" y="158"/>
                </a:lnTo>
                <a:lnTo>
                  <a:pt x="726" y="161"/>
                </a:lnTo>
                <a:lnTo>
                  <a:pt x="728" y="165"/>
                </a:lnTo>
                <a:lnTo>
                  <a:pt x="728" y="168"/>
                </a:lnTo>
                <a:lnTo>
                  <a:pt x="730" y="170"/>
                </a:lnTo>
                <a:lnTo>
                  <a:pt x="733" y="170"/>
                </a:lnTo>
                <a:lnTo>
                  <a:pt x="735" y="172"/>
                </a:lnTo>
                <a:lnTo>
                  <a:pt x="735" y="175"/>
                </a:lnTo>
                <a:lnTo>
                  <a:pt x="737" y="177"/>
                </a:lnTo>
                <a:lnTo>
                  <a:pt x="737" y="179"/>
                </a:lnTo>
                <a:lnTo>
                  <a:pt x="737" y="184"/>
                </a:lnTo>
                <a:lnTo>
                  <a:pt x="737" y="186"/>
                </a:lnTo>
                <a:lnTo>
                  <a:pt x="740" y="186"/>
                </a:lnTo>
                <a:lnTo>
                  <a:pt x="740" y="189"/>
                </a:lnTo>
                <a:lnTo>
                  <a:pt x="742" y="196"/>
                </a:lnTo>
                <a:lnTo>
                  <a:pt x="740" y="198"/>
                </a:lnTo>
                <a:lnTo>
                  <a:pt x="737" y="200"/>
                </a:lnTo>
                <a:lnTo>
                  <a:pt x="737" y="203"/>
                </a:lnTo>
                <a:lnTo>
                  <a:pt x="735" y="203"/>
                </a:lnTo>
                <a:lnTo>
                  <a:pt x="733" y="200"/>
                </a:lnTo>
                <a:lnTo>
                  <a:pt x="730" y="200"/>
                </a:lnTo>
                <a:lnTo>
                  <a:pt x="728" y="200"/>
                </a:lnTo>
                <a:lnTo>
                  <a:pt x="728" y="203"/>
                </a:lnTo>
                <a:lnTo>
                  <a:pt x="728" y="205"/>
                </a:lnTo>
                <a:lnTo>
                  <a:pt x="728" y="207"/>
                </a:lnTo>
                <a:lnTo>
                  <a:pt x="733" y="210"/>
                </a:lnTo>
                <a:lnTo>
                  <a:pt x="735" y="210"/>
                </a:lnTo>
                <a:lnTo>
                  <a:pt x="735" y="212"/>
                </a:lnTo>
                <a:lnTo>
                  <a:pt x="742" y="217"/>
                </a:lnTo>
                <a:lnTo>
                  <a:pt x="742" y="219"/>
                </a:lnTo>
                <a:lnTo>
                  <a:pt x="744" y="219"/>
                </a:lnTo>
                <a:lnTo>
                  <a:pt x="747" y="219"/>
                </a:lnTo>
                <a:lnTo>
                  <a:pt x="749" y="224"/>
                </a:lnTo>
                <a:lnTo>
                  <a:pt x="751" y="226"/>
                </a:lnTo>
                <a:lnTo>
                  <a:pt x="754" y="226"/>
                </a:lnTo>
                <a:lnTo>
                  <a:pt x="758" y="228"/>
                </a:lnTo>
                <a:lnTo>
                  <a:pt x="761" y="231"/>
                </a:lnTo>
                <a:lnTo>
                  <a:pt x="763" y="233"/>
                </a:lnTo>
                <a:lnTo>
                  <a:pt x="763" y="235"/>
                </a:lnTo>
                <a:lnTo>
                  <a:pt x="765" y="235"/>
                </a:lnTo>
                <a:lnTo>
                  <a:pt x="765" y="238"/>
                </a:lnTo>
                <a:lnTo>
                  <a:pt x="768" y="238"/>
                </a:lnTo>
                <a:lnTo>
                  <a:pt x="772" y="245"/>
                </a:lnTo>
                <a:lnTo>
                  <a:pt x="772" y="247"/>
                </a:lnTo>
                <a:lnTo>
                  <a:pt x="775" y="247"/>
                </a:lnTo>
                <a:lnTo>
                  <a:pt x="777" y="245"/>
                </a:lnTo>
                <a:lnTo>
                  <a:pt x="779" y="245"/>
                </a:lnTo>
                <a:lnTo>
                  <a:pt x="782" y="247"/>
                </a:lnTo>
                <a:lnTo>
                  <a:pt x="784" y="247"/>
                </a:lnTo>
                <a:lnTo>
                  <a:pt x="786" y="247"/>
                </a:lnTo>
                <a:lnTo>
                  <a:pt x="789" y="249"/>
                </a:lnTo>
                <a:lnTo>
                  <a:pt x="791" y="249"/>
                </a:lnTo>
                <a:lnTo>
                  <a:pt x="791" y="247"/>
                </a:lnTo>
                <a:lnTo>
                  <a:pt x="789" y="240"/>
                </a:lnTo>
                <a:lnTo>
                  <a:pt x="791" y="235"/>
                </a:lnTo>
                <a:lnTo>
                  <a:pt x="791" y="231"/>
                </a:lnTo>
                <a:lnTo>
                  <a:pt x="791" y="228"/>
                </a:lnTo>
                <a:lnTo>
                  <a:pt x="791" y="226"/>
                </a:lnTo>
                <a:lnTo>
                  <a:pt x="791" y="224"/>
                </a:lnTo>
                <a:lnTo>
                  <a:pt x="793" y="224"/>
                </a:lnTo>
                <a:lnTo>
                  <a:pt x="793" y="221"/>
                </a:lnTo>
                <a:lnTo>
                  <a:pt x="791" y="217"/>
                </a:lnTo>
                <a:lnTo>
                  <a:pt x="791" y="214"/>
                </a:lnTo>
                <a:lnTo>
                  <a:pt x="791" y="212"/>
                </a:lnTo>
                <a:lnTo>
                  <a:pt x="793" y="210"/>
                </a:lnTo>
                <a:lnTo>
                  <a:pt x="793" y="205"/>
                </a:lnTo>
                <a:lnTo>
                  <a:pt x="793" y="203"/>
                </a:lnTo>
                <a:lnTo>
                  <a:pt x="796" y="200"/>
                </a:lnTo>
                <a:lnTo>
                  <a:pt x="798" y="198"/>
                </a:lnTo>
                <a:lnTo>
                  <a:pt x="798" y="196"/>
                </a:lnTo>
                <a:lnTo>
                  <a:pt x="800" y="196"/>
                </a:lnTo>
                <a:lnTo>
                  <a:pt x="805" y="193"/>
                </a:lnTo>
                <a:lnTo>
                  <a:pt x="807" y="193"/>
                </a:lnTo>
                <a:lnTo>
                  <a:pt x="812" y="191"/>
                </a:lnTo>
                <a:lnTo>
                  <a:pt x="814" y="191"/>
                </a:lnTo>
                <a:lnTo>
                  <a:pt x="814" y="189"/>
                </a:lnTo>
                <a:lnTo>
                  <a:pt x="814" y="186"/>
                </a:lnTo>
                <a:lnTo>
                  <a:pt x="816" y="186"/>
                </a:lnTo>
                <a:lnTo>
                  <a:pt x="819" y="186"/>
                </a:lnTo>
                <a:lnTo>
                  <a:pt x="821" y="186"/>
                </a:lnTo>
                <a:lnTo>
                  <a:pt x="823" y="186"/>
                </a:lnTo>
                <a:lnTo>
                  <a:pt x="826" y="186"/>
                </a:lnTo>
                <a:lnTo>
                  <a:pt x="826" y="189"/>
                </a:lnTo>
                <a:lnTo>
                  <a:pt x="830" y="189"/>
                </a:lnTo>
                <a:lnTo>
                  <a:pt x="833" y="189"/>
                </a:lnTo>
                <a:lnTo>
                  <a:pt x="835" y="189"/>
                </a:lnTo>
                <a:lnTo>
                  <a:pt x="835" y="191"/>
                </a:lnTo>
                <a:lnTo>
                  <a:pt x="837" y="193"/>
                </a:lnTo>
                <a:lnTo>
                  <a:pt x="840" y="196"/>
                </a:lnTo>
                <a:lnTo>
                  <a:pt x="842" y="198"/>
                </a:lnTo>
                <a:lnTo>
                  <a:pt x="844" y="200"/>
                </a:lnTo>
                <a:lnTo>
                  <a:pt x="847" y="203"/>
                </a:lnTo>
                <a:lnTo>
                  <a:pt x="847" y="205"/>
                </a:lnTo>
                <a:lnTo>
                  <a:pt x="847" y="207"/>
                </a:lnTo>
                <a:lnTo>
                  <a:pt x="847" y="210"/>
                </a:lnTo>
                <a:lnTo>
                  <a:pt x="849" y="210"/>
                </a:lnTo>
                <a:lnTo>
                  <a:pt x="854" y="210"/>
                </a:lnTo>
                <a:lnTo>
                  <a:pt x="856" y="210"/>
                </a:lnTo>
                <a:lnTo>
                  <a:pt x="858" y="210"/>
                </a:lnTo>
                <a:lnTo>
                  <a:pt x="861" y="207"/>
                </a:lnTo>
                <a:lnTo>
                  <a:pt x="863" y="210"/>
                </a:lnTo>
                <a:lnTo>
                  <a:pt x="863" y="207"/>
                </a:lnTo>
                <a:lnTo>
                  <a:pt x="865" y="207"/>
                </a:lnTo>
                <a:lnTo>
                  <a:pt x="865" y="205"/>
                </a:lnTo>
                <a:lnTo>
                  <a:pt x="865" y="203"/>
                </a:lnTo>
                <a:lnTo>
                  <a:pt x="868" y="203"/>
                </a:lnTo>
                <a:lnTo>
                  <a:pt x="872" y="200"/>
                </a:lnTo>
                <a:lnTo>
                  <a:pt x="875" y="200"/>
                </a:lnTo>
                <a:lnTo>
                  <a:pt x="877" y="200"/>
                </a:lnTo>
                <a:lnTo>
                  <a:pt x="877" y="198"/>
                </a:lnTo>
                <a:lnTo>
                  <a:pt x="877" y="196"/>
                </a:lnTo>
                <a:lnTo>
                  <a:pt x="877" y="193"/>
                </a:lnTo>
                <a:lnTo>
                  <a:pt x="872" y="189"/>
                </a:lnTo>
                <a:lnTo>
                  <a:pt x="872" y="186"/>
                </a:lnTo>
                <a:lnTo>
                  <a:pt x="872" y="184"/>
                </a:lnTo>
                <a:lnTo>
                  <a:pt x="872" y="182"/>
                </a:lnTo>
                <a:lnTo>
                  <a:pt x="875" y="182"/>
                </a:lnTo>
                <a:lnTo>
                  <a:pt x="875" y="179"/>
                </a:lnTo>
                <a:lnTo>
                  <a:pt x="875" y="177"/>
                </a:lnTo>
                <a:lnTo>
                  <a:pt x="877" y="175"/>
                </a:lnTo>
                <a:lnTo>
                  <a:pt x="877" y="172"/>
                </a:lnTo>
                <a:lnTo>
                  <a:pt x="877" y="168"/>
                </a:lnTo>
                <a:lnTo>
                  <a:pt x="877" y="165"/>
                </a:lnTo>
                <a:lnTo>
                  <a:pt x="879" y="165"/>
                </a:lnTo>
                <a:lnTo>
                  <a:pt x="882" y="163"/>
                </a:lnTo>
                <a:lnTo>
                  <a:pt x="882" y="161"/>
                </a:lnTo>
                <a:lnTo>
                  <a:pt x="882" y="158"/>
                </a:lnTo>
                <a:lnTo>
                  <a:pt x="884" y="156"/>
                </a:lnTo>
                <a:lnTo>
                  <a:pt x="884" y="154"/>
                </a:lnTo>
                <a:lnTo>
                  <a:pt x="886" y="152"/>
                </a:lnTo>
                <a:lnTo>
                  <a:pt x="889" y="147"/>
                </a:lnTo>
                <a:lnTo>
                  <a:pt x="889" y="145"/>
                </a:lnTo>
                <a:lnTo>
                  <a:pt x="891" y="142"/>
                </a:lnTo>
                <a:lnTo>
                  <a:pt x="893" y="142"/>
                </a:lnTo>
                <a:lnTo>
                  <a:pt x="893" y="140"/>
                </a:lnTo>
                <a:lnTo>
                  <a:pt x="896" y="140"/>
                </a:lnTo>
                <a:lnTo>
                  <a:pt x="896" y="138"/>
                </a:lnTo>
                <a:lnTo>
                  <a:pt x="898" y="138"/>
                </a:lnTo>
                <a:lnTo>
                  <a:pt x="914" y="135"/>
                </a:lnTo>
                <a:lnTo>
                  <a:pt x="977" y="138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3" name="Freeform 10">
            <a:extLst>
              <a:ext uri="{FF2B5EF4-FFF2-40B4-BE49-F238E27FC236}">
                <a16:creationId xmlns:a16="http://schemas.microsoft.com/office/drawing/2014/main" id="{65BFD34E-47BB-5560-39AD-0825EEF0E2D9}"/>
              </a:ext>
            </a:extLst>
          </p:cNvPr>
          <p:cNvSpPr>
            <a:spLocks noEditPoints="1"/>
          </p:cNvSpPr>
          <p:nvPr/>
        </p:nvSpPr>
        <p:spPr bwMode="auto">
          <a:xfrm>
            <a:off x="3461890" y="3217077"/>
            <a:ext cx="562026" cy="683798"/>
          </a:xfrm>
          <a:custGeom>
            <a:avLst/>
            <a:gdLst>
              <a:gd name="T0" fmla="*/ 298 w 477"/>
              <a:gd name="T1" fmla="*/ 126 h 608"/>
              <a:gd name="T2" fmla="*/ 460 w 477"/>
              <a:gd name="T3" fmla="*/ 142 h 608"/>
              <a:gd name="T4" fmla="*/ 346 w 477"/>
              <a:gd name="T5" fmla="*/ 110 h 608"/>
              <a:gd name="T6" fmla="*/ 360 w 477"/>
              <a:gd name="T7" fmla="*/ 100 h 608"/>
              <a:gd name="T8" fmla="*/ 274 w 477"/>
              <a:gd name="T9" fmla="*/ 28 h 608"/>
              <a:gd name="T10" fmla="*/ 214 w 477"/>
              <a:gd name="T11" fmla="*/ 10 h 608"/>
              <a:gd name="T12" fmla="*/ 218 w 477"/>
              <a:gd name="T13" fmla="*/ 17 h 608"/>
              <a:gd name="T14" fmla="*/ 230 w 477"/>
              <a:gd name="T15" fmla="*/ 17 h 608"/>
              <a:gd name="T16" fmla="*/ 237 w 477"/>
              <a:gd name="T17" fmla="*/ 28 h 608"/>
              <a:gd name="T18" fmla="*/ 242 w 477"/>
              <a:gd name="T19" fmla="*/ 37 h 608"/>
              <a:gd name="T20" fmla="*/ 249 w 477"/>
              <a:gd name="T21" fmla="*/ 33 h 608"/>
              <a:gd name="T22" fmla="*/ 260 w 477"/>
              <a:gd name="T23" fmla="*/ 37 h 608"/>
              <a:gd name="T24" fmla="*/ 274 w 477"/>
              <a:gd name="T25" fmla="*/ 44 h 608"/>
              <a:gd name="T26" fmla="*/ 277 w 477"/>
              <a:gd name="T27" fmla="*/ 49 h 608"/>
              <a:gd name="T28" fmla="*/ 288 w 477"/>
              <a:gd name="T29" fmla="*/ 54 h 608"/>
              <a:gd name="T30" fmla="*/ 300 w 477"/>
              <a:gd name="T31" fmla="*/ 63 h 608"/>
              <a:gd name="T32" fmla="*/ 302 w 477"/>
              <a:gd name="T33" fmla="*/ 77 h 608"/>
              <a:gd name="T34" fmla="*/ 288 w 477"/>
              <a:gd name="T35" fmla="*/ 93 h 608"/>
              <a:gd name="T36" fmla="*/ 295 w 477"/>
              <a:gd name="T37" fmla="*/ 89 h 608"/>
              <a:gd name="T38" fmla="*/ 300 w 477"/>
              <a:gd name="T39" fmla="*/ 103 h 608"/>
              <a:gd name="T40" fmla="*/ 286 w 477"/>
              <a:gd name="T41" fmla="*/ 142 h 608"/>
              <a:gd name="T42" fmla="*/ 288 w 477"/>
              <a:gd name="T43" fmla="*/ 149 h 608"/>
              <a:gd name="T44" fmla="*/ 312 w 477"/>
              <a:gd name="T45" fmla="*/ 110 h 608"/>
              <a:gd name="T46" fmla="*/ 323 w 477"/>
              <a:gd name="T47" fmla="*/ 121 h 608"/>
              <a:gd name="T48" fmla="*/ 316 w 477"/>
              <a:gd name="T49" fmla="*/ 128 h 608"/>
              <a:gd name="T50" fmla="*/ 332 w 477"/>
              <a:gd name="T51" fmla="*/ 119 h 608"/>
              <a:gd name="T52" fmla="*/ 356 w 477"/>
              <a:gd name="T53" fmla="*/ 119 h 608"/>
              <a:gd name="T54" fmla="*/ 370 w 477"/>
              <a:gd name="T55" fmla="*/ 119 h 608"/>
              <a:gd name="T56" fmla="*/ 393 w 477"/>
              <a:gd name="T57" fmla="*/ 114 h 608"/>
              <a:gd name="T58" fmla="*/ 435 w 477"/>
              <a:gd name="T59" fmla="*/ 140 h 608"/>
              <a:gd name="T60" fmla="*/ 465 w 477"/>
              <a:gd name="T61" fmla="*/ 142 h 608"/>
              <a:gd name="T62" fmla="*/ 460 w 477"/>
              <a:gd name="T63" fmla="*/ 177 h 608"/>
              <a:gd name="T64" fmla="*/ 412 w 477"/>
              <a:gd name="T65" fmla="*/ 200 h 608"/>
              <a:gd name="T66" fmla="*/ 386 w 477"/>
              <a:gd name="T67" fmla="*/ 240 h 608"/>
              <a:gd name="T68" fmla="*/ 391 w 477"/>
              <a:gd name="T69" fmla="*/ 282 h 608"/>
              <a:gd name="T70" fmla="*/ 367 w 477"/>
              <a:gd name="T71" fmla="*/ 326 h 608"/>
              <a:gd name="T72" fmla="*/ 374 w 477"/>
              <a:gd name="T73" fmla="*/ 366 h 608"/>
              <a:gd name="T74" fmla="*/ 349 w 477"/>
              <a:gd name="T75" fmla="*/ 401 h 608"/>
              <a:gd name="T76" fmla="*/ 305 w 477"/>
              <a:gd name="T77" fmla="*/ 394 h 608"/>
              <a:gd name="T78" fmla="*/ 274 w 477"/>
              <a:gd name="T79" fmla="*/ 412 h 608"/>
              <a:gd name="T80" fmla="*/ 230 w 477"/>
              <a:gd name="T81" fmla="*/ 433 h 608"/>
              <a:gd name="T82" fmla="*/ 191 w 477"/>
              <a:gd name="T83" fmla="*/ 466 h 608"/>
              <a:gd name="T84" fmla="*/ 160 w 477"/>
              <a:gd name="T85" fmla="*/ 512 h 608"/>
              <a:gd name="T86" fmla="*/ 163 w 477"/>
              <a:gd name="T87" fmla="*/ 561 h 608"/>
              <a:gd name="T88" fmla="*/ 144 w 477"/>
              <a:gd name="T89" fmla="*/ 601 h 608"/>
              <a:gd name="T90" fmla="*/ 109 w 477"/>
              <a:gd name="T91" fmla="*/ 566 h 608"/>
              <a:gd name="T92" fmla="*/ 97 w 477"/>
              <a:gd name="T93" fmla="*/ 524 h 608"/>
              <a:gd name="T94" fmla="*/ 102 w 477"/>
              <a:gd name="T95" fmla="*/ 496 h 608"/>
              <a:gd name="T96" fmla="*/ 130 w 477"/>
              <a:gd name="T97" fmla="*/ 463 h 608"/>
              <a:gd name="T98" fmla="*/ 95 w 477"/>
              <a:gd name="T99" fmla="*/ 454 h 608"/>
              <a:gd name="T100" fmla="*/ 72 w 477"/>
              <a:gd name="T101" fmla="*/ 419 h 608"/>
              <a:gd name="T102" fmla="*/ 56 w 477"/>
              <a:gd name="T103" fmla="*/ 394 h 608"/>
              <a:gd name="T104" fmla="*/ 81 w 477"/>
              <a:gd name="T105" fmla="*/ 345 h 608"/>
              <a:gd name="T106" fmla="*/ 76 w 477"/>
              <a:gd name="T107" fmla="*/ 284 h 608"/>
              <a:gd name="T108" fmla="*/ 21 w 477"/>
              <a:gd name="T109" fmla="*/ 261 h 608"/>
              <a:gd name="T110" fmla="*/ 81 w 477"/>
              <a:gd name="T111" fmla="*/ 221 h 608"/>
              <a:gd name="T112" fmla="*/ 102 w 477"/>
              <a:gd name="T113" fmla="*/ 193 h 608"/>
              <a:gd name="T114" fmla="*/ 128 w 477"/>
              <a:gd name="T115" fmla="*/ 159 h 608"/>
              <a:gd name="T116" fmla="*/ 151 w 477"/>
              <a:gd name="T117" fmla="*/ 133 h 608"/>
              <a:gd name="T118" fmla="*/ 170 w 477"/>
              <a:gd name="T119" fmla="*/ 98 h 608"/>
              <a:gd name="T120" fmla="*/ 188 w 477"/>
              <a:gd name="T121" fmla="*/ 58 h 608"/>
              <a:gd name="T122" fmla="*/ 197 w 477"/>
              <a:gd name="T123" fmla="*/ 19 h 608"/>
              <a:gd name="T124" fmla="*/ 211 w 477"/>
              <a:gd name="T125" fmla="*/ 5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77" h="608">
                <a:moveTo>
                  <a:pt x="295" y="131"/>
                </a:moveTo>
                <a:lnTo>
                  <a:pt x="298" y="128"/>
                </a:lnTo>
                <a:lnTo>
                  <a:pt x="298" y="133"/>
                </a:lnTo>
                <a:lnTo>
                  <a:pt x="298" y="135"/>
                </a:lnTo>
                <a:lnTo>
                  <a:pt x="295" y="135"/>
                </a:lnTo>
                <a:lnTo>
                  <a:pt x="295" y="138"/>
                </a:lnTo>
                <a:lnTo>
                  <a:pt x="295" y="140"/>
                </a:lnTo>
                <a:lnTo>
                  <a:pt x="293" y="140"/>
                </a:lnTo>
                <a:lnTo>
                  <a:pt x="291" y="142"/>
                </a:lnTo>
                <a:lnTo>
                  <a:pt x="291" y="145"/>
                </a:lnTo>
                <a:lnTo>
                  <a:pt x="288" y="145"/>
                </a:lnTo>
                <a:lnTo>
                  <a:pt x="288" y="142"/>
                </a:lnTo>
                <a:lnTo>
                  <a:pt x="291" y="140"/>
                </a:lnTo>
                <a:lnTo>
                  <a:pt x="291" y="138"/>
                </a:lnTo>
                <a:lnTo>
                  <a:pt x="293" y="135"/>
                </a:lnTo>
                <a:lnTo>
                  <a:pt x="291" y="133"/>
                </a:lnTo>
                <a:lnTo>
                  <a:pt x="291" y="131"/>
                </a:lnTo>
                <a:lnTo>
                  <a:pt x="293" y="128"/>
                </a:lnTo>
                <a:lnTo>
                  <a:pt x="295" y="124"/>
                </a:lnTo>
                <a:lnTo>
                  <a:pt x="300" y="121"/>
                </a:lnTo>
                <a:lnTo>
                  <a:pt x="298" y="126"/>
                </a:lnTo>
                <a:lnTo>
                  <a:pt x="298" y="128"/>
                </a:lnTo>
                <a:lnTo>
                  <a:pt x="295" y="128"/>
                </a:lnTo>
                <a:lnTo>
                  <a:pt x="295" y="131"/>
                </a:lnTo>
                <a:close/>
                <a:moveTo>
                  <a:pt x="458" y="145"/>
                </a:moveTo>
                <a:lnTo>
                  <a:pt x="456" y="145"/>
                </a:lnTo>
                <a:lnTo>
                  <a:pt x="453" y="145"/>
                </a:lnTo>
                <a:lnTo>
                  <a:pt x="451" y="145"/>
                </a:lnTo>
                <a:lnTo>
                  <a:pt x="451" y="142"/>
                </a:lnTo>
                <a:lnTo>
                  <a:pt x="449" y="142"/>
                </a:lnTo>
                <a:lnTo>
                  <a:pt x="447" y="140"/>
                </a:lnTo>
                <a:lnTo>
                  <a:pt x="449" y="140"/>
                </a:lnTo>
                <a:lnTo>
                  <a:pt x="449" y="138"/>
                </a:lnTo>
                <a:lnTo>
                  <a:pt x="449" y="140"/>
                </a:lnTo>
                <a:lnTo>
                  <a:pt x="451" y="140"/>
                </a:lnTo>
                <a:lnTo>
                  <a:pt x="451" y="142"/>
                </a:lnTo>
                <a:lnTo>
                  <a:pt x="453" y="142"/>
                </a:lnTo>
                <a:lnTo>
                  <a:pt x="456" y="142"/>
                </a:lnTo>
                <a:lnTo>
                  <a:pt x="456" y="145"/>
                </a:lnTo>
                <a:lnTo>
                  <a:pt x="458" y="145"/>
                </a:lnTo>
                <a:close/>
                <a:moveTo>
                  <a:pt x="460" y="140"/>
                </a:moveTo>
                <a:lnTo>
                  <a:pt x="460" y="142"/>
                </a:lnTo>
                <a:lnTo>
                  <a:pt x="463" y="142"/>
                </a:lnTo>
                <a:lnTo>
                  <a:pt x="463" y="145"/>
                </a:lnTo>
                <a:lnTo>
                  <a:pt x="460" y="145"/>
                </a:lnTo>
                <a:lnTo>
                  <a:pt x="458" y="145"/>
                </a:lnTo>
                <a:lnTo>
                  <a:pt x="458" y="142"/>
                </a:lnTo>
                <a:lnTo>
                  <a:pt x="458" y="140"/>
                </a:lnTo>
                <a:lnTo>
                  <a:pt x="456" y="140"/>
                </a:lnTo>
                <a:lnTo>
                  <a:pt x="453" y="138"/>
                </a:lnTo>
                <a:lnTo>
                  <a:pt x="458" y="140"/>
                </a:lnTo>
                <a:lnTo>
                  <a:pt x="460" y="140"/>
                </a:lnTo>
                <a:close/>
                <a:moveTo>
                  <a:pt x="346" y="110"/>
                </a:moveTo>
                <a:lnTo>
                  <a:pt x="349" y="110"/>
                </a:lnTo>
                <a:lnTo>
                  <a:pt x="349" y="112"/>
                </a:lnTo>
                <a:lnTo>
                  <a:pt x="349" y="114"/>
                </a:lnTo>
                <a:lnTo>
                  <a:pt x="346" y="114"/>
                </a:lnTo>
                <a:lnTo>
                  <a:pt x="344" y="114"/>
                </a:lnTo>
                <a:lnTo>
                  <a:pt x="344" y="112"/>
                </a:lnTo>
                <a:lnTo>
                  <a:pt x="344" y="110"/>
                </a:lnTo>
                <a:lnTo>
                  <a:pt x="344" y="107"/>
                </a:lnTo>
                <a:lnTo>
                  <a:pt x="346" y="107"/>
                </a:lnTo>
                <a:lnTo>
                  <a:pt x="346" y="110"/>
                </a:lnTo>
                <a:close/>
                <a:moveTo>
                  <a:pt x="363" y="110"/>
                </a:moveTo>
                <a:lnTo>
                  <a:pt x="360" y="110"/>
                </a:lnTo>
                <a:lnTo>
                  <a:pt x="360" y="107"/>
                </a:lnTo>
                <a:lnTo>
                  <a:pt x="363" y="107"/>
                </a:lnTo>
                <a:lnTo>
                  <a:pt x="365" y="107"/>
                </a:lnTo>
                <a:lnTo>
                  <a:pt x="363" y="110"/>
                </a:lnTo>
                <a:close/>
                <a:moveTo>
                  <a:pt x="358" y="107"/>
                </a:moveTo>
                <a:lnTo>
                  <a:pt x="358" y="110"/>
                </a:lnTo>
                <a:lnTo>
                  <a:pt x="356" y="107"/>
                </a:lnTo>
                <a:lnTo>
                  <a:pt x="353" y="107"/>
                </a:lnTo>
                <a:lnTo>
                  <a:pt x="353" y="110"/>
                </a:lnTo>
                <a:lnTo>
                  <a:pt x="351" y="110"/>
                </a:lnTo>
                <a:lnTo>
                  <a:pt x="351" y="107"/>
                </a:lnTo>
                <a:lnTo>
                  <a:pt x="351" y="105"/>
                </a:lnTo>
                <a:lnTo>
                  <a:pt x="351" y="103"/>
                </a:lnTo>
                <a:lnTo>
                  <a:pt x="353" y="103"/>
                </a:lnTo>
                <a:lnTo>
                  <a:pt x="353" y="100"/>
                </a:lnTo>
                <a:lnTo>
                  <a:pt x="356" y="98"/>
                </a:lnTo>
                <a:lnTo>
                  <a:pt x="358" y="98"/>
                </a:lnTo>
                <a:lnTo>
                  <a:pt x="360" y="98"/>
                </a:lnTo>
                <a:lnTo>
                  <a:pt x="360" y="100"/>
                </a:lnTo>
                <a:lnTo>
                  <a:pt x="360" y="103"/>
                </a:lnTo>
                <a:lnTo>
                  <a:pt x="358" y="103"/>
                </a:lnTo>
                <a:lnTo>
                  <a:pt x="358" y="105"/>
                </a:lnTo>
                <a:lnTo>
                  <a:pt x="358" y="107"/>
                </a:lnTo>
                <a:close/>
                <a:moveTo>
                  <a:pt x="281" y="24"/>
                </a:moveTo>
                <a:lnTo>
                  <a:pt x="284" y="24"/>
                </a:lnTo>
                <a:lnTo>
                  <a:pt x="284" y="26"/>
                </a:lnTo>
                <a:lnTo>
                  <a:pt x="281" y="26"/>
                </a:lnTo>
                <a:lnTo>
                  <a:pt x="279" y="26"/>
                </a:lnTo>
                <a:lnTo>
                  <a:pt x="281" y="26"/>
                </a:lnTo>
                <a:lnTo>
                  <a:pt x="281" y="28"/>
                </a:lnTo>
                <a:lnTo>
                  <a:pt x="279" y="28"/>
                </a:lnTo>
                <a:lnTo>
                  <a:pt x="277" y="30"/>
                </a:lnTo>
                <a:lnTo>
                  <a:pt x="277" y="28"/>
                </a:lnTo>
                <a:lnTo>
                  <a:pt x="277" y="30"/>
                </a:lnTo>
                <a:lnTo>
                  <a:pt x="274" y="30"/>
                </a:lnTo>
                <a:lnTo>
                  <a:pt x="272" y="30"/>
                </a:lnTo>
                <a:lnTo>
                  <a:pt x="272" y="28"/>
                </a:lnTo>
                <a:lnTo>
                  <a:pt x="272" y="26"/>
                </a:lnTo>
                <a:lnTo>
                  <a:pt x="274" y="26"/>
                </a:lnTo>
                <a:lnTo>
                  <a:pt x="274" y="28"/>
                </a:lnTo>
                <a:lnTo>
                  <a:pt x="274" y="26"/>
                </a:lnTo>
                <a:lnTo>
                  <a:pt x="277" y="24"/>
                </a:lnTo>
                <a:lnTo>
                  <a:pt x="274" y="24"/>
                </a:lnTo>
                <a:lnTo>
                  <a:pt x="277" y="24"/>
                </a:lnTo>
                <a:lnTo>
                  <a:pt x="277" y="21"/>
                </a:lnTo>
                <a:lnTo>
                  <a:pt x="279" y="24"/>
                </a:lnTo>
                <a:lnTo>
                  <a:pt x="279" y="21"/>
                </a:lnTo>
                <a:lnTo>
                  <a:pt x="281" y="21"/>
                </a:lnTo>
                <a:lnTo>
                  <a:pt x="281" y="24"/>
                </a:lnTo>
                <a:close/>
                <a:moveTo>
                  <a:pt x="211" y="5"/>
                </a:moveTo>
                <a:lnTo>
                  <a:pt x="209" y="5"/>
                </a:lnTo>
                <a:lnTo>
                  <a:pt x="209" y="7"/>
                </a:lnTo>
                <a:lnTo>
                  <a:pt x="211" y="7"/>
                </a:lnTo>
                <a:lnTo>
                  <a:pt x="207" y="7"/>
                </a:lnTo>
                <a:lnTo>
                  <a:pt x="207" y="10"/>
                </a:lnTo>
                <a:lnTo>
                  <a:pt x="207" y="12"/>
                </a:lnTo>
                <a:lnTo>
                  <a:pt x="209" y="12"/>
                </a:lnTo>
                <a:lnTo>
                  <a:pt x="209" y="14"/>
                </a:lnTo>
                <a:lnTo>
                  <a:pt x="211" y="14"/>
                </a:lnTo>
                <a:lnTo>
                  <a:pt x="211" y="12"/>
                </a:lnTo>
                <a:lnTo>
                  <a:pt x="214" y="10"/>
                </a:lnTo>
                <a:lnTo>
                  <a:pt x="214" y="7"/>
                </a:lnTo>
                <a:lnTo>
                  <a:pt x="216" y="5"/>
                </a:lnTo>
                <a:lnTo>
                  <a:pt x="216" y="3"/>
                </a:lnTo>
                <a:lnTo>
                  <a:pt x="218" y="3"/>
                </a:lnTo>
                <a:lnTo>
                  <a:pt x="218" y="5"/>
                </a:lnTo>
                <a:lnTo>
                  <a:pt x="216" y="7"/>
                </a:lnTo>
                <a:lnTo>
                  <a:pt x="214" y="10"/>
                </a:lnTo>
                <a:lnTo>
                  <a:pt x="214" y="12"/>
                </a:lnTo>
                <a:lnTo>
                  <a:pt x="214" y="10"/>
                </a:lnTo>
                <a:lnTo>
                  <a:pt x="216" y="10"/>
                </a:lnTo>
                <a:lnTo>
                  <a:pt x="216" y="12"/>
                </a:lnTo>
                <a:lnTo>
                  <a:pt x="214" y="14"/>
                </a:lnTo>
                <a:lnTo>
                  <a:pt x="216" y="14"/>
                </a:lnTo>
                <a:lnTo>
                  <a:pt x="216" y="17"/>
                </a:lnTo>
                <a:lnTo>
                  <a:pt x="214" y="17"/>
                </a:lnTo>
                <a:lnTo>
                  <a:pt x="216" y="17"/>
                </a:lnTo>
                <a:lnTo>
                  <a:pt x="218" y="17"/>
                </a:lnTo>
                <a:lnTo>
                  <a:pt x="218" y="14"/>
                </a:lnTo>
                <a:lnTo>
                  <a:pt x="218" y="12"/>
                </a:lnTo>
                <a:lnTo>
                  <a:pt x="218" y="14"/>
                </a:lnTo>
                <a:lnTo>
                  <a:pt x="218" y="17"/>
                </a:lnTo>
                <a:lnTo>
                  <a:pt x="218" y="19"/>
                </a:lnTo>
                <a:lnTo>
                  <a:pt x="218" y="21"/>
                </a:lnTo>
                <a:lnTo>
                  <a:pt x="218" y="19"/>
                </a:lnTo>
                <a:lnTo>
                  <a:pt x="221" y="17"/>
                </a:lnTo>
                <a:lnTo>
                  <a:pt x="223" y="17"/>
                </a:lnTo>
                <a:lnTo>
                  <a:pt x="223" y="14"/>
                </a:lnTo>
                <a:lnTo>
                  <a:pt x="223" y="12"/>
                </a:lnTo>
                <a:lnTo>
                  <a:pt x="225" y="12"/>
                </a:lnTo>
                <a:lnTo>
                  <a:pt x="225" y="7"/>
                </a:lnTo>
                <a:lnTo>
                  <a:pt x="228" y="7"/>
                </a:lnTo>
                <a:lnTo>
                  <a:pt x="228" y="10"/>
                </a:lnTo>
                <a:lnTo>
                  <a:pt x="225" y="14"/>
                </a:lnTo>
                <a:lnTo>
                  <a:pt x="225" y="17"/>
                </a:lnTo>
                <a:lnTo>
                  <a:pt x="225" y="14"/>
                </a:lnTo>
                <a:lnTo>
                  <a:pt x="228" y="14"/>
                </a:lnTo>
                <a:lnTo>
                  <a:pt x="228" y="12"/>
                </a:lnTo>
                <a:lnTo>
                  <a:pt x="228" y="14"/>
                </a:lnTo>
                <a:lnTo>
                  <a:pt x="230" y="14"/>
                </a:lnTo>
                <a:lnTo>
                  <a:pt x="230" y="17"/>
                </a:lnTo>
                <a:lnTo>
                  <a:pt x="228" y="17"/>
                </a:lnTo>
                <a:lnTo>
                  <a:pt x="230" y="17"/>
                </a:lnTo>
                <a:lnTo>
                  <a:pt x="230" y="19"/>
                </a:lnTo>
                <a:lnTo>
                  <a:pt x="230" y="21"/>
                </a:lnTo>
                <a:lnTo>
                  <a:pt x="230" y="24"/>
                </a:lnTo>
                <a:lnTo>
                  <a:pt x="228" y="24"/>
                </a:lnTo>
                <a:lnTo>
                  <a:pt x="230" y="24"/>
                </a:lnTo>
                <a:lnTo>
                  <a:pt x="232" y="24"/>
                </a:lnTo>
                <a:lnTo>
                  <a:pt x="232" y="21"/>
                </a:lnTo>
                <a:lnTo>
                  <a:pt x="232" y="19"/>
                </a:lnTo>
                <a:lnTo>
                  <a:pt x="235" y="19"/>
                </a:lnTo>
                <a:lnTo>
                  <a:pt x="235" y="21"/>
                </a:lnTo>
                <a:lnTo>
                  <a:pt x="237" y="19"/>
                </a:lnTo>
                <a:lnTo>
                  <a:pt x="239" y="19"/>
                </a:lnTo>
                <a:lnTo>
                  <a:pt x="237" y="19"/>
                </a:lnTo>
                <a:lnTo>
                  <a:pt x="237" y="21"/>
                </a:lnTo>
                <a:lnTo>
                  <a:pt x="239" y="21"/>
                </a:lnTo>
                <a:lnTo>
                  <a:pt x="237" y="21"/>
                </a:lnTo>
                <a:lnTo>
                  <a:pt x="237" y="24"/>
                </a:lnTo>
                <a:lnTo>
                  <a:pt x="239" y="21"/>
                </a:lnTo>
                <a:lnTo>
                  <a:pt x="239" y="24"/>
                </a:lnTo>
                <a:lnTo>
                  <a:pt x="239" y="26"/>
                </a:lnTo>
                <a:lnTo>
                  <a:pt x="237" y="28"/>
                </a:lnTo>
                <a:lnTo>
                  <a:pt x="239" y="28"/>
                </a:lnTo>
                <a:lnTo>
                  <a:pt x="242" y="24"/>
                </a:lnTo>
                <a:lnTo>
                  <a:pt x="244" y="21"/>
                </a:lnTo>
                <a:lnTo>
                  <a:pt x="246" y="21"/>
                </a:lnTo>
                <a:lnTo>
                  <a:pt x="244" y="21"/>
                </a:lnTo>
                <a:lnTo>
                  <a:pt x="246" y="21"/>
                </a:lnTo>
                <a:lnTo>
                  <a:pt x="246" y="24"/>
                </a:lnTo>
                <a:lnTo>
                  <a:pt x="246" y="26"/>
                </a:lnTo>
                <a:lnTo>
                  <a:pt x="244" y="26"/>
                </a:lnTo>
                <a:lnTo>
                  <a:pt x="242" y="26"/>
                </a:lnTo>
                <a:lnTo>
                  <a:pt x="242" y="28"/>
                </a:lnTo>
                <a:lnTo>
                  <a:pt x="242" y="30"/>
                </a:lnTo>
                <a:lnTo>
                  <a:pt x="239" y="30"/>
                </a:lnTo>
                <a:lnTo>
                  <a:pt x="242" y="33"/>
                </a:lnTo>
                <a:lnTo>
                  <a:pt x="239" y="30"/>
                </a:lnTo>
                <a:lnTo>
                  <a:pt x="237" y="33"/>
                </a:lnTo>
                <a:lnTo>
                  <a:pt x="239" y="33"/>
                </a:lnTo>
                <a:lnTo>
                  <a:pt x="239" y="35"/>
                </a:lnTo>
                <a:lnTo>
                  <a:pt x="239" y="33"/>
                </a:lnTo>
                <a:lnTo>
                  <a:pt x="242" y="35"/>
                </a:lnTo>
                <a:lnTo>
                  <a:pt x="242" y="37"/>
                </a:lnTo>
                <a:lnTo>
                  <a:pt x="242" y="35"/>
                </a:lnTo>
                <a:lnTo>
                  <a:pt x="242" y="33"/>
                </a:lnTo>
                <a:lnTo>
                  <a:pt x="242" y="30"/>
                </a:lnTo>
                <a:lnTo>
                  <a:pt x="244" y="30"/>
                </a:lnTo>
                <a:lnTo>
                  <a:pt x="244" y="33"/>
                </a:lnTo>
                <a:lnTo>
                  <a:pt x="246" y="30"/>
                </a:lnTo>
                <a:lnTo>
                  <a:pt x="246" y="28"/>
                </a:lnTo>
                <a:lnTo>
                  <a:pt x="249" y="28"/>
                </a:lnTo>
                <a:lnTo>
                  <a:pt x="251" y="26"/>
                </a:lnTo>
                <a:lnTo>
                  <a:pt x="251" y="24"/>
                </a:lnTo>
                <a:lnTo>
                  <a:pt x="249" y="24"/>
                </a:lnTo>
                <a:lnTo>
                  <a:pt x="251" y="24"/>
                </a:lnTo>
                <a:lnTo>
                  <a:pt x="253" y="24"/>
                </a:lnTo>
                <a:lnTo>
                  <a:pt x="253" y="30"/>
                </a:lnTo>
                <a:lnTo>
                  <a:pt x="251" y="30"/>
                </a:lnTo>
                <a:lnTo>
                  <a:pt x="251" y="33"/>
                </a:lnTo>
                <a:lnTo>
                  <a:pt x="249" y="33"/>
                </a:lnTo>
                <a:lnTo>
                  <a:pt x="246" y="33"/>
                </a:lnTo>
                <a:lnTo>
                  <a:pt x="246" y="35"/>
                </a:lnTo>
                <a:lnTo>
                  <a:pt x="246" y="33"/>
                </a:lnTo>
                <a:lnTo>
                  <a:pt x="249" y="33"/>
                </a:lnTo>
                <a:lnTo>
                  <a:pt x="249" y="35"/>
                </a:lnTo>
                <a:lnTo>
                  <a:pt x="249" y="37"/>
                </a:lnTo>
                <a:lnTo>
                  <a:pt x="246" y="37"/>
                </a:lnTo>
                <a:lnTo>
                  <a:pt x="246" y="40"/>
                </a:lnTo>
                <a:lnTo>
                  <a:pt x="246" y="37"/>
                </a:lnTo>
                <a:lnTo>
                  <a:pt x="249" y="40"/>
                </a:lnTo>
                <a:lnTo>
                  <a:pt x="249" y="42"/>
                </a:lnTo>
                <a:lnTo>
                  <a:pt x="249" y="44"/>
                </a:lnTo>
                <a:lnTo>
                  <a:pt x="246" y="47"/>
                </a:lnTo>
                <a:lnTo>
                  <a:pt x="246" y="49"/>
                </a:lnTo>
                <a:lnTo>
                  <a:pt x="249" y="51"/>
                </a:lnTo>
                <a:lnTo>
                  <a:pt x="251" y="51"/>
                </a:lnTo>
                <a:lnTo>
                  <a:pt x="253" y="51"/>
                </a:lnTo>
                <a:lnTo>
                  <a:pt x="253" y="49"/>
                </a:lnTo>
                <a:lnTo>
                  <a:pt x="256" y="49"/>
                </a:lnTo>
                <a:lnTo>
                  <a:pt x="256" y="47"/>
                </a:lnTo>
                <a:lnTo>
                  <a:pt x="256" y="44"/>
                </a:lnTo>
                <a:lnTo>
                  <a:pt x="256" y="42"/>
                </a:lnTo>
                <a:lnTo>
                  <a:pt x="258" y="40"/>
                </a:lnTo>
                <a:lnTo>
                  <a:pt x="258" y="37"/>
                </a:lnTo>
                <a:lnTo>
                  <a:pt x="260" y="37"/>
                </a:lnTo>
                <a:lnTo>
                  <a:pt x="263" y="35"/>
                </a:lnTo>
                <a:lnTo>
                  <a:pt x="263" y="37"/>
                </a:lnTo>
                <a:lnTo>
                  <a:pt x="265" y="37"/>
                </a:lnTo>
                <a:lnTo>
                  <a:pt x="265" y="35"/>
                </a:lnTo>
                <a:lnTo>
                  <a:pt x="267" y="35"/>
                </a:lnTo>
                <a:lnTo>
                  <a:pt x="265" y="35"/>
                </a:lnTo>
                <a:lnTo>
                  <a:pt x="267" y="35"/>
                </a:lnTo>
                <a:lnTo>
                  <a:pt x="267" y="33"/>
                </a:lnTo>
                <a:lnTo>
                  <a:pt x="270" y="33"/>
                </a:lnTo>
                <a:lnTo>
                  <a:pt x="270" y="35"/>
                </a:lnTo>
                <a:lnTo>
                  <a:pt x="270" y="37"/>
                </a:lnTo>
                <a:lnTo>
                  <a:pt x="272" y="37"/>
                </a:lnTo>
                <a:lnTo>
                  <a:pt x="272" y="40"/>
                </a:lnTo>
                <a:lnTo>
                  <a:pt x="274" y="40"/>
                </a:lnTo>
                <a:lnTo>
                  <a:pt x="274" y="42"/>
                </a:lnTo>
                <a:lnTo>
                  <a:pt x="272" y="42"/>
                </a:lnTo>
                <a:lnTo>
                  <a:pt x="270" y="44"/>
                </a:lnTo>
                <a:lnTo>
                  <a:pt x="272" y="44"/>
                </a:lnTo>
                <a:lnTo>
                  <a:pt x="272" y="42"/>
                </a:lnTo>
                <a:lnTo>
                  <a:pt x="272" y="44"/>
                </a:lnTo>
                <a:lnTo>
                  <a:pt x="274" y="44"/>
                </a:lnTo>
                <a:lnTo>
                  <a:pt x="274" y="42"/>
                </a:lnTo>
                <a:lnTo>
                  <a:pt x="277" y="40"/>
                </a:lnTo>
                <a:lnTo>
                  <a:pt x="277" y="37"/>
                </a:lnTo>
                <a:lnTo>
                  <a:pt x="279" y="37"/>
                </a:lnTo>
                <a:lnTo>
                  <a:pt x="277" y="37"/>
                </a:lnTo>
                <a:lnTo>
                  <a:pt x="279" y="35"/>
                </a:lnTo>
                <a:lnTo>
                  <a:pt x="281" y="35"/>
                </a:lnTo>
                <a:lnTo>
                  <a:pt x="281" y="33"/>
                </a:lnTo>
                <a:lnTo>
                  <a:pt x="284" y="33"/>
                </a:lnTo>
                <a:lnTo>
                  <a:pt x="284" y="35"/>
                </a:lnTo>
                <a:lnTo>
                  <a:pt x="284" y="37"/>
                </a:lnTo>
                <a:lnTo>
                  <a:pt x="281" y="37"/>
                </a:lnTo>
                <a:lnTo>
                  <a:pt x="281" y="40"/>
                </a:lnTo>
                <a:lnTo>
                  <a:pt x="279" y="40"/>
                </a:lnTo>
                <a:lnTo>
                  <a:pt x="279" y="42"/>
                </a:lnTo>
                <a:lnTo>
                  <a:pt x="277" y="44"/>
                </a:lnTo>
                <a:lnTo>
                  <a:pt x="279" y="44"/>
                </a:lnTo>
                <a:lnTo>
                  <a:pt x="277" y="44"/>
                </a:lnTo>
                <a:lnTo>
                  <a:pt x="274" y="44"/>
                </a:lnTo>
                <a:lnTo>
                  <a:pt x="277" y="47"/>
                </a:lnTo>
                <a:lnTo>
                  <a:pt x="277" y="49"/>
                </a:lnTo>
                <a:lnTo>
                  <a:pt x="279" y="47"/>
                </a:lnTo>
                <a:lnTo>
                  <a:pt x="279" y="44"/>
                </a:lnTo>
                <a:lnTo>
                  <a:pt x="281" y="47"/>
                </a:lnTo>
                <a:lnTo>
                  <a:pt x="281" y="49"/>
                </a:lnTo>
                <a:lnTo>
                  <a:pt x="284" y="49"/>
                </a:lnTo>
                <a:lnTo>
                  <a:pt x="281" y="47"/>
                </a:lnTo>
                <a:lnTo>
                  <a:pt x="284" y="47"/>
                </a:lnTo>
                <a:lnTo>
                  <a:pt x="284" y="44"/>
                </a:lnTo>
                <a:lnTo>
                  <a:pt x="286" y="47"/>
                </a:lnTo>
                <a:lnTo>
                  <a:pt x="284" y="47"/>
                </a:lnTo>
                <a:lnTo>
                  <a:pt x="286" y="47"/>
                </a:lnTo>
                <a:lnTo>
                  <a:pt x="286" y="49"/>
                </a:lnTo>
                <a:lnTo>
                  <a:pt x="284" y="49"/>
                </a:lnTo>
                <a:lnTo>
                  <a:pt x="286" y="51"/>
                </a:lnTo>
                <a:lnTo>
                  <a:pt x="284" y="54"/>
                </a:lnTo>
                <a:lnTo>
                  <a:pt x="286" y="54"/>
                </a:lnTo>
                <a:lnTo>
                  <a:pt x="286" y="56"/>
                </a:lnTo>
                <a:lnTo>
                  <a:pt x="284" y="56"/>
                </a:lnTo>
                <a:lnTo>
                  <a:pt x="286" y="56"/>
                </a:lnTo>
                <a:lnTo>
                  <a:pt x="286" y="54"/>
                </a:lnTo>
                <a:lnTo>
                  <a:pt x="288" y="54"/>
                </a:lnTo>
                <a:lnTo>
                  <a:pt x="291" y="54"/>
                </a:lnTo>
                <a:lnTo>
                  <a:pt x="291" y="56"/>
                </a:lnTo>
                <a:lnTo>
                  <a:pt x="288" y="58"/>
                </a:lnTo>
                <a:lnTo>
                  <a:pt x="284" y="61"/>
                </a:lnTo>
                <a:lnTo>
                  <a:pt x="286" y="61"/>
                </a:lnTo>
                <a:lnTo>
                  <a:pt x="288" y="58"/>
                </a:lnTo>
                <a:lnTo>
                  <a:pt x="291" y="61"/>
                </a:lnTo>
                <a:lnTo>
                  <a:pt x="293" y="61"/>
                </a:lnTo>
                <a:lnTo>
                  <a:pt x="293" y="58"/>
                </a:lnTo>
                <a:lnTo>
                  <a:pt x="295" y="56"/>
                </a:lnTo>
                <a:lnTo>
                  <a:pt x="295" y="54"/>
                </a:lnTo>
                <a:lnTo>
                  <a:pt x="298" y="56"/>
                </a:lnTo>
                <a:lnTo>
                  <a:pt x="298" y="58"/>
                </a:lnTo>
                <a:lnTo>
                  <a:pt x="295" y="58"/>
                </a:lnTo>
                <a:lnTo>
                  <a:pt x="295" y="61"/>
                </a:lnTo>
                <a:lnTo>
                  <a:pt x="295" y="63"/>
                </a:lnTo>
                <a:lnTo>
                  <a:pt x="293" y="63"/>
                </a:lnTo>
                <a:lnTo>
                  <a:pt x="295" y="63"/>
                </a:lnTo>
                <a:lnTo>
                  <a:pt x="298" y="63"/>
                </a:lnTo>
                <a:lnTo>
                  <a:pt x="300" y="61"/>
                </a:lnTo>
                <a:lnTo>
                  <a:pt x="300" y="63"/>
                </a:lnTo>
                <a:lnTo>
                  <a:pt x="300" y="65"/>
                </a:lnTo>
                <a:lnTo>
                  <a:pt x="300" y="63"/>
                </a:lnTo>
                <a:lnTo>
                  <a:pt x="302" y="63"/>
                </a:lnTo>
                <a:lnTo>
                  <a:pt x="302" y="65"/>
                </a:lnTo>
                <a:lnTo>
                  <a:pt x="298" y="68"/>
                </a:lnTo>
                <a:lnTo>
                  <a:pt x="300" y="68"/>
                </a:lnTo>
                <a:lnTo>
                  <a:pt x="302" y="68"/>
                </a:lnTo>
                <a:lnTo>
                  <a:pt x="302" y="70"/>
                </a:lnTo>
                <a:lnTo>
                  <a:pt x="302" y="72"/>
                </a:lnTo>
                <a:lnTo>
                  <a:pt x="305" y="72"/>
                </a:lnTo>
                <a:lnTo>
                  <a:pt x="305" y="75"/>
                </a:lnTo>
                <a:lnTo>
                  <a:pt x="302" y="75"/>
                </a:lnTo>
                <a:lnTo>
                  <a:pt x="302" y="77"/>
                </a:lnTo>
                <a:lnTo>
                  <a:pt x="300" y="77"/>
                </a:lnTo>
                <a:lnTo>
                  <a:pt x="300" y="75"/>
                </a:lnTo>
                <a:lnTo>
                  <a:pt x="298" y="75"/>
                </a:lnTo>
                <a:lnTo>
                  <a:pt x="298" y="77"/>
                </a:lnTo>
                <a:lnTo>
                  <a:pt x="295" y="77"/>
                </a:lnTo>
                <a:lnTo>
                  <a:pt x="298" y="77"/>
                </a:lnTo>
                <a:lnTo>
                  <a:pt x="300" y="77"/>
                </a:lnTo>
                <a:lnTo>
                  <a:pt x="302" y="77"/>
                </a:lnTo>
                <a:lnTo>
                  <a:pt x="302" y="79"/>
                </a:lnTo>
                <a:lnTo>
                  <a:pt x="300" y="79"/>
                </a:lnTo>
                <a:lnTo>
                  <a:pt x="298" y="79"/>
                </a:lnTo>
                <a:lnTo>
                  <a:pt x="298" y="82"/>
                </a:lnTo>
                <a:lnTo>
                  <a:pt x="295" y="84"/>
                </a:lnTo>
                <a:lnTo>
                  <a:pt x="293" y="84"/>
                </a:lnTo>
                <a:lnTo>
                  <a:pt x="295" y="84"/>
                </a:lnTo>
                <a:lnTo>
                  <a:pt x="295" y="86"/>
                </a:lnTo>
                <a:lnTo>
                  <a:pt x="293" y="86"/>
                </a:lnTo>
                <a:lnTo>
                  <a:pt x="291" y="89"/>
                </a:lnTo>
                <a:lnTo>
                  <a:pt x="288" y="89"/>
                </a:lnTo>
                <a:lnTo>
                  <a:pt x="288" y="91"/>
                </a:lnTo>
                <a:lnTo>
                  <a:pt x="286" y="91"/>
                </a:lnTo>
                <a:lnTo>
                  <a:pt x="284" y="91"/>
                </a:lnTo>
                <a:lnTo>
                  <a:pt x="281" y="91"/>
                </a:lnTo>
                <a:lnTo>
                  <a:pt x="279" y="91"/>
                </a:lnTo>
                <a:lnTo>
                  <a:pt x="281" y="93"/>
                </a:lnTo>
                <a:lnTo>
                  <a:pt x="284" y="91"/>
                </a:lnTo>
                <a:lnTo>
                  <a:pt x="286" y="91"/>
                </a:lnTo>
                <a:lnTo>
                  <a:pt x="286" y="93"/>
                </a:lnTo>
                <a:lnTo>
                  <a:pt x="288" y="93"/>
                </a:lnTo>
                <a:lnTo>
                  <a:pt x="288" y="91"/>
                </a:lnTo>
                <a:lnTo>
                  <a:pt x="291" y="91"/>
                </a:lnTo>
                <a:lnTo>
                  <a:pt x="291" y="93"/>
                </a:lnTo>
                <a:lnTo>
                  <a:pt x="288" y="93"/>
                </a:lnTo>
                <a:lnTo>
                  <a:pt x="288" y="96"/>
                </a:lnTo>
                <a:lnTo>
                  <a:pt x="286" y="98"/>
                </a:lnTo>
                <a:lnTo>
                  <a:pt x="286" y="100"/>
                </a:lnTo>
                <a:lnTo>
                  <a:pt x="286" y="98"/>
                </a:lnTo>
                <a:lnTo>
                  <a:pt x="288" y="98"/>
                </a:lnTo>
                <a:lnTo>
                  <a:pt x="291" y="98"/>
                </a:lnTo>
                <a:lnTo>
                  <a:pt x="288" y="100"/>
                </a:lnTo>
                <a:lnTo>
                  <a:pt x="288" y="103"/>
                </a:lnTo>
                <a:lnTo>
                  <a:pt x="291" y="103"/>
                </a:lnTo>
                <a:lnTo>
                  <a:pt x="288" y="103"/>
                </a:lnTo>
                <a:lnTo>
                  <a:pt x="288" y="100"/>
                </a:lnTo>
                <a:lnTo>
                  <a:pt x="291" y="100"/>
                </a:lnTo>
                <a:lnTo>
                  <a:pt x="291" y="98"/>
                </a:lnTo>
                <a:lnTo>
                  <a:pt x="291" y="96"/>
                </a:lnTo>
                <a:lnTo>
                  <a:pt x="291" y="93"/>
                </a:lnTo>
                <a:lnTo>
                  <a:pt x="293" y="91"/>
                </a:lnTo>
                <a:lnTo>
                  <a:pt x="295" y="89"/>
                </a:lnTo>
                <a:lnTo>
                  <a:pt x="298" y="89"/>
                </a:lnTo>
                <a:lnTo>
                  <a:pt x="298" y="86"/>
                </a:lnTo>
                <a:lnTo>
                  <a:pt x="300" y="86"/>
                </a:lnTo>
                <a:lnTo>
                  <a:pt x="302" y="84"/>
                </a:lnTo>
                <a:lnTo>
                  <a:pt x="305" y="84"/>
                </a:lnTo>
                <a:lnTo>
                  <a:pt x="307" y="86"/>
                </a:lnTo>
                <a:lnTo>
                  <a:pt x="309" y="89"/>
                </a:lnTo>
                <a:lnTo>
                  <a:pt x="309" y="91"/>
                </a:lnTo>
                <a:lnTo>
                  <a:pt x="309" y="93"/>
                </a:lnTo>
                <a:lnTo>
                  <a:pt x="309" y="96"/>
                </a:lnTo>
                <a:lnTo>
                  <a:pt x="309" y="98"/>
                </a:lnTo>
                <a:lnTo>
                  <a:pt x="309" y="100"/>
                </a:lnTo>
                <a:lnTo>
                  <a:pt x="307" y="103"/>
                </a:lnTo>
                <a:lnTo>
                  <a:pt x="305" y="103"/>
                </a:lnTo>
                <a:lnTo>
                  <a:pt x="302" y="103"/>
                </a:lnTo>
                <a:lnTo>
                  <a:pt x="300" y="100"/>
                </a:lnTo>
                <a:lnTo>
                  <a:pt x="298" y="100"/>
                </a:lnTo>
                <a:lnTo>
                  <a:pt x="295" y="103"/>
                </a:lnTo>
                <a:lnTo>
                  <a:pt x="298" y="100"/>
                </a:lnTo>
                <a:lnTo>
                  <a:pt x="300" y="100"/>
                </a:lnTo>
                <a:lnTo>
                  <a:pt x="300" y="103"/>
                </a:lnTo>
                <a:lnTo>
                  <a:pt x="298" y="107"/>
                </a:lnTo>
                <a:lnTo>
                  <a:pt x="298" y="110"/>
                </a:lnTo>
                <a:lnTo>
                  <a:pt x="295" y="110"/>
                </a:lnTo>
                <a:lnTo>
                  <a:pt x="293" y="110"/>
                </a:lnTo>
                <a:lnTo>
                  <a:pt x="293" y="112"/>
                </a:lnTo>
                <a:lnTo>
                  <a:pt x="291" y="112"/>
                </a:lnTo>
                <a:lnTo>
                  <a:pt x="288" y="114"/>
                </a:lnTo>
                <a:lnTo>
                  <a:pt x="293" y="112"/>
                </a:lnTo>
                <a:lnTo>
                  <a:pt x="295" y="110"/>
                </a:lnTo>
                <a:lnTo>
                  <a:pt x="295" y="112"/>
                </a:lnTo>
                <a:lnTo>
                  <a:pt x="291" y="119"/>
                </a:lnTo>
                <a:lnTo>
                  <a:pt x="288" y="121"/>
                </a:lnTo>
                <a:lnTo>
                  <a:pt x="288" y="124"/>
                </a:lnTo>
                <a:lnTo>
                  <a:pt x="288" y="126"/>
                </a:lnTo>
                <a:lnTo>
                  <a:pt x="286" y="128"/>
                </a:lnTo>
                <a:lnTo>
                  <a:pt x="286" y="131"/>
                </a:lnTo>
                <a:lnTo>
                  <a:pt x="284" y="135"/>
                </a:lnTo>
                <a:lnTo>
                  <a:pt x="284" y="138"/>
                </a:lnTo>
                <a:lnTo>
                  <a:pt x="284" y="140"/>
                </a:lnTo>
                <a:lnTo>
                  <a:pt x="284" y="142"/>
                </a:lnTo>
                <a:lnTo>
                  <a:pt x="286" y="142"/>
                </a:lnTo>
                <a:lnTo>
                  <a:pt x="286" y="145"/>
                </a:lnTo>
                <a:lnTo>
                  <a:pt x="284" y="147"/>
                </a:lnTo>
                <a:lnTo>
                  <a:pt x="281" y="149"/>
                </a:lnTo>
                <a:lnTo>
                  <a:pt x="279" y="152"/>
                </a:lnTo>
                <a:lnTo>
                  <a:pt x="277" y="152"/>
                </a:lnTo>
                <a:lnTo>
                  <a:pt x="274" y="152"/>
                </a:lnTo>
                <a:lnTo>
                  <a:pt x="274" y="154"/>
                </a:lnTo>
                <a:lnTo>
                  <a:pt x="274" y="156"/>
                </a:lnTo>
                <a:lnTo>
                  <a:pt x="274" y="159"/>
                </a:lnTo>
                <a:lnTo>
                  <a:pt x="277" y="159"/>
                </a:lnTo>
                <a:lnTo>
                  <a:pt x="274" y="159"/>
                </a:lnTo>
                <a:lnTo>
                  <a:pt x="277" y="161"/>
                </a:lnTo>
                <a:lnTo>
                  <a:pt x="277" y="159"/>
                </a:lnTo>
                <a:lnTo>
                  <a:pt x="277" y="156"/>
                </a:lnTo>
                <a:lnTo>
                  <a:pt x="277" y="154"/>
                </a:lnTo>
                <a:lnTo>
                  <a:pt x="279" y="154"/>
                </a:lnTo>
                <a:lnTo>
                  <a:pt x="281" y="154"/>
                </a:lnTo>
                <a:lnTo>
                  <a:pt x="284" y="154"/>
                </a:lnTo>
                <a:lnTo>
                  <a:pt x="284" y="152"/>
                </a:lnTo>
                <a:lnTo>
                  <a:pt x="286" y="152"/>
                </a:lnTo>
                <a:lnTo>
                  <a:pt x="288" y="149"/>
                </a:lnTo>
                <a:lnTo>
                  <a:pt x="288" y="147"/>
                </a:lnTo>
                <a:lnTo>
                  <a:pt x="291" y="147"/>
                </a:lnTo>
                <a:lnTo>
                  <a:pt x="293" y="145"/>
                </a:lnTo>
                <a:lnTo>
                  <a:pt x="298" y="142"/>
                </a:lnTo>
                <a:lnTo>
                  <a:pt x="298" y="140"/>
                </a:lnTo>
                <a:lnTo>
                  <a:pt x="300" y="140"/>
                </a:lnTo>
                <a:lnTo>
                  <a:pt x="302" y="138"/>
                </a:lnTo>
                <a:lnTo>
                  <a:pt x="302" y="135"/>
                </a:lnTo>
                <a:lnTo>
                  <a:pt x="302" y="133"/>
                </a:lnTo>
                <a:lnTo>
                  <a:pt x="302" y="131"/>
                </a:lnTo>
                <a:lnTo>
                  <a:pt x="305" y="128"/>
                </a:lnTo>
                <a:lnTo>
                  <a:pt x="307" y="121"/>
                </a:lnTo>
                <a:lnTo>
                  <a:pt x="307" y="119"/>
                </a:lnTo>
                <a:lnTo>
                  <a:pt x="307" y="121"/>
                </a:lnTo>
                <a:lnTo>
                  <a:pt x="307" y="112"/>
                </a:lnTo>
                <a:lnTo>
                  <a:pt x="309" y="112"/>
                </a:lnTo>
                <a:lnTo>
                  <a:pt x="312" y="112"/>
                </a:lnTo>
                <a:lnTo>
                  <a:pt x="314" y="114"/>
                </a:lnTo>
                <a:lnTo>
                  <a:pt x="314" y="112"/>
                </a:lnTo>
                <a:lnTo>
                  <a:pt x="312" y="112"/>
                </a:lnTo>
                <a:lnTo>
                  <a:pt x="312" y="110"/>
                </a:lnTo>
                <a:lnTo>
                  <a:pt x="314" y="110"/>
                </a:lnTo>
                <a:lnTo>
                  <a:pt x="314" y="107"/>
                </a:lnTo>
                <a:lnTo>
                  <a:pt x="319" y="107"/>
                </a:lnTo>
                <a:lnTo>
                  <a:pt x="325" y="105"/>
                </a:lnTo>
                <a:lnTo>
                  <a:pt x="328" y="105"/>
                </a:lnTo>
                <a:lnTo>
                  <a:pt x="330" y="105"/>
                </a:lnTo>
                <a:lnTo>
                  <a:pt x="330" y="107"/>
                </a:lnTo>
                <a:lnTo>
                  <a:pt x="328" y="107"/>
                </a:lnTo>
                <a:lnTo>
                  <a:pt x="325" y="110"/>
                </a:lnTo>
                <a:lnTo>
                  <a:pt x="328" y="110"/>
                </a:lnTo>
                <a:lnTo>
                  <a:pt x="328" y="112"/>
                </a:lnTo>
                <a:lnTo>
                  <a:pt x="330" y="112"/>
                </a:lnTo>
                <a:lnTo>
                  <a:pt x="330" y="110"/>
                </a:lnTo>
                <a:lnTo>
                  <a:pt x="330" y="112"/>
                </a:lnTo>
                <a:lnTo>
                  <a:pt x="330" y="114"/>
                </a:lnTo>
                <a:lnTo>
                  <a:pt x="328" y="114"/>
                </a:lnTo>
                <a:lnTo>
                  <a:pt x="328" y="117"/>
                </a:lnTo>
                <a:lnTo>
                  <a:pt x="325" y="117"/>
                </a:lnTo>
                <a:lnTo>
                  <a:pt x="323" y="117"/>
                </a:lnTo>
                <a:lnTo>
                  <a:pt x="325" y="119"/>
                </a:lnTo>
                <a:lnTo>
                  <a:pt x="323" y="121"/>
                </a:lnTo>
                <a:lnTo>
                  <a:pt x="321" y="124"/>
                </a:lnTo>
                <a:lnTo>
                  <a:pt x="319" y="124"/>
                </a:lnTo>
                <a:lnTo>
                  <a:pt x="316" y="121"/>
                </a:lnTo>
                <a:lnTo>
                  <a:pt x="316" y="124"/>
                </a:lnTo>
                <a:lnTo>
                  <a:pt x="319" y="124"/>
                </a:lnTo>
                <a:lnTo>
                  <a:pt x="316" y="124"/>
                </a:lnTo>
                <a:lnTo>
                  <a:pt x="314" y="126"/>
                </a:lnTo>
                <a:lnTo>
                  <a:pt x="312" y="126"/>
                </a:lnTo>
                <a:lnTo>
                  <a:pt x="309" y="128"/>
                </a:lnTo>
                <a:lnTo>
                  <a:pt x="307" y="128"/>
                </a:lnTo>
                <a:lnTo>
                  <a:pt x="307" y="131"/>
                </a:lnTo>
                <a:lnTo>
                  <a:pt x="309" y="131"/>
                </a:lnTo>
                <a:lnTo>
                  <a:pt x="309" y="128"/>
                </a:lnTo>
                <a:lnTo>
                  <a:pt x="312" y="128"/>
                </a:lnTo>
                <a:lnTo>
                  <a:pt x="309" y="131"/>
                </a:lnTo>
                <a:lnTo>
                  <a:pt x="312" y="133"/>
                </a:lnTo>
                <a:lnTo>
                  <a:pt x="312" y="131"/>
                </a:lnTo>
                <a:lnTo>
                  <a:pt x="312" y="128"/>
                </a:lnTo>
                <a:lnTo>
                  <a:pt x="314" y="128"/>
                </a:lnTo>
                <a:lnTo>
                  <a:pt x="316" y="131"/>
                </a:lnTo>
                <a:lnTo>
                  <a:pt x="316" y="128"/>
                </a:lnTo>
                <a:lnTo>
                  <a:pt x="319" y="128"/>
                </a:lnTo>
                <a:lnTo>
                  <a:pt x="319" y="131"/>
                </a:lnTo>
                <a:lnTo>
                  <a:pt x="319" y="133"/>
                </a:lnTo>
                <a:lnTo>
                  <a:pt x="316" y="133"/>
                </a:lnTo>
                <a:lnTo>
                  <a:pt x="316" y="135"/>
                </a:lnTo>
                <a:lnTo>
                  <a:pt x="319" y="133"/>
                </a:lnTo>
                <a:lnTo>
                  <a:pt x="321" y="133"/>
                </a:lnTo>
                <a:lnTo>
                  <a:pt x="321" y="131"/>
                </a:lnTo>
                <a:lnTo>
                  <a:pt x="323" y="131"/>
                </a:lnTo>
                <a:lnTo>
                  <a:pt x="323" y="128"/>
                </a:lnTo>
                <a:lnTo>
                  <a:pt x="325" y="128"/>
                </a:lnTo>
                <a:lnTo>
                  <a:pt x="325" y="131"/>
                </a:lnTo>
                <a:lnTo>
                  <a:pt x="325" y="128"/>
                </a:lnTo>
                <a:lnTo>
                  <a:pt x="325" y="131"/>
                </a:lnTo>
                <a:lnTo>
                  <a:pt x="325" y="133"/>
                </a:lnTo>
                <a:lnTo>
                  <a:pt x="325" y="131"/>
                </a:lnTo>
                <a:lnTo>
                  <a:pt x="328" y="128"/>
                </a:lnTo>
                <a:lnTo>
                  <a:pt x="328" y="126"/>
                </a:lnTo>
                <a:lnTo>
                  <a:pt x="330" y="124"/>
                </a:lnTo>
                <a:lnTo>
                  <a:pt x="330" y="121"/>
                </a:lnTo>
                <a:lnTo>
                  <a:pt x="332" y="119"/>
                </a:lnTo>
                <a:lnTo>
                  <a:pt x="335" y="121"/>
                </a:lnTo>
                <a:lnTo>
                  <a:pt x="335" y="119"/>
                </a:lnTo>
                <a:lnTo>
                  <a:pt x="335" y="117"/>
                </a:lnTo>
                <a:lnTo>
                  <a:pt x="337" y="117"/>
                </a:lnTo>
                <a:lnTo>
                  <a:pt x="339" y="119"/>
                </a:lnTo>
                <a:lnTo>
                  <a:pt x="339" y="121"/>
                </a:lnTo>
                <a:lnTo>
                  <a:pt x="339" y="119"/>
                </a:lnTo>
                <a:lnTo>
                  <a:pt x="339" y="117"/>
                </a:lnTo>
                <a:lnTo>
                  <a:pt x="342" y="117"/>
                </a:lnTo>
                <a:lnTo>
                  <a:pt x="344" y="117"/>
                </a:lnTo>
                <a:lnTo>
                  <a:pt x="346" y="117"/>
                </a:lnTo>
                <a:lnTo>
                  <a:pt x="349" y="117"/>
                </a:lnTo>
                <a:lnTo>
                  <a:pt x="351" y="114"/>
                </a:lnTo>
                <a:lnTo>
                  <a:pt x="351" y="112"/>
                </a:lnTo>
                <a:lnTo>
                  <a:pt x="351" y="114"/>
                </a:lnTo>
                <a:lnTo>
                  <a:pt x="353" y="114"/>
                </a:lnTo>
                <a:lnTo>
                  <a:pt x="351" y="117"/>
                </a:lnTo>
                <a:lnTo>
                  <a:pt x="351" y="119"/>
                </a:lnTo>
                <a:lnTo>
                  <a:pt x="353" y="119"/>
                </a:lnTo>
                <a:lnTo>
                  <a:pt x="353" y="117"/>
                </a:lnTo>
                <a:lnTo>
                  <a:pt x="356" y="119"/>
                </a:lnTo>
                <a:lnTo>
                  <a:pt x="353" y="117"/>
                </a:lnTo>
                <a:lnTo>
                  <a:pt x="353" y="114"/>
                </a:lnTo>
                <a:lnTo>
                  <a:pt x="356" y="114"/>
                </a:lnTo>
                <a:lnTo>
                  <a:pt x="356" y="117"/>
                </a:lnTo>
                <a:lnTo>
                  <a:pt x="356" y="114"/>
                </a:lnTo>
                <a:lnTo>
                  <a:pt x="358" y="114"/>
                </a:lnTo>
                <a:lnTo>
                  <a:pt x="358" y="117"/>
                </a:lnTo>
                <a:lnTo>
                  <a:pt x="360" y="117"/>
                </a:lnTo>
                <a:lnTo>
                  <a:pt x="363" y="117"/>
                </a:lnTo>
                <a:lnTo>
                  <a:pt x="363" y="114"/>
                </a:lnTo>
                <a:lnTo>
                  <a:pt x="363" y="117"/>
                </a:lnTo>
                <a:lnTo>
                  <a:pt x="363" y="114"/>
                </a:lnTo>
                <a:lnTo>
                  <a:pt x="365" y="114"/>
                </a:lnTo>
                <a:lnTo>
                  <a:pt x="363" y="114"/>
                </a:lnTo>
                <a:lnTo>
                  <a:pt x="363" y="112"/>
                </a:lnTo>
                <a:lnTo>
                  <a:pt x="365" y="112"/>
                </a:lnTo>
                <a:lnTo>
                  <a:pt x="365" y="114"/>
                </a:lnTo>
                <a:lnTo>
                  <a:pt x="365" y="117"/>
                </a:lnTo>
                <a:lnTo>
                  <a:pt x="367" y="119"/>
                </a:lnTo>
                <a:lnTo>
                  <a:pt x="367" y="117"/>
                </a:lnTo>
                <a:lnTo>
                  <a:pt x="370" y="119"/>
                </a:lnTo>
                <a:lnTo>
                  <a:pt x="370" y="117"/>
                </a:lnTo>
                <a:lnTo>
                  <a:pt x="370" y="114"/>
                </a:lnTo>
                <a:lnTo>
                  <a:pt x="372" y="117"/>
                </a:lnTo>
                <a:lnTo>
                  <a:pt x="370" y="114"/>
                </a:lnTo>
                <a:lnTo>
                  <a:pt x="370" y="112"/>
                </a:lnTo>
                <a:lnTo>
                  <a:pt x="370" y="114"/>
                </a:lnTo>
                <a:lnTo>
                  <a:pt x="372" y="114"/>
                </a:lnTo>
                <a:lnTo>
                  <a:pt x="372" y="112"/>
                </a:lnTo>
                <a:lnTo>
                  <a:pt x="370" y="110"/>
                </a:lnTo>
                <a:lnTo>
                  <a:pt x="367" y="110"/>
                </a:lnTo>
                <a:lnTo>
                  <a:pt x="367" y="107"/>
                </a:lnTo>
                <a:lnTo>
                  <a:pt x="370" y="107"/>
                </a:lnTo>
                <a:lnTo>
                  <a:pt x="370" y="105"/>
                </a:lnTo>
                <a:lnTo>
                  <a:pt x="372" y="105"/>
                </a:lnTo>
                <a:lnTo>
                  <a:pt x="374" y="105"/>
                </a:lnTo>
                <a:lnTo>
                  <a:pt x="374" y="107"/>
                </a:lnTo>
                <a:lnTo>
                  <a:pt x="377" y="107"/>
                </a:lnTo>
                <a:lnTo>
                  <a:pt x="379" y="107"/>
                </a:lnTo>
                <a:lnTo>
                  <a:pt x="384" y="110"/>
                </a:lnTo>
                <a:lnTo>
                  <a:pt x="388" y="110"/>
                </a:lnTo>
                <a:lnTo>
                  <a:pt x="393" y="114"/>
                </a:lnTo>
                <a:lnTo>
                  <a:pt x="400" y="117"/>
                </a:lnTo>
                <a:lnTo>
                  <a:pt x="405" y="119"/>
                </a:lnTo>
                <a:lnTo>
                  <a:pt x="405" y="121"/>
                </a:lnTo>
                <a:lnTo>
                  <a:pt x="407" y="121"/>
                </a:lnTo>
                <a:lnTo>
                  <a:pt x="409" y="124"/>
                </a:lnTo>
                <a:lnTo>
                  <a:pt x="412" y="124"/>
                </a:lnTo>
                <a:lnTo>
                  <a:pt x="414" y="126"/>
                </a:lnTo>
                <a:lnTo>
                  <a:pt x="419" y="126"/>
                </a:lnTo>
                <a:lnTo>
                  <a:pt x="419" y="128"/>
                </a:lnTo>
                <a:lnTo>
                  <a:pt x="421" y="128"/>
                </a:lnTo>
                <a:lnTo>
                  <a:pt x="423" y="133"/>
                </a:lnTo>
                <a:lnTo>
                  <a:pt x="426" y="135"/>
                </a:lnTo>
                <a:lnTo>
                  <a:pt x="428" y="135"/>
                </a:lnTo>
                <a:lnTo>
                  <a:pt x="430" y="135"/>
                </a:lnTo>
                <a:lnTo>
                  <a:pt x="433" y="135"/>
                </a:lnTo>
                <a:lnTo>
                  <a:pt x="433" y="138"/>
                </a:lnTo>
                <a:lnTo>
                  <a:pt x="430" y="138"/>
                </a:lnTo>
                <a:lnTo>
                  <a:pt x="430" y="140"/>
                </a:lnTo>
                <a:lnTo>
                  <a:pt x="433" y="140"/>
                </a:lnTo>
                <a:lnTo>
                  <a:pt x="435" y="142"/>
                </a:lnTo>
                <a:lnTo>
                  <a:pt x="435" y="140"/>
                </a:lnTo>
                <a:lnTo>
                  <a:pt x="437" y="140"/>
                </a:lnTo>
                <a:lnTo>
                  <a:pt x="437" y="142"/>
                </a:lnTo>
                <a:lnTo>
                  <a:pt x="440" y="142"/>
                </a:lnTo>
                <a:lnTo>
                  <a:pt x="447" y="142"/>
                </a:lnTo>
                <a:lnTo>
                  <a:pt x="447" y="145"/>
                </a:lnTo>
                <a:lnTo>
                  <a:pt x="447" y="147"/>
                </a:lnTo>
                <a:lnTo>
                  <a:pt x="449" y="147"/>
                </a:lnTo>
                <a:lnTo>
                  <a:pt x="449" y="149"/>
                </a:lnTo>
                <a:lnTo>
                  <a:pt x="449" y="147"/>
                </a:lnTo>
                <a:lnTo>
                  <a:pt x="451" y="147"/>
                </a:lnTo>
                <a:lnTo>
                  <a:pt x="453" y="147"/>
                </a:lnTo>
                <a:lnTo>
                  <a:pt x="458" y="147"/>
                </a:lnTo>
                <a:lnTo>
                  <a:pt x="458" y="149"/>
                </a:lnTo>
                <a:lnTo>
                  <a:pt x="460" y="149"/>
                </a:lnTo>
                <a:lnTo>
                  <a:pt x="463" y="149"/>
                </a:lnTo>
                <a:lnTo>
                  <a:pt x="465" y="152"/>
                </a:lnTo>
                <a:lnTo>
                  <a:pt x="467" y="152"/>
                </a:lnTo>
                <a:lnTo>
                  <a:pt x="467" y="147"/>
                </a:lnTo>
                <a:lnTo>
                  <a:pt x="465" y="145"/>
                </a:lnTo>
                <a:lnTo>
                  <a:pt x="463" y="145"/>
                </a:lnTo>
                <a:lnTo>
                  <a:pt x="465" y="142"/>
                </a:lnTo>
                <a:lnTo>
                  <a:pt x="472" y="145"/>
                </a:lnTo>
                <a:lnTo>
                  <a:pt x="474" y="145"/>
                </a:lnTo>
                <a:lnTo>
                  <a:pt x="477" y="145"/>
                </a:lnTo>
                <a:lnTo>
                  <a:pt x="474" y="147"/>
                </a:lnTo>
                <a:lnTo>
                  <a:pt x="474" y="149"/>
                </a:lnTo>
                <a:lnTo>
                  <a:pt x="474" y="152"/>
                </a:lnTo>
                <a:lnTo>
                  <a:pt x="472" y="152"/>
                </a:lnTo>
                <a:lnTo>
                  <a:pt x="472" y="154"/>
                </a:lnTo>
                <a:lnTo>
                  <a:pt x="472" y="156"/>
                </a:lnTo>
                <a:lnTo>
                  <a:pt x="474" y="159"/>
                </a:lnTo>
                <a:lnTo>
                  <a:pt x="474" y="161"/>
                </a:lnTo>
                <a:lnTo>
                  <a:pt x="474" y="163"/>
                </a:lnTo>
                <a:lnTo>
                  <a:pt x="472" y="166"/>
                </a:lnTo>
                <a:lnTo>
                  <a:pt x="470" y="168"/>
                </a:lnTo>
                <a:lnTo>
                  <a:pt x="467" y="170"/>
                </a:lnTo>
                <a:lnTo>
                  <a:pt x="465" y="170"/>
                </a:lnTo>
                <a:lnTo>
                  <a:pt x="465" y="172"/>
                </a:lnTo>
                <a:lnTo>
                  <a:pt x="465" y="175"/>
                </a:lnTo>
                <a:lnTo>
                  <a:pt x="463" y="175"/>
                </a:lnTo>
                <a:lnTo>
                  <a:pt x="460" y="175"/>
                </a:lnTo>
                <a:lnTo>
                  <a:pt x="460" y="177"/>
                </a:lnTo>
                <a:lnTo>
                  <a:pt x="453" y="177"/>
                </a:lnTo>
                <a:lnTo>
                  <a:pt x="451" y="179"/>
                </a:lnTo>
                <a:lnTo>
                  <a:pt x="453" y="179"/>
                </a:lnTo>
                <a:lnTo>
                  <a:pt x="453" y="182"/>
                </a:lnTo>
                <a:lnTo>
                  <a:pt x="447" y="186"/>
                </a:lnTo>
                <a:lnTo>
                  <a:pt x="444" y="189"/>
                </a:lnTo>
                <a:lnTo>
                  <a:pt x="442" y="189"/>
                </a:lnTo>
                <a:lnTo>
                  <a:pt x="440" y="189"/>
                </a:lnTo>
                <a:lnTo>
                  <a:pt x="437" y="189"/>
                </a:lnTo>
                <a:lnTo>
                  <a:pt x="435" y="189"/>
                </a:lnTo>
                <a:lnTo>
                  <a:pt x="433" y="189"/>
                </a:lnTo>
                <a:lnTo>
                  <a:pt x="430" y="189"/>
                </a:lnTo>
                <a:lnTo>
                  <a:pt x="428" y="189"/>
                </a:lnTo>
                <a:lnTo>
                  <a:pt x="426" y="189"/>
                </a:lnTo>
                <a:lnTo>
                  <a:pt x="426" y="186"/>
                </a:lnTo>
                <a:lnTo>
                  <a:pt x="423" y="189"/>
                </a:lnTo>
                <a:lnTo>
                  <a:pt x="423" y="191"/>
                </a:lnTo>
                <a:lnTo>
                  <a:pt x="421" y="193"/>
                </a:lnTo>
                <a:lnTo>
                  <a:pt x="419" y="193"/>
                </a:lnTo>
                <a:lnTo>
                  <a:pt x="416" y="198"/>
                </a:lnTo>
                <a:lnTo>
                  <a:pt x="412" y="200"/>
                </a:lnTo>
                <a:lnTo>
                  <a:pt x="412" y="203"/>
                </a:lnTo>
                <a:lnTo>
                  <a:pt x="412" y="207"/>
                </a:lnTo>
                <a:lnTo>
                  <a:pt x="412" y="210"/>
                </a:lnTo>
                <a:lnTo>
                  <a:pt x="409" y="210"/>
                </a:lnTo>
                <a:lnTo>
                  <a:pt x="409" y="212"/>
                </a:lnTo>
                <a:lnTo>
                  <a:pt x="407" y="214"/>
                </a:lnTo>
                <a:lnTo>
                  <a:pt x="407" y="217"/>
                </a:lnTo>
                <a:lnTo>
                  <a:pt x="405" y="217"/>
                </a:lnTo>
                <a:lnTo>
                  <a:pt x="402" y="217"/>
                </a:lnTo>
                <a:lnTo>
                  <a:pt x="402" y="219"/>
                </a:lnTo>
                <a:lnTo>
                  <a:pt x="398" y="221"/>
                </a:lnTo>
                <a:lnTo>
                  <a:pt x="398" y="224"/>
                </a:lnTo>
                <a:lnTo>
                  <a:pt x="398" y="226"/>
                </a:lnTo>
                <a:lnTo>
                  <a:pt x="395" y="226"/>
                </a:lnTo>
                <a:lnTo>
                  <a:pt x="395" y="228"/>
                </a:lnTo>
                <a:lnTo>
                  <a:pt x="393" y="231"/>
                </a:lnTo>
                <a:lnTo>
                  <a:pt x="391" y="231"/>
                </a:lnTo>
                <a:lnTo>
                  <a:pt x="386" y="233"/>
                </a:lnTo>
                <a:lnTo>
                  <a:pt x="386" y="235"/>
                </a:lnTo>
                <a:lnTo>
                  <a:pt x="386" y="238"/>
                </a:lnTo>
                <a:lnTo>
                  <a:pt x="386" y="240"/>
                </a:lnTo>
                <a:lnTo>
                  <a:pt x="386" y="245"/>
                </a:lnTo>
                <a:lnTo>
                  <a:pt x="388" y="245"/>
                </a:lnTo>
                <a:lnTo>
                  <a:pt x="391" y="245"/>
                </a:lnTo>
                <a:lnTo>
                  <a:pt x="391" y="247"/>
                </a:lnTo>
                <a:lnTo>
                  <a:pt x="393" y="252"/>
                </a:lnTo>
                <a:lnTo>
                  <a:pt x="393" y="254"/>
                </a:lnTo>
                <a:lnTo>
                  <a:pt x="391" y="259"/>
                </a:lnTo>
                <a:lnTo>
                  <a:pt x="391" y="261"/>
                </a:lnTo>
                <a:lnTo>
                  <a:pt x="388" y="261"/>
                </a:lnTo>
                <a:lnTo>
                  <a:pt x="388" y="263"/>
                </a:lnTo>
                <a:lnTo>
                  <a:pt x="386" y="263"/>
                </a:lnTo>
                <a:lnTo>
                  <a:pt x="386" y="266"/>
                </a:lnTo>
                <a:lnTo>
                  <a:pt x="386" y="268"/>
                </a:lnTo>
                <a:lnTo>
                  <a:pt x="386" y="270"/>
                </a:lnTo>
                <a:lnTo>
                  <a:pt x="384" y="270"/>
                </a:lnTo>
                <a:lnTo>
                  <a:pt x="386" y="273"/>
                </a:lnTo>
                <a:lnTo>
                  <a:pt x="388" y="275"/>
                </a:lnTo>
                <a:lnTo>
                  <a:pt x="388" y="277"/>
                </a:lnTo>
                <a:lnTo>
                  <a:pt x="388" y="280"/>
                </a:lnTo>
                <a:lnTo>
                  <a:pt x="388" y="282"/>
                </a:lnTo>
                <a:lnTo>
                  <a:pt x="391" y="282"/>
                </a:lnTo>
                <a:lnTo>
                  <a:pt x="391" y="284"/>
                </a:lnTo>
                <a:lnTo>
                  <a:pt x="388" y="284"/>
                </a:lnTo>
                <a:lnTo>
                  <a:pt x="391" y="284"/>
                </a:lnTo>
                <a:lnTo>
                  <a:pt x="391" y="287"/>
                </a:lnTo>
                <a:lnTo>
                  <a:pt x="391" y="289"/>
                </a:lnTo>
                <a:lnTo>
                  <a:pt x="391" y="294"/>
                </a:lnTo>
                <a:lnTo>
                  <a:pt x="391" y="298"/>
                </a:lnTo>
                <a:lnTo>
                  <a:pt x="391" y="301"/>
                </a:lnTo>
                <a:lnTo>
                  <a:pt x="388" y="301"/>
                </a:lnTo>
                <a:lnTo>
                  <a:pt x="388" y="303"/>
                </a:lnTo>
                <a:lnTo>
                  <a:pt x="388" y="305"/>
                </a:lnTo>
                <a:lnTo>
                  <a:pt x="388" y="308"/>
                </a:lnTo>
                <a:lnTo>
                  <a:pt x="386" y="310"/>
                </a:lnTo>
                <a:lnTo>
                  <a:pt x="381" y="312"/>
                </a:lnTo>
                <a:lnTo>
                  <a:pt x="379" y="315"/>
                </a:lnTo>
                <a:lnTo>
                  <a:pt x="377" y="317"/>
                </a:lnTo>
                <a:lnTo>
                  <a:pt x="374" y="321"/>
                </a:lnTo>
                <a:lnTo>
                  <a:pt x="372" y="321"/>
                </a:lnTo>
                <a:lnTo>
                  <a:pt x="372" y="324"/>
                </a:lnTo>
                <a:lnTo>
                  <a:pt x="370" y="324"/>
                </a:lnTo>
                <a:lnTo>
                  <a:pt x="367" y="326"/>
                </a:lnTo>
                <a:lnTo>
                  <a:pt x="370" y="328"/>
                </a:lnTo>
                <a:lnTo>
                  <a:pt x="367" y="328"/>
                </a:lnTo>
                <a:lnTo>
                  <a:pt x="367" y="331"/>
                </a:lnTo>
                <a:lnTo>
                  <a:pt x="370" y="331"/>
                </a:lnTo>
                <a:lnTo>
                  <a:pt x="367" y="333"/>
                </a:lnTo>
                <a:lnTo>
                  <a:pt x="367" y="335"/>
                </a:lnTo>
                <a:lnTo>
                  <a:pt x="367" y="340"/>
                </a:lnTo>
                <a:lnTo>
                  <a:pt x="367" y="342"/>
                </a:lnTo>
                <a:lnTo>
                  <a:pt x="365" y="342"/>
                </a:lnTo>
                <a:lnTo>
                  <a:pt x="365" y="345"/>
                </a:lnTo>
                <a:lnTo>
                  <a:pt x="365" y="347"/>
                </a:lnTo>
                <a:lnTo>
                  <a:pt x="367" y="349"/>
                </a:lnTo>
                <a:lnTo>
                  <a:pt x="367" y="352"/>
                </a:lnTo>
                <a:lnTo>
                  <a:pt x="367" y="354"/>
                </a:lnTo>
                <a:lnTo>
                  <a:pt x="367" y="356"/>
                </a:lnTo>
                <a:lnTo>
                  <a:pt x="370" y="359"/>
                </a:lnTo>
                <a:lnTo>
                  <a:pt x="372" y="359"/>
                </a:lnTo>
                <a:lnTo>
                  <a:pt x="372" y="361"/>
                </a:lnTo>
                <a:lnTo>
                  <a:pt x="372" y="363"/>
                </a:lnTo>
                <a:lnTo>
                  <a:pt x="374" y="363"/>
                </a:lnTo>
                <a:lnTo>
                  <a:pt x="374" y="366"/>
                </a:lnTo>
                <a:lnTo>
                  <a:pt x="377" y="366"/>
                </a:lnTo>
                <a:lnTo>
                  <a:pt x="379" y="368"/>
                </a:lnTo>
                <a:lnTo>
                  <a:pt x="379" y="373"/>
                </a:lnTo>
                <a:lnTo>
                  <a:pt x="379" y="375"/>
                </a:lnTo>
                <a:lnTo>
                  <a:pt x="379" y="377"/>
                </a:lnTo>
                <a:lnTo>
                  <a:pt x="377" y="380"/>
                </a:lnTo>
                <a:lnTo>
                  <a:pt x="377" y="382"/>
                </a:lnTo>
                <a:lnTo>
                  <a:pt x="377" y="384"/>
                </a:lnTo>
                <a:lnTo>
                  <a:pt x="374" y="389"/>
                </a:lnTo>
                <a:lnTo>
                  <a:pt x="372" y="391"/>
                </a:lnTo>
                <a:lnTo>
                  <a:pt x="372" y="394"/>
                </a:lnTo>
                <a:lnTo>
                  <a:pt x="372" y="396"/>
                </a:lnTo>
                <a:lnTo>
                  <a:pt x="367" y="398"/>
                </a:lnTo>
                <a:lnTo>
                  <a:pt x="365" y="401"/>
                </a:lnTo>
                <a:lnTo>
                  <a:pt x="363" y="401"/>
                </a:lnTo>
                <a:lnTo>
                  <a:pt x="360" y="401"/>
                </a:lnTo>
                <a:lnTo>
                  <a:pt x="358" y="401"/>
                </a:lnTo>
                <a:lnTo>
                  <a:pt x="356" y="401"/>
                </a:lnTo>
                <a:lnTo>
                  <a:pt x="353" y="398"/>
                </a:lnTo>
                <a:lnTo>
                  <a:pt x="351" y="398"/>
                </a:lnTo>
                <a:lnTo>
                  <a:pt x="349" y="401"/>
                </a:lnTo>
                <a:lnTo>
                  <a:pt x="346" y="401"/>
                </a:lnTo>
                <a:lnTo>
                  <a:pt x="344" y="401"/>
                </a:lnTo>
                <a:lnTo>
                  <a:pt x="342" y="401"/>
                </a:lnTo>
                <a:lnTo>
                  <a:pt x="339" y="401"/>
                </a:lnTo>
                <a:lnTo>
                  <a:pt x="339" y="403"/>
                </a:lnTo>
                <a:lnTo>
                  <a:pt x="337" y="403"/>
                </a:lnTo>
                <a:lnTo>
                  <a:pt x="335" y="403"/>
                </a:lnTo>
                <a:lnTo>
                  <a:pt x="335" y="401"/>
                </a:lnTo>
                <a:lnTo>
                  <a:pt x="332" y="401"/>
                </a:lnTo>
                <a:lnTo>
                  <a:pt x="332" y="398"/>
                </a:lnTo>
                <a:lnTo>
                  <a:pt x="330" y="398"/>
                </a:lnTo>
                <a:lnTo>
                  <a:pt x="330" y="396"/>
                </a:lnTo>
                <a:lnTo>
                  <a:pt x="328" y="396"/>
                </a:lnTo>
                <a:lnTo>
                  <a:pt x="328" y="394"/>
                </a:lnTo>
                <a:lnTo>
                  <a:pt x="323" y="391"/>
                </a:lnTo>
                <a:lnTo>
                  <a:pt x="321" y="391"/>
                </a:lnTo>
                <a:lnTo>
                  <a:pt x="314" y="391"/>
                </a:lnTo>
                <a:lnTo>
                  <a:pt x="312" y="391"/>
                </a:lnTo>
                <a:lnTo>
                  <a:pt x="309" y="391"/>
                </a:lnTo>
                <a:lnTo>
                  <a:pt x="307" y="394"/>
                </a:lnTo>
                <a:lnTo>
                  <a:pt x="305" y="394"/>
                </a:lnTo>
                <a:lnTo>
                  <a:pt x="305" y="391"/>
                </a:lnTo>
                <a:lnTo>
                  <a:pt x="302" y="391"/>
                </a:lnTo>
                <a:lnTo>
                  <a:pt x="302" y="394"/>
                </a:lnTo>
                <a:lnTo>
                  <a:pt x="300" y="394"/>
                </a:lnTo>
                <a:lnTo>
                  <a:pt x="298" y="394"/>
                </a:lnTo>
                <a:lnTo>
                  <a:pt x="298" y="396"/>
                </a:lnTo>
                <a:lnTo>
                  <a:pt x="295" y="396"/>
                </a:lnTo>
                <a:lnTo>
                  <a:pt x="293" y="396"/>
                </a:lnTo>
                <a:lnTo>
                  <a:pt x="293" y="398"/>
                </a:lnTo>
                <a:lnTo>
                  <a:pt x="295" y="398"/>
                </a:lnTo>
                <a:lnTo>
                  <a:pt x="293" y="398"/>
                </a:lnTo>
                <a:lnTo>
                  <a:pt x="291" y="398"/>
                </a:lnTo>
                <a:lnTo>
                  <a:pt x="288" y="401"/>
                </a:lnTo>
                <a:lnTo>
                  <a:pt x="288" y="403"/>
                </a:lnTo>
                <a:lnTo>
                  <a:pt x="286" y="405"/>
                </a:lnTo>
                <a:lnTo>
                  <a:pt x="284" y="405"/>
                </a:lnTo>
                <a:lnTo>
                  <a:pt x="284" y="408"/>
                </a:lnTo>
                <a:lnTo>
                  <a:pt x="281" y="408"/>
                </a:lnTo>
                <a:lnTo>
                  <a:pt x="279" y="412"/>
                </a:lnTo>
                <a:lnTo>
                  <a:pt x="277" y="412"/>
                </a:lnTo>
                <a:lnTo>
                  <a:pt x="274" y="412"/>
                </a:lnTo>
                <a:lnTo>
                  <a:pt x="274" y="415"/>
                </a:lnTo>
                <a:lnTo>
                  <a:pt x="272" y="412"/>
                </a:lnTo>
                <a:lnTo>
                  <a:pt x="270" y="415"/>
                </a:lnTo>
                <a:lnTo>
                  <a:pt x="265" y="417"/>
                </a:lnTo>
                <a:lnTo>
                  <a:pt x="263" y="417"/>
                </a:lnTo>
                <a:lnTo>
                  <a:pt x="263" y="419"/>
                </a:lnTo>
                <a:lnTo>
                  <a:pt x="260" y="419"/>
                </a:lnTo>
                <a:lnTo>
                  <a:pt x="258" y="424"/>
                </a:lnTo>
                <a:lnTo>
                  <a:pt x="256" y="424"/>
                </a:lnTo>
                <a:lnTo>
                  <a:pt x="253" y="424"/>
                </a:lnTo>
                <a:lnTo>
                  <a:pt x="253" y="426"/>
                </a:lnTo>
                <a:lnTo>
                  <a:pt x="251" y="429"/>
                </a:lnTo>
                <a:lnTo>
                  <a:pt x="249" y="429"/>
                </a:lnTo>
                <a:lnTo>
                  <a:pt x="249" y="426"/>
                </a:lnTo>
                <a:lnTo>
                  <a:pt x="246" y="426"/>
                </a:lnTo>
                <a:lnTo>
                  <a:pt x="244" y="426"/>
                </a:lnTo>
                <a:lnTo>
                  <a:pt x="239" y="429"/>
                </a:lnTo>
                <a:lnTo>
                  <a:pt x="237" y="429"/>
                </a:lnTo>
                <a:lnTo>
                  <a:pt x="237" y="431"/>
                </a:lnTo>
                <a:lnTo>
                  <a:pt x="235" y="431"/>
                </a:lnTo>
                <a:lnTo>
                  <a:pt x="230" y="433"/>
                </a:lnTo>
                <a:lnTo>
                  <a:pt x="223" y="433"/>
                </a:lnTo>
                <a:lnTo>
                  <a:pt x="218" y="436"/>
                </a:lnTo>
                <a:lnTo>
                  <a:pt x="216" y="436"/>
                </a:lnTo>
                <a:lnTo>
                  <a:pt x="211" y="436"/>
                </a:lnTo>
                <a:lnTo>
                  <a:pt x="207" y="438"/>
                </a:lnTo>
                <a:lnTo>
                  <a:pt x="202" y="440"/>
                </a:lnTo>
                <a:lnTo>
                  <a:pt x="200" y="443"/>
                </a:lnTo>
                <a:lnTo>
                  <a:pt x="197" y="445"/>
                </a:lnTo>
                <a:lnTo>
                  <a:pt x="195" y="450"/>
                </a:lnTo>
                <a:lnTo>
                  <a:pt x="195" y="452"/>
                </a:lnTo>
                <a:lnTo>
                  <a:pt x="193" y="452"/>
                </a:lnTo>
                <a:lnTo>
                  <a:pt x="193" y="454"/>
                </a:lnTo>
                <a:lnTo>
                  <a:pt x="193" y="457"/>
                </a:lnTo>
                <a:lnTo>
                  <a:pt x="193" y="459"/>
                </a:lnTo>
                <a:lnTo>
                  <a:pt x="191" y="459"/>
                </a:lnTo>
                <a:lnTo>
                  <a:pt x="193" y="461"/>
                </a:lnTo>
                <a:lnTo>
                  <a:pt x="191" y="461"/>
                </a:lnTo>
                <a:lnTo>
                  <a:pt x="193" y="461"/>
                </a:lnTo>
                <a:lnTo>
                  <a:pt x="193" y="463"/>
                </a:lnTo>
                <a:lnTo>
                  <a:pt x="191" y="463"/>
                </a:lnTo>
                <a:lnTo>
                  <a:pt x="191" y="466"/>
                </a:lnTo>
                <a:lnTo>
                  <a:pt x="188" y="473"/>
                </a:lnTo>
                <a:lnTo>
                  <a:pt x="186" y="475"/>
                </a:lnTo>
                <a:lnTo>
                  <a:pt x="186" y="477"/>
                </a:lnTo>
                <a:lnTo>
                  <a:pt x="184" y="477"/>
                </a:lnTo>
                <a:lnTo>
                  <a:pt x="184" y="480"/>
                </a:lnTo>
                <a:lnTo>
                  <a:pt x="184" y="482"/>
                </a:lnTo>
                <a:lnTo>
                  <a:pt x="181" y="484"/>
                </a:lnTo>
                <a:lnTo>
                  <a:pt x="179" y="487"/>
                </a:lnTo>
                <a:lnTo>
                  <a:pt x="177" y="489"/>
                </a:lnTo>
                <a:lnTo>
                  <a:pt x="177" y="494"/>
                </a:lnTo>
                <a:lnTo>
                  <a:pt x="174" y="496"/>
                </a:lnTo>
                <a:lnTo>
                  <a:pt x="172" y="498"/>
                </a:lnTo>
                <a:lnTo>
                  <a:pt x="174" y="498"/>
                </a:lnTo>
                <a:lnTo>
                  <a:pt x="174" y="501"/>
                </a:lnTo>
                <a:lnTo>
                  <a:pt x="172" y="501"/>
                </a:lnTo>
                <a:lnTo>
                  <a:pt x="170" y="505"/>
                </a:lnTo>
                <a:lnTo>
                  <a:pt x="167" y="508"/>
                </a:lnTo>
                <a:lnTo>
                  <a:pt x="165" y="508"/>
                </a:lnTo>
                <a:lnTo>
                  <a:pt x="165" y="510"/>
                </a:lnTo>
                <a:lnTo>
                  <a:pt x="163" y="510"/>
                </a:lnTo>
                <a:lnTo>
                  <a:pt x="160" y="512"/>
                </a:lnTo>
                <a:lnTo>
                  <a:pt x="160" y="515"/>
                </a:lnTo>
                <a:lnTo>
                  <a:pt x="158" y="517"/>
                </a:lnTo>
                <a:lnTo>
                  <a:pt x="158" y="519"/>
                </a:lnTo>
                <a:lnTo>
                  <a:pt x="158" y="522"/>
                </a:lnTo>
                <a:lnTo>
                  <a:pt x="160" y="524"/>
                </a:lnTo>
                <a:lnTo>
                  <a:pt x="160" y="526"/>
                </a:lnTo>
                <a:lnTo>
                  <a:pt x="160" y="531"/>
                </a:lnTo>
                <a:lnTo>
                  <a:pt x="160" y="533"/>
                </a:lnTo>
                <a:lnTo>
                  <a:pt x="160" y="536"/>
                </a:lnTo>
                <a:lnTo>
                  <a:pt x="160" y="538"/>
                </a:lnTo>
                <a:lnTo>
                  <a:pt x="160" y="543"/>
                </a:lnTo>
                <a:lnTo>
                  <a:pt x="160" y="545"/>
                </a:lnTo>
                <a:lnTo>
                  <a:pt x="163" y="547"/>
                </a:lnTo>
                <a:lnTo>
                  <a:pt x="165" y="550"/>
                </a:lnTo>
                <a:lnTo>
                  <a:pt x="165" y="552"/>
                </a:lnTo>
                <a:lnTo>
                  <a:pt x="167" y="552"/>
                </a:lnTo>
                <a:lnTo>
                  <a:pt x="167" y="554"/>
                </a:lnTo>
                <a:lnTo>
                  <a:pt x="165" y="557"/>
                </a:lnTo>
                <a:lnTo>
                  <a:pt x="165" y="559"/>
                </a:lnTo>
                <a:lnTo>
                  <a:pt x="163" y="559"/>
                </a:lnTo>
                <a:lnTo>
                  <a:pt x="163" y="561"/>
                </a:lnTo>
                <a:lnTo>
                  <a:pt x="163" y="564"/>
                </a:lnTo>
                <a:lnTo>
                  <a:pt x="163" y="568"/>
                </a:lnTo>
                <a:lnTo>
                  <a:pt x="160" y="573"/>
                </a:lnTo>
                <a:lnTo>
                  <a:pt x="163" y="575"/>
                </a:lnTo>
                <a:lnTo>
                  <a:pt x="160" y="575"/>
                </a:lnTo>
                <a:lnTo>
                  <a:pt x="160" y="578"/>
                </a:lnTo>
                <a:lnTo>
                  <a:pt x="158" y="582"/>
                </a:lnTo>
                <a:lnTo>
                  <a:pt x="160" y="587"/>
                </a:lnTo>
                <a:lnTo>
                  <a:pt x="158" y="589"/>
                </a:lnTo>
                <a:lnTo>
                  <a:pt x="156" y="589"/>
                </a:lnTo>
                <a:lnTo>
                  <a:pt x="156" y="592"/>
                </a:lnTo>
                <a:lnTo>
                  <a:pt x="156" y="594"/>
                </a:lnTo>
                <a:lnTo>
                  <a:pt x="151" y="599"/>
                </a:lnTo>
                <a:lnTo>
                  <a:pt x="151" y="601"/>
                </a:lnTo>
                <a:lnTo>
                  <a:pt x="153" y="601"/>
                </a:lnTo>
                <a:lnTo>
                  <a:pt x="153" y="603"/>
                </a:lnTo>
                <a:lnTo>
                  <a:pt x="151" y="605"/>
                </a:lnTo>
                <a:lnTo>
                  <a:pt x="151" y="608"/>
                </a:lnTo>
                <a:lnTo>
                  <a:pt x="149" y="608"/>
                </a:lnTo>
                <a:lnTo>
                  <a:pt x="146" y="605"/>
                </a:lnTo>
                <a:lnTo>
                  <a:pt x="144" y="601"/>
                </a:lnTo>
                <a:lnTo>
                  <a:pt x="137" y="599"/>
                </a:lnTo>
                <a:lnTo>
                  <a:pt x="135" y="599"/>
                </a:lnTo>
                <a:lnTo>
                  <a:pt x="130" y="599"/>
                </a:lnTo>
                <a:lnTo>
                  <a:pt x="128" y="599"/>
                </a:lnTo>
                <a:lnTo>
                  <a:pt x="128" y="596"/>
                </a:lnTo>
                <a:lnTo>
                  <a:pt x="125" y="594"/>
                </a:lnTo>
                <a:lnTo>
                  <a:pt x="123" y="592"/>
                </a:lnTo>
                <a:lnTo>
                  <a:pt x="123" y="589"/>
                </a:lnTo>
                <a:lnTo>
                  <a:pt x="121" y="589"/>
                </a:lnTo>
                <a:lnTo>
                  <a:pt x="121" y="587"/>
                </a:lnTo>
                <a:lnTo>
                  <a:pt x="121" y="585"/>
                </a:lnTo>
                <a:lnTo>
                  <a:pt x="121" y="582"/>
                </a:lnTo>
                <a:lnTo>
                  <a:pt x="121" y="580"/>
                </a:lnTo>
                <a:lnTo>
                  <a:pt x="121" y="578"/>
                </a:lnTo>
                <a:lnTo>
                  <a:pt x="118" y="578"/>
                </a:lnTo>
                <a:lnTo>
                  <a:pt x="118" y="575"/>
                </a:lnTo>
                <a:lnTo>
                  <a:pt x="114" y="573"/>
                </a:lnTo>
                <a:lnTo>
                  <a:pt x="111" y="571"/>
                </a:lnTo>
                <a:lnTo>
                  <a:pt x="111" y="568"/>
                </a:lnTo>
                <a:lnTo>
                  <a:pt x="109" y="568"/>
                </a:lnTo>
                <a:lnTo>
                  <a:pt x="109" y="566"/>
                </a:lnTo>
                <a:lnTo>
                  <a:pt x="109" y="564"/>
                </a:lnTo>
                <a:lnTo>
                  <a:pt x="111" y="564"/>
                </a:lnTo>
                <a:lnTo>
                  <a:pt x="114" y="564"/>
                </a:lnTo>
                <a:lnTo>
                  <a:pt x="114" y="561"/>
                </a:lnTo>
                <a:lnTo>
                  <a:pt x="114" y="559"/>
                </a:lnTo>
                <a:lnTo>
                  <a:pt x="116" y="559"/>
                </a:lnTo>
                <a:lnTo>
                  <a:pt x="116" y="557"/>
                </a:lnTo>
                <a:lnTo>
                  <a:pt x="118" y="557"/>
                </a:lnTo>
                <a:lnTo>
                  <a:pt x="118" y="554"/>
                </a:lnTo>
                <a:lnTo>
                  <a:pt x="118" y="552"/>
                </a:lnTo>
                <a:lnTo>
                  <a:pt x="116" y="552"/>
                </a:lnTo>
                <a:lnTo>
                  <a:pt x="111" y="550"/>
                </a:lnTo>
                <a:lnTo>
                  <a:pt x="104" y="545"/>
                </a:lnTo>
                <a:lnTo>
                  <a:pt x="102" y="543"/>
                </a:lnTo>
                <a:lnTo>
                  <a:pt x="102" y="540"/>
                </a:lnTo>
                <a:lnTo>
                  <a:pt x="102" y="538"/>
                </a:lnTo>
                <a:lnTo>
                  <a:pt x="102" y="533"/>
                </a:lnTo>
                <a:lnTo>
                  <a:pt x="102" y="531"/>
                </a:lnTo>
                <a:lnTo>
                  <a:pt x="102" y="529"/>
                </a:lnTo>
                <a:lnTo>
                  <a:pt x="100" y="526"/>
                </a:lnTo>
                <a:lnTo>
                  <a:pt x="97" y="524"/>
                </a:lnTo>
                <a:lnTo>
                  <a:pt x="95" y="522"/>
                </a:lnTo>
                <a:lnTo>
                  <a:pt x="93" y="522"/>
                </a:lnTo>
                <a:lnTo>
                  <a:pt x="90" y="522"/>
                </a:lnTo>
                <a:lnTo>
                  <a:pt x="88" y="522"/>
                </a:lnTo>
                <a:lnTo>
                  <a:pt x="88" y="519"/>
                </a:lnTo>
                <a:lnTo>
                  <a:pt x="86" y="519"/>
                </a:lnTo>
                <a:lnTo>
                  <a:pt x="86" y="517"/>
                </a:lnTo>
                <a:lnTo>
                  <a:pt x="88" y="517"/>
                </a:lnTo>
                <a:lnTo>
                  <a:pt x="88" y="515"/>
                </a:lnTo>
                <a:lnTo>
                  <a:pt x="90" y="515"/>
                </a:lnTo>
                <a:lnTo>
                  <a:pt x="93" y="512"/>
                </a:lnTo>
                <a:lnTo>
                  <a:pt x="93" y="510"/>
                </a:lnTo>
                <a:lnTo>
                  <a:pt x="95" y="510"/>
                </a:lnTo>
                <a:lnTo>
                  <a:pt x="97" y="510"/>
                </a:lnTo>
                <a:lnTo>
                  <a:pt x="97" y="508"/>
                </a:lnTo>
                <a:lnTo>
                  <a:pt x="100" y="508"/>
                </a:lnTo>
                <a:lnTo>
                  <a:pt x="100" y="505"/>
                </a:lnTo>
                <a:lnTo>
                  <a:pt x="100" y="501"/>
                </a:lnTo>
                <a:lnTo>
                  <a:pt x="100" y="498"/>
                </a:lnTo>
                <a:lnTo>
                  <a:pt x="100" y="496"/>
                </a:lnTo>
                <a:lnTo>
                  <a:pt x="102" y="496"/>
                </a:lnTo>
                <a:lnTo>
                  <a:pt x="102" y="494"/>
                </a:lnTo>
                <a:lnTo>
                  <a:pt x="102" y="491"/>
                </a:lnTo>
                <a:lnTo>
                  <a:pt x="104" y="489"/>
                </a:lnTo>
                <a:lnTo>
                  <a:pt x="104" y="487"/>
                </a:lnTo>
                <a:lnTo>
                  <a:pt x="104" y="484"/>
                </a:lnTo>
                <a:lnTo>
                  <a:pt x="107" y="484"/>
                </a:lnTo>
                <a:lnTo>
                  <a:pt x="109" y="482"/>
                </a:lnTo>
                <a:lnTo>
                  <a:pt x="114" y="482"/>
                </a:lnTo>
                <a:lnTo>
                  <a:pt x="118" y="480"/>
                </a:lnTo>
                <a:lnTo>
                  <a:pt x="121" y="482"/>
                </a:lnTo>
                <a:lnTo>
                  <a:pt x="128" y="482"/>
                </a:lnTo>
                <a:lnTo>
                  <a:pt x="128" y="480"/>
                </a:lnTo>
                <a:lnTo>
                  <a:pt x="125" y="477"/>
                </a:lnTo>
                <a:lnTo>
                  <a:pt x="125" y="475"/>
                </a:lnTo>
                <a:lnTo>
                  <a:pt x="128" y="475"/>
                </a:lnTo>
                <a:lnTo>
                  <a:pt x="128" y="473"/>
                </a:lnTo>
                <a:lnTo>
                  <a:pt x="128" y="470"/>
                </a:lnTo>
                <a:lnTo>
                  <a:pt x="130" y="470"/>
                </a:lnTo>
                <a:lnTo>
                  <a:pt x="130" y="468"/>
                </a:lnTo>
                <a:lnTo>
                  <a:pt x="130" y="466"/>
                </a:lnTo>
                <a:lnTo>
                  <a:pt x="130" y="463"/>
                </a:lnTo>
                <a:lnTo>
                  <a:pt x="130" y="461"/>
                </a:lnTo>
                <a:lnTo>
                  <a:pt x="132" y="461"/>
                </a:lnTo>
                <a:lnTo>
                  <a:pt x="132" y="459"/>
                </a:lnTo>
                <a:lnTo>
                  <a:pt x="132" y="454"/>
                </a:lnTo>
                <a:lnTo>
                  <a:pt x="130" y="454"/>
                </a:lnTo>
                <a:lnTo>
                  <a:pt x="128" y="452"/>
                </a:lnTo>
                <a:lnTo>
                  <a:pt x="125" y="450"/>
                </a:lnTo>
                <a:lnTo>
                  <a:pt x="123" y="450"/>
                </a:lnTo>
                <a:lnTo>
                  <a:pt x="121" y="450"/>
                </a:lnTo>
                <a:lnTo>
                  <a:pt x="116" y="450"/>
                </a:lnTo>
                <a:lnTo>
                  <a:pt x="114" y="450"/>
                </a:lnTo>
                <a:lnTo>
                  <a:pt x="114" y="452"/>
                </a:lnTo>
                <a:lnTo>
                  <a:pt x="109" y="452"/>
                </a:lnTo>
                <a:lnTo>
                  <a:pt x="107" y="452"/>
                </a:lnTo>
                <a:lnTo>
                  <a:pt x="104" y="452"/>
                </a:lnTo>
                <a:lnTo>
                  <a:pt x="102" y="452"/>
                </a:lnTo>
                <a:lnTo>
                  <a:pt x="102" y="454"/>
                </a:lnTo>
                <a:lnTo>
                  <a:pt x="100" y="454"/>
                </a:lnTo>
                <a:lnTo>
                  <a:pt x="100" y="457"/>
                </a:lnTo>
                <a:lnTo>
                  <a:pt x="97" y="457"/>
                </a:lnTo>
                <a:lnTo>
                  <a:pt x="95" y="454"/>
                </a:lnTo>
                <a:lnTo>
                  <a:pt x="95" y="452"/>
                </a:lnTo>
                <a:lnTo>
                  <a:pt x="93" y="452"/>
                </a:lnTo>
                <a:lnTo>
                  <a:pt x="93" y="450"/>
                </a:lnTo>
                <a:lnTo>
                  <a:pt x="93" y="447"/>
                </a:lnTo>
                <a:lnTo>
                  <a:pt x="88" y="443"/>
                </a:lnTo>
                <a:lnTo>
                  <a:pt x="86" y="440"/>
                </a:lnTo>
                <a:lnTo>
                  <a:pt x="86" y="438"/>
                </a:lnTo>
                <a:lnTo>
                  <a:pt x="83" y="436"/>
                </a:lnTo>
                <a:lnTo>
                  <a:pt x="81" y="436"/>
                </a:lnTo>
                <a:lnTo>
                  <a:pt x="81" y="433"/>
                </a:lnTo>
                <a:lnTo>
                  <a:pt x="81" y="431"/>
                </a:lnTo>
                <a:lnTo>
                  <a:pt x="81" y="429"/>
                </a:lnTo>
                <a:lnTo>
                  <a:pt x="79" y="429"/>
                </a:lnTo>
                <a:lnTo>
                  <a:pt x="76" y="429"/>
                </a:lnTo>
                <a:lnTo>
                  <a:pt x="79" y="429"/>
                </a:lnTo>
                <a:lnTo>
                  <a:pt x="76" y="426"/>
                </a:lnTo>
                <a:lnTo>
                  <a:pt x="76" y="424"/>
                </a:lnTo>
                <a:lnTo>
                  <a:pt x="74" y="424"/>
                </a:lnTo>
                <a:lnTo>
                  <a:pt x="74" y="422"/>
                </a:lnTo>
                <a:lnTo>
                  <a:pt x="74" y="419"/>
                </a:lnTo>
                <a:lnTo>
                  <a:pt x="72" y="419"/>
                </a:lnTo>
                <a:lnTo>
                  <a:pt x="69" y="419"/>
                </a:lnTo>
                <a:lnTo>
                  <a:pt x="69" y="417"/>
                </a:lnTo>
                <a:lnTo>
                  <a:pt x="69" y="415"/>
                </a:lnTo>
                <a:lnTo>
                  <a:pt x="67" y="415"/>
                </a:lnTo>
                <a:lnTo>
                  <a:pt x="65" y="415"/>
                </a:lnTo>
                <a:lnTo>
                  <a:pt x="62" y="415"/>
                </a:lnTo>
                <a:lnTo>
                  <a:pt x="65" y="412"/>
                </a:lnTo>
                <a:lnTo>
                  <a:pt x="67" y="412"/>
                </a:lnTo>
                <a:lnTo>
                  <a:pt x="69" y="410"/>
                </a:lnTo>
                <a:lnTo>
                  <a:pt x="72" y="408"/>
                </a:lnTo>
                <a:lnTo>
                  <a:pt x="72" y="405"/>
                </a:lnTo>
                <a:lnTo>
                  <a:pt x="69" y="403"/>
                </a:lnTo>
                <a:lnTo>
                  <a:pt x="67" y="403"/>
                </a:lnTo>
                <a:lnTo>
                  <a:pt x="65" y="403"/>
                </a:lnTo>
                <a:lnTo>
                  <a:pt x="62" y="403"/>
                </a:lnTo>
                <a:lnTo>
                  <a:pt x="60" y="405"/>
                </a:lnTo>
                <a:lnTo>
                  <a:pt x="60" y="401"/>
                </a:lnTo>
                <a:lnTo>
                  <a:pt x="58" y="401"/>
                </a:lnTo>
                <a:lnTo>
                  <a:pt x="56" y="398"/>
                </a:lnTo>
                <a:lnTo>
                  <a:pt x="56" y="396"/>
                </a:lnTo>
                <a:lnTo>
                  <a:pt x="56" y="394"/>
                </a:lnTo>
                <a:lnTo>
                  <a:pt x="58" y="394"/>
                </a:lnTo>
                <a:lnTo>
                  <a:pt x="62" y="394"/>
                </a:lnTo>
                <a:lnTo>
                  <a:pt x="65" y="389"/>
                </a:lnTo>
                <a:lnTo>
                  <a:pt x="69" y="387"/>
                </a:lnTo>
                <a:lnTo>
                  <a:pt x="72" y="384"/>
                </a:lnTo>
                <a:lnTo>
                  <a:pt x="72" y="382"/>
                </a:lnTo>
                <a:lnTo>
                  <a:pt x="72" y="380"/>
                </a:lnTo>
                <a:lnTo>
                  <a:pt x="74" y="377"/>
                </a:lnTo>
                <a:lnTo>
                  <a:pt x="72" y="377"/>
                </a:lnTo>
                <a:lnTo>
                  <a:pt x="72" y="375"/>
                </a:lnTo>
                <a:lnTo>
                  <a:pt x="74" y="370"/>
                </a:lnTo>
                <a:lnTo>
                  <a:pt x="74" y="368"/>
                </a:lnTo>
                <a:lnTo>
                  <a:pt x="74" y="366"/>
                </a:lnTo>
                <a:lnTo>
                  <a:pt x="74" y="363"/>
                </a:lnTo>
                <a:lnTo>
                  <a:pt x="76" y="359"/>
                </a:lnTo>
                <a:lnTo>
                  <a:pt x="76" y="356"/>
                </a:lnTo>
                <a:lnTo>
                  <a:pt x="79" y="354"/>
                </a:lnTo>
                <a:lnTo>
                  <a:pt x="81" y="352"/>
                </a:lnTo>
                <a:lnTo>
                  <a:pt x="79" y="349"/>
                </a:lnTo>
                <a:lnTo>
                  <a:pt x="81" y="349"/>
                </a:lnTo>
                <a:lnTo>
                  <a:pt x="81" y="345"/>
                </a:lnTo>
                <a:lnTo>
                  <a:pt x="81" y="342"/>
                </a:lnTo>
                <a:lnTo>
                  <a:pt x="83" y="338"/>
                </a:lnTo>
                <a:lnTo>
                  <a:pt x="83" y="335"/>
                </a:lnTo>
                <a:lnTo>
                  <a:pt x="81" y="333"/>
                </a:lnTo>
                <a:lnTo>
                  <a:pt x="81" y="331"/>
                </a:lnTo>
                <a:lnTo>
                  <a:pt x="81" y="328"/>
                </a:lnTo>
                <a:lnTo>
                  <a:pt x="81" y="326"/>
                </a:lnTo>
                <a:lnTo>
                  <a:pt x="83" y="319"/>
                </a:lnTo>
                <a:lnTo>
                  <a:pt x="83" y="315"/>
                </a:lnTo>
                <a:lnTo>
                  <a:pt x="83" y="312"/>
                </a:lnTo>
                <a:lnTo>
                  <a:pt x="83" y="310"/>
                </a:lnTo>
                <a:lnTo>
                  <a:pt x="83" y="308"/>
                </a:lnTo>
                <a:lnTo>
                  <a:pt x="81" y="308"/>
                </a:lnTo>
                <a:lnTo>
                  <a:pt x="81" y="305"/>
                </a:lnTo>
                <a:lnTo>
                  <a:pt x="81" y="303"/>
                </a:lnTo>
                <a:lnTo>
                  <a:pt x="79" y="303"/>
                </a:lnTo>
                <a:lnTo>
                  <a:pt x="81" y="294"/>
                </a:lnTo>
                <a:lnTo>
                  <a:pt x="81" y="289"/>
                </a:lnTo>
                <a:lnTo>
                  <a:pt x="79" y="287"/>
                </a:lnTo>
                <a:lnTo>
                  <a:pt x="79" y="284"/>
                </a:lnTo>
                <a:lnTo>
                  <a:pt x="76" y="284"/>
                </a:lnTo>
                <a:lnTo>
                  <a:pt x="74" y="284"/>
                </a:lnTo>
                <a:lnTo>
                  <a:pt x="72" y="282"/>
                </a:lnTo>
                <a:lnTo>
                  <a:pt x="67" y="280"/>
                </a:lnTo>
                <a:lnTo>
                  <a:pt x="65" y="277"/>
                </a:lnTo>
                <a:lnTo>
                  <a:pt x="62" y="277"/>
                </a:lnTo>
                <a:lnTo>
                  <a:pt x="60" y="277"/>
                </a:lnTo>
                <a:lnTo>
                  <a:pt x="58" y="277"/>
                </a:lnTo>
                <a:lnTo>
                  <a:pt x="58" y="275"/>
                </a:lnTo>
                <a:lnTo>
                  <a:pt x="58" y="273"/>
                </a:lnTo>
                <a:lnTo>
                  <a:pt x="58" y="270"/>
                </a:lnTo>
                <a:lnTo>
                  <a:pt x="56" y="270"/>
                </a:lnTo>
                <a:lnTo>
                  <a:pt x="56" y="268"/>
                </a:lnTo>
                <a:lnTo>
                  <a:pt x="53" y="268"/>
                </a:lnTo>
                <a:lnTo>
                  <a:pt x="51" y="266"/>
                </a:lnTo>
                <a:lnTo>
                  <a:pt x="49" y="266"/>
                </a:lnTo>
                <a:lnTo>
                  <a:pt x="46" y="268"/>
                </a:lnTo>
                <a:lnTo>
                  <a:pt x="44" y="268"/>
                </a:lnTo>
                <a:lnTo>
                  <a:pt x="42" y="268"/>
                </a:lnTo>
                <a:lnTo>
                  <a:pt x="39" y="268"/>
                </a:lnTo>
                <a:lnTo>
                  <a:pt x="28" y="261"/>
                </a:lnTo>
                <a:lnTo>
                  <a:pt x="21" y="261"/>
                </a:lnTo>
                <a:lnTo>
                  <a:pt x="18" y="261"/>
                </a:lnTo>
                <a:lnTo>
                  <a:pt x="16" y="261"/>
                </a:lnTo>
                <a:lnTo>
                  <a:pt x="14" y="261"/>
                </a:lnTo>
                <a:lnTo>
                  <a:pt x="14" y="263"/>
                </a:lnTo>
                <a:lnTo>
                  <a:pt x="11" y="263"/>
                </a:lnTo>
                <a:lnTo>
                  <a:pt x="9" y="268"/>
                </a:lnTo>
                <a:lnTo>
                  <a:pt x="9" y="270"/>
                </a:lnTo>
                <a:lnTo>
                  <a:pt x="7" y="268"/>
                </a:lnTo>
                <a:lnTo>
                  <a:pt x="4" y="268"/>
                </a:lnTo>
                <a:lnTo>
                  <a:pt x="2" y="268"/>
                </a:lnTo>
                <a:lnTo>
                  <a:pt x="0" y="270"/>
                </a:lnTo>
                <a:lnTo>
                  <a:pt x="35" y="247"/>
                </a:lnTo>
                <a:lnTo>
                  <a:pt x="65" y="226"/>
                </a:lnTo>
                <a:lnTo>
                  <a:pt x="67" y="226"/>
                </a:lnTo>
                <a:lnTo>
                  <a:pt x="69" y="226"/>
                </a:lnTo>
                <a:lnTo>
                  <a:pt x="72" y="226"/>
                </a:lnTo>
                <a:lnTo>
                  <a:pt x="72" y="228"/>
                </a:lnTo>
                <a:lnTo>
                  <a:pt x="74" y="228"/>
                </a:lnTo>
                <a:lnTo>
                  <a:pt x="74" y="226"/>
                </a:lnTo>
                <a:lnTo>
                  <a:pt x="81" y="224"/>
                </a:lnTo>
                <a:lnTo>
                  <a:pt x="81" y="221"/>
                </a:lnTo>
                <a:lnTo>
                  <a:pt x="83" y="221"/>
                </a:lnTo>
                <a:lnTo>
                  <a:pt x="83" y="219"/>
                </a:lnTo>
                <a:lnTo>
                  <a:pt x="86" y="219"/>
                </a:lnTo>
                <a:lnTo>
                  <a:pt x="86" y="217"/>
                </a:lnTo>
                <a:lnTo>
                  <a:pt x="88" y="217"/>
                </a:lnTo>
                <a:lnTo>
                  <a:pt x="88" y="214"/>
                </a:lnTo>
                <a:lnTo>
                  <a:pt x="88" y="212"/>
                </a:lnTo>
                <a:lnTo>
                  <a:pt x="90" y="212"/>
                </a:lnTo>
                <a:lnTo>
                  <a:pt x="90" y="210"/>
                </a:lnTo>
                <a:lnTo>
                  <a:pt x="93" y="210"/>
                </a:lnTo>
                <a:lnTo>
                  <a:pt x="93" y="207"/>
                </a:lnTo>
                <a:lnTo>
                  <a:pt x="95" y="207"/>
                </a:lnTo>
                <a:lnTo>
                  <a:pt x="97" y="205"/>
                </a:lnTo>
                <a:lnTo>
                  <a:pt x="97" y="203"/>
                </a:lnTo>
                <a:lnTo>
                  <a:pt x="97" y="200"/>
                </a:lnTo>
                <a:lnTo>
                  <a:pt x="100" y="200"/>
                </a:lnTo>
                <a:lnTo>
                  <a:pt x="97" y="198"/>
                </a:lnTo>
                <a:lnTo>
                  <a:pt x="100" y="198"/>
                </a:lnTo>
                <a:lnTo>
                  <a:pt x="100" y="196"/>
                </a:lnTo>
                <a:lnTo>
                  <a:pt x="100" y="193"/>
                </a:lnTo>
                <a:lnTo>
                  <a:pt x="102" y="193"/>
                </a:lnTo>
                <a:lnTo>
                  <a:pt x="102" y="196"/>
                </a:lnTo>
                <a:lnTo>
                  <a:pt x="102" y="193"/>
                </a:lnTo>
                <a:lnTo>
                  <a:pt x="104" y="193"/>
                </a:lnTo>
                <a:lnTo>
                  <a:pt x="109" y="189"/>
                </a:lnTo>
                <a:lnTo>
                  <a:pt x="111" y="189"/>
                </a:lnTo>
                <a:lnTo>
                  <a:pt x="111" y="186"/>
                </a:lnTo>
                <a:lnTo>
                  <a:pt x="114" y="186"/>
                </a:lnTo>
                <a:lnTo>
                  <a:pt x="116" y="184"/>
                </a:lnTo>
                <a:lnTo>
                  <a:pt x="118" y="182"/>
                </a:lnTo>
                <a:lnTo>
                  <a:pt x="118" y="179"/>
                </a:lnTo>
                <a:lnTo>
                  <a:pt x="121" y="175"/>
                </a:lnTo>
                <a:lnTo>
                  <a:pt x="121" y="172"/>
                </a:lnTo>
                <a:lnTo>
                  <a:pt x="121" y="170"/>
                </a:lnTo>
                <a:lnTo>
                  <a:pt x="121" y="168"/>
                </a:lnTo>
                <a:lnTo>
                  <a:pt x="123" y="168"/>
                </a:lnTo>
                <a:lnTo>
                  <a:pt x="123" y="166"/>
                </a:lnTo>
                <a:lnTo>
                  <a:pt x="123" y="163"/>
                </a:lnTo>
                <a:lnTo>
                  <a:pt x="123" y="161"/>
                </a:lnTo>
                <a:lnTo>
                  <a:pt x="125" y="161"/>
                </a:lnTo>
                <a:lnTo>
                  <a:pt x="128" y="161"/>
                </a:lnTo>
                <a:lnTo>
                  <a:pt x="128" y="159"/>
                </a:lnTo>
                <a:lnTo>
                  <a:pt x="128" y="156"/>
                </a:lnTo>
                <a:lnTo>
                  <a:pt x="130" y="154"/>
                </a:lnTo>
                <a:lnTo>
                  <a:pt x="130" y="152"/>
                </a:lnTo>
                <a:lnTo>
                  <a:pt x="130" y="149"/>
                </a:lnTo>
                <a:lnTo>
                  <a:pt x="132" y="152"/>
                </a:lnTo>
                <a:lnTo>
                  <a:pt x="132" y="149"/>
                </a:lnTo>
                <a:lnTo>
                  <a:pt x="135" y="147"/>
                </a:lnTo>
                <a:lnTo>
                  <a:pt x="137" y="147"/>
                </a:lnTo>
                <a:lnTo>
                  <a:pt x="139" y="147"/>
                </a:lnTo>
                <a:lnTo>
                  <a:pt x="139" y="145"/>
                </a:lnTo>
                <a:lnTo>
                  <a:pt x="142" y="145"/>
                </a:lnTo>
                <a:lnTo>
                  <a:pt x="142" y="142"/>
                </a:lnTo>
                <a:lnTo>
                  <a:pt x="144" y="142"/>
                </a:lnTo>
                <a:lnTo>
                  <a:pt x="142" y="140"/>
                </a:lnTo>
                <a:lnTo>
                  <a:pt x="144" y="140"/>
                </a:lnTo>
                <a:lnTo>
                  <a:pt x="146" y="138"/>
                </a:lnTo>
                <a:lnTo>
                  <a:pt x="144" y="138"/>
                </a:lnTo>
                <a:lnTo>
                  <a:pt x="146" y="135"/>
                </a:lnTo>
                <a:lnTo>
                  <a:pt x="149" y="138"/>
                </a:lnTo>
                <a:lnTo>
                  <a:pt x="149" y="135"/>
                </a:lnTo>
                <a:lnTo>
                  <a:pt x="151" y="133"/>
                </a:lnTo>
                <a:lnTo>
                  <a:pt x="151" y="128"/>
                </a:lnTo>
                <a:lnTo>
                  <a:pt x="153" y="128"/>
                </a:lnTo>
                <a:lnTo>
                  <a:pt x="153" y="126"/>
                </a:lnTo>
                <a:lnTo>
                  <a:pt x="153" y="121"/>
                </a:lnTo>
                <a:lnTo>
                  <a:pt x="153" y="119"/>
                </a:lnTo>
                <a:lnTo>
                  <a:pt x="156" y="121"/>
                </a:lnTo>
                <a:lnTo>
                  <a:pt x="153" y="119"/>
                </a:lnTo>
                <a:lnTo>
                  <a:pt x="156" y="119"/>
                </a:lnTo>
                <a:lnTo>
                  <a:pt x="158" y="117"/>
                </a:lnTo>
                <a:lnTo>
                  <a:pt x="156" y="117"/>
                </a:lnTo>
                <a:lnTo>
                  <a:pt x="156" y="114"/>
                </a:lnTo>
                <a:lnTo>
                  <a:pt x="153" y="110"/>
                </a:lnTo>
                <a:lnTo>
                  <a:pt x="153" y="107"/>
                </a:lnTo>
                <a:lnTo>
                  <a:pt x="156" y="105"/>
                </a:lnTo>
                <a:lnTo>
                  <a:pt x="158" y="105"/>
                </a:lnTo>
                <a:lnTo>
                  <a:pt x="160" y="103"/>
                </a:lnTo>
                <a:lnTo>
                  <a:pt x="163" y="103"/>
                </a:lnTo>
                <a:lnTo>
                  <a:pt x="165" y="100"/>
                </a:lnTo>
                <a:lnTo>
                  <a:pt x="165" y="98"/>
                </a:lnTo>
                <a:lnTo>
                  <a:pt x="167" y="98"/>
                </a:lnTo>
                <a:lnTo>
                  <a:pt x="170" y="98"/>
                </a:lnTo>
                <a:lnTo>
                  <a:pt x="170" y="96"/>
                </a:lnTo>
                <a:lnTo>
                  <a:pt x="170" y="93"/>
                </a:lnTo>
                <a:lnTo>
                  <a:pt x="170" y="91"/>
                </a:lnTo>
                <a:lnTo>
                  <a:pt x="170" y="89"/>
                </a:lnTo>
                <a:lnTo>
                  <a:pt x="172" y="89"/>
                </a:lnTo>
                <a:lnTo>
                  <a:pt x="172" y="86"/>
                </a:lnTo>
                <a:lnTo>
                  <a:pt x="170" y="86"/>
                </a:lnTo>
                <a:lnTo>
                  <a:pt x="172" y="84"/>
                </a:lnTo>
                <a:lnTo>
                  <a:pt x="172" y="82"/>
                </a:lnTo>
                <a:lnTo>
                  <a:pt x="172" y="79"/>
                </a:lnTo>
                <a:lnTo>
                  <a:pt x="172" y="77"/>
                </a:lnTo>
                <a:lnTo>
                  <a:pt x="174" y="77"/>
                </a:lnTo>
                <a:lnTo>
                  <a:pt x="174" y="79"/>
                </a:lnTo>
                <a:lnTo>
                  <a:pt x="177" y="79"/>
                </a:lnTo>
                <a:lnTo>
                  <a:pt x="177" y="77"/>
                </a:lnTo>
                <a:lnTo>
                  <a:pt x="179" y="77"/>
                </a:lnTo>
                <a:lnTo>
                  <a:pt x="181" y="75"/>
                </a:lnTo>
                <a:lnTo>
                  <a:pt x="181" y="72"/>
                </a:lnTo>
                <a:lnTo>
                  <a:pt x="184" y="65"/>
                </a:lnTo>
                <a:lnTo>
                  <a:pt x="186" y="61"/>
                </a:lnTo>
                <a:lnTo>
                  <a:pt x="188" y="58"/>
                </a:lnTo>
                <a:lnTo>
                  <a:pt x="188" y="56"/>
                </a:lnTo>
                <a:lnTo>
                  <a:pt x="188" y="54"/>
                </a:lnTo>
                <a:lnTo>
                  <a:pt x="188" y="51"/>
                </a:lnTo>
                <a:lnTo>
                  <a:pt x="188" y="49"/>
                </a:lnTo>
                <a:lnTo>
                  <a:pt x="186" y="49"/>
                </a:lnTo>
                <a:lnTo>
                  <a:pt x="184" y="49"/>
                </a:lnTo>
                <a:lnTo>
                  <a:pt x="184" y="47"/>
                </a:lnTo>
                <a:lnTo>
                  <a:pt x="181" y="44"/>
                </a:lnTo>
                <a:lnTo>
                  <a:pt x="184" y="44"/>
                </a:lnTo>
                <a:lnTo>
                  <a:pt x="188" y="44"/>
                </a:lnTo>
                <a:lnTo>
                  <a:pt x="188" y="42"/>
                </a:lnTo>
                <a:lnTo>
                  <a:pt x="191" y="42"/>
                </a:lnTo>
                <a:lnTo>
                  <a:pt x="191" y="37"/>
                </a:lnTo>
                <a:lnTo>
                  <a:pt x="191" y="35"/>
                </a:lnTo>
                <a:lnTo>
                  <a:pt x="193" y="35"/>
                </a:lnTo>
                <a:lnTo>
                  <a:pt x="193" y="33"/>
                </a:lnTo>
                <a:lnTo>
                  <a:pt x="193" y="28"/>
                </a:lnTo>
                <a:lnTo>
                  <a:pt x="195" y="26"/>
                </a:lnTo>
                <a:lnTo>
                  <a:pt x="195" y="24"/>
                </a:lnTo>
                <a:lnTo>
                  <a:pt x="197" y="21"/>
                </a:lnTo>
                <a:lnTo>
                  <a:pt x="197" y="19"/>
                </a:lnTo>
                <a:lnTo>
                  <a:pt x="195" y="17"/>
                </a:lnTo>
                <a:lnTo>
                  <a:pt x="195" y="14"/>
                </a:lnTo>
                <a:lnTo>
                  <a:pt x="197" y="14"/>
                </a:lnTo>
                <a:lnTo>
                  <a:pt x="197" y="12"/>
                </a:lnTo>
                <a:lnTo>
                  <a:pt x="200" y="12"/>
                </a:lnTo>
                <a:lnTo>
                  <a:pt x="202" y="12"/>
                </a:lnTo>
                <a:lnTo>
                  <a:pt x="202" y="10"/>
                </a:lnTo>
                <a:lnTo>
                  <a:pt x="204" y="7"/>
                </a:lnTo>
                <a:lnTo>
                  <a:pt x="204" y="10"/>
                </a:lnTo>
                <a:lnTo>
                  <a:pt x="204" y="12"/>
                </a:lnTo>
                <a:lnTo>
                  <a:pt x="204" y="10"/>
                </a:lnTo>
                <a:lnTo>
                  <a:pt x="204" y="7"/>
                </a:lnTo>
                <a:lnTo>
                  <a:pt x="207" y="5"/>
                </a:lnTo>
                <a:lnTo>
                  <a:pt x="207" y="3"/>
                </a:lnTo>
                <a:lnTo>
                  <a:pt x="207" y="5"/>
                </a:lnTo>
                <a:lnTo>
                  <a:pt x="209" y="5"/>
                </a:lnTo>
                <a:lnTo>
                  <a:pt x="209" y="3"/>
                </a:lnTo>
                <a:lnTo>
                  <a:pt x="209" y="0"/>
                </a:lnTo>
                <a:lnTo>
                  <a:pt x="211" y="3"/>
                </a:lnTo>
                <a:lnTo>
                  <a:pt x="209" y="3"/>
                </a:lnTo>
                <a:lnTo>
                  <a:pt x="211" y="5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4" name="Freeform 11">
            <a:extLst>
              <a:ext uri="{FF2B5EF4-FFF2-40B4-BE49-F238E27FC236}">
                <a16:creationId xmlns:a16="http://schemas.microsoft.com/office/drawing/2014/main" id="{8000F9EE-D7EE-52EC-AF16-F20F3EE6DC39}"/>
              </a:ext>
            </a:extLst>
          </p:cNvPr>
          <p:cNvSpPr>
            <a:spLocks noEditPoints="1"/>
          </p:cNvSpPr>
          <p:nvPr/>
        </p:nvSpPr>
        <p:spPr bwMode="auto">
          <a:xfrm>
            <a:off x="2668927" y="2889798"/>
            <a:ext cx="1030969" cy="950344"/>
          </a:xfrm>
          <a:custGeom>
            <a:avLst/>
            <a:gdLst>
              <a:gd name="T0" fmla="*/ 717 w 875"/>
              <a:gd name="T1" fmla="*/ 287 h 845"/>
              <a:gd name="T2" fmla="*/ 754 w 875"/>
              <a:gd name="T3" fmla="*/ 252 h 845"/>
              <a:gd name="T4" fmla="*/ 552 w 875"/>
              <a:gd name="T5" fmla="*/ 233 h 845"/>
              <a:gd name="T6" fmla="*/ 503 w 875"/>
              <a:gd name="T7" fmla="*/ 277 h 845"/>
              <a:gd name="T8" fmla="*/ 512 w 875"/>
              <a:gd name="T9" fmla="*/ 231 h 845"/>
              <a:gd name="T10" fmla="*/ 535 w 875"/>
              <a:gd name="T11" fmla="*/ 210 h 845"/>
              <a:gd name="T12" fmla="*/ 689 w 875"/>
              <a:gd name="T13" fmla="*/ 217 h 845"/>
              <a:gd name="T14" fmla="*/ 710 w 875"/>
              <a:gd name="T15" fmla="*/ 266 h 845"/>
              <a:gd name="T16" fmla="*/ 677 w 875"/>
              <a:gd name="T17" fmla="*/ 289 h 845"/>
              <a:gd name="T18" fmla="*/ 661 w 875"/>
              <a:gd name="T19" fmla="*/ 310 h 845"/>
              <a:gd name="T20" fmla="*/ 626 w 875"/>
              <a:gd name="T21" fmla="*/ 312 h 845"/>
              <a:gd name="T22" fmla="*/ 589 w 875"/>
              <a:gd name="T23" fmla="*/ 298 h 845"/>
              <a:gd name="T24" fmla="*/ 554 w 875"/>
              <a:gd name="T25" fmla="*/ 291 h 845"/>
              <a:gd name="T26" fmla="*/ 556 w 875"/>
              <a:gd name="T27" fmla="*/ 261 h 845"/>
              <a:gd name="T28" fmla="*/ 575 w 875"/>
              <a:gd name="T29" fmla="*/ 207 h 845"/>
              <a:gd name="T30" fmla="*/ 570 w 875"/>
              <a:gd name="T31" fmla="*/ 200 h 845"/>
              <a:gd name="T32" fmla="*/ 649 w 875"/>
              <a:gd name="T33" fmla="*/ 196 h 845"/>
              <a:gd name="T34" fmla="*/ 642 w 875"/>
              <a:gd name="T35" fmla="*/ 182 h 845"/>
              <a:gd name="T36" fmla="*/ 603 w 875"/>
              <a:gd name="T37" fmla="*/ 182 h 845"/>
              <a:gd name="T38" fmla="*/ 589 w 875"/>
              <a:gd name="T39" fmla="*/ 166 h 845"/>
              <a:gd name="T40" fmla="*/ 610 w 875"/>
              <a:gd name="T41" fmla="*/ 154 h 845"/>
              <a:gd name="T42" fmla="*/ 310 w 875"/>
              <a:gd name="T43" fmla="*/ 58 h 845"/>
              <a:gd name="T44" fmla="*/ 356 w 875"/>
              <a:gd name="T45" fmla="*/ 86 h 845"/>
              <a:gd name="T46" fmla="*/ 384 w 875"/>
              <a:gd name="T47" fmla="*/ 114 h 845"/>
              <a:gd name="T48" fmla="*/ 419 w 875"/>
              <a:gd name="T49" fmla="*/ 198 h 845"/>
              <a:gd name="T50" fmla="*/ 454 w 875"/>
              <a:gd name="T51" fmla="*/ 263 h 845"/>
              <a:gd name="T52" fmla="*/ 426 w 875"/>
              <a:gd name="T53" fmla="*/ 291 h 845"/>
              <a:gd name="T54" fmla="*/ 517 w 875"/>
              <a:gd name="T55" fmla="*/ 277 h 845"/>
              <a:gd name="T56" fmla="*/ 552 w 875"/>
              <a:gd name="T57" fmla="*/ 287 h 845"/>
              <a:gd name="T58" fmla="*/ 563 w 875"/>
              <a:gd name="T59" fmla="*/ 317 h 845"/>
              <a:gd name="T60" fmla="*/ 612 w 875"/>
              <a:gd name="T61" fmla="*/ 331 h 845"/>
              <a:gd name="T62" fmla="*/ 633 w 875"/>
              <a:gd name="T63" fmla="*/ 324 h 845"/>
              <a:gd name="T64" fmla="*/ 624 w 875"/>
              <a:gd name="T65" fmla="*/ 380 h 845"/>
              <a:gd name="T66" fmla="*/ 682 w 875"/>
              <a:gd name="T67" fmla="*/ 310 h 845"/>
              <a:gd name="T68" fmla="*/ 708 w 875"/>
              <a:gd name="T69" fmla="*/ 312 h 845"/>
              <a:gd name="T70" fmla="*/ 726 w 875"/>
              <a:gd name="T71" fmla="*/ 284 h 845"/>
              <a:gd name="T72" fmla="*/ 756 w 875"/>
              <a:gd name="T73" fmla="*/ 254 h 845"/>
              <a:gd name="T74" fmla="*/ 787 w 875"/>
              <a:gd name="T75" fmla="*/ 261 h 845"/>
              <a:gd name="T76" fmla="*/ 798 w 875"/>
              <a:gd name="T77" fmla="*/ 261 h 845"/>
              <a:gd name="T78" fmla="*/ 819 w 875"/>
              <a:gd name="T79" fmla="*/ 263 h 845"/>
              <a:gd name="T80" fmla="*/ 831 w 875"/>
              <a:gd name="T81" fmla="*/ 275 h 845"/>
              <a:gd name="T82" fmla="*/ 854 w 875"/>
              <a:gd name="T83" fmla="*/ 277 h 845"/>
              <a:gd name="T84" fmla="*/ 868 w 875"/>
              <a:gd name="T85" fmla="*/ 284 h 845"/>
              <a:gd name="T86" fmla="*/ 866 w 875"/>
              <a:gd name="T87" fmla="*/ 324 h 845"/>
              <a:gd name="T88" fmla="*/ 843 w 875"/>
              <a:gd name="T89" fmla="*/ 382 h 845"/>
              <a:gd name="T90" fmla="*/ 815 w 875"/>
              <a:gd name="T91" fmla="*/ 436 h 845"/>
              <a:gd name="T92" fmla="*/ 773 w 875"/>
              <a:gd name="T93" fmla="*/ 487 h 845"/>
              <a:gd name="T94" fmla="*/ 687 w 875"/>
              <a:gd name="T95" fmla="*/ 566 h 845"/>
              <a:gd name="T96" fmla="*/ 689 w 875"/>
              <a:gd name="T97" fmla="*/ 622 h 845"/>
              <a:gd name="T98" fmla="*/ 624 w 875"/>
              <a:gd name="T99" fmla="*/ 713 h 845"/>
              <a:gd name="T100" fmla="*/ 580 w 875"/>
              <a:gd name="T101" fmla="*/ 799 h 845"/>
              <a:gd name="T102" fmla="*/ 135 w 875"/>
              <a:gd name="T103" fmla="*/ 796 h 845"/>
              <a:gd name="T104" fmla="*/ 82 w 875"/>
              <a:gd name="T105" fmla="*/ 738 h 845"/>
              <a:gd name="T106" fmla="*/ 47 w 875"/>
              <a:gd name="T107" fmla="*/ 652 h 845"/>
              <a:gd name="T108" fmla="*/ 163 w 875"/>
              <a:gd name="T109" fmla="*/ 321 h 845"/>
              <a:gd name="T110" fmla="*/ 105 w 875"/>
              <a:gd name="T111" fmla="*/ 291 h 845"/>
              <a:gd name="T112" fmla="*/ 37 w 875"/>
              <a:gd name="T113" fmla="*/ 235 h 845"/>
              <a:gd name="T114" fmla="*/ 12 w 875"/>
              <a:gd name="T115" fmla="*/ 91 h 845"/>
              <a:gd name="T116" fmla="*/ 61 w 875"/>
              <a:gd name="T117" fmla="*/ 70 h 845"/>
              <a:gd name="T118" fmla="*/ 137 w 875"/>
              <a:gd name="T119" fmla="*/ 44 h 845"/>
              <a:gd name="T120" fmla="*/ 212 w 875"/>
              <a:gd name="T121" fmla="*/ 35 h 845"/>
              <a:gd name="T122" fmla="*/ 251 w 875"/>
              <a:gd name="T123" fmla="*/ 10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75" h="845">
                <a:moveTo>
                  <a:pt x="649" y="328"/>
                </a:moveTo>
                <a:lnTo>
                  <a:pt x="647" y="328"/>
                </a:lnTo>
                <a:lnTo>
                  <a:pt x="645" y="326"/>
                </a:lnTo>
                <a:lnTo>
                  <a:pt x="642" y="326"/>
                </a:lnTo>
                <a:lnTo>
                  <a:pt x="642" y="324"/>
                </a:lnTo>
                <a:lnTo>
                  <a:pt x="645" y="324"/>
                </a:lnTo>
                <a:lnTo>
                  <a:pt x="645" y="321"/>
                </a:lnTo>
                <a:lnTo>
                  <a:pt x="647" y="319"/>
                </a:lnTo>
                <a:lnTo>
                  <a:pt x="649" y="319"/>
                </a:lnTo>
                <a:lnTo>
                  <a:pt x="649" y="317"/>
                </a:lnTo>
                <a:lnTo>
                  <a:pt x="652" y="317"/>
                </a:lnTo>
                <a:lnTo>
                  <a:pt x="654" y="319"/>
                </a:lnTo>
                <a:lnTo>
                  <a:pt x="654" y="321"/>
                </a:lnTo>
                <a:lnTo>
                  <a:pt x="654" y="324"/>
                </a:lnTo>
                <a:lnTo>
                  <a:pt x="652" y="324"/>
                </a:lnTo>
                <a:lnTo>
                  <a:pt x="652" y="326"/>
                </a:lnTo>
                <a:lnTo>
                  <a:pt x="649" y="328"/>
                </a:lnTo>
                <a:close/>
                <a:moveTo>
                  <a:pt x="642" y="312"/>
                </a:moveTo>
                <a:lnTo>
                  <a:pt x="645" y="312"/>
                </a:lnTo>
                <a:lnTo>
                  <a:pt x="645" y="315"/>
                </a:lnTo>
                <a:lnTo>
                  <a:pt x="645" y="317"/>
                </a:lnTo>
                <a:lnTo>
                  <a:pt x="642" y="317"/>
                </a:lnTo>
                <a:lnTo>
                  <a:pt x="640" y="317"/>
                </a:lnTo>
                <a:lnTo>
                  <a:pt x="638" y="317"/>
                </a:lnTo>
                <a:lnTo>
                  <a:pt x="638" y="315"/>
                </a:lnTo>
                <a:lnTo>
                  <a:pt x="638" y="312"/>
                </a:lnTo>
                <a:lnTo>
                  <a:pt x="640" y="312"/>
                </a:lnTo>
                <a:lnTo>
                  <a:pt x="642" y="312"/>
                </a:lnTo>
                <a:close/>
                <a:moveTo>
                  <a:pt x="724" y="287"/>
                </a:moveTo>
                <a:lnTo>
                  <a:pt x="722" y="287"/>
                </a:lnTo>
                <a:lnTo>
                  <a:pt x="719" y="287"/>
                </a:lnTo>
                <a:lnTo>
                  <a:pt x="719" y="289"/>
                </a:lnTo>
                <a:lnTo>
                  <a:pt x="719" y="287"/>
                </a:lnTo>
                <a:lnTo>
                  <a:pt x="717" y="287"/>
                </a:lnTo>
                <a:lnTo>
                  <a:pt x="719" y="287"/>
                </a:lnTo>
                <a:lnTo>
                  <a:pt x="717" y="287"/>
                </a:lnTo>
                <a:lnTo>
                  <a:pt x="715" y="284"/>
                </a:lnTo>
                <a:lnTo>
                  <a:pt x="712" y="284"/>
                </a:lnTo>
                <a:lnTo>
                  <a:pt x="715" y="282"/>
                </a:lnTo>
                <a:lnTo>
                  <a:pt x="717" y="282"/>
                </a:lnTo>
                <a:lnTo>
                  <a:pt x="717" y="280"/>
                </a:lnTo>
                <a:lnTo>
                  <a:pt x="717" y="277"/>
                </a:lnTo>
                <a:lnTo>
                  <a:pt x="719" y="277"/>
                </a:lnTo>
                <a:lnTo>
                  <a:pt x="722" y="277"/>
                </a:lnTo>
                <a:lnTo>
                  <a:pt x="724" y="280"/>
                </a:lnTo>
                <a:lnTo>
                  <a:pt x="724" y="282"/>
                </a:lnTo>
                <a:lnTo>
                  <a:pt x="724" y="284"/>
                </a:lnTo>
                <a:lnTo>
                  <a:pt x="724" y="287"/>
                </a:lnTo>
                <a:close/>
                <a:moveTo>
                  <a:pt x="731" y="275"/>
                </a:moveTo>
                <a:lnTo>
                  <a:pt x="729" y="277"/>
                </a:lnTo>
                <a:lnTo>
                  <a:pt x="726" y="275"/>
                </a:lnTo>
                <a:lnTo>
                  <a:pt x="724" y="275"/>
                </a:lnTo>
                <a:lnTo>
                  <a:pt x="724" y="273"/>
                </a:lnTo>
                <a:lnTo>
                  <a:pt x="724" y="270"/>
                </a:lnTo>
                <a:lnTo>
                  <a:pt x="726" y="268"/>
                </a:lnTo>
                <a:lnTo>
                  <a:pt x="729" y="268"/>
                </a:lnTo>
                <a:lnTo>
                  <a:pt x="729" y="266"/>
                </a:lnTo>
                <a:lnTo>
                  <a:pt x="731" y="263"/>
                </a:lnTo>
                <a:lnTo>
                  <a:pt x="733" y="263"/>
                </a:lnTo>
                <a:lnTo>
                  <a:pt x="735" y="266"/>
                </a:lnTo>
                <a:lnTo>
                  <a:pt x="733" y="266"/>
                </a:lnTo>
                <a:lnTo>
                  <a:pt x="735" y="268"/>
                </a:lnTo>
                <a:lnTo>
                  <a:pt x="735" y="270"/>
                </a:lnTo>
                <a:lnTo>
                  <a:pt x="733" y="273"/>
                </a:lnTo>
                <a:lnTo>
                  <a:pt x="733" y="275"/>
                </a:lnTo>
                <a:lnTo>
                  <a:pt x="731" y="275"/>
                </a:lnTo>
                <a:close/>
                <a:moveTo>
                  <a:pt x="752" y="252"/>
                </a:moveTo>
                <a:lnTo>
                  <a:pt x="754" y="252"/>
                </a:lnTo>
                <a:lnTo>
                  <a:pt x="754" y="254"/>
                </a:lnTo>
                <a:lnTo>
                  <a:pt x="756" y="254"/>
                </a:lnTo>
                <a:lnTo>
                  <a:pt x="754" y="256"/>
                </a:lnTo>
                <a:lnTo>
                  <a:pt x="749" y="259"/>
                </a:lnTo>
                <a:lnTo>
                  <a:pt x="749" y="256"/>
                </a:lnTo>
                <a:lnTo>
                  <a:pt x="749" y="254"/>
                </a:lnTo>
                <a:lnTo>
                  <a:pt x="749" y="252"/>
                </a:lnTo>
                <a:lnTo>
                  <a:pt x="752" y="252"/>
                </a:lnTo>
                <a:close/>
                <a:moveTo>
                  <a:pt x="556" y="233"/>
                </a:moveTo>
                <a:lnTo>
                  <a:pt x="556" y="235"/>
                </a:lnTo>
                <a:lnTo>
                  <a:pt x="556" y="238"/>
                </a:lnTo>
                <a:lnTo>
                  <a:pt x="556" y="240"/>
                </a:lnTo>
                <a:lnTo>
                  <a:pt x="554" y="242"/>
                </a:lnTo>
                <a:lnTo>
                  <a:pt x="552" y="242"/>
                </a:lnTo>
                <a:lnTo>
                  <a:pt x="549" y="242"/>
                </a:lnTo>
                <a:lnTo>
                  <a:pt x="547" y="242"/>
                </a:lnTo>
                <a:lnTo>
                  <a:pt x="545" y="245"/>
                </a:lnTo>
                <a:lnTo>
                  <a:pt x="542" y="245"/>
                </a:lnTo>
                <a:lnTo>
                  <a:pt x="540" y="245"/>
                </a:lnTo>
                <a:lnTo>
                  <a:pt x="540" y="247"/>
                </a:lnTo>
                <a:lnTo>
                  <a:pt x="538" y="247"/>
                </a:lnTo>
                <a:lnTo>
                  <a:pt x="535" y="249"/>
                </a:lnTo>
                <a:lnTo>
                  <a:pt x="535" y="247"/>
                </a:lnTo>
                <a:lnTo>
                  <a:pt x="535" y="245"/>
                </a:lnTo>
                <a:lnTo>
                  <a:pt x="535" y="242"/>
                </a:lnTo>
                <a:lnTo>
                  <a:pt x="538" y="240"/>
                </a:lnTo>
                <a:lnTo>
                  <a:pt x="538" y="238"/>
                </a:lnTo>
                <a:lnTo>
                  <a:pt x="540" y="238"/>
                </a:lnTo>
                <a:lnTo>
                  <a:pt x="542" y="238"/>
                </a:lnTo>
                <a:lnTo>
                  <a:pt x="545" y="235"/>
                </a:lnTo>
                <a:lnTo>
                  <a:pt x="547" y="233"/>
                </a:lnTo>
                <a:lnTo>
                  <a:pt x="549" y="233"/>
                </a:lnTo>
                <a:lnTo>
                  <a:pt x="554" y="231"/>
                </a:lnTo>
                <a:lnTo>
                  <a:pt x="552" y="233"/>
                </a:lnTo>
                <a:lnTo>
                  <a:pt x="552" y="235"/>
                </a:lnTo>
                <a:lnTo>
                  <a:pt x="554" y="231"/>
                </a:lnTo>
                <a:lnTo>
                  <a:pt x="556" y="233"/>
                </a:lnTo>
                <a:close/>
                <a:moveTo>
                  <a:pt x="768" y="249"/>
                </a:moveTo>
                <a:lnTo>
                  <a:pt x="770" y="249"/>
                </a:lnTo>
                <a:lnTo>
                  <a:pt x="773" y="249"/>
                </a:lnTo>
                <a:lnTo>
                  <a:pt x="773" y="252"/>
                </a:lnTo>
                <a:lnTo>
                  <a:pt x="773" y="254"/>
                </a:lnTo>
                <a:lnTo>
                  <a:pt x="773" y="256"/>
                </a:lnTo>
                <a:lnTo>
                  <a:pt x="773" y="259"/>
                </a:lnTo>
                <a:lnTo>
                  <a:pt x="770" y="259"/>
                </a:lnTo>
                <a:lnTo>
                  <a:pt x="768" y="259"/>
                </a:lnTo>
                <a:lnTo>
                  <a:pt x="768" y="256"/>
                </a:lnTo>
                <a:lnTo>
                  <a:pt x="768" y="252"/>
                </a:lnTo>
                <a:lnTo>
                  <a:pt x="766" y="252"/>
                </a:lnTo>
                <a:lnTo>
                  <a:pt x="763" y="249"/>
                </a:lnTo>
                <a:lnTo>
                  <a:pt x="766" y="247"/>
                </a:lnTo>
                <a:lnTo>
                  <a:pt x="768" y="247"/>
                </a:lnTo>
                <a:lnTo>
                  <a:pt x="768" y="249"/>
                </a:lnTo>
                <a:close/>
                <a:moveTo>
                  <a:pt x="528" y="228"/>
                </a:moveTo>
                <a:lnTo>
                  <a:pt x="531" y="233"/>
                </a:lnTo>
                <a:lnTo>
                  <a:pt x="533" y="233"/>
                </a:lnTo>
                <a:lnTo>
                  <a:pt x="533" y="235"/>
                </a:lnTo>
                <a:lnTo>
                  <a:pt x="533" y="238"/>
                </a:lnTo>
                <a:lnTo>
                  <a:pt x="528" y="247"/>
                </a:lnTo>
                <a:lnTo>
                  <a:pt x="526" y="249"/>
                </a:lnTo>
                <a:lnTo>
                  <a:pt x="526" y="256"/>
                </a:lnTo>
                <a:lnTo>
                  <a:pt x="524" y="261"/>
                </a:lnTo>
                <a:lnTo>
                  <a:pt x="521" y="261"/>
                </a:lnTo>
                <a:lnTo>
                  <a:pt x="521" y="259"/>
                </a:lnTo>
                <a:lnTo>
                  <a:pt x="519" y="259"/>
                </a:lnTo>
                <a:lnTo>
                  <a:pt x="514" y="268"/>
                </a:lnTo>
                <a:lnTo>
                  <a:pt x="512" y="270"/>
                </a:lnTo>
                <a:lnTo>
                  <a:pt x="503" y="277"/>
                </a:lnTo>
                <a:lnTo>
                  <a:pt x="500" y="280"/>
                </a:lnTo>
                <a:lnTo>
                  <a:pt x="498" y="280"/>
                </a:lnTo>
                <a:lnTo>
                  <a:pt x="496" y="282"/>
                </a:lnTo>
                <a:lnTo>
                  <a:pt x="493" y="282"/>
                </a:lnTo>
                <a:lnTo>
                  <a:pt x="493" y="284"/>
                </a:lnTo>
                <a:lnTo>
                  <a:pt x="489" y="287"/>
                </a:lnTo>
                <a:lnTo>
                  <a:pt x="486" y="287"/>
                </a:lnTo>
                <a:lnTo>
                  <a:pt x="484" y="289"/>
                </a:lnTo>
                <a:lnTo>
                  <a:pt x="482" y="289"/>
                </a:lnTo>
                <a:lnTo>
                  <a:pt x="479" y="289"/>
                </a:lnTo>
                <a:lnTo>
                  <a:pt x="477" y="289"/>
                </a:lnTo>
                <a:lnTo>
                  <a:pt x="475" y="287"/>
                </a:lnTo>
                <a:lnTo>
                  <a:pt x="475" y="284"/>
                </a:lnTo>
                <a:lnTo>
                  <a:pt x="477" y="282"/>
                </a:lnTo>
                <a:lnTo>
                  <a:pt x="479" y="280"/>
                </a:lnTo>
                <a:lnTo>
                  <a:pt x="479" y="277"/>
                </a:lnTo>
                <a:lnTo>
                  <a:pt x="479" y="275"/>
                </a:lnTo>
                <a:lnTo>
                  <a:pt x="482" y="275"/>
                </a:lnTo>
                <a:lnTo>
                  <a:pt x="482" y="273"/>
                </a:lnTo>
                <a:lnTo>
                  <a:pt x="486" y="270"/>
                </a:lnTo>
                <a:lnTo>
                  <a:pt x="489" y="268"/>
                </a:lnTo>
                <a:lnTo>
                  <a:pt x="491" y="268"/>
                </a:lnTo>
                <a:lnTo>
                  <a:pt x="493" y="266"/>
                </a:lnTo>
                <a:lnTo>
                  <a:pt x="496" y="263"/>
                </a:lnTo>
                <a:lnTo>
                  <a:pt x="496" y="261"/>
                </a:lnTo>
                <a:lnTo>
                  <a:pt x="496" y="259"/>
                </a:lnTo>
                <a:lnTo>
                  <a:pt x="496" y="249"/>
                </a:lnTo>
                <a:lnTo>
                  <a:pt x="496" y="247"/>
                </a:lnTo>
                <a:lnTo>
                  <a:pt x="500" y="245"/>
                </a:lnTo>
                <a:lnTo>
                  <a:pt x="503" y="238"/>
                </a:lnTo>
                <a:lnTo>
                  <a:pt x="505" y="235"/>
                </a:lnTo>
                <a:lnTo>
                  <a:pt x="507" y="233"/>
                </a:lnTo>
                <a:lnTo>
                  <a:pt x="510" y="231"/>
                </a:lnTo>
                <a:lnTo>
                  <a:pt x="512" y="231"/>
                </a:lnTo>
                <a:lnTo>
                  <a:pt x="514" y="228"/>
                </a:lnTo>
                <a:lnTo>
                  <a:pt x="519" y="228"/>
                </a:lnTo>
                <a:lnTo>
                  <a:pt x="521" y="228"/>
                </a:lnTo>
                <a:lnTo>
                  <a:pt x="519" y="228"/>
                </a:lnTo>
                <a:lnTo>
                  <a:pt x="519" y="231"/>
                </a:lnTo>
                <a:lnTo>
                  <a:pt x="519" y="233"/>
                </a:lnTo>
                <a:lnTo>
                  <a:pt x="517" y="235"/>
                </a:lnTo>
                <a:lnTo>
                  <a:pt x="519" y="235"/>
                </a:lnTo>
                <a:lnTo>
                  <a:pt x="519" y="233"/>
                </a:lnTo>
                <a:lnTo>
                  <a:pt x="519" y="231"/>
                </a:lnTo>
                <a:lnTo>
                  <a:pt x="521" y="231"/>
                </a:lnTo>
                <a:lnTo>
                  <a:pt x="524" y="231"/>
                </a:lnTo>
                <a:lnTo>
                  <a:pt x="521" y="228"/>
                </a:lnTo>
                <a:lnTo>
                  <a:pt x="521" y="226"/>
                </a:lnTo>
                <a:lnTo>
                  <a:pt x="524" y="226"/>
                </a:lnTo>
                <a:lnTo>
                  <a:pt x="526" y="228"/>
                </a:lnTo>
                <a:lnTo>
                  <a:pt x="528" y="228"/>
                </a:lnTo>
                <a:close/>
                <a:moveTo>
                  <a:pt x="519" y="221"/>
                </a:moveTo>
                <a:lnTo>
                  <a:pt x="517" y="224"/>
                </a:lnTo>
                <a:lnTo>
                  <a:pt x="517" y="221"/>
                </a:lnTo>
                <a:lnTo>
                  <a:pt x="517" y="219"/>
                </a:lnTo>
                <a:lnTo>
                  <a:pt x="519" y="219"/>
                </a:lnTo>
                <a:lnTo>
                  <a:pt x="521" y="217"/>
                </a:lnTo>
                <a:lnTo>
                  <a:pt x="528" y="207"/>
                </a:lnTo>
                <a:lnTo>
                  <a:pt x="528" y="205"/>
                </a:lnTo>
                <a:lnTo>
                  <a:pt x="531" y="203"/>
                </a:lnTo>
                <a:lnTo>
                  <a:pt x="533" y="203"/>
                </a:lnTo>
                <a:lnTo>
                  <a:pt x="535" y="203"/>
                </a:lnTo>
                <a:lnTo>
                  <a:pt x="535" y="200"/>
                </a:lnTo>
                <a:lnTo>
                  <a:pt x="538" y="203"/>
                </a:lnTo>
                <a:lnTo>
                  <a:pt x="535" y="203"/>
                </a:lnTo>
                <a:lnTo>
                  <a:pt x="535" y="205"/>
                </a:lnTo>
                <a:lnTo>
                  <a:pt x="535" y="207"/>
                </a:lnTo>
                <a:lnTo>
                  <a:pt x="535" y="210"/>
                </a:lnTo>
                <a:lnTo>
                  <a:pt x="533" y="212"/>
                </a:lnTo>
                <a:lnTo>
                  <a:pt x="531" y="214"/>
                </a:lnTo>
                <a:lnTo>
                  <a:pt x="526" y="219"/>
                </a:lnTo>
                <a:lnTo>
                  <a:pt x="521" y="221"/>
                </a:lnTo>
                <a:lnTo>
                  <a:pt x="519" y="221"/>
                </a:lnTo>
                <a:close/>
                <a:moveTo>
                  <a:pt x="607" y="205"/>
                </a:moveTo>
                <a:lnTo>
                  <a:pt x="612" y="207"/>
                </a:lnTo>
                <a:lnTo>
                  <a:pt x="614" y="207"/>
                </a:lnTo>
                <a:lnTo>
                  <a:pt x="628" y="212"/>
                </a:lnTo>
                <a:lnTo>
                  <a:pt x="638" y="214"/>
                </a:lnTo>
                <a:lnTo>
                  <a:pt x="647" y="217"/>
                </a:lnTo>
                <a:lnTo>
                  <a:pt x="649" y="214"/>
                </a:lnTo>
                <a:lnTo>
                  <a:pt x="652" y="214"/>
                </a:lnTo>
                <a:lnTo>
                  <a:pt x="654" y="217"/>
                </a:lnTo>
                <a:lnTo>
                  <a:pt x="656" y="217"/>
                </a:lnTo>
                <a:lnTo>
                  <a:pt x="654" y="217"/>
                </a:lnTo>
                <a:lnTo>
                  <a:pt x="654" y="214"/>
                </a:lnTo>
                <a:lnTo>
                  <a:pt x="656" y="212"/>
                </a:lnTo>
                <a:lnTo>
                  <a:pt x="661" y="212"/>
                </a:lnTo>
                <a:lnTo>
                  <a:pt x="663" y="212"/>
                </a:lnTo>
                <a:lnTo>
                  <a:pt x="666" y="212"/>
                </a:lnTo>
                <a:lnTo>
                  <a:pt x="668" y="210"/>
                </a:lnTo>
                <a:lnTo>
                  <a:pt x="670" y="212"/>
                </a:lnTo>
                <a:lnTo>
                  <a:pt x="673" y="212"/>
                </a:lnTo>
                <a:lnTo>
                  <a:pt x="675" y="212"/>
                </a:lnTo>
                <a:lnTo>
                  <a:pt x="680" y="212"/>
                </a:lnTo>
                <a:lnTo>
                  <a:pt x="682" y="212"/>
                </a:lnTo>
                <a:lnTo>
                  <a:pt x="682" y="214"/>
                </a:lnTo>
                <a:lnTo>
                  <a:pt x="684" y="214"/>
                </a:lnTo>
                <a:lnTo>
                  <a:pt x="687" y="214"/>
                </a:lnTo>
                <a:lnTo>
                  <a:pt x="689" y="214"/>
                </a:lnTo>
                <a:lnTo>
                  <a:pt x="691" y="214"/>
                </a:lnTo>
                <a:lnTo>
                  <a:pt x="691" y="217"/>
                </a:lnTo>
                <a:lnTo>
                  <a:pt x="689" y="217"/>
                </a:lnTo>
                <a:lnTo>
                  <a:pt x="691" y="217"/>
                </a:lnTo>
                <a:lnTo>
                  <a:pt x="694" y="217"/>
                </a:lnTo>
                <a:lnTo>
                  <a:pt x="703" y="219"/>
                </a:lnTo>
                <a:lnTo>
                  <a:pt x="705" y="219"/>
                </a:lnTo>
                <a:lnTo>
                  <a:pt x="708" y="219"/>
                </a:lnTo>
                <a:lnTo>
                  <a:pt x="710" y="219"/>
                </a:lnTo>
                <a:lnTo>
                  <a:pt x="712" y="221"/>
                </a:lnTo>
                <a:lnTo>
                  <a:pt x="722" y="224"/>
                </a:lnTo>
                <a:lnTo>
                  <a:pt x="724" y="224"/>
                </a:lnTo>
                <a:lnTo>
                  <a:pt x="724" y="226"/>
                </a:lnTo>
                <a:lnTo>
                  <a:pt x="724" y="228"/>
                </a:lnTo>
                <a:lnTo>
                  <a:pt x="724" y="231"/>
                </a:lnTo>
                <a:lnTo>
                  <a:pt x="724" y="233"/>
                </a:lnTo>
                <a:lnTo>
                  <a:pt x="722" y="233"/>
                </a:lnTo>
                <a:lnTo>
                  <a:pt x="719" y="235"/>
                </a:lnTo>
                <a:lnTo>
                  <a:pt x="717" y="238"/>
                </a:lnTo>
                <a:lnTo>
                  <a:pt x="717" y="240"/>
                </a:lnTo>
                <a:lnTo>
                  <a:pt x="717" y="245"/>
                </a:lnTo>
                <a:lnTo>
                  <a:pt x="715" y="247"/>
                </a:lnTo>
                <a:lnTo>
                  <a:pt x="715" y="249"/>
                </a:lnTo>
                <a:lnTo>
                  <a:pt x="715" y="252"/>
                </a:lnTo>
                <a:lnTo>
                  <a:pt x="715" y="254"/>
                </a:lnTo>
                <a:lnTo>
                  <a:pt x="715" y="256"/>
                </a:lnTo>
                <a:lnTo>
                  <a:pt x="712" y="254"/>
                </a:lnTo>
                <a:lnTo>
                  <a:pt x="710" y="254"/>
                </a:lnTo>
                <a:lnTo>
                  <a:pt x="708" y="252"/>
                </a:lnTo>
                <a:lnTo>
                  <a:pt x="710" y="254"/>
                </a:lnTo>
                <a:lnTo>
                  <a:pt x="710" y="256"/>
                </a:lnTo>
                <a:lnTo>
                  <a:pt x="712" y="256"/>
                </a:lnTo>
                <a:lnTo>
                  <a:pt x="710" y="259"/>
                </a:lnTo>
                <a:lnTo>
                  <a:pt x="712" y="261"/>
                </a:lnTo>
                <a:lnTo>
                  <a:pt x="712" y="263"/>
                </a:lnTo>
                <a:lnTo>
                  <a:pt x="710" y="263"/>
                </a:lnTo>
                <a:lnTo>
                  <a:pt x="710" y="266"/>
                </a:lnTo>
                <a:lnTo>
                  <a:pt x="708" y="266"/>
                </a:lnTo>
                <a:lnTo>
                  <a:pt x="705" y="268"/>
                </a:lnTo>
                <a:lnTo>
                  <a:pt x="703" y="268"/>
                </a:lnTo>
                <a:lnTo>
                  <a:pt x="703" y="270"/>
                </a:lnTo>
                <a:lnTo>
                  <a:pt x="701" y="273"/>
                </a:lnTo>
                <a:lnTo>
                  <a:pt x="703" y="273"/>
                </a:lnTo>
                <a:lnTo>
                  <a:pt x="703" y="275"/>
                </a:lnTo>
                <a:lnTo>
                  <a:pt x="701" y="275"/>
                </a:lnTo>
                <a:lnTo>
                  <a:pt x="703" y="275"/>
                </a:lnTo>
                <a:lnTo>
                  <a:pt x="703" y="277"/>
                </a:lnTo>
                <a:lnTo>
                  <a:pt x="701" y="277"/>
                </a:lnTo>
                <a:lnTo>
                  <a:pt x="701" y="280"/>
                </a:lnTo>
                <a:lnTo>
                  <a:pt x="696" y="280"/>
                </a:lnTo>
                <a:lnTo>
                  <a:pt x="696" y="282"/>
                </a:lnTo>
                <a:lnTo>
                  <a:pt x="694" y="282"/>
                </a:lnTo>
                <a:lnTo>
                  <a:pt x="691" y="284"/>
                </a:lnTo>
                <a:lnTo>
                  <a:pt x="689" y="284"/>
                </a:lnTo>
                <a:lnTo>
                  <a:pt x="687" y="284"/>
                </a:lnTo>
                <a:lnTo>
                  <a:pt x="684" y="282"/>
                </a:lnTo>
                <a:lnTo>
                  <a:pt x="682" y="280"/>
                </a:lnTo>
                <a:lnTo>
                  <a:pt x="682" y="282"/>
                </a:lnTo>
                <a:lnTo>
                  <a:pt x="684" y="282"/>
                </a:lnTo>
                <a:lnTo>
                  <a:pt x="684" y="284"/>
                </a:lnTo>
                <a:lnTo>
                  <a:pt x="687" y="284"/>
                </a:lnTo>
                <a:lnTo>
                  <a:pt x="687" y="287"/>
                </a:lnTo>
                <a:lnTo>
                  <a:pt x="687" y="289"/>
                </a:lnTo>
                <a:lnTo>
                  <a:pt x="689" y="289"/>
                </a:lnTo>
                <a:lnTo>
                  <a:pt x="691" y="289"/>
                </a:lnTo>
                <a:lnTo>
                  <a:pt x="689" y="294"/>
                </a:lnTo>
                <a:lnTo>
                  <a:pt x="687" y="298"/>
                </a:lnTo>
                <a:lnTo>
                  <a:pt x="684" y="298"/>
                </a:lnTo>
                <a:lnTo>
                  <a:pt x="680" y="291"/>
                </a:lnTo>
                <a:lnTo>
                  <a:pt x="680" y="289"/>
                </a:lnTo>
                <a:lnTo>
                  <a:pt x="677" y="289"/>
                </a:lnTo>
                <a:lnTo>
                  <a:pt x="680" y="291"/>
                </a:lnTo>
                <a:lnTo>
                  <a:pt x="677" y="294"/>
                </a:lnTo>
                <a:lnTo>
                  <a:pt x="677" y="296"/>
                </a:lnTo>
                <a:lnTo>
                  <a:pt x="680" y="294"/>
                </a:lnTo>
                <a:lnTo>
                  <a:pt x="680" y="296"/>
                </a:lnTo>
                <a:lnTo>
                  <a:pt x="682" y="296"/>
                </a:lnTo>
                <a:lnTo>
                  <a:pt x="682" y="298"/>
                </a:lnTo>
                <a:lnTo>
                  <a:pt x="684" y="298"/>
                </a:lnTo>
                <a:lnTo>
                  <a:pt x="687" y="301"/>
                </a:lnTo>
                <a:lnTo>
                  <a:pt x="684" y="301"/>
                </a:lnTo>
                <a:lnTo>
                  <a:pt x="682" y="303"/>
                </a:lnTo>
                <a:lnTo>
                  <a:pt x="682" y="305"/>
                </a:lnTo>
                <a:lnTo>
                  <a:pt x="680" y="303"/>
                </a:lnTo>
                <a:lnTo>
                  <a:pt x="680" y="305"/>
                </a:lnTo>
                <a:lnTo>
                  <a:pt x="677" y="305"/>
                </a:lnTo>
                <a:lnTo>
                  <a:pt x="673" y="305"/>
                </a:lnTo>
                <a:lnTo>
                  <a:pt x="670" y="305"/>
                </a:lnTo>
                <a:lnTo>
                  <a:pt x="668" y="305"/>
                </a:lnTo>
                <a:lnTo>
                  <a:pt x="668" y="303"/>
                </a:lnTo>
                <a:lnTo>
                  <a:pt x="668" y="301"/>
                </a:lnTo>
                <a:lnTo>
                  <a:pt x="666" y="296"/>
                </a:lnTo>
                <a:lnTo>
                  <a:pt x="663" y="296"/>
                </a:lnTo>
                <a:lnTo>
                  <a:pt x="661" y="296"/>
                </a:lnTo>
                <a:lnTo>
                  <a:pt x="663" y="296"/>
                </a:lnTo>
                <a:lnTo>
                  <a:pt x="663" y="298"/>
                </a:lnTo>
                <a:lnTo>
                  <a:pt x="663" y="301"/>
                </a:lnTo>
                <a:lnTo>
                  <a:pt x="661" y="305"/>
                </a:lnTo>
                <a:lnTo>
                  <a:pt x="663" y="308"/>
                </a:lnTo>
                <a:lnTo>
                  <a:pt x="661" y="308"/>
                </a:lnTo>
                <a:lnTo>
                  <a:pt x="659" y="308"/>
                </a:lnTo>
                <a:lnTo>
                  <a:pt x="661" y="308"/>
                </a:lnTo>
                <a:lnTo>
                  <a:pt x="661" y="310"/>
                </a:lnTo>
                <a:lnTo>
                  <a:pt x="663" y="310"/>
                </a:lnTo>
                <a:lnTo>
                  <a:pt x="661" y="310"/>
                </a:lnTo>
                <a:lnTo>
                  <a:pt x="659" y="310"/>
                </a:lnTo>
                <a:lnTo>
                  <a:pt x="656" y="310"/>
                </a:lnTo>
                <a:lnTo>
                  <a:pt x="654" y="310"/>
                </a:lnTo>
                <a:lnTo>
                  <a:pt x="652" y="308"/>
                </a:lnTo>
                <a:lnTo>
                  <a:pt x="649" y="305"/>
                </a:lnTo>
                <a:lnTo>
                  <a:pt x="649" y="303"/>
                </a:lnTo>
                <a:lnTo>
                  <a:pt x="649" y="301"/>
                </a:lnTo>
                <a:lnTo>
                  <a:pt x="647" y="303"/>
                </a:lnTo>
                <a:lnTo>
                  <a:pt x="647" y="305"/>
                </a:lnTo>
                <a:lnTo>
                  <a:pt x="649" y="308"/>
                </a:lnTo>
                <a:lnTo>
                  <a:pt x="652" y="310"/>
                </a:lnTo>
                <a:lnTo>
                  <a:pt x="649" y="312"/>
                </a:lnTo>
                <a:lnTo>
                  <a:pt x="647" y="310"/>
                </a:lnTo>
                <a:lnTo>
                  <a:pt x="645" y="310"/>
                </a:lnTo>
                <a:lnTo>
                  <a:pt x="642" y="310"/>
                </a:lnTo>
                <a:lnTo>
                  <a:pt x="642" y="308"/>
                </a:lnTo>
                <a:lnTo>
                  <a:pt x="642" y="305"/>
                </a:lnTo>
                <a:lnTo>
                  <a:pt x="642" y="301"/>
                </a:lnTo>
                <a:lnTo>
                  <a:pt x="640" y="301"/>
                </a:lnTo>
                <a:lnTo>
                  <a:pt x="640" y="303"/>
                </a:lnTo>
                <a:lnTo>
                  <a:pt x="640" y="308"/>
                </a:lnTo>
                <a:lnTo>
                  <a:pt x="640" y="310"/>
                </a:lnTo>
                <a:lnTo>
                  <a:pt x="638" y="310"/>
                </a:lnTo>
                <a:lnTo>
                  <a:pt x="638" y="312"/>
                </a:lnTo>
                <a:lnTo>
                  <a:pt x="635" y="312"/>
                </a:lnTo>
                <a:lnTo>
                  <a:pt x="638" y="315"/>
                </a:lnTo>
                <a:lnTo>
                  <a:pt x="638" y="317"/>
                </a:lnTo>
                <a:lnTo>
                  <a:pt x="635" y="317"/>
                </a:lnTo>
                <a:lnTo>
                  <a:pt x="633" y="315"/>
                </a:lnTo>
                <a:lnTo>
                  <a:pt x="631" y="317"/>
                </a:lnTo>
                <a:lnTo>
                  <a:pt x="628" y="319"/>
                </a:lnTo>
                <a:lnTo>
                  <a:pt x="626" y="317"/>
                </a:lnTo>
                <a:lnTo>
                  <a:pt x="626" y="315"/>
                </a:lnTo>
                <a:lnTo>
                  <a:pt x="626" y="312"/>
                </a:lnTo>
                <a:lnTo>
                  <a:pt x="624" y="310"/>
                </a:lnTo>
                <a:lnTo>
                  <a:pt x="624" y="308"/>
                </a:lnTo>
                <a:lnTo>
                  <a:pt x="624" y="305"/>
                </a:lnTo>
                <a:lnTo>
                  <a:pt x="624" y="308"/>
                </a:lnTo>
                <a:lnTo>
                  <a:pt x="624" y="310"/>
                </a:lnTo>
                <a:lnTo>
                  <a:pt x="624" y="312"/>
                </a:lnTo>
                <a:lnTo>
                  <a:pt x="624" y="315"/>
                </a:lnTo>
                <a:lnTo>
                  <a:pt x="624" y="317"/>
                </a:lnTo>
                <a:lnTo>
                  <a:pt x="624" y="319"/>
                </a:lnTo>
                <a:lnTo>
                  <a:pt x="621" y="321"/>
                </a:lnTo>
                <a:lnTo>
                  <a:pt x="619" y="321"/>
                </a:lnTo>
                <a:lnTo>
                  <a:pt x="617" y="321"/>
                </a:lnTo>
                <a:lnTo>
                  <a:pt x="617" y="319"/>
                </a:lnTo>
                <a:lnTo>
                  <a:pt x="614" y="319"/>
                </a:lnTo>
                <a:lnTo>
                  <a:pt x="612" y="317"/>
                </a:lnTo>
                <a:lnTo>
                  <a:pt x="610" y="317"/>
                </a:lnTo>
                <a:lnTo>
                  <a:pt x="607" y="315"/>
                </a:lnTo>
                <a:lnTo>
                  <a:pt x="605" y="315"/>
                </a:lnTo>
                <a:lnTo>
                  <a:pt x="605" y="312"/>
                </a:lnTo>
                <a:lnTo>
                  <a:pt x="605" y="310"/>
                </a:lnTo>
                <a:lnTo>
                  <a:pt x="603" y="310"/>
                </a:lnTo>
                <a:lnTo>
                  <a:pt x="603" y="312"/>
                </a:lnTo>
                <a:lnTo>
                  <a:pt x="601" y="315"/>
                </a:lnTo>
                <a:lnTo>
                  <a:pt x="596" y="317"/>
                </a:lnTo>
                <a:lnTo>
                  <a:pt x="594" y="315"/>
                </a:lnTo>
                <a:lnTo>
                  <a:pt x="591" y="315"/>
                </a:lnTo>
                <a:lnTo>
                  <a:pt x="591" y="312"/>
                </a:lnTo>
                <a:lnTo>
                  <a:pt x="591" y="308"/>
                </a:lnTo>
                <a:lnTo>
                  <a:pt x="591" y="305"/>
                </a:lnTo>
                <a:lnTo>
                  <a:pt x="589" y="305"/>
                </a:lnTo>
                <a:lnTo>
                  <a:pt x="589" y="303"/>
                </a:lnTo>
                <a:lnTo>
                  <a:pt x="591" y="303"/>
                </a:lnTo>
                <a:lnTo>
                  <a:pt x="591" y="301"/>
                </a:lnTo>
                <a:lnTo>
                  <a:pt x="589" y="298"/>
                </a:lnTo>
                <a:lnTo>
                  <a:pt x="591" y="296"/>
                </a:lnTo>
                <a:lnTo>
                  <a:pt x="589" y="298"/>
                </a:lnTo>
                <a:lnTo>
                  <a:pt x="589" y="301"/>
                </a:lnTo>
                <a:lnTo>
                  <a:pt x="589" y="303"/>
                </a:lnTo>
                <a:lnTo>
                  <a:pt x="587" y="303"/>
                </a:lnTo>
                <a:lnTo>
                  <a:pt x="589" y="305"/>
                </a:lnTo>
                <a:lnTo>
                  <a:pt x="591" y="308"/>
                </a:lnTo>
                <a:lnTo>
                  <a:pt x="589" y="308"/>
                </a:lnTo>
                <a:lnTo>
                  <a:pt x="589" y="310"/>
                </a:lnTo>
                <a:lnTo>
                  <a:pt x="589" y="312"/>
                </a:lnTo>
                <a:lnTo>
                  <a:pt x="589" y="315"/>
                </a:lnTo>
                <a:lnTo>
                  <a:pt x="589" y="312"/>
                </a:lnTo>
                <a:lnTo>
                  <a:pt x="587" y="308"/>
                </a:lnTo>
                <a:lnTo>
                  <a:pt x="587" y="312"/>
                </a:lnTo>
                <a:lnTo>
                  <a:pt x="587" y="315"/>
                </a:lnTo>
                <a:lnTo>
                  <a:pt x="587" y="317"/>
                </a:lnTo>
                <a:lnTo>
                  <a:pt x="584" y="317"/>
                </a:lnTo>
                <a:lnTo>
                  <a:pt x="582" y="317"/>
                </a:lnTo>
                <a:lnTo>
                  <a:pt x="582" y="315"/>
                </a:lnTo>
                <a:lnTo>
                  <a:pt x="582" y="317"/>
                </a:lnTo>
                <a:lnTo>
                  <a:pt x="584" y="317"/>
                </a:lnTo>
                <a:lnTo>
                  <a:pt x="587" y="317"/>
                </a:lnTo>
                <a:lnTo>
                  <a:pt x="584" y="319"/>
                </a:lnTo>
                <a:lnTo>
                  <a:pt x="582" y="319"/>
                </a:lnTo>
                <a:lnTo>
                  <a:pt x="580" y="319"/>
                </a:lnTo>
                <a:lnTo>
                  <a:pt x="568" y="317"/>
                </a:lnTo>
                <a:lnTo>
                  <a:pt x="566" y="315"/>
                </a:lnTo>
                <a:lnTo>
                  <a:pt x="566" y="312"/>
                </a:lnTo>
                <a:lnTo>
                  <a:pt x="568" y="312"/>
                </a:lnTo>
                <a:lnTo>
                  <a:pt x="568" y="308"/>
                </a:lnTo>
                <a:lnTo>
                  <a:pt x="556" y="298"/>
                </a:lnTo>
                <a:lnTo>
                  <a:pt x="556" y="296"/>
                </a:lnTo>
                <a:lnTo>
                  <a:pt x="556" y="294"/>
                </a:lnTo>
                <a:lnTo>
                  <a:pt x="554" y="291"/>
                </a:lnTo>
                <a:lnTo>
                  <a:pt x="554" y="289"/>
                </a:lnTo>
                <a:lnTo>
                  <a:pt x="554" y="287"/>
                </a:lnTo>
                <a:lnTo>
                  <a:pt x="554" y="284"/>
                </a:lnTo>
                <a:lnTo>
                  <a:pt x="554" y="282"/>
                </a:lnTo>
                <a:lnTo>
                  <a:pt x="556" y="275"/>
                </a:lnTo>
                <a:lnTo>
                  <a:pt x="556" y="273"/>
                </a:lnTo>
                <a:lnTo>
                  <a:pt x="554" y="270"/>
                </a:lnTo>
                <a:lnTo>
                  <a:pt x="554" y="268"/>
                </a:lnTo>
                <a:lnTo>
                  <a:pt x="556" y="268"/>
                </a:lnTo>
                <a:lnTo>
                  <a:pt x="559" y="270"/>
                </a:lnTo>
                <a:lnTo>
                  <a:pt x="563" y="270"/>
                </a:lnTo>
                <a:lnTo>
                  <a:pt x="566" y="273"/>
                </a:lnTo>
                <a:lnTo>
                  <a:pt x="568" y="273"/>
                </a:lnTo>
                <a:lnTo>
                  <a:pt x="570" y="275"/>
                </a:lnTo>
                <a:lnTo>
                  <a:pt x="570" y="273"/>
                </a:lnTo>
                <a:lnTo>
                  <a:pt x="568" y="270"/>
                </a:lnTo>
                <a:lnTo>
                  <a:pt x="570" y="270"/>
                </a:lnTo>
                <a:lnTo>
                  <a:pt x="573" y="270"/>
                </a:lnTo>
                <a:lnTo>
                  <a:pt x="575" y="268"/>
                </a:lnTo>
                <a:lnTo>
                  <a:pt x="573" y="268"/>
                </a:lnTo>
                <a:lnTo>
                  <a:pt x="573" y="266"/>
                </a:lnTo>
                <a:lnTo>
                  <a:pt x="575" y="266"/>
                </a:lnTo>
                <a:lnTo>
                  <a:pt x="577" y="266"/>
                </a:lnTo>
                <a:lnTo>
                  <a:pt x="575" y="263"/>
                </a:lnTo>
                <a:lnTo>
                  <a:pt x="573" y="266"/>
                </a:lnTo>
                <a:lnTo>
                  <a:pt x="570" y="266"/>
                </a:lnTo>
                <a:lnTo>
                  <a:pt x="568" y="268"/>
                </a:lnTo>
                <a:lnTo>
                  <a:pt x="566" y="268"/>
                </a:lnTo>
                <a:lnTo>
                  <a:pt x="563" y="268"/>
                </a:lnTo>
                <a:lnTo>
                  <a:pt x="559" y="268"/>
                </a:lnTo>
                <a:lnTo>
                  <a:pt x="559" y="266"/>
                </a:lnTo>
                <a:lnTo>
                  <a:pt x="556" y="266"/>
                </a:lnTo>
                <a:lnTo>
                  <a:pt x="556" y="263"/>
                </a:lnTo>
                <a:lnTo>
                  <a:pt x="556" y="261"/>
                </a:lnTo>
                <a:lnTo>
                  <a:pt x="556" y="256"/>
                </a:lnTo>
                <a:lnTo>
                  <a:pt x="556" y="254"/>
                </a:lnTo>
                <a:lnTo>
                  <a:pt x="556" y="252"/>
                </a:lnTo>
                <a:lnTo>
                  <a:pt x="559" y="252"/>
                </a:lnTo>
                <a:lnTo>
                  <a:pt x="559" y="249"/>
                </a:lnTo>
                <a:lnTo>
                  <a:pt x="561" y="249"/>
                </a:lnTo>
                <a:lnTo>
                  <a:pt x="559" y="247"/>
                </a:lnTo>
                <a:lnTo>
                  <a:pt x="556" y="245"/>
                </a:lnTo>
                <a:lnTo>
                  <a:pt x="559" y="242"/>
                </a:lnTo>
                <a:lnTo>
                  <a:pt x="559" y="238"/>
                </a:lnTo>
                <a:lnTo>
                  <a:pt x="561" y="231"/>
                </a:lnTo>
                <a:lnTo>
                  <a:pt x="563" y="233"/>
                </a:lnTo>
                <a:lnTo>
                  <a:pt x="563" y="235"/>
                </a:lnTo>
                <a:lnTo>
                  <a:pt x="563" y="238"/>
                </a:lnTo>
                <a:lnTo>
                  <a:pt x="566" y="238"/>
                </a:lnTo>
                <a:lnTo>
                  <a:pt x="570" y="240"/>
                </a:lnTo>
                <a:lnTo>
                  <a:pt x="573" y="240"/>
                </a:lnTo>
                <a:lnTo>
                  <a:pt x="575" y="240"/>
                </a:lnTo>
                <a:lnTo>
                  <a:pt x="573" y="240"/>
                </a:lnTo>
                <a:lnTo>
                  <a:pt x="570" y="238"/>
                </a:lnTo>
                <a:lnTo>
                  <a:pt x="566" y="238"/>
                </a:lnTo>
                <a:lnTo>
                  <a:pt x="566" y="235"/>
                </a:lnTo>
                <a:lnTo>
                  <a:pt x="566" y="233"/>
                </a:lnTo>
                <a:lnTo>
                  <a:pt x="563" y="228"/>
                </a:lnTo>
                <a:lnTo>
                  <a:pt x="563" y="226"/>
                </a:lnTo>
                <a:lnTo>
                  <a:pt x="566" y="221"/>
                </a:lnTo>
                <a:lnTo>
                  <a:pt x="566" y="219"/>
                </a:lnTo>
                <a:lnTo>
                  <a:pt x="566" y="217"/>
                </a:lnTo>
                <a:lnTo>
                  <a:pt x="568" y="217"/>
                </a:lnTo>
                <a:lnTo>
                  <a:pt x="568" y="214"/>
                </a:lnTo>
                <a:lnTo>
                  <a:pt x="568" y="212"/>
                </a:lnTo>
                <a:lnTo>
                  <a:pt x="570" y="212"/>
                </a:lnTo>
                <a:lnTo>
                  <a:pt x="573" y="210"/>
                </a:lnTo>
                <a:lnTo>
                  <a:pt x="575" y="207"/>
                </a:lnTo>
                <a:lnTo>
                  <a:pt x="577" y="207"/>
                </a:lnTo>
                <a:lnTo>
                  <a:pt x="580" y="207"/>
                </a:lnTo>
                <a:lnTo>
                  <a:pt x="580" y="205"/>
                </a:lnTo>
                <a:lnTo>
                  <a:pt x="582" y="205"/>
                </a:lnTo>
                <a:lnTo>
                  <a:pt x="584" y="205"/>
                </a:lnTo>
                <a:lnTo>
                  <a:pt x="584" y="207"/>
                </a:lnTo>
                <a:lnTo>
                  <a:pt x="587" y="207"/>
                </a:lnTo>
                <a:lnTo>
                  <a:pt x="587" y="205"/>
                </a:lnTo>
                <a:lnTo>
                  <a:pt x="589" y="205"/>
                </a:lnTo>
                <a:lnTo>
                  <a:pt x="589" y="203"/>
                </a:lnTo>
                <a:lnTo>
                  <a:pt x="591" y="203"/>
                </a:lnTo>
                <a:lnTo>
                  <a:pt x="596" y="203"/>
                </a:lnTo>
                <a:lnTo>
                  <a:pt x="607" y="205"/>
                </a:lnTo>
                <a:close/>
                <a:moveTo>
                  <a:pt x="552" y="214"/>
                </a:moveTo>
                <a:lnTo>
                  <a:pt x="549" y="214"/>
                </a:lnTo>
                <a:lnTo>
                  <a:pt x="547" y="214"/>
                </a:lnTo>
                <a:lnTo>
                  <a:pt x="547" y="212"/>
                </a:lnTo>
                <a:lnTo>
                  <a:pt x="545" y="212"/>
                </a:lnTo>
                <a:lnTo>
                  <a:pt x="542" y="207"/>
                </a:lnTo>
                <a:lnTo>
                  <a:pt x="542" y="205"/>
                </a:lnTo>
                <a:lnTo>
                  <a:pt x="545" y="205"/>
                </a:lnTo>
                <a:lnTo>
                  <a:pt x="542" y="203"/>
                </a:lnTo>
                <a:lnTo>
                  <a:pt x="547" y="198"/>
                </a:lnTo>
                <a:lnTo>
                  <a:pt x="547" y="196"/>
                </a:lnTo>
                <a:lnTo>
                  <a:pt x="549" y="193"/>
                </a:lnTo>
                <a:lnTo>
                  <a:pt x="552" y="193"/>
                </a:lnTo>
                <a:lnTo>
                  <a:pt x="554" y="193"/>
                </a:lnTo>
                <a:lnTo>
                  <a:pt x="559" y="191"/>
                </a:lnTo>
                <a:lnTo>
                  <a:pt x="563" y="191"/>
                </a:lnTo>
                <a:lnTo>
                  <a:pt x="566" y="193"/>
                </a:lnTo>
                <a:lnTo>
                  <a:pt x="568" y="196"/>
                </a:lnTo>
                <a:lnTo>
                  <a:pt x="570" y="196"/>
                </a:lnTo>
                <a:lnTo>
                  <a:pt x="570" y="198"/>
                </a:lnTo>
                <a:lnTo>
                  <a:pt x="570" y="200"/>
                </a:lnTo>
                <a:lnTo>
                  <a:pt x="570" y="203"/>
                </a:lnTo>
                <a:lnTo>
                  <a:pt x="568" y="205"/>
                </a:lnTo>
                <a:lnTo>
                  <a:pt x="566" y="205"/>
                </a:lnTo>
                <a:lnTo>
                  <a:pt x="561" y="207"/>
                </a:lnTo>
                <a:lnTo>
                  <a:pt x="556" y="212"/>
                </a:lnTo>
                <a:lnTo>
                  <a:pt x="554" y="212"/>
                </a:lnTo>
                <a:lnTo>
                  <a:pt x="552" y="214"/>
                </a:lnTo>
                <a:close/>
                <a:moveTo>
                  <a:pt x="649" y="196"/>
                </a:moveTo>
                <a:lnTo>
                  <a:pt x="652" y="196"/>
                </a:lnTo>
                <a:lnTo>
                  <a:pt x="654" y="196"/>
                </a:lnTo>
                <a:lnTo>
                  <a:pt x="656" y="196"/>
                </a:lnTo>
                <a:lnTo>
                  <a:pt x="656" y="198"/>
                </a:lnTo>
                <a:lnTo>
                  <a:pt x="659" y="198"/>
                </a:lnTo>
                <a:lnTo>
                  <a:pt x="659" y="200"/>
                </a:lnTo>
                <a:lnTo>
                  <a:pt x="659" y="203"/>
                </a:lnTo>
                <a:lnTo>
                  <a:pt x="659" y="205"/>
                </a:lnTo>
                <a:lnTo>
                  <a:pt x="656" y="205"/>
                </a:lnTo>
                <a:lnTo>
                  <a:pt x="656" y="203"/>
                </a:lnTo>
                <a:lnTo>
                  <a:pt x="656" y="205"/>
                </a:lnTo>
                <a:lnTo>
                  <a:pt x="654" y="207"/>
                </a:lnTo>
                <a:lnTo>
                  <a:pt x="652" y="207"/>
                </a:lnTo>
                <a:lnTo>
                  <a:pt x="652" y="210"/>
                </a:lnTo>
                <a:lnTo>
                  <a:pt x="649" y="210"/>
                </a:lnTo>
                <a:lnTo>
                  <a:pt x="635" y="207"/>
                </a:lnTo>
                <a:lnTo>
                  <a:pt x="633" y="210"/>
                </a:lnTo>
                <a:lnTo>
                  <a:pt x="626" y="205"/>
                </a:lnTo>
                <a:lnTo>
                  <a:pt x="626" y="203"/>
                </a:lnTo>
                <a:lnTo>
                  <a:pt x="628" y="200"/>
                </a:lnTo>
                <a:lnTo>
                  <a:pt x="633" y="198"/>
                </a:lnTo>
                <a:lnTo>
                  <a:pt x="638" y="196"/>
                </a:lnTo>
                <a:lnTo>
                  <a:pt x="640" y="196"/>
                </a:lnTo>
                <a:lnTo>
                  <a:pt x="647" y="193"/>
                </a:lnTo>
                <a:lnTo>
                  <a:pt x="649" y="193"/>
                </a:lnTo>
                <a:lnTo>
                  <a:pt x="649" y="196"/>
                </a:lnTo>
                <a:close/>
                <a:moveTo>
                  <a:pt x="584" y="196"/>
                </a:moveTo>
                <a:lnTo>
                  <a:pt x="582" y="196"/>
                </a:lnTo>
                <a:lnTo>
                  <a:pt x="580" y="196"/>
                </a:lnTo>
                <a:lnTo>
                  <a:pt x="577" y="196"/>
                </a:lnTo>
                <a:lnTo>
                  <a:pt x="575" y="193"/>
                </a:lnTo>
                <a:lnTo>
                  <a:pt x="573" y="193"/>
                </a:lnTo>
                <a:lnTo>
                  <a:pt x="573" y="191"/>
                </a:lnTo>
                <a:lnTo>
                  <a:pt x="573" y="189"/>
                </a:lnTo>
                <a:lnTo>
                  <a:pt x="573" y="186"/>
                </a:lnTo>
                <a:lnTo>
                  <a:pt x="570" y="184"/>
                </a:lnTo>
                <a:lnTo>
                  <a:pt x="573" y="182"/>
                </a:lnTo>
                <a:lnTo>
                  <a:pt x="575" y="182"/>
                </a:lnTo>
                <a:lnTo>
                  <a:pt x="577" y="182"/>
                </a:lnTo>
                <a:lnTo>
                  <a:pt x="577" y="184"/>
                </a:lnTo>
                <a:lnTo>
                  <a:pt x="580" y="184"/>
                </a:lnTo>
                <a:lnTo>
                  <a:pt x="582" y="184"/>
                </a:lnTo>
                <a:lnTo>
                  <a:pt x="584" y="184"/>
                </a:lnTo>
                <a:lnTo>
                  <a:pt x="584" y="186"/>
                </a:lnTo>
                <a:lnTo>
                  <a:pt x="584" y="189"/>
                </a:lnTo>
                <a:lnTo>
                  <a:pt x="584" y="191"/>
                </a:lnTo>
                <a:lnTo>
                  <a:pt x="584" y="193"/>
                </a:lnTo>
                <a:lnTo>
                  <a:pt x="584" y="196"/>
                </a:lnTo>
                <a:close/>
                <a:moveTo>
                  <a:pt x="605" y="179"/>
                </a:moveTo>
                <a:lnTo>
                  <a:pt x="601" y="179"/>
                </a:lnTo>
                <a:lnTo>
                  <a:pt x="601" y="177"/>
                </a:lnTo>
                <a:lnTo>
                  <a:pt x="603" y="177"/>
                </a:lnTo>
                <a:lnTo>
                  <a:pt x="607" y="175"/>
                </a:lnTo>
                <a:lnTo>
                  <a:pt x="607" y="173"/>
                </a:lnTo>
                <a:lnTo>
                  <a:pt x="610" y="173"/>
                </a:lnTo>
                <a:lnTo>
                  <a:pt x="610" y="175"/>
                </a:lnTo>
                <a:lnTo>
                  <a:pt x="610" y="177"/>
                </a:lnTo>
                <a:lnTo>
                  <a:pt x="605" y="179"/>
                </a:lnTo>
                <a:close/>
                <a:moveTo>
                  <a:pt x="649" y="179"/>
                </a:moveTo>
                <a:lnTo>
                  <a:pt x="642" y="182"/>
                </a:lnTo>
                <a:lnTo>
                  <a:pt x="640" y="184"/>
                </a:lnTo>
                <a:lnTo>
                  <a:pt x="638" y="184"/>
                </a:lnTo>
                <a:lnTo>
                  <a:pt x="631" y="189"/>
                </a:lnTo>
                <a:lnTo>
                  <a:pt x="631" y="191"/>
                </a:lnTo>
                <a:lnTo>
                  <a:pt x="628" y="196"/>
                </a:lnTo>
                <a:lnTo>
                  <a:pt x="626" y="198"/>
                </a:lnTo>
                <a:lnTo>
                  <a:pt x="624" y="198"/>
                </a:lnTo>
                <a:lnTo>
                  <a:pt x="619" y="200"/>
                </a:lnTo>
                <a:lnTo>
                  <a:pt x="617" y="200"/>
                </a:lnTo>
                <a:lnTo>
                  <a:pt x="614" y="200"/>
                </a:lnTo>
                <a:lnTo>
                  <a:pt x="612" y="198"/>
                </a:lnTo>
                <a:lnTo>
                  <a:pt x="610" y="196"/>
                </a:lnTo>
                <a:lnTo>
                  <a:pt x="607" y="196"/>
                </a:lnTo>
                <a:lnTo>
                  <a:pt x="605" y="193"/>
                </a:lnTo>
                <a:lnTo>
                  <a:pt x="603" y="193"/>
                </a:lnTo>
                <a:lnTo>
                  <a:pt x="601" y="193"/>
                </a:lnTo>
                <a:lnTo>
                  <a:pt x="598" y="193"/>
                </a:lnTo>
                <a:lnTo>
                  <a:pt x="596" y="196"/>
                </a:lnTo>
                <a:lnTo>
                  <a:pt x="594" y="196"/>
                </a:lnTo>
                <a:lnTo>
                  <a:pt x="594" y="193"/>
                </a:lnTo>
                <a:lnTo>
                  <a:pt x="591" y="193"/>
                </a:lnTo>
                <a:lnTo>
                  <a:pt x="591" y="191"/>
                </a:lnTo>
                <a:lnTo>
                  <a:pt x="591" y="189"/>
                </a:lnTo>
                <a:lnTo>
                  <a:pt x="591" y="186"/>
                </a:lnTo>
                <a:lnTo>
                  <a:pt x="591" y="189"/>
                </a:lnTo>
                <a:lnTo>
                  <a:pt x="589" y="189"/>
                </a:lnTo>
                <a:lnTo>
                  <a:pt x="589" y="186"/>
                </a:lnTo>
                <a:lnTo>
                  <a:pt x="589" y="182"/>
                </a:lnTo>
                <a:lnTo>
                  <a:pt x="591" y="182"/>
                </a:lnTo>
                <a:lnTo>
                  <a:pt x="596" y="182"/>
                </a:lnTo>
                <a:lnTo>
                  <a:pt x="596" y="179"/>
                </a:lnTo>
                <a:lnTo>
                  <a:pt x="598" y="179"/>
                </a:lnTo>
                <a:lnTo>
                  <a:pt x="601" y="182"/>
                </a:lnTo>
                <a:lnTo>
                  <a:pt x="603" y="182"/>
                </a:lnTo>
                <a:lnTo>
                  <a:pt x="607" y="182"/>
                </a:lnTo>
                <a:lnTo>
                  <a:pt x="612" y="179"/>
                </a:lnTo>
                <a:lnTo>
                  <a:pt x="614" y="177"/>
                </a:lnTo>
                <a:lnTo>
                  <a:pt x="617" y="177"/>
                </a:lnTo>
                <a:lnTo>
                  <a:pt x="619" y="177"/>
                </a:lnTo>
                <a:lnTo>
                  <a:pt x="621" y="177"/>
                </a:lnTo>
                <a:lnTo>
                  <a:pt x="626" y="177"/>
                </a:lnTo>
                <a:lnTo>
                  <a:pt x="628" y="177"/>
                </a:lnTo>
                <a:lnTo>
                  <a:pt x="633" y="175"/>
                </a:lnTo>
                <a:lnTo>
                  <a:pt x="640" y="173"/>
                </a:lnTo>
                <a:lnTo>
                  <a:pt x="647" y="173"/>
                </a:lnTo>
                <a:lnTo>
                  <a:pt x="649" y="175"/>
                </a:lnTo>
                <a:lnTo>
                  <a:pt x="649" y="179"/>
                </a:lnTo>
                <a:close/>
                <a:moveTo>
                  <a:pt x="594" y="159"/>
                </a:moveTo>
                <a:lnTo>
                  <a:pt x="591" y="168"/>
                </a:lnTo>
                <a:lnTo>
                  <a:pt x="594" y="168"/>
                </a:lnTo>
                <a:lnTo>
                  <a:pt x="594" y="170"/>
                </a:lnTo>
                <a:lnTo>
                  <a:pt x="594" y="173"/>
                </a:lnTo>
                <a:lnTo>
                  <a:pt x="594" y="175"/>
                </a:lnTo>
                <a:lnTo>
                  <a:pt x="594" y="177"/>
                </a:lnTo>
                <a:lnTo>
                  <a:pt x="591" y="177"/>
                </a:lnTo>
                <a:lnTo>
                  <a:pt x="591" y="179"/>
                </a:lnTo>
                <a:lnTo>
                  <a:pt x="589" y="179"/>
                </a:lnTo>
                <a:lnTo>
                  <a:pt x="587" y="179"/>
                </a:lnTo>
                <a:lnTo>
                  <a:pt x="587" y="182"/>
                </a:lnTo>
                <a:lnTo>
                  <a:pt x="587" y="184"/>
                </a:lnTo>
                <a:lnTo>
                  <a:pt x="584" y="182"/>
                </a:lnTo>
                <a:lnTo>
                  <a:pt x="582" y="182"/>
                </a:lnTo>
                <a:lnTo>
                  <a:pt x="580" y="179"/>
                </a:lnTo>
                <a:lnTo>
                  <a:pt x="580" y="177"/>
                </a:lnTo>
                <a:lnTo>
                  <a:pt x="582" y="177"/>
                </a:lnTo>
                <a:lnTo>
                  <a:pt x="584" y="177"/>
                </a:lnTo>
                <a:lnTo>
                  <a:pt x="587" y="168"/>
                </a:lnTo>
                <a:lnTo>
                  <a:pt x="589" y="166"/>
                </a:lnTo>
                <a:lnTo>
                  <a:pt x="587" y="163"/>
                </a:lnTo>
                <a:lnTo>
                  <a:pt x="587" y="161"/>
                </a:lnTo>
                <a:lnTo>
                  <a:pt x="587" y="159"/>
                </a:lnTo>
                <a:lnTo>
                  <a:pt x="589" y="159"/>
                </a:lnTo>
                <a:lnTo>
                  <a:pt x="589" y="156"/>
                </a:lnTo>
                <a:lnTo>
                  <a:pt x="591" y="154"/>
                </a:lnTo>
                <a:lnTo>
                  <a:pt x="594" y="154"/>
                </a:lnTo>
                <a:lnTo>
                  <a:pt x="594" y="156"/>
                </a:lnTo>
                <a:lnTo>
                  <a:pt x="594" y="159"/>
                </a:lnTo>
                <a:close/>
                <a:moveTo>
                  <a:pt x="614" y="156"/>
                </a:moveTo>
                <a:lnTo>
                  <a:pt x="614" y="159"/>
                </a:lnTo>
                <a:lnTo>
                  <a:pt x="614" y="161"/>
                </a:lnTo>
                <a:lnTo>
                  <a:pt x="617" y="161"/>
                </a:lnTo>
                <a:lnTo>
                  <a:pt x="614" y="161"/>
                </a:lnTo>
                <a:lnTo>
                  <a:pt x="614" y="163"/>
                </a:lnTo>
                <a:lnTo>
                  <a:pt x="605" y="168"/>
                </a:lnTo>
                <a:lnTo>
                  <a:pt x="603" y="170"/>
                </a:lnTo>
                <a:lnTo>
                  <a:pt x="601" y="170"/>
                </a:lnTo>
                <a:lnTo>
                  <a:pt x="601" y="173"/>
                </a:lnTo>
                <a:lnTo>
                  <a:pt x="598" y="173"/>
                </a:lnTo>
                <a:lnTo>
                  <a:pt x="596" y="170"/>
                </a:lnTo>
                <a:lnTo>
                  <a:pt x="596" y="168"/>
                </a:lnTo>
                <a:lnTo>
                  <a:pt x="596" y="166"/>
                </a:lnTo>
                <a:lnTo>
                  <a:pt x="596" y="161"/>
                </a:lnTo>
                <a:lnTo>
                  <a:pt x="596" y="159"/>
                </a:lnTo>
                <a:lnTo>
                  <a:pt x="598" y="159"/>
                </a:lnTo>
                <a:lnTo>
                  <a:pt x="601" y="156"/>
                </a:lnTo>
                <a:lnTo>
                  <a:pt x="605" y="156"/>
                </a:lnTo>
                <a:lnTo>
                  <a:pt x="607" y="156"/>
                </a:lnTo>
                <a:lnTo>
                  <a:pt x="610" y="159"/>
                </a:lnTo>
                <a:lnTo>
                  <a:pt x="610" y="156"/>
                </a:lnTo>
                <a:lnTo>
                  <a:pt x="607" y="156"/>
                </a:lnTo>
                <a:lnTo>
                  <a:pt x="607" y="154"/>
                </a:lnTo>
                <a:lnTo>
                  <a:pt x="610" y="154"/>
                </a:lnTo>
                <a:lnTo>
                  <a:pt x="612" y="152"/>
                </a:lnTo>
                <a:lnTo>
                  <a:pt x="614" y="154"/>
                </a:lnTo>
                <a:lnTo>
                  <a:pt x="614" y="156"/>
                </a:lnTo>
                <a:close/>
                <a:moveTo>
                  <a:pt x="279" y="5"/>
                </a:moveTo>
                <a:lnTo>
                  <a:pt x="286" y="12"/>
                </a:lnTo>
                <a:lnTo>
                  <a:pt x="289" y="12"/>
                </a:lnTo>
                <a:lnTo>
                  <a:pt x="293" y="12"/>
                </a:lnTo>
                <a:lnTo>
                  <a:pt x="293" y="10"/>
                </a:lnTo>
                <a:lnTo>
                  <a:pt x="296" y="12"/>
                </a:lnTo>
                <a:lnTo>
                  <a:pt x="296" y="14"/>
                </a:lnTo>
                <a:lnTo>
                  <a:pt x="296" y="17"/>
                </a:lnTo>
                <a:lnTo>
                  <a:pt x="298" y="21"/>
                </a:lnTo>
                <a:lnTo>
                  <a:pt x="298" y="24"/>
                </a:lnTo>
                <a:lnTo>
                  <a:pt x="296" y="26"/>
                </a:lnTo>
                <a:lnTo>
                  <a:pt x="296" y="28"/>
                </a:lnTo>
                <a:lnTo>
                  <a:pt x="293" y="31"/>
                </a:lnTo>
                <a:lnTo>
                  <a:pt x="291" y="33"/>
                </a:lnTo>
                <a:lnTo>
                  <a:pt x="293" y="33"/>
                </a:lnTo>
                <a:lnTo>
                  <a:pt x="293" y="35"/>
                </a:lnTo>
                <a:lnTo>
                  <a:pt x="293" y="37"/>
                </a:lnTo>
                <a:lnTo>
                  <a:pt x="291" y="40"/>
                </a:lnTo>
                <a:lnTo>
                  <a:pt x="291" y="42"/>
                </a:lnTo>
                <a:lnTo>
                  <a:pt x="293" y="42"/>
                </a:lnTo>
                <a:lnTo>
                  <a:pt x="293" y="44"/>
                </a:lnTo>
                <a:lnTo>
                  <a:pt x="293" y="49"/>
                </a:lnTo>
                <a:lnTo>
                  <a:pt x="293" y="51"/>
                </a:lnTo>
                <a:lnTo>
                  <a:pt x="293" y="56"/>
                </a:lnTo>
                <a:lnTo>
                  <a:pt x="296" y="58"/>
                </a:lnTo>
                <a:lnTo>
                  <a:pt x="298" y="58"/>
                </a:lnTo>
                <a:lnTo>
                  <a:pt x="300" y="58"/>
                </a:lnTo>
                <a:lnTo>
                  <a:pt x="303" y="58"/>
                </a:lnTo>
                <a:lnTo>
                  <a:pt x="305" y="58"/>
                </a:lnTo>
                <a:lnTo>
                  <a:pt x="307" y="58"/>
                </a:lnTo>
                <a:lnTo>
                  <a:pt x="310" y="58"/>
                </a:lnTo>
                <a:lnTo>
                  <a:pt x="310" y="61"/>
                </a:lnTo>
                <a:lnTo>
                  <a:pt x="312" y="61"/>
                </a:lnTo>
                <a:lnTo>
                  <a:pt x="314" y="61"/>
                </a:lnTo>
                <a:lnTo>
                  <a:pt x="317" y="61"/>
                </a:lnTo>
                <a:lnTo>
                  <a:pt x="317" y="58"/>
                </a:lnTo>
                <a:lnTo>
                  <a:pt x="319" y="61"/>
                </a:lnTo>
                <a:lnTo>
                  <a:pt x="321" y="61"/>
                </a:lnTo>
                <a:lnTo>
                  <a:pt x="324" y="61"/>
                </a:lnTo>
                <a:lnTo>
                  <a:pt x="324" y="63"/>
                </a:lnTo>
                <a:lnTo>
                  <a:pt x="326" y="63"/>
                </a:lnTo>
                <a:lnTo>
                  <a:pt x="328" y="63"/>
                </a:lnTo>
                <a:lnTo>
                  <a:pt x="328" y="65"/>
                </a:lnTo>
                <a:lnTo>
                  <a:pt x="331" y="65"/>
                </a:lnTo>
                <a:lnTo>
                  <a:pt x="331" y="68"/>
                </a:lnTo>
                <a:lnTo>
                  <a:pt x="333" y="68"/>
                </a:lnTo>
                <a:lnTo>
                  <a:pt x="335" y="68"/>
                </a:lnTo>
                <a:lnTo>
                  <a:pt x="335" y="70"/>
                </a:lnTo>
                <a:lnTo>
                  <a:pt x="338" y="70"/>
                </a:lnTo>
                <a:lnTo>
                  <a:pt x="338" y="72"/>
                </a:lnTo>
                <a:lnTo>
                  <a:pt x="338" y="75"/>
                </a:lnTo>
                <a:lnTo>
                  <a:pt x="340" y="75"/>
                </a:lnTo>
                <a:lnTo>
                  <a:pt x="340" y="77"/>
                </a:lnTo>
                <a:lnTo>
                  <a:pt x="340" y="79"/>
                </a:lnTo>
                <a:lnTo>
                  <a:pt x="342" y="79"/>
                </a:lnTo>
                <a:lnTo>
                  <a:pt x="345" y="77"/>
                </a:lnTo>
                <a:lnTo>
                  <a:pt x="347" y="77"/>
                </a:lnTo>
                <a:lnTo>
                  <a:pt x="347" y="79"/>
                </a:lnTo>
                <a:lnTo>
                  <a:pt x="349" y="79"/>
                </a:lnTo>
                <a:lnTo>
                  <a:pt x="349" y="82"/>
                </a:lnTo>
                <a:lnTo>
                  <a:pt x="349" y="84"/>
                </a:lnTo>
                <a:lnTo>
                  <a:pt x="351" y="84"/>
                </a:lnTo>
                <a:lnTo>
                  <a:pt x="351" y="86"/>
                </a:lnTo>
                <a:lnTo>
                  <a:pt x="354" y="86"/>
                </a:lnTo>
                <a:lnTo>
                  <a:pt x="356" y="86"/>
                </a:lnTo>
                <a:lnTo>
                  <a:pt x="358" y="84"/>
                </a:lnTo>
                <a:lnTo>
                  <a:pt x="358" y="86"/>
                </a:lnTo>
                <a:lnTo>
                  <a:pt x="361" y="86"/>
                </a:lnTo>
                <a:lnTo>
                  <a:pt x="363" y="86"/>
                </a:lnTo>
                <a:lnTo>
                  <a:pt x="363" y="84"/>
                </a:lnTo>
                <a:lnTo>
                  <a:pt x="365" y="84"/>
                </a:lnTo>
                <a:lnTo>
                  <a:pt x="363" y="84"/>
                </a:lnTo>
                <a:lnTo>
                  <a:pt x="363" y="86"/>
                </a:lnTo>
                <a:lnTo>
                  <a:pt x="365" y="86"/>
                </a:lnTo>
                <a:lnTo>
                  <a:pt x="368" y="86"/>
                </a:lnTo>
                <a:lnTo>
                  <a:pt x="368" y="84"/>
                </a:lnTo>
                <a:lnTo>
                  <a:pt x="368" y="86"/>
                </a:lnTo>
                <a:lnTo>
                  <a:pt x="368" y="89"/>
                </a:lnTo>
                <a:lnTo>
                  <a:pt x="370" y="89"/>
                </a:lnTo>
                <a:lnTo>
                  <a:pt x="372" y="89"/>
                </a:lnTo>
                <a:lnTo>
                  <a:pt x="375" y="89"/>
                </a:lnTo>
                <a:lnTo>
                  <a:pt x="375" y="91"/>
                </a:lnTo>
                <a:lnTo>
                  <a:pt x="375" y="93"/>
                </a:lnTo>
                <a:lnTo>
                  <a:pt x="377" y="96"/>
                </a:lnTo>
                <a:lnTo>
                  <a:pt x="375" y="96"/>
                </a:lnTo>
                <a:lnTo>
                  <a:pt x="375" y="98"/>
                </a:lnTo>
                <a:lnTo>
                  <a:pt x="377" y="98"/>
                </a:lnTo>
                <a:lnTo>
                  <a:pt x="379" y="98"/>
                </a:lnTo>
                <a:lnTo>
                  <a:pt x="382" y="96"/>
                </a:lnTo>
                <a:lnTo>
                  <a:pt x="382" y="98"/>
                </a:lnTo>
                <a:lnTo>
                  <a:pt x="384" y="98"/>
                </a:lnTo>
                <a:lnTo>
                  <a:pt x="384" y="100"/>
                </a:lnTo>
                <a:lnTo>
                  <a:pt x="384" y="103"/>
                </a:lnTo>
                <a:lnTo>
                  <a:pt x="382" y="103"/>
                </a:lnTo>
                <a:lnTo>
                  <a:pt x="382" y="105"/>
                </a:lnTo>
                <a:lnTo>
                  <a:pt x="382" y="107"/>
                </a:lnTo>
                <a:lnTo>
                  <a:pt x="382" y="112"/>
                </a:lnTo>
                <a:lnTo>
                  <a:pt x="382" y="114"/>
                </a:lnTo>
                <a:lnTo>
                  <a:pt x="384" y="114"/>
                </a:lnTo>
                <a:lnTo>
                  <a:pt x="384" y="117"/>
                </a:lnTo>
                <a:lnTo>
                  <a:pt x="384" y="119"/>
                </a:lnTo>
                <a:lnTo>
                  <a:pt x="384" y="121"/>
                </a:lnTo>
                <a:lnTo>
                  <a:pt x="389" y="124"/>
                </a:lnTo>
                <a:lnTo>
                  <a:pt x="389" y="126"/>
                </a:lnTo>
                <a:lnTo>
                  <a:pt x="391" y="128"/>
                </a:lnTo>
                <a:lnTo>
                  <a:pt x="393" y="131"/>
                </a:lnTo>
                <a:lnTo>
                  <a:pt x="396" y="131"/>
                </a:lnTo>
                <a:lnTo>
                  <a:pt x="403" y="133"/>
                </a:lnTo>
                <a:lnTo>
                  <a:pt x="403" y="135"/>
                </a:lnTo>
                <a:lnTo>
                  <a:pt x="405" y="135"/>
                </a:lnTo>
                <a:lnTo>
                  <a:pt x="405" y="138"/>
                </a:lnTo>
                <a:lnTo>
                  <a:pt x="403" y="138"/>
                </a:lnTo>
                <a:lnTo>
                  <a:pt x="403" y="142"/>
                </a:lnTo>
                <a:lnTo>
                  <a:pt x="403" y="145"/>
                </a:lnTo>
                <a:lnTo>
                  <a:pt x="400" y="147"/>
                </a:lnTo>
                <a:lnTo>
                  <a:pt x="400" y="149"/>
                </a:lnTo>
                <a:lnTo>
                  <a:pt x="403" y="152"/>
                </a:lnTo>
                <a:lnTo>
                  <a:pt x="403" y="154"/>
                </a:lnTo>
                <a:lnTo>
                  <a:pt x="403" y="156"/>
                </a:lnTo>
                <a:lnTo>
                  <a:pt x="403" y="159"/>
                </a:lnTo>
                <a:lnTo>
                  <a:pt x="405" y="166"/>
                </a:lnTo>
                <a:lnTo>
                  <a:pt x="407" y="168"/>
                </a:lnTo>
                <a:lnTo>
                  <a:pt x="407" y="170"/>
                </a:lnTo>
                <a:lnTo>
                  <a:pt x="410" y="175"/>
                </a:lnTo>
                <a:lnTo>
                  <a:pt x="410" y="177"/>
                </a:lnTo>
                <a:lnTo>
                  <a:pt x="410" y="179"/>
                </a:lnTo>
                <a:lnTo>
                  <a:pt x="407" y="182"/>
                </a:lnTo>
                <a:lnTo>
                  <a:pt x="410" y="182"/>
                </a:lnTo>
                <a:lnTo>
                  <a:pt x="410" y="184"/>
                </a:lnTo>
                <a:lnTo>
                  <a:pt x="412" y="186"/>
                </a:lnTo>
                <a:lnTo>
                  <a:pt x="414" y="198"/>
                </a:lnTo>
                <a:lnTo>
                  <a:pt x="417" y="198"/>
                </a:lnTo>
                <a:lnTo>
                  <a:pt x="419" y="198"/>
                </a:lnTo>
                <a:lnTo>
                  <a:pt x="421" y="198"/>
                </a:lnTo>
                <a:lnTo>
                  <a:pt x="424" y="198"/>
                </a:lnTo>
                <a:lnTo>
                  <a:pt x="424" y="200"/>
                </a:lnTo>
                <a:lnTo>
                  <a:pt x="428" y="207"/>
                </a:lnTo>
                <a:lnTo>
                  <a:pt x="431" y="210"/>
                </a:lnTo>
                <a:lnTo>
                  <a:pt x="433" y="212"/>
                </a:lnTo>
                <a:lnTo>
                  <a:pt x="433" y="219"/>
                </a:lnTo>
                <a:lnTo>
                  <a:pt x="433" y="221"/>
                </a:lnTo>
                <a:lnTo>
                  <a:pt x="433" y="224"/>
                </a:lnTo>
                <a:lnTo>
                  <a:pt x="433" y="226"/>
                </a:lnTo>
                <a:lnTo>
                  <a:pt x="433" y="228"/>
                </a:lnTo>
                <a:lnTo>
                  <a:pt x="435" y="228"/>
                </a:lnTo>
                <a:lnTo>
                  <a:pt x="438" y="228"/>
                </a:lnTo>
                <a:lnTo>
                  <a:pt x="440" y="231"/>
                </a:lnTo>
                <a:lnTo>
                  <a:pt x="440" y="233"/>
                </a:lnTo>
                <a:lnTo>
                  <a:pt x="440" y="235"/>
                </a:lnTo>
                <a:lnTo>
                  <a:pt x="440" y="238"/>
                </a:lnTo>
                <a:lnTo>
                  <a:pt x="440" y="240"/>
                </a:lnTo>
                <a:lnTo>
                  <a:pt x="440" y="242"/>
                </a:lnTo>
                <a:lnTo>
                  <a:pt x="440" y="245"/>
                </a:lnTo>
                <a:lnTo>
                  <a:pt x="440" y="247"/>
                </a:lnTo>
                <a:lnTo>
                  <a:pt x="445" y="245"/>
                </a:lnTo>
                <a:lnTo>
                  <a:pt x="447" y="245"/>
                </a:lnTo>
                <a:lnTo>
                  <a:pt x="447" y="247"/>
                </a:lnTo>
                <a:lnTo>
                  <a:pt x="449" y="247"/>
                </a:lnTo>
                <a:lnTo>
                  <a:pt x="449" y="249"/>
                </a:lnTo>
                <a:lnTo>
                  <a:pt x="447" y="252"/>
                </a:lnTo>
                <a:lnTo>
                  <a:pt x="447" y="254"/>
                </a:lnTo>
                <a:lnTo>
                  <a:pt x="449" y="254"/>
                </a:lnTo>
                <a:lnTo>
                  <a:pt x="449" y="256"/>
                </a:lnTo>
                <a:lnTo>
                  <a:pt x="449" y="259"/>
                </a:lnTo>
                <a:lnTo>
                  <a:pt x="449" y="261"/>
                </a:lnTo>
                <a:lnTo>
                  <a:pt x="452" y="261"/>
                </a:lnTo>
                <a:lnTo>
                  <a:pt x="454" y="263"/>
                </a:lnTo>
                <a:lnTo>
                  <a:pt x="456" y="266"/>
                </a:lnTo>
                <a:lnTo>
                  <a:pt x="466" y="266"/>
                </a:lnTo>
                <a:lnTo>
                  <a:pt x="466" y="268"/>
                </a:lnTo>
                <a:lnTo>
                  <a:pt x="468" y="268"/>
                </a:lnTo>
                <a:lnTo>
                  <a:pt x="468" y="270"/>
                </a:lnTo>
                <a:lnTo>
                  <a:pt x="470" y="270"/>
                </a:lnTo>
                <a:lnTo>
                  <a:pt x="470" y="268"/>
                </a:lnTo>
                <a:lnTo>
                  <a:pt x="473" y="268"/>
                </a:lnTo>
                <a:lnTo>
                  <a:pt x="475" y="268"/>
                </a:lnTo>
                <a:lnTo>
                  <a:pt x="475" y="266"/>
                </a:lnTo>
                <a:lnTo>
                  <a:pt x="477" y="268"/>
                </a:lnTo>
                <a:lnTo>
                  <a:pt x="477" y="266"/>
                </a:lnTo>
                <a:lnTo>
                  <a:pt x="479" y="268"/>
                </a:lnTo>
                <a:lnTo>
                  <a:pt x="477" y="268"/>
                </a:lnTo>
                <a:lnTo>
                  <a:pt x="477" y="273"/>
                </a:lnTo>
                <a:lnTo>
                  <a:pt x="479" y="277"/>
                </a:lnTo>
                <a:lnTo>
                  <a:pt x="477" y="280"/>
                </a:lnTo>
                <a:lnTo>
                  <a:pt x="475" y="282"/>
                </a:lnTo>
                <a:lnTo>
                  <a:pt x="473" y="284"/>
                </a:lnTo>
                <a:lnTo>
                  <a:pt x="468" y="284"/>
                </a:lnTo>
                <a:lnTo>
                  <a:pt x="466" y="284"/>
                </a:lnTo>
                <a:lnTo>
                  <a:pt x="463" y="282"/>
                </a:lnTo>
                <a:lnTo>
                  <a:pt x="461" y="280"/>
                </a:lnTo>
                <a:lnTo>
                  <a:pt x="459" y="280"/>
                </a:lnTo>
                <a:lnTo>
                  <a:pt x="456" y="280"/>
                </a:lnTo>
                <a:lnTo>
                  <a:pt x="454" y="282"/>
                </a:lnTo>
                <a:lnTo>
                  <a:pt x="452" y="282"/>
                </a:lnTo>
                <a:lnTo>
                  <a:pt x="449" y="282"/>
                </a:lnTo>
                <a:lnTo>
                  <a:pt x="445" y="284"/>
                </a:lnTo>
                <a:lnTo>
                  <a:pt x="442" y="284"/>
                </a:lnTo>
                <a:lnTo>
                  <a:pt x="440" y="287"/>
                </a:lnTo>
                <a:lnTo>
                  <a:pt x="433" y="289"/>
                </a:lnTo>
                <a:lnTo>
                  <a:pt x="431" y="289"/>
                </a:lnTo>
                <a:lnTo>
                  <a:pt x="426" y="291"/>
                </a:lnTo>
                <a:lnTo>
                  <a:pt x="424" y="291"/>
                </a:lnTo>
                <a:lnTo>
                  <a:pt x="424" y="294"/>
                </a:lnTo>
                <a:lnTo>
                  <a:pt x="426" y="294"/>
                </a:lnTo>
                <a:lnTo>
                  <a:pt x="431" y="294"/>
                </a:lnTo>
                <a:lnTo>
                  <a:pt x="442" y="294"/>
                </a:lnTo>
                <a:lnTo>
                  <a:pt x="449" y="291"/>
                </a:lnTo>
                <a:lnTo>
                  <a:pt x="452" y="291"/>
                </a:lnTo>
                <a:lnTo>
                  <a:pt x="454" y="291"/>
                </a:lnTo>
                <a:lnTo>
                  <a:pt x="456" y="294"/>
                </a:lnTo>
                <a:lnTo>
                  <a:pt x="456" y="296"/>
                </a:lnTo>
                <a:lnTo>
                  <a:pt x="456" y="298"/>
                </a:lnTo>
                <a:lnTo>
                  <a:pt x="454" y="298"/>
                </a:lnTo>
                <a:lnTo>
                  <a:pt x="454" y="301"/>
                </a:lnTo>
                <a:lnTo>
                  <a:pt x="454" y="303"/>
                </a:lnTo>
                <a:lnTo>
                  <a:pt x="456" y="303"/>
                </a:lnTo>
                <a:lnTo>
                  <a:pt x="459" y="303"/>
                </a:lnTo>
                <a:lnTo>
                  <a:pt x="459" y="301"/>
                </a:lnTo>
                <a:lnTo>
                  <a:pt x="461" y="298"/>
                </a:lnTo>
                <a:lnTo>
                  <a:pt x="463" y="298"/>
                </a:lnTo>
                <a:lnTo>
                  <a:pt x="466" y="298"/>
                </a:lnTo>
                <a:lnTo>
                  <a:pt x="468" y="298"/>
                </a:lnTo>
                <a:lnTo>
                  <a:pt x="470" y="298"/>
                </a:lnTo>
                <a:lnTo>
                  <a:pt x="475" y="296"/>
                </a:lnTo>
                <a:lnTo>
                  <a:pt x="477" y="296"/>
                </a:lnTo>
                <a:lnTo>
                  <a:pt x="496" y="284"/>
                </a:lnTo>
                <a:lnTo>
                  <a:pt x="500" y="284"/>
                </a:lnTo>
                <a:lnTo>
                  <a:pt x="503" y="282"/>
                </a:lnTo>
                <a:lnTo>
                  <a:pt x="507" y="282"/>
                </a:lnTo>
                <a:lnTo>
                  <a:pt x="510" y="280"/>
                </a:lnTo>
                <a:lnTo>
                  <a:pt x="512" y="277"/>
                </a:lnTo>
                <a:lnTo>
                  <a:pt x="514" y="275"/>
                </a:lnTo>
                <a:lnTo>
                  <a:pt x="519" y="275"/>
                </a:lnTo>
                <a:lnTo>
                  <a:pt x="517" y="275"/>
                </a:lnTo>
                <a:lnTo>
                  <a:pt x="517" y="277"/>
                </a:lnTo>
                <a:lnTo>
                  <a:pt x="519" y="277"/>
                </a:lnTo>
                <a:lnTo>
                  <a:pt x="519" y="275"/>
                </a:lnTo>
                <a:lnTo>
                  <a:pt x="521" y="275"/>
                </a:lnTo>
                <a:lnTo>
                  <a:pt x="524" y="275"/>
                </a:lnTo>
                <a:lnTo>
                  <a:pt x="524" y="273"/>
                </a:lnTo>
                <a:lnTo>
                  <a:pt x="526" y="270"/>
                </a:lnTo>
                <a:lnTo>
                  <a:pt x="528" y="268"/>
                </a:lnTo>
                <a:lnTo>
                  <a:pt x="531" y="266"/>
                </a:lnTo>
                <a:lnTo>
                  <a:pt x="540" y="263"/>
                </a:lnTo>
                <a:lnTo>
                  <a:pt x="542" y="261"/>
                </a:lnTo>
                <a:lnTo>
                  <a:pt x="542" y="259"/>
                </a:lnTo>
                <a:lnTo>
                  <a:pt x="542" y="256"/>
                </a:lnTo>
                <a:lnTo>
                  <a:pt x="545" y="254"/>
                </a:lnTo>
                <a:lnTo>
                  <a:pt x="545" y="256"/>
                </a:lnTo>
                <a:lnTo>
                  <a:pt x="547" y="259"/>
                </a:lnTo>
                <a:lnTo>
                  <a:pt x="547" y="256"/>
                </a:lnTo>
                <a:lnTo>
                  <a:pt x="545" y="256"/>
                </a:lnTo>
                <a:lnTo>
                  <a:pt x="547" y="254"/>
                </a:lnTo>
                <a:lnTo>
                  <a:pt x="549" y="256"/>
                </a:lnTo>
                <a:lnTo>
                  <a:pt x="552" y="254"/>
                </a:lnTo>
                <a:lnTo>
                  <a:pt x="554" y="256"/>
                </a:lnTo>
                <a:lnTo>
                  <a:pt x="554" y="259"/>
                </a:lnTo>
                <a:lnTo>
                  <a:pt x="554" y="261"/>
                </a:lnTo>
                <a:lnTo>
                  <a:pt x="554" y="263"/>
                </a:lnTo>
                <a:lnTo>
                  <a:pt x="554" y="266"/>
                </a:lnTo>
                <a:lnTo>
                  <a:pt x="552" y="266"/>
                </a:lnTo>
                <a:lnTo>
                  <a:pt x="549" y="268"/>
                </a:lnTo>
                <a:lnTo>
                  <a:pt x="547" y="268"/>
                </a:lnTo>
                <a:lnTo>
                  <a:pt x="547" y="270"/>
                </a:lnTo>
                <a:lnTo>
                  <a:pt x="545" y="270"/>
                </a:lnTo>
                <a:lnTo>
                  <a:pt x="552" y="275"/>
                </a:lnTo>
                <a:lnTo>
                  <a:pt x="554" y="277"/>
                </a:lnTo>
                <a:lnTo>
                  <a:pt x="552" y="282"/>
                </a:lnTo>
                <a:lnTo>
                  <a:pt x="552" y="287"/>
                </a:lnTo>
                <a:lnTo>
                  <a:pt x="554" y="287"/>
                </a:lnTo>
                <a:lnTo>
                  <a:pt x="554" y="289"/>
                </a:lnTo>
                <a:lnTo>
                  <a:pt x="552" y="289"/>
                </a:lnTo>
                <a:lnTo>
                  <a:pt x="552" y="291"/>
                </a:lnTo>
                <a:lnTo>
                  <a:pt x="554" y="291"/>
                </a:lnTo>
                <a:lnTo>
                  <a:pt x="554" y="296"/>
                </a:lnTo>
                <a:lnTo>
                  <a:pt x="556" y="298"/>
                </a:lnTo>
                <a:lnTo>
                  <a:pt x="561" y="303"/>
                </a:lnTo>
                <a:lnTo>
                  <a:pt x="561" y="305"/>
                </a:lnTo>
                <a:lnTo>
                  <a:pt x="561" y="310"/>
                </a:lnTo>
                <a:lnTo>
                  <a:pt x="563" y="312"/>
                </a:lnTo>
                <a:lnTo>
                  <a:pt x="561" y="315"/>
                </a:lnTo>
                <a:lnTo>
                  <a:pt x="559" y="315"/>
                </a:lnTo>
                <a:lnTo>
                  <a:pt x="556" y="312"/>
                </a:lnTo>
                <a:lnTo>
                  <a:pt x="559" y="315"/>
                </a:lnTo>
                <a:lnTo>
                  <a:pt x="559" y="317"/>
                </a:lnTo>
                <a:lnTo>
                  <a:pt x="556" y="317"/>
                </a:lnTo>
                <a:lnTo>
                  <a:pt x="554" y="319"/>
                </a:lnTo>
                <a:lnTo>
                  <a:pt x="554" y="321"/>
                </a:lnTo>
                <a:lnTo>
                  <a:pt x="552" y="321"/>
                </a:lnTo>
                <a:lnTo>
                  <a:pt x="549" y="321"/>
                </a:lnTo>
                <a:lnTo>
                  <a:pt x="547" y="319"/>
                </a:lnTo>
                <a:lnTo>
                  <a:pt x="545" y="319"/>
                </a:lnTo>
                <a:lnTo>
                  <a:pt x="547" y="321"/>
                </a:lnTo>
                <a:lnTo>
                  <a:pt x="547" y="324"/>
                </a:lnTo>
                <a:lnTo>
                  <a:pt x="549" y="326"/>
                </a:lnTo>
                <a:lnTo>
                  <a:pt x="549" y="324"/>
                </a:lnTo>
                <a:lnTo>
                  <a:pt x="552" y="324"/>
                </a:lnTo>
                <a:lnTo>
                  <a:pt x="556" y="324"/>
                </a:lnTo>
                <a:lnTo>
                  <a:pt x="559" y="324"/>
                </a:lnTo>
                <a:lnTo>
                  <a:pt x="559" y="321"/>
                </a:lnTo>
                <a:lnTo>
                  <a:pt x="559" y="319"/>
                </a:lnTo>
                <a:lnTo>
                  <a:pt x="561" y="317"/>
                </a:lnTo>
                <a:lnTo>
                  <a:pt x="563" y="317"/>
                </a:lnTo>
                <a:lnTo>
                  <a:pt x="566" y="317"/>
                </a:lnTo>
                <a:lnTo>
                  <a:pt x="566" y="319"/>
                </a:lnTo>
                <a:lnTo>
                  <a:pt x="568" y="321"/>
                </a:lnTo>
                <a:lnTo>
                  <a:pt x="568" y="324"/>
                </a:lnTo>
                <a:lnTo>
                  <a:pt x="570" y="324"/>
                </a:lnTo>
                <a:lnTo>
                  <a:pt x="570" y="326"/>
                </a:lnTo>
                <a:lnTo>
                  <a:pt x="573" y="326"/>
                </a:lnTo>
                <a:lnTo>
                  <a:pt x="575" y="326"/>
                </a:lnTo>
                <a:lnTo>
                  <a:pt x="573" y="328"/>
                </a:lnTo>
                <a:lnTo>
                  <a:pt x="575" y="326"/>
                </a:lnTo>
                <a:lnTo>
                  <a:pt x="575" y="328"/>
                </a:lnTo>
                <a:lnTo>
                  <a:pt x="575" y="331"/>
                </a:lnTo>
                <a:lnTo>
                  <a:pt x="575" y="333"/>
                </a:lnTo>
                <a:lnTo>
                  <a:pt x="575" y="335"/>
                </a:lnTo>
                <a:lnTo>
                  <a:pt x="577" y="335"/>
                </a:lnTo>
                <a:lnTo>
                  <a:pt x="577" y="333"/>
                </a:lnTo>
                <a:lnTo>
                  <a:pt x="580" y="331"/>
                </a:lnTo>
                <a:lnTo>
                  <a:pt x="580" y="328"/>
                </a:lnTo>
                <a:lnTo>
                  <a:pt x="582" y="326"/>
                </a:lnTo>
                <a:lnTo>
                  <a:pt x="584" y="324"/>
                </a:lnTo>
                <a:lnTo>
                  <a:pt x="587" y="324"/>
                </a:lnTo>
                <a:lnTo>
                  <a:pt x="589" y="324"/>
                </a:lnTo>
                <a:lnTo>
                  <a:pt x="591" y="324"/>
                </a:lnTo>
                <a:lnTo>
                  <a:pt x="594" y="326"/>
                </a:lnTo>
                <a:lnTo>
                  <a:pt x="596" y="324"/>
                </a:lnTo>
                <a:lnTo>
                  <a:pt x="596" y="321"/>
                </a:lnTo>
                <a:lnTo>
                  <a:pt x="598" y="321"/>
                </a:lnTo>
                <a:lnTo>
                  <a:pt x="605" y="321"/>
                </a:lnTo>
                <a:lnTo>
                  <a:pt x="607" y="321"/>
                </a:lnTo>
                <a:lnTo>
                  <a:pt x="610" y="321"/>
                </a:lnTo>
                <a:lnTo>
                  <a:pt x="614" y="324"/>
                </a:lnTo>
                <a:lnTo>
                  <a:pt x="614" y="326"/>
                </a:lnTo>
                <a:lnTo>
                  <a:pt x="614" y="328"/>
                </a:lnTo>
                <a:lnTo>
                  <a:pt x="612" y="331"/>
                </a:lnTo>
                <a:lnTo>
                  <a:pt x="614" y="328"/>
                </a:lnTo>
                <a:lnTo>
                  <a:pt x="614" y="331"/>
                </a:lnTo>
                <a:lnTo>
                  <a:pt x="614" y="333"/>
                </a:lnTo>
                <a:lnTo>
                  <a:pt x="614" y="335"/>
                </a:lnTo>
                <a:lnTo>
                  <a:pt x="612" y="338"/>
                </a:lnTo>
                <a:lnTo>
                  <a:pt x="614" y="335"/>
                </a:lnTo>
                <a:lnTo>
                  <a:pt x="614" y="338"/>
                </a:lnTo>
                <a:lnTo>
                  <a:pt x="617" y="338"/>
                </a:lnTo>
                <a:lnTo>
                  <a:pt x="617" y="340"/>
                </a:lnTo>
                <a:lnTo>
                  <a:pt x="617" y="338"/>
                </a:lnTo>
                <a:lnTo>
                  <a:pt x="617" y="333"/>
                </a:lnTo>
                <a:lnTo>
                  <a:pt x="617" y="328"/>
                </a:lnTo>
                <a:lnTo>
                  <a:pt x="617" y="326"/>
                </a:lnTo>
                <a:lnTo>
                  <a:pt x="617" y="328"/>
                </a:lnTo>
                <a:lnTo>
                  <a:pt x="617" y="331"/>
                </a:lnTo>
                <a:lnTo>
                  <a:pt x="617" y="328"/>
                </a:lnTo>
                <a:lnTo>
                  <a:pt x="617" y="326"/>
                </a:lnTo>
                <a:lnTo>
                  <a:pt x="619" y="326"/>
                </a:lnTo>
                <a:lnTo>
                  <a:pt x="621" y="326"/>
                </a:lnTo>
                <a:lnTo>
                  <a:pt x="624" y="326"/>
                </a:lnTo>
                <a:lnTo>
                  <a:pt x="624" y="328"/>
                </a:lnTo>
                <a:lnTo>
                  <a:pt x="624" y="326"/>
                </a:lnTo>
                <a:lnTo>
                  <a:pt x="626" y="328"/>
                </a:lnTo>
                <a:lnTo>
                  <a:pt x="628" y="328"/>
                </a:lnTo>
                <a:lnTo>
                  <a:pt x="631" y="331"/>
                </a:lnTo>
                <a:lnTo>
                  <a:pt x="633" y="333"/>
                </a:lnTo>
                <a:lnTo>
                  <a:pt x="633" y="335"/>
                </a:lnTo>
                <a:lnTo>
                  <a:pt x="633" y="333"/>
                </a:lnTo>
                <a:lnTo>
                  <a:pt x="633" y="331"/>
                </a:lnTo>
                <a:lnTo>
                  <a:pt x="631" y="328"/>
                </a:lnTo>
                <a:lnTo>
                  <a:pt x="628" y="328"/>
                </a:lnTo>
                <a:lnTo>
                  <a:pt x="628" y="326"/>
                </a:lnTo>
                <a:lnTo>
                  <a:pt x="631" y="326"/>
                </a:lnTo>
                <a:lnTo>
                  <a:pt x="633" y="324"/>
                </a:lnTo>
                <a:lnTo>
                  <a:pt x="635" y="324"/>
                </a:lnTo>
                <a:lnTo>
                  <a:pt x="638" y="326"/>
                </a:lnTo>
                <a:lnTo>
                  <a:pt x="638" y="321"/>
                </a:lnTo>
                <a:lnTo>
                  <a:pt x="640" y="319"/>
                </a:lnTo>
                <a:lnTo>
                  <a:pt x="642" y="319"/>
                </a:lnTo>
                <a:lnTo>
                  <a:pt x="642" y="321"/>
                </a:lnTo>
                <a:lnTo>
                  <a:pt x="645" y="321"/>
                </a:lnTo>
                <a:lnTo>
                  <a:pt x="642" y="324"/>
                </a:lnTo>
                <a:lnTo>
                  <a:pt x="642" y="326"/>
                </a:lnTo>
                <a:lnTo>
                  <a:pt x="645" y="326"/>
                </a:lnTo>
                <a:lnTo>
                  <a:pt x="645" y="328"/>
                </a:lnTo>
                <a:lnTo>
                  <a:pt x="647" y="328"/>
                </a:lnTo>
                <a:lnTo>
                  <a:pt x="649" y="331"/>
                </a:lnTo>
                <a:lnTo>
                  <a:pt x="647" y="331"/>
                </a:lnTo>
                <a:lnTo>
                  <a:pt x="647" y="333"/>
                </a:lnTo>
                <a:lnTo>
                  <a:pt x="647" y="335"/>
                </a:lnTo>
                <a:lnTo>
                  <a:pt x="645" y="338"/>
                </a:lnTo>
                <a:lnTo>
                  <a:pt x="642" y="345"/>
                </a:lnTo>
                <a:lnTo>
                  <a:pt x="642" y="347"/>
                </a:lnTo>
                <a:lnTo>
                  <a:pt x="640" y="347"/>
                </a:lnTo>
                <a:lnTo>
                  <a:pt x="640" y="349"/>
                </a:lnTo>
                <a:lnTo>
                  <a:pt x="638" y="352"/>
                </a:lnTo>
                <a:lnTo>
                  <a:pt x="638" y="356"/>
                </a:lnTo>
                <a:lnTo>
                  <a:pt x="635" y="356"/>
                </a:lnTo>
                <a:lnTo>
                  <a:pt x="635" y="359"/>
                </a:lnTo>
                <a:lnTo>
                  <a:pt x="635" y="361"/>
                </a:lnTo>
                <a:lnTo>
                  <a:pt x="633" y="361"/>
                </a:lnTo>
                <a:lnTo>
                  <a:pt x="633" y="363"/>
                </a:lnTo>
                <a:lnTo>
                  <a:pt x="633" y="368"/>
                </a:lnTo>
                <a:lnTo>
                  <a:pt x="628" y="375"/>
                </a:lnTo>
                <a:lnTo>
                  <a:pt x="626" y="375"/>
                </a:lnTo>
                <a:lnTo>
                  <a:pt x="626" y="377"/>
                </a:lnTo>
                <a:lnTo>
                  <a:pt x="624" y="377"/>
                </a:lnTo>
                <a:lnTo>
                  <a:pt x="624" y="380"/>
                </a:lnTo>
                <a:lnTo>
                  <a:pt x="628" y="380"/>
                </a:lnTo>
                <a:lnTo>
                  <a:pt x="633" y="377"/>
                </a:lnTo>
                <a:lnTo>
                  <a:pt x="633" y="375"/>
                </a:lnTo>
                <a:lnTo>
                  <a:pt x="635" y="375"/>
                </a:lnTo>
                <a:lnTo>
                  <a:pt x="635" y="373"/>
                </a:lnTo>
                <a:lnTo>
                  <a:pt x="638" y="373"/>
                </a:lnTo>
                <a:lnTo>
                  <a:pt x="638" y="370"/>
                </a:lnTo>
                <a:lnTo>
                  <a:pt x="640" y="368"/>
                </a:lnTo>
                <a:lnTo>
                  <a:pt x="640" y="366"/>
                </a:lnTo>
                <a:lnTo>
                  <a:pt x="640" y="363"/>
                </a:lnTo>
                <a:lnTo>
                  <a:pt x="642" y="361"/>
                </a:lnTo>
                <a:lnTo>
                  <a:pt x="642" y="359"/>
                </a:lnTo>
                <a:lnTo>
                  <a:pt x="649" y="349"/>
                </a:lnTo>
                <a:lnTo>
                  <a:pt x="652" y="347"/>
                </a:lnTo>
                <a:lnTo>
                  <a:pt x="652" y="345"/>
                </a:lnTo>
                <a:lnTo>
                  <a:pt x="652" y="342"/>
                </a:lnTo>
                <a:lnTo>
                  <a:pt x="656" y="333"/>
                </a:lnTo>
                <a:lnTo>
                  <a:pt x="659" y="331"/>
                </a:lnTo>
                <a:lnTo>
                  <a:pt x="661" y="328"/>
                </a:lnTo>
                <a:lnTo>
                  <a:pt x="663" y="328"/>
                </a:lnTo>
                <a:lnTo>
                  <a:pt x="663" y="326"/>
                </a:lnTo>
                <a:lnTo>
                  <a:pt x="666" y="324"/>
                </a:lnTo>
                <a:lnTo>
                  <a:pt x="666" y="321"/>
                </a:lnTo>
                <a:lnTo>
                  <a:pt x="668" y="319"/>
                </a:lnTo>
                <a:lnTo>
                  <a:pt x="670" y="319"/>
                </a:lnTo>
                <a:lnTo>
                  <a:pt x="673" y="317"/>
                </a:lnTo>
                <a:lnTo>
                  <a:pt x="675" y="312"/>
                </a:lnTo>
                <a:lnTo>
                  <a:pt x="677" y="310"/>
                </a:lnTo>
                <a:lnTo>
                  <a:pt x="680" y="310"/>
                </a:lnTo>
                <a:lnTo>
                  <a:pt x="682" y="310"/>
                </a:lnTo>
                <a:lnTo>
                  <a:pt x="684" y="310"/>
                </a:lnTo>
                <a:lnTo>
                  <a:pt x="684" y="308"/>
                </a:lnTo>
                <a:lnTo>
                  <a:pt x="684" y="310"/>
                </a:lnTo>
                <a:lnTo>
                  <a:pt x="682" y="310"/>
                </a:lnTo>
                <a:lnTo>
                  <a:pt x="682" y="312"/>
                </a:lnTo>
                <a:lnTo>
                  <a:pt x="682" y="315"/>
                </a:lnTo>
                <a:lnTo>
                  <a:pt x="680" y="317"/>
                </a:lnTo>
                <a:lnTo>
                  <a:pt x="677" y="317"/>
                </a:lnTo>
                <a:lnTo>
                  <a:pt x="677" y="319"/>
                </a:lnTo>
                <a:lnTo>
                  <a:pt x="677" y="321"/>
                </a:lnTo>
                <a:lnTo>
                  <a:pt x="675" y="324"/>
                </a:lnTo>
                <a:lnTo>
                  <a:pt x="673" y="324"/>
                </a:lnTo>
                <a:lnTo>
                  <a:pt x="673" y="326"/>
                </a:lnTo>
                <a:lnTo>
                  <a:pt x="670" y="326"/>
                </a:lnTo>
                <a:lnTo>
                  <a:pt x="673" y="326"/>
                </a:lnTo>
                <a:lnTo>
                  <a:pt x="675" y="326"/>
                </a:lnTo>
                <a:lnTo>
                  <a:pt x="677" y="324"/>
                </a:lnTo>
                <a:lnTo>
                  <a:pt x="680" y="324"/>
                </a:lnTo>
                <a:lnTo>
                  <a:pt x="680" y="321"/>
                </a:lnTo>
                <a:lnTo>
                  <a:pt x="680" y="319"/>
                </a:lnTo>
                <a:lnTo>
                  <a:pt x="682" y="319"/>
                </a:lnTo>
                <a:lnTo>
                  <a:pt x="682" y="317"/>
                </a:lnTo>
                <a:lnTo>
                  <a:pt x="684" y="317"/>
                </a:lnTo>
                <a:lnTo>
                  <a:pt x="684" y="315"/>
                </a:lnTo>
                <a:lnTo>
                  <a:pt x="687" y="315"/>
                </a:lnTo>
                <a:lnTo>
                  <a:pt x="687" y="312"/>
                </a:lnTo>
                <a:lnTo>
                  <a:pt x="694" y="305"/>
                </a:lnTo>
                <a:lnTo>
                  <a:pt x="696" y="303"/>
                </a:lnTo>
                <a:lnTo>
                  <a:pt x="698" y="301"/>
                </a:lnTo>
                <a:lnTo>
                  <a:pt x="698" y="298"/>
                </a:lnTo>
                <a:lnTo>
                  <a:pt x="701" y="298"/>
                </a:lnTo>
                <a:lnTo>
                  <a:pt x="701" y="301"/>
                </a:lnTo>
                <a:lnTo>
                  <a:pt x="703" y="303"/>
                </a:lnTo>
                <a:lnTo>
                  <a:pt x="703" y="308"/>
                </a:lnTo>
                <a:lnTo>
                  <a:pt x="705" y="308"/>
                </a:lnTo>
                <a:lnTo>
                  <a:pt x="705" y="310"/>
                </a:lnTo>
                <a:lnTo>
                  <a:pt x="705" y="312"/>
                </a:lnTo>
                <a:lnTo>
                  <a:pt x="708" y="312"/>
                </a:lnTo>
                <a:lnTo>
                  <a:pt x="708" y="315"/>
                </a:lnTo>
                <a:lnTo>
                  <a:pt x="710" y="315"/>
                </a:lnTo>
                <a:lnTo>
                  <a:pt x="712" y="315"/>
                </a:lnTo>
                <a:lnTo>
                  <a:pt x="712" y="317"/>
                </a:lnTo>
                <a:lnTo>
                  <a:pt x="715" y="317"/>
                </a:lnTo>
                <a:lnTo>
                  <a:pt x="715" y="315"/>
                </a:lnTo>
                <a:lnTo>
                  <a:pt x="712" y="315"/>
                </a:lnTo>
                <a:lnTo>
                  <a:pt x="712" y="312"/>
                </a:lnTo>
                <a:lnTo>
                  <a:pt x="710" y="310"/>
                </a:lnTo>
                <a:lnTo>
                  <a:pt x="710" y="308"/>
                </a:lnTo>
                <a:lnTo>
                  <a:pt x="712" y="308"/>
                </a:lnTo>
                <a:lnTo>
                  <a:pt x="715" y="308"/>
                </a:lnTo>
                <a:lnTo>
                  <a:pt x="717" y="308"/>
                </a:lnTo>
                <a:lnTo>
                  <a:pt x="719" y="308"/>
                </a:lnTo>
                <a:lnTo>
                  <a:pt x="722" y="305"/>
                </a:lnTo>
                <a:lnTo>
                  <a:pt x="719" y="305"/>
                </a:lnTo>
                <a:lnTo>
                  <a:pt x="717" y="305"/>
                </a:lnTo>
                <a:lnTo>
                  <a:pt x="715" y="305"/>
                </a:lnTo>
                <a:lnTo>
                  <a:pt x="712" y="305"/>
                </a:lnTo>
                <a:lnTo>
                  <a:pt x="710" y="305"/>
                </a:lnTo>
                <a:lnTo>
                  <a:pt x="710" y="303"/>
                </a:lnTo>
                <a:lnTo>
                  <a:pt x="710" y="301"/>
                </a:lnTo>
                <a:lnTo>
                  <a:pt x="710" y="296"/>
                </a:lnTo>
                <a:lnTo>
                  <a:pt x="712" y="291"/>
                </a:lnTo>
                <a:lnTo>
                  <a:pt x="715" y="289"/>
                </a:lnTo>
                <a:lnTo>
                  <a:pt x="717" y="289"/>
                </a:lnTo>
                <a:lnTo>
                  <a:pt x="715" y="291"/>
                </a:lnTo>
                <a:lnTo>
                  <a:pt x="715" y="294"/>
                </a:lnTo>
                <a:lnTo>
                  <a:pt x="717" y="294"/>
                </a:lnTo>
                <a:lnTo>
                  <a:pt x="722" y="296"/>
                </a:lnTo>
                <a:lnTo>
                  <a:pt x="722" y="294"/>
                </a:lnTo>
                <a:lnTo>
                  <a:pt x="724" y="289"/>
                </a:lnTo>
                <a:lnTo>
                  <a:pt x="724" y="287"/>
                </a:lnTo>
                <a:lnTo>
                  <a:pt x="726" y="284"/>
                </a:lnTo>
                <a:lnTo>
                  <a:pt x="729" y="287"/>
                </a:lnTo>
                <a:lnTo>
                  <a:pt x="726" y="284"/>
                </a:lnTo>
                <a:lnTo>
                  <a:pt x="726" y="282"/>
                </a:lnTo>
                <a:lnTo>
                  <a:pt x="729" y="282"/>
                </a:lnTo>
                <a:lnTo>
                  <a:pt x="731" y="282"/>
                </a:lnTo>
                <a:lnTo>
                  <a:pt x="729" y="282"/>
                </a:lnTo>
                <a:lnTo>
                  <a:pt x="726" y="282"/>
                </a:lnTo>
                <a:lnTo>
                  <a:pt x="726" y="280"/>
                </a:lnTo>
                <a:lnTo>
                  <a:pt x="726" y="277"/>
                </a:lnTo>
                <a:lnTo>
                  <a:pt x="731" y="277"/>
                </a:lnTo>
                <a:lnTo>
                  <a:pt x="733" y="277"/>
                </a:lnTo>
                <a:lnTo>
                  <a:pt x="733" y="275"/>
                </a:lnTo>
                <a:lnTo>
                  <a:pt x="733" y="273"/>
                </a:lnTo>
                <a:lnTo>
                  <a:pt x="735" y="273"/>
                </a:lnTo>
                <a:lnTo>
                  <a:pt x="735" y="270"/>
                </a:lnTo>
                <a:lnTo>
                  <a:pt x="735" y="268"/>
                </a:lnTo>
                <a:lnTo>
                  <a:pt x="738" y="268"/>
                </a:lnTo>
                <a:lnTo>
                  <a:pt x="735" y="268"/>
                </a:lnTo>
                <a:lnTo>
                  <a:pt x="735" y="266"/>
                </a:lnTo>
                <a:lnTo>
                  <a:pt x="738" y="266"/>
                </a:lnTo>
                <a:lnTo>
                  <a:pt x="738" y="263"/>
                </a:lnTo>
                <a:lnTo>
                  <a:pt x="735" y="263"/>
                </a:lnTo>
                <a:lnTo>
                  <a:pt x="735" y="261"/>
                </a:lnTo>
                <a:lnTo>
                  <a:pt x="740" y="256"/>
                </a:lnTo>
                <a:lnTo>
                  <a:pt x="745" y="252"/>
                </a:lnTo>
                <a:lnTo>
                  <a:pt x="747" y="254"/>
                </a:lnTo>
                <a:lnTo>
                  <a:pt x="747" y="256"/>
                </a:lnTo>
                <a:lnTo>
                  <a:pt x="745" y="256"/>
                </a:lnTo>
                <a:lnTo>
                  <a:pt x="747" y="256"/>
                </a:lnTo>
                <a:lnTo>
                  <a:pt x="747" y="259"/>
                </a:lnTo>
                <a:lnTo>
                  <a:pt x="749" y="261"/>
                </a:lnTo>
                <a:lnTo>
                  <a:pt x="752" y="259"/>
                </a:lnTo>
                <a:lnTo>
                  <a:pt x="756" y="256"/>
                </a:lnTo>
                <a:lnTo>
                  <a:pt x="756" y="254"/>
                </a:lnTo>
                <a:lnTo>
                  <a:pt x="759" y="254"/>
                </a:lnTo>
                <a:lnTo>
                  <a:pt x="761" y="256"/>
                </a:lnTo>
                <a:lnTo>
                  <a:pt x="761" y="254"/>
                </a:lnTo>
                <a:lnTo>
                  <a:pt x="759" y="254"/>
                </a:lnTo>
                <a:lnTo>
                  <a:pt x="759" y="252"/>
                </a:lnTo>
                <a:lnTo>
                  <a:pt x="761" y="249"/>
                </a:lnTo>
                <a:lnTo>
                  <a:pt x="761" y="247"/>
                </a:lnTo>
                <a:lnTo>
                  <a:pt x="763" y="249"/>
                </a:lnTo>
                <a:lnTo>
                  <a:pt x="763" y="252"/>
                </a:lnTo>
                <a:lnTo>
                  <a:pt x="766" y="252"/>
                </a:lnTo>
                <a:lnTo>
                  <a:pt x="766" y="254"/>
                </a:lnTo>
                <a:lnTo>
                  <a:pt x="768" y="254"/>
                </a:lnTo>
                <a:lnTo>
                  <a:pt x="766" y="259"/>
                </a:lnTo>
                <a:lnTo>
                  <a:pt x="766" y="261"/>
                </a:lnTo>
                <a:lnTo>
                  <a:pt x="770" y="259"/>
                </a:lnTo>
                <a:lnTo>
                  <a:pt x="773" y="259"/>
                </a:lnTo>
                <a:lnTo>
                  <a:pt x="775" y="256"/>
                </a:lnTo>
                <a:lnTo>
                  <a:pt x="775" y="254"/>
                </a:lnTo>
                <a:lnTo>
                  <a:pt x="777" y="254"/>
                </a:lnTo>
                <a:lnTo>
                  <a:pt x="775" y="252"/>
                </a:lnTo>
                <a:lnTo>
                  <a:pt x="777" y="249"/>
                </a:lnTo>
                <a:lnTo>
                  <a:pt x="777" y="252"/>
                </a:lnTo>
                <a:lnTo>
                  <a:pt x="780" y="252"/>
                </a:lnTo>
                <a:lnTo>
                  <a:pt x="780" y="254"/>
                </a:lnTo>
                <a:lnTo>
                  <a:pt x="780" y="256"/>
                </a:lnTo>
                <a:lnTo>
                  <a:pt x="782" y="256"/>
                </a:lnTo>
                <a:lnTo>
                  <a:pt x="782" y="259"/>
                </a:lnTo>
                <a:lnTo>
                  <a:pt x="782" y="261"/>
                </a:lnTo>
                <a:lnTo>
                  <a:pt x="782" y="263"/>
                </a:lnTo>
                <a:lnTo>
                  <a:pt x="787" y="263"/>
                </a:lnTo>
                <a:lnTo>
                  <a:pt x="787" y="266"/>
                </a:lnTo>
                <a:lnTo>
                  <a:pt x="789" y="266"/>
                </a:lnTo>
                <a:lnTo>
                  <a:pt x="789" y="263"/>
                </a:lnTo>
                <a:lnTo>
                  <a:pt x="787" y="261"/>
                </a:lnTo>
                <a:lnTo>
                  <a:pt x="787" y="259"/>
                </a:lnTo>
                <a:lnTo>
                  <a:pt x="784" y="259"/>
                </a:lnTo>
                <a:lnTo>
                  <a:pt x="784" y="261"/>
                </a:lnTo>
                <a:lnTo>
                  <a:pt x="784" y="254"/>
                </a:lnTo>
                <a:lnTo>
                  <a:pt x="784" y="252"/>
                </a:lnTo>
                <a:lnTo>
                  <a:pt x="787" y="252"/>
                </a:lnTo>
                <a:lnTo>
                  <a:pt x="784" y="252"/>
                </a:lnTo>
                <a:lnTo>
                  <a:pt x="787" y="252"/>
                </a:lnTo>
                <a:lnTo>
                  <a:pt x="789" y="252"/>
                </a:lnTo>
                <a:lnTo>
                  <a:pt x="789" y="254"/>
                </a:lnTo>
                <a:lnTo>
                  <a:pt x="787" y="256"/>
                </a:lnTo>
                <a:lnTo>
                  <a:pt x="789" y="259"/>
                </a:lnTo>
                <a:lnTo>
                  <a:pt x="789" y="256"/>
                </a:lnTo>
                <a:lnTo>
                  <a:pt x="789" y="259"/>
                </a:lnTo>
                <a:lnTo>
                  <a:pt x="791" y="259"/>
                </a:lnTo>
                <a:lnTo>
                  <a:pt x="791" y="256"/>
                </a:lnTo>
                <a:lnTo>
                  <a:pt x="789" y="256"/>
                </a:lnTo>
                <a:lnTo>
                  <a:pt x="791" y="254"/>
                </a:lnTo>
                <a:lnTo>
                  <a:pt x="794" y="256"/>
                </a:lnTo>
                <a:lnTo>
                  <a:pt x="794" y="254"/>
                </a:lnTo>
                <a:lnTo>
                  <a:pt x="796" y="252"/>
                </a:lnTo>
                <a:lnTo>
                  <a:pt x="798" y="254"/>
                </a:lnTo>
                <a:lnTo>
                  <a:pt x="796" y="254"/>
                </a:lnTo>
                <a:lnTo>
                  <a:pt x="796" y="256"/>
                </a:lnTo>
                <a:lnTo>
                  <a:pt x="798" y="256"/>
                </a:lnTo>
                <a:lnTo>
                  <a:pt x="798" y="259"/>
                </a:lnTo>
                <a:lnTo>
                  <a:pt x="801" y="259"/>
                </a:lnTo>
                <a:lnTo>
                  <a:pt x="801" y="256"/>
                </a:lnTo>
                <a:lnTo>
                  <a:pt x="801" y="254"/>
                </a:lnTo>
                <a:lnTo>
                  <a:pt x="803" y="256"/>
                </a:lnTo>
                <a:lnTo>
                  <a:pt x="803" y="259"/>
                </a:lnTo>
                <a:lnTo>
                  <a:pt x="801" y="259"/>
                </a:lnTo>
                <a:lnTo>
                  <a:pt x="798" y="259"/>
                </a:lnTo>
                <a:lnTo>
                  <a:pt x="798" y="261"/>
                </a:lnTo>
                <a:lnTo>
                  <a:pt x="801" y="261"/>
                </a:lnTo>
                <a:lnTo>
                  <a:pt x="803" y="261"/>
                </a:lnTo>
                <a:lnTo>
                  <a:pt x="805" y="259"/>
                </a:lnTo>
                <a:lnTo>
                  <a:pt x="805" y="261"/>
                </a:lnTo>
                <a:lnTo>
                  <a:pt x="805" y="263"/>
                </a:lnTo>
                <a:lnTo>
                  <a:pt x="803" y="263"/>
                </a:lnTo>
                <a:lnTo>
                  <a:pt x="803" y="266"/>
                </a:lnTo>
                <a:lnTo>
                  <a:pt x="803" y="263"/>
                </a:lnTo>
                <a:lnTo>
                  <a:pt x="805" y="266"/>
                </a:lnTo>
                <a:lnTo>
                  <a:pt x="805" y="268"/>
                </a:lnTo>
                <a:lnTo>
                  <a:pt x="805" y="266"/>
                </a:lnTo>
                <a:lnTo>
                  <a:pt x="805" y="263"/>
                </a:lnTo>
                <a:lnTo>
                  <a:pt x="808" y="263"/>
                </a:lnTo>
                <a:lnTo>
                  <a:pt x="808" y="261"/>
                </a:lnTo>
                <a:lnTo>
                  <a:pt x="808" y="259"/>
                </a:lnTo>
                <a:lnTo>
                  <a:pt x="810" y="259"/>
                </a:lnTo>
                <a:lnTo>
                  <a:pt x="810" y="261"/>
                </a:lnTo>
                <a:lnTo>
                  <a:pt x="810" y="263"/>
                </a:lnTo>
                <a:lnTo>
                  <a:pt x="810" y="266"/>
                </a:lnTo>
                <a:lnTo>
                  <a:pt x="810" y="263"/>
                </a:lnTo>
                <a:lnTo>
                  <a:pt x="810" y="266"/>
                </a:lnTo>
                <a:lnTo>
                  <a:pt x="810" y="268"/>
                </a:lnTo>
                <a:lnTo>
                  <a:pt x="812" y="268"/>
                </a:lnTo>
                <a:lnTo>
                  <a:pt x="810" y="268"/>
                </a:lnTo>
                <a:lnTo>
                  <a:pt x="810" y="270"/>
                </a:lnTo>
                <a:lnTo>
                  <a:pt x="810" y="273"/>
                </a:lnTo>
                <a:lnTo>
                  <a:pt x="812" y="270"/>
                </a:lnTo>
                <a:lnTo>
                  <a:pt x="812" y="268"/>
                </a:lnTo>
                <a:lnTo>
                  <a:pt x="815" y="268"/>
                </a:lnTo>
                <a:lnTo>
                  <a:pt x="815" y="266"/>
                </a:lnTo>
                <a:lnTo>
                  <a:pt x="817" y="266"/>
                </a:lnTo>
                <a:lnTo>
                  <a:pt x="817" y="263"/>
                </a:lnTo>
                <a:lnTo>
                  <a:pt x="817" y="261"/>
                </a:lnTo>
                <a:lnTo>
                  <a:pt x="819" y="263"/>
                </a:lnTo>
                <a:lnTo>
                  <a:pt x="817" y="268"/>
                </a:lnTo>
                <a:lnTo>
                  <a:pt x="819" y="266"/>
                </a:lnTo>
                <a:lnTo>
                  <a:pt x="819" y="268"/>
                </a:lnTo>
                <a:lnTo>
                  <a:pt x="819" y="270"/>
                </a:lnTo>
                <a:lnTo>
                  <a:pt x="819" y="273"/>
                </a:lnTo>
                <a:lnTo>
                  <a:pt x="817" y="273"/>
                </a:lnTo>
                <a:lnTo>
                  <a:pt x="817" y="275"/>
                </a:lnTo>
                <a:lnTo>
                  <a:pt x="817" y="273"/>
                </a:lnTo>
                <a:lnTo>
                  <a:pt x="819" y="273"/>
                </a:lnTo>
                <a:lnTo>
                  <a:pt x="822" y="273"/>
                </a:lnTo>
                <a:lnTo>
                  <a:pt x="822" y="270"/>
                </a:lnTo>
                <a:lnTo>
                  <a:pt x="822" y="268"/>
                </a:lnTo>
                <a:lnTo>
                  <a:pt x="824" y="268"/>
                </a:lnTo>
                <a:lnTo>
                  <a:pt x="824" y="270"/>
                </a:lnTo>
                <a:lnTo>
                  <a:pt x="826" y="268"/>
                </a:lnTo>
                <a:lnTo>
                  <a:pt x="824" y="268"/>
                </a:lnTo>
                <a:lnTo>
                  <a:pt x="824" y="266"/>
                </a:lnTo>
                <a:lnTo>
                  <a:pt x="826" y="266"/>
                </a:lnTo>
                <a:lnTo>
                  <a:pt x="829" y="263"/>
                </a:lnTo>
                <a:lnTo>
                  <a:pt x="826" y="263"/>
                </a:lnTo>
                <a:lnTo>
                  <a:pt x="829" y="263"/>
                </a:lnTo>
                <a:lnTo>
                  <a:pt x="829" y="266"/>
                </a:lnTo>
                <a:lnTo>
                  <a:pt x="829" y="268"/>
                </a:lnTo>
                <a:lnTo>
                  <a:pt x="826" y="268"/>
                </a:lnTo>
                <a:lnTo>
                  <a:pt x="826" y="270"/>
                </a:lnTo>
                <a:lnTo>
                  <a:pt x="826" y="273"/>
                </a:lnTo>
                <a:lnTo>
                  <a:pt x="829" y="270"/>
                </a:lnTo>
                <a:lnTo>
                  <a:pt x="829" y="273"/>
                </a:lnTo>
                <a:lnTo>
                  <a:pt x="829" y="275"/>
                </a:lnTo>
                <a:lnTo>
                  <a:pt x="829" y="277"/>
                </a:lnTo>
                <a:lnTo>
                  <a:pt x="829" y="275"/>
                </a:lnTo>
                <a:lnTo>
                  <a:pt x="829" y="273"/>
                </a:lnTo>
                <a:lnTo>
                  <a:pt x="831" y="273"/>
                </a:lnTo>
                <a:lnTo>
                  <a:pt x="831" y="275"/>
                </a:lnTo>
                <a:lnTo>
                  <a:pt x="831" y="273"/>
                </a:lnTo>
                <a:lnTo>
                  <a:pt x="831" y="270"/>
                </a:lnTo>
                <a:lnTo>
                  <a:pt x="833" y="273"/>
                </a:lnTo>
                <a:lnTo>
                  <a:pt x="833" y="275"/>
                </a:lnTo>
                <a:lnTo>
                  <a:pt x="833" y="277"/>
                </a:lnTo>
                <a:lnTo>
                  <a:pt x="831" y="280"/>
                </a:lnTo>
                <a:lnTo>
                  <a:pt x="833" y="280"/>
                </a:lnTo>
                <a:lnTo>
                  <a:pt x="833" y="275"/>
                </a:lnTo>
                <a:lnTo>
                  <a:pt x="836" y="275"/>
                </a:lnTo>
                <a:lnTo>
                  <a:pt x="836" y="273"/>
                </a:lnTo>
                <a:lnTo>
                  <a:pt x="838" y="273"/>
                </a:lnTo>
                <a:lnTo>
                  <a:pt x="838" y="275"/>
                </a:lnTo>
                <a:lnTo>
                  <a:pt x="840" y="275"/>
                </a:lnTo>
                <a:lnTo>
                  <a:pt x="838" y="270"/>
                </a:lnTo>
                <a:lnTo>
                  <a:pt x="840" y="270"/>
                </a:lnTo>
                <a:lnTo>
                  <a:pt x="840" y="273"/>
                </a:lnTo>
                <a:lnTo>
                  <a:pt x="843" y="275"/>
                </a:lnTo>
                <a:lnTo>
                  <a:pt x="840" y="277"/>
                </a:lnTo>
                <a:lnTo>
                  <a:pt x="840" y="280"/>
                </a:lnTo>
                <a:lnTo>
                  <a:pt x="838" y="280"/>
                </a:lnTo>
                <a:lnTo>
                  <a:pt x="836" y="280"/>
                </a:lnTo>
                <a:lnTo>
                  <a:pt x="833" y="282"/>
                </a:lnTo>
                <a:lnTo>
                  <a:pt x="831" y="282"/>
                </a:lnTo>
                <a:lnTo>
                  <a:pt x="831" y="284"/>
                </a:lnTo>
                <a:lnTo>
                  <a:pt x="833" y="282"/>
                </a:lnTo>
                <a:lnTo>
                  <a:pt x="836" y="282"/>
                </a:lnTo>
                <a:lnTo>
                  <a:pt x="838" y="282"/>
                </a:lnTo>
                <a:lnTo>
                  <a:pt x="840" y="282"/>
                </a:lnTo>
                <a:lnTo>
                  <a:pt x="843" y="282"/>
                </a:lnTo>
                <a:lnTo>
                  <a:pt x="845" y="280"/>
                </a:lnTo>
                <a:lnTo>
                  <a:pt x="847" y="277"/>
                </a:lnTo>
                <a:lnTo>
                  <a:pt x="850" y="277"/>
                </a:lnTo>
                <a:lnTo>
                  <a:pt x="852" y="277"/>
                </a:lnTo>
                <a:lnTo>
                  <a:pt x="854" y="277"/>
                </a:lnTo>
                <a:lnTo>
                  <a:pt x="852" y="280"/>
                </a:lnTo>
                <a:lnTo>
                  <a:pt x="850" y="280"/>
                </a:lnTo>
                <a:lnTo>
                  <a:pt x="850" y="282"/>
                </a:lnTo>
                <a:lnTo>
                  <a:pt x="850" y="284"/>
                </a:lnTo>
                <a:lnTo>
                  <a:pt x="850" y="287"/>
                </a:lnTo>
                <a:lnTo>
                  <a:pt x="850" y="289"/>
                </a:lnTo>
                <a:lnTo>
                  <a:pt x="852" y="289"/>
                </a:lnTo>
                <a:lnTo>
                  <a:pt x="852" y="287"/>
                </a:lnTo>
                <a:lnTo>
                  <a:pt x="854" y="289"/>
                </a:lnTo>
                <a:lnTo>
                  <a:pt x="854" y="287"/>
                </a:lnTo>
                <a:lnTo>
                  <a:pt x="857" y="287"/>
                </a:lnTo>
                <a:lnTo>
                  <a:pt x="857" y="289"/>
                </a:lnTo>
                <a:lnTo>
                  <a:pt x="857" y="291"/>
                </a:lnTo>
                <a:lnTo>
                  <a:pt x="857" y="289"/>
                </a:lnTo>
                <a:lnTo>
                  <a:pt x="859" y="289"/>
                </a:lnTo>
                <a:lnTo>
                  <a:pt x="859" y="287"/>
                </a:lnTo>
                <a:lnTo>
                  <a:pt x="859" y="289"/>
                </a:lnTo>
                <a:lnTo>
                  <a:pt x="859" y="291"/>
                </a:lnTo>
                <a:lnTo>
                  <a:pt x="859" y="294"/>
                </a:lnTo>
                <a:lnTo>
                  <a:pt x="861" y="291"/>
                </a:lnTo>
                <a:lnTo>
                  <a:pt x="861" y="289"/>
                </a:lnTo>
                <a:lnTo>
                  <a:pt x="864" y="291"/>
                </a:lnTo>
                <a:lnTo>
                  <a:pt x="864" y="294"/>
                </a:lnTo>
                <a:lnTo>
                  <a:pt x="864" y="291"/>
                </a:lnTo>
                <a:lnTo>
                  <a:pt x="864" y="289"/>
                </a:lnTo>
                <a:lnTo>
                  <a:pt x="861" y="289"/>
                </a:lnTo>
                <a:lnTo>
                  <a:pt x="864" y="287"/>
                </a:lnTo>
                <a:lnTo>
                  <a:pt x="864" y="284"/>
                </a:lnTo>
                <a:lnTo>
                  <a:pt x="864" y="282"/>
                </a:lnTo>
                <a:lnTo>
                  <a:pt x="866" y="282"/>
                </a:lnTo>
                <a:lnTo>
                  <a:pt x="868" y="280"/>
                </a:lnTo>
                <a:lnTo>
                  <a:pt x="870" y="282"/>
                </a:lnTo>
                <a:lnTo>
                  <a:pt x="870" y="284"/>
                </a:lnTo>
                <a:lnTo>
                  <a:pt x="868" y="284"/>
                </a:lnTo>
                <a:lnTo>
                  <a:pt x="868" y="287"/>
                </a:lnTo>
                <a:lnTo>
                  <a:pt x="866" y="287"/>
                </a:lnTo>
                <a:lnTo>
                  <a:pt x="868" y="287"/>
                </a:lnTo>
                <a:lnTo>
                  <a:pt x="868" y="289"/>
                </a:lnTo>
                <a:lnTo>
                  <a:pt x="866" y="289"/>
                </a:lnTo>
                <a:lnTo>
                  <a:pt x="868" y="289"/>
                </a:lnTo>
                <a:lnTo>
                  <a:pt x="866" y="289"/>
                </a:lnTo>
                <a:lnTo>
                  <a:pt x="866" y="291"/>
                </a:lnTo>
                <a:lnTo>
                  <a:pt x="864" y="298"/>
                </a:lnTo>
                <a:lnTo>
                  <a:pt x="866" y="296"/>
                </a:lnTo>
                <a:lnTo>
                  <a:pt x="868" y="296"/>
                </a:lnTo>
                <a:lnTo>
                  <a:pt x="868" y="298"/>
                </a:lnTo>
                <a:lnTo>
                  <a:pt x="870" y="298"/>
                </a:lnTo>
                <a:lnTo>
                  <a:pt x="870" y="296"/>
                </a:lnTo>
                <a:lnTo>
                  <a:pt x="870" y="298"/>
                </a:lnTo>
                <a:lnTo>
                  <a:pt x="873" y="298"/>
                </a:lnTo>
                <a:lnTo>
                  <a:pt x="873" y="294"/>
                </a:lnTo>
                <a:lnTo>
                  <a:pt x="875" y="294"/>
                </a:lnTo>
                <a:lnTo>
                  <a:pt x="875" y="296"/>
                </a:lnTo>
                <a:lnTo>
                  <a:pt x="875" y="298"/>
                </a:lnTo>
                <a:lnTo>
                  <a:pt x="875" y="301"/>
                </a:lnTo>
                <a:lnTo>
                  <a:pt x="873" y="301"/>
                </a:lnTo>
                <a:lnTo>
                  <a:pt x="875" y="303"/>
                </a:lnTo>
                <a:lnTo>
                  <a:pt x="873" y="303"/>
                </a:lnTo>
                <a:lnTo>
                  <a:pt x="870" y="303"/>
                </a:lnTo>
                <a:lnTo>
                  <a:pt x="870" y="305"/>
                </a:lnTo>
                <a:lnTo>
                  <a:pt x="868" y="305"/>
                </a:lnTo>
                <a:lnTo>
                  <a:pt x="868" y="308"/>
                </a:lnTo>
                <a:lnTo>
                  <a:pt x="870" y="310"/>
                </a:lnTo>
                <a:lnTo>
                  <a:pt x="870" y="312"/>
                </a:lnTo>
                <a:lnTo>
                  <a:pt x="868" y="315"/>
                </a:lnTo>
                <a:lnTo>
                  <a:pt x="868" y="317"/>
                </a:lnTo>
                <a:lnTo>
                  <a:pt x="866" y="319"/>
                </a:lnTo>
                <a:lnTo>
                  <a:pt x="866" y="324"/>
                </a:lnTo>
                <a:lnTo>
                  <a:pt x="866" y="326"/>
                </a:lnTo>
                <a:lnTo>
                  <a:pt x="864" y="326"/>
                </a:lnTo>
                <a:lnTo>
                  <a:pt x="864" y="328"/>
                </a:lnTo>
                <a:lnTo>
                  <a:pt x="864" y="333"/>
                </a:lnTo>
                <a:lnTo>
                  <a:pt x="861" y="333"/>
                </a:lnTo>
                <a:lnTo>
                  <a:pt x="861" y="335"/>
                </a:lnTo>
                <a:lnTo>
                  <a:pt x="857" y="335"/>
                </a:lnTo>
                <a:lnTo>
                  <a:pt x="854" y="335"/>
                </a:lnTo>
                <a:lnTo>
                  <a:pt x="857" y="338"/>
                </a:lnTo>
                <a:lnTo>
                  <a:pt x="857" y="340"/>
                </a:lnTo>
                <a:lnTo>
                  <a:pt x="859" y="340"/>
                </a:lnTo>
                <a:lnTo>
                  <a:pt x="861" y="340"/>
                </a:lnTo>
                <a:lnTo>
                  <a:pt x="861" y="342"/>
                </a:lnTo>
                <a:lnTo>
                  <a:pt x="861" y="345"/>
                </a:lnTo>
                <a:lnTo>
                  <a:pt x="861" y="347"/>
                </a:lnTo>
                <a:lnTo>
                  <a:pt x="861" y="349"/>
                </a:lnTo>
                <a:lnTo>
                  <a:pt x="859" y="352"/>
                </a:lnTo>
                <a:lnTo>
                  <a:pt x="857" y="356"/>
                </a:lnTo>
                <a:lnTo>
                  <a:pt x="854" y="363"/>
                </a:lnTo>
                <a:lnTo>
                  <a:pt x="854" y="366"/>
                </a:lnTo>
                <a:lnTo>
                  <a:pt x="852" y="368"/>
                </a:lnTo>
                <a:lnTo>
                  <a:pt x="850" y="368"/>
                </a:lnTo>
                <a:lnTo>
                  <a:pt x="850" y="370"/>
                </a:lnTo>
                <a:lnTo>
                  <a:pt x="847" y="370"/>
                </a:lnTo>
                <a:lnTo>
                  <a:pt x="847" y="368"/>
                </a:lnTo>
                <a:lnTo>
                  <a:pt x="845" y="368"/>
                </a:lnTo>
                <a:lnTo>
                  <a:pt x="845" y="370"/>
                </a:lnTo>
                <a:lnTo>
                  <a:pt x="845" y="373"/>
                </a:lnTo>
                <a:lnTo>
                  <a:pt x="845" y="375"/>
                </a:lnTo>
                <a:lnTo>
                  <a:pt x="843" y="377"/>
                </a:lnTo>
                <a:lnTo>
                  <a:pt x="845" y="377"/>
                </a:lnTo>
                <a:lnTo>
                  <a:pt x="845" y="380"/>
                </a:lnTo>
                <a:lnTo>
                  <a:pt x="843" y="380"/>
                </a:lnTo>
                <a:lnTo>
                  <a:pt x="843" y="382"/>
                </a:lnTo>
                <a:lnTo>
                  <a:pt x="843" y="384"/>
                </a:lnTo>
                <a:lnTo>
                  <a:pt x="843" y="387"/>
                </a:lnTo>
                <a:lnTo>
                  <a:pt x="843" y="389"/>
                </a:lnTo>
                <a:lnTo>
                  <a:pt x="840" y="389"/>
                </a:lnTo>
                <a:lnTo>
                  <a:pt x="838" y="389"/>
                </a:lnTo>
                <a:lnTo>
                  <a:pt x="838" y="391"/>
                </a:lnTo>
                <a:lnTo>
                  <a:pt x="836" y="394"/>
                </a:lnTo>
                <a:lnTo>
                  <a:pt x="833" y="394"/>
                </a:lnTo>
                <a:lnTo>
                  <a:pt x="831" y="396"/>
                </a:lnTo>
                <a:lnTo>
                  <a:pt x="829" y="396"/>
                </a:lnTo>
                <a:lnTo>
                  <a:pt x="826" y="398"/>
                </a:lnTo>
                <a:lnTo>
                  <a:pt x="826" y="401"/>
                </a:lnTo>
                <a:lnTo>
                  <a:pt x="829" y="405"/>
                </a:lnTo>
                <a:lnTo>
                  <a:pt x="829" y="408"/>
                </a:lnTo>
                <a:lnTo>
                  <a:pt x="831" y="408"/>
                </a:lnTo>
                <a:lnTo>
                  <a:pt x="829" y="410"/>
                </a:lnTo>
                <a:lnTo>
                  <a:pt x="826" y="410"/>
                </a:lnTo>
                <a:lnTo>
                  <a:pt x="829" y="412"/>
                </a:lnTo>
                <a:lnTo>
                  <a:pt x="826" y="410"/>
                </a:lnTo>
                <a:lnTo>
                  <a:pt x="826" y="412"/>
                </a:lnTo>
                <a:lnTo>
                  <a:pt x="826" y="417"/>
                </a:lnTo>
                <a:lnTo>
                  <a:pt x="826" y="419"/>
                </a:lnTo>
                <a:lnTo>
                  <a:pt x="824" y="419"/>
                </a:lnTo>
                <a:lnTo>
                  <a:pt x="824" y="424"/>
                </a:lnTo>
                <a:lnTo>
                  <a:pt x="822" y="426"/>
                </a:lnTo>
                <a:lnTo>
                  <a:pt x="822" y="429"/>
                </a:lnTo>
                <a:lnTo>
                  <a:pt x="819" y="426"/>
                </a:lnTo>
                <a:lnTo>
                  <a:pt x="817" y="429"/>
                </a:lnTo>
                <a:lnTo>
                  <a:pt x="819" y="429"/>
                </a:lnTo>
                <a:lnTo>
                  <a:pt x="817" y="431"/>
                </a:lnTo>
                <a:lnTo>
                  <a:pt x="815" y="431"/>
                </a:lnTo>
                <a:lnTo>
                  <a:pt x="817" y="433"/>
                </a:lnTo>
                <a:lnTo>
                  <a:pt x="815" y="433"/>
                </a:lnTo>
                <a:lnTo>
                  <a:pt x="815" y="436"/>
                </a:lnTo>
                <a:lnTo>
                  <a:pt x="812" y="436"/>
                </a:lnTo>
                <a:lnTo>
                  <a:pt x="812" y="438"/>
                </a:lnTo>
                <a:lnTo>
                  <a:pt x="810" y="438"/>
                </a:lnTo>
                <a:lnTo>
                  <a:pt x="808" y="438"/>
                </a:lnTo>
                <a:lnTo>
                  <a:pt x="805" y="440"/>
                </a:lnTo>
                <a:lnTo>
                  <a:pt x="805" y="443"/>
                </a:lnTo>
                <a:lnTo>
                  <a:pt x="803" y="440"/>
                </a:lnTo>
                <a:lnTo>
                  <a:pt x="803" y="443"/>
                </a:lnTo>
                <a:lnTo>
                  <a:pt x="803" y="445"/>
                </a:lnTo>
                <a:lnTo>
                  <a:pt x="801" y="447"/>
                </a:lnTo>
                <a:lnTo>
                  <a:pt x="801" y="450"/>
                </a:lnTo>
                <a:lnTo>
                  <a:pt x="801" y="452"/>
                </a:lnTo>
                <a:lnTo>
                  <a:pt x="798" y="452"/>
                </a:lnTo>
                <a:lnTo>
                  <a:pt x="796" y="452"/>
                </a:lnTo>
                <a:lnTo>
                  <a:pt x="796" y="454"/>
                </a:lnTo>
                <a:lnTo>
                  <a:pt x="796" y="457"/>
                </a:lnTo>
                <a:lnTo>
                  <a:pt x="796" y="459"/>
                </a:lnTo>
                <a:lnTo>
                  <a:pt x="794" y="459"/>
                </a:lnTo>
                <a:lnTo>
                  <a:pt x="794" y="461"/>
                </a:lnTo>
                <a:lnTo>
                  <a:pt x="794" y="463"/>
                </a:lnTo>
                <a:lnTo>
                  <a:pt x="794" y="466"/>
                </a:lnTo>
                <a:lnTo>
                  <a:pt x="791" y="470"/>
                </a:lnTo>
                <a:lnTo>
                  <a:pt x="791" y="473"/>
                </a:lnTo>
                <a:lnTo>
                  <a:pt x="789" y="475"/>
                </a:lnTo>
                <a:lnTo>
                  <a:pt x="787" y="477"/>
                </a:lnTo>
                <a:lnTo>
                  <a:pt x="784" y="477"/>
                </a:lnTo>
                <a:lnTo>
                  <a:pt x="784" y="480"/>
                </a:lnTo>
                <a:lnTo>
                  <a:pt x="782" y="480"/>
                </a:lnTo>
                <a:lnTo>
                  <a:pt x="777" y="484"/>
                </a:lnTo>
                <a:lnTo>
                  <a:pt x="775" y="484"/>
                </a:lnTo>
                <a:lnTo>
                  <a:pt x="775" y="487"/>
                </a:lnTo>
                <a:lnTo>
                  <a:pt x="775" y="484"/>
                </a:lnTo>
                <a:lnTo>
                  <a:pt x="773" y="484"/>
                </a:lnTo>
                <a:lnTo>
                  <a:pt x="773" y="487"/>
                </a:lnTo>
                <a:lnTo>
                  <a:pt x="773" y="489"/>
                </a:lnTo>
                <a:lnTo>
                  <a:pt x="770" y="489"/>
                </a:lnTo>
                <a:lnTo>
                  <a:pt x="773" y="491"/>
                </a:lnTo>
                <a:lnTo>
                  <a:pt x="770" y="491"/>
                </a:lnTo>
                <a:lnTo>
                  <a:pt x="770" y="494"/>
                </a:lnTo>
                <a:lnTo>
                  <a:pt x="770" y="496"/>
                </a:lnTo>
                <a:lnTo>
                  <a:pt x="768" y="498"/>
                </a:lnTo>
                <a:lnTo>
                  <a:pt x="766" y="498"/>
                </a:lnTo>
                <a:lnTo>
                  <a:pt x="766" y="501"/>
                </a:lnTo>
                <a:lnTo>
                  <a:pt x="763" y="501"/>
                </a:lnTo>
                <a:lnTo>
                  <a:pt x="763" y="503"/>
                </a:lnTo>
                <a:lnTo>
                  <a:pt x="761" y="503"/>
                </a:lnTo>
                <a:lnTo>
                  <a:pt x="761" y="505"/>
                </a:lnTo>
                <a:lnTo>
                  <a:pt x="761" y="508"/>
                </a:lnTo>
                <a:lnTo>
                  <a:pt x="759" y="508"/>
                </a:lnTo>
                <a:lnTo>
                  <a:pt x="759" y="510"/>
                </a:lnTo>
                <a:lnTo>
                  <a:pt x="756" y="510"/>
                </a:lnTo>
                <a:lnTo>
                  <a:pt x="756" y="512"/>
                </a:lnTo>
                <a:lnTo>
                  <a:pt x="754" y="512"/>
                </a:lnTo>
                <a:lnTo>
                  <a:pt x="754" y="515"/>
                </a:lnTo>
                <a:lnTo>
                  <a:pt x="747" y="517"/>
                </a:lnTo>
                <a:lnTo>
                  <a:pt x="747" y="519"/>
                </a:lnTo>
                <a:lnTo>
                  <a:pt x="745" y="519"/>
                </a:lnTo>
                <a:lnTo>
                  <a:pt x="745" y="517"/>
                </a:lnTo>
                <a:lnTo>
                  <a:pt x="742" y="517"/>
                </a:lnTo>
                <a:lnTo>
                  <a:pt x="740" y="517"/>
                </a:lnTo>
                <a:lnTo>
                  <a:pt x="738" y="517"/>
                </a:lnTo>
                <a:lnTo>
                  <a:pt x="708" y="538"/>
                </a:lnTo>
                <a:lnTo>
                  <a:pt x="673" y="561"/>
                </a:lnTo>
                <a:lnTo>
                  <a:pt x="675" y="561"/>
                </a:lnTo>
                <a:lnTo>
                  <a:pt x="680" y="564"/>
                </a:lnTo>
                <a:lnTo>
                  <a:pt x="682" y="566"/>
                </a:lnTo>
                <a:lnTo>
                  <a:pt x="684" y="566"/>
                </a:lnTo>
                <a:lnTo>
                  <a:pt x="687" y="566"/>
                </a:lnTo>
                <a:lnTo>
                  <a:pt x="696" y="566"/>
                </a:lnTo>
                <a:lnTo>
                  <a:pt x="698" y="573"/>
                </a:lnTo>
                <a:lnTo>
                  <a:pt x="701" y="575"/>
                </a:lnTo>
                <a:lnTo>
                  <a:pt x="703" y="575"/>
                </a:lnTo>
                <a:lnTo>
                  <a:pt x="705" y="575"/>
                </a:lnTo>
                <a:lnTo>
                  <a:pt x="705" y="578"/>
                </a:lnTo>
                <a:lnTo>
                  <a:pt x="708" y="578"/>
                </a:lnTo>
                <a:lnTo>
                  <a:pt x="708" y="580"/>
                </a:lnTo>
                <a:lnTo>
                  <a:pt x="710" y="580"/>
                </a:lnTo>
                <a:lnTo>
                  <a:pt x="710" y="582"/>
                </a:lnTo>
                <a:lnTo>
                  <a:pt x="710" y="585"/>
                </a:lnTo>
                <a:lnTo>
                  <a:pt x="708" y="587"/>
                </a:lnTo>
                <a:lnTo>
                  <a:pt x="705" y="587"/>
                </a:lnTo>
                <a:lnTo>
                  <a:pt x="703" y="589"/>
                </a:lnTo>
                <a:lnTo>
                  <a:pt x="701" y="587"/>
                </a:lnTo>
                <a:lnTo>
                  <a:pt x="701" y="589"/>
                </a:lnTo>
                <a:lnTo>
                  <a:pt x="698" y="589"/>
                </a:lnTo>
                <a:lnTo>
                  <a:pt x="698" y="594"/>
                </a:lnTo>
                <a:lnTo>
                  <a:pt x="698" y="596"/>
                </a:lnTo>
                <a:lnTo>
                  <a:pt x="701" y="596"/>
                </a:lnTo>
                <a:lnTo>
                  <a:pt x="703" y="599"/>
                </a:lnTo>
                <a:lnTo>
                  <a:pt x="703" y="601"/>
                </a:lnTo>
                <a:lnTo>
                  <a:pt x="703" y="603"/>
                </a:lnTo>
                <a:lnTo>
                  <a:pt x="698" y="603"/>
                </a:lnTo>
                <a:lnTo>
                  <a:pt x="696" y="603"/>
                </a:lnTo>
                <a:lnTo>
                  <a:pt x="696" y="606"/>
                </a:lnTo>
                <a:lnTo>
                  <a:pt x="696" y="608"/>
                </a:lnTo>
                <a:lnTo>
                  <a:pt x="698" y="608"/>
                </a:lnTo>
                <a:lnTo>
                  <a:pt x="698" y="610"/>
                </a:lnTo>
                <a:lnTo>
                  <a:pt x="698" y="612"/>
                </a:lnTo>
                <a:lnTo>
                  <a:pt x="696" y="615"/>
                </a:lnTo>
                <a:lnTo>
                  <a:pt x="689" y="615"/>
                </a:lnTo>
                <a:lnTo>
                  <a:pt x="689" y="617"/>
                </a:lnTo>
                <a:lnTo>
                  <a:pt x="689" y="622"/>
                </a:lnTo>
                <a:lnTo>
                  <a:pt x="689" y="624"/>
                </a:lnTo>
                <a:lnTo>
                  <a:pt x="689" y="626"/>
                </a:lnTo>
                <a:lnTo>
                  <a:pt x="691" y="626"/>
                </a:lnTo>
                <a:lnTo>
                  <a:pt x="691" y="629"/>
                </a:lnTo>
                <a:lnTo>
                  <a:pt x="689" y="629"/>
                </a:lnTo>
                <a:lnTo>
                  <a:pt x="684" y="629"/>
                </a:lnTo>
                <a:lnTo>
                  <a:pt x="682" y="629"/>
                </a:lnTo>
                <a:lnTo>
                  <a:pt x="677" y="631"/>
                </a:lnTo>
                <a:lnTo>
                  <a:pt x="675" y="633"/>
                </a:lnTo>
                <a:lnTo>
                  <a:pt x="675" y="636"/>
                </a:lnTo>
                <a:lnTo>
                  <a:pt x="673" y="638"/>
                </a:lnTo>
                <a:lnTo>
                  <a:pt x="670" y="638"/>
                </a:lnTo>
                <a:lnTo>
                  <a:pt x="670" y="640"/>
                </a:lnTo>
                <a:lnTo>
                  <a:pt x="673" y="640"/>
                </a:lnTo>
                <a:lnTo>
                  <a:pt x="670" y="645"/>
                </a:lnTo>
                <a:lnTo>
                  <a:pt x="670" y="647"/>
                </a:lnTo>
                <a:lnTo>
                  <a:pt x="661" y="650"/>
                </a:lnTo>
                <a:lnTo>
                  <a:pt x="659" y="652"/>
                </a:lnTo>
                <a:lnTo>
                  <a:pt x="656" y="652"/>
                </a:lnTo>
                <a:lnTo>
                  <a:pt x="654" y="652"/>
                </a:lnTo>
                <a:lnTo>
                  <a:pt x="647" y="654"/>
                </a:lnTo>
                <a:lnTo>
                  <a:pt x="645" y="654"/>
                </a:lnTo>
                <a:lnTo>
                  <a:pt x="635" y="661"/>
                </a:lnTo>
                <a:lnTo>
                  <a:pt x="633" y="661"/>
                </a:lnTo>
                <a:lnTo>
                  <a:pt x="633" y="664"/>
                </a:lnTo>
                <a:lnTo>
                  <a:pt x="633" y="673"/>
                </a:lnTo>
                <a:lnTo>
                  <a:pt x="633" y="682"/>
                </a:lnTo>
                <a:lnTo>
                  <a:pt x="631" y="687"/>
                </a:lnTo>
                <a:lnTo>
                  <a:pt x="619" y="699"/>
                </a:lnTo>
                <a:lnTo>
                  <a:pt x="619" y="701"/>
                </a:lnTo>
                <a:lnTo>
                  <a:pt x="619" y="706"/>
                </a:lnTo>
                <a:lnTo>
                  <a:pt x="619" y="708"/>
                </a:lnTo>
                <a:lnTo>
                  <a:pt x="621" y="710"/>
                </a:lnTo>
                <a:lnTo>
                  <a:pt x="624" y="713"/>
                </a:lnTo>
                <a:lnTo>
                  <a:pt x="628" y="717"/>
                </a:lnTo>
                <a:lnTo>
                  <a:pt x="631" y="717"/>
                </a:lnTo>
                <a:lnTo>
                  <a:pt x="633" y="720"/>
                </a:lnTo>
                <a:lnTo>
                  <a:pt x="631" y="722"/>
                </a:lnTo>
                <a:lnTo>
                  <a:pt x="631" y="724"/>
                </a:lnTo>
                <a:lnTo>
                  <a:pt x="631" y="727"/>
                </a:lnTo>
                <a:lnTo>
                  <a:pt x="631" y="729"/>
                </a:lnTo>
                <a:lnTo>
                  <a:pt x="628" y="731"/>
                </a:lnTo>
                <a:lnTo>
                  <a:pt x="628" y="736"/>
                </a:lnTo>
                <a:lnTo>
                  <a:pt x="626" y="738"/>
                </a:lnTo>
                <a:lnTo>
                  <a:pt x="626" y="741"/>
                </a:lnTo>
                <a:lnTo>
                  <a:pt x="621" y="754"/>
                </a:lnTo>
                <a:lnTo>
                  <a:pt x="619" y="754"/>
                </a:lnTo>
                <a:lnTo>
                  <a:pt x="619" y="757"/>
                </a:lnTo>
                <a:lnTo>
                  <a:pt x="617" y="759"/>
                </a:lnTo>
                <a:lnTo>
                  <a:pt x="614" y="759"/>
                </a:lnTo>
                <a:lnTo>
                  <a:pt x="614" y="761"/>
                </a:lnTo>
                <a:lnTo>
                  <a:pt x="612" y="766"/>
                </a:lnTo>
                <a:lnTo>
                  <a:pt x="607" y="771"/>
                </a:lnTo>
                <a:lnTo>
                  <a:pt x="605" y="773"/>
                </a:lnTo>
                <a:lnTo>
                  <a:pt x="605" y="775"/>
                </a:lnTo>
                <a:lnTo>
                  <a:pt x="603" y="780"/>
                </a:lnTo>
                <a:lnTo>
                  <a:pt x="601" y="782"/>
                </a:lnTo>
                <a:lnTo>
                  <a:pt x="601" y="785"/>
                </a:lnTo>
                <a:lnTo>
                  <a:pt x="598" y="785"/>
                </a:lnTo>
                <a:lnTo>
                  <a:pt x="594" y="787"/>
                </a:lnTo>
                <a:lnTo>
                  <a:pt x="591" y="787"/>
                </a:lnTo>
                <a:lnTo>
                  <a:pt x="589" y="789"/>
                </a:lnTo>
                <a:lnTo>
                  <a:pt x="587" y="789"/>
                </a:lnTo>
                <a:lnTo>
                  <a:pt x="587" y="792"/>
                </a:lnTo>
                <a:lnTo>
                  <a:pt x="584" y="794"/>
                </a:lnTo>
                <a:lnTo>
                  <a:pt x="584" y="796"/>
                </a:lnTo>
                <a:lnTo>
                  <a:pt x="582" y="796"/>
                </a:lnTo>
                <a:lnTo>
                  <a:pt x="580" y="799"/>
                </a:lnTo>
                <a:lnTo>
                  <a:pt x="577" y="803"/>
                </a:lnTo>
                <a:lnTo>
                  <a:pt x="575" y="806"/>
                </a:lnTo>
                <a:lnTo>
                  <a:pt x="573" y="808"/>
                </a:lnTo>
                <a:lnTo>
                  <a:pt x="570" y="810"/>
                </a:lnTo>
                <a:lnTo>
                  <a:pt x="568" y="813"/>
                </a:lnTo>
                <a:lnTo>
                  <a:pt x="568" y="815"/>
                </a:lnTo>
                <a:lnTo>
                  <a:pt x="566" y="815"/>
                </a:lnTo>
                <a:lnTo>
                  <a:pt x="566" y="817"/>
                </a:lnTo>
                <a:lnTo>
                  <a:pt x="566" y="820"/>
                </a:lnTo>
                <a:lnTo>
                  <a:pt x="563" y="824"/>
                </a:lnTo>
                <a:lnTo>
                  <a:pt x="563" y="829"/>
                </a:lnTo>
                <a:lnTo>
                  <a:pt x="563" y="831"/>
                </a:lnTo>
                <a:lnTo>
                  <a:pt x="561" y="834"/>
                </a:lnTo>
                <a:lnTo>
                  <a:pt x="561" y="836"/>
                </a:lnTo>
                <a:lnTo>
                  <a:pt x="559" y="838"/>
                </a:lnTo>
                <a:lnTo>
                  <a:pt x="559" y="841"/>
                </a:lnTo>
                <a:lnTo>
                  <a:pt x="556" y="841"/>
                </a:lnTo>
                <a:lnTo>
                  <a:pt x="556" y="843"/>
                </a:lnTo>
                <a:lnTo>
                  <a:pt x="554" y="845"/>
                </a:lnTo>
                <a:lnTo>
                  <a:pt x="493" y="838"/>
                </a:lnTo>
                <a:lnTo>
                  <a:pt x="486" y="838"/>
                </a:lnTo>
                <a:lnTo>
                  <a:pt x="244" y="813"/>
                </a:lnTo>
                <a:lnTo>
                  <a:pt x="156" y="803"/>
                </a:lnTo>
                <a:lnTo>
                  <a:pt x="154" y="803"/>
                </a:lnTo>
                <a:lnTo>
                  <a:pt x="151" y="801"/>
                </a:lnTo>
                <a:lnTo>
                  <a:pt x="149" y="799"/>
                </a:lnTo>
                <a:lnTo>
                  <a:pt x="147" y="799"/>
                </a:lnTo>
                <a:lnTo>
                  <a:pt x="144" y="799"/>
                </a:lnTo>
                <a:lnTo>
                  <a:pt x="142" y="796"/>
                </a:lnTo>
                <a:lnTo>
                  <a:pt x="140" y="796"/>
                </a:lnTo>
                <a:lnTo>
                  <a:pt x="140" y="799"/>
                </a:lnTo>
                <a:lnTo>
                  <a:pt x="137" y="799"/>
                </a:lnTo>
                <a:lnTo>
                  <a:pt x="135" y="799"/>
                </a:lnTo>
                <a:lnTo>
                  <a:pt x="135" y="796"/>
                </a:lnTo>
                <a:lnTo>
                  <a:pt x="135" y="794"/>
                </a:lnTo>
                <a:lnTo>
                  <a:pt x="133" y="792"/>
                </a:lnTo>
                <a:lnTo>
                  <a:pt x="133" y="789"/>
                </a:lnTo>
                <a:lnTo>
                  <a:pt x="130" y="789"/>
                </a:lnTo>
                <a:lnTo>
                  <a:pt x="126" y="787"/>
                </a:lnTo>
                <a:lnTo>
                  <a:pt x="123" y="787"/>
                </a:lnTo>
                <a:lnTo>
                  <a:pt x="121" y="787"/>
                </a:lnTo>
                <a:lnTo>
                  <a:pt x="119" y="787"/>
                </a:lnTo>
                <a:lnTo>
                  <a:pt x="116" y="785"/>
                </a:lnTo>
                <a:lnTo>
                  <a:pt x="116" y="780"/>
                </a:lnTo>
                <a:lnTo>
                  <a:pt x="116" y="778"/>
                </a:lnTo>
                <a:lnTo>
                  <a:pt x="116" y="775"/>
                </a:lnTo>
                <a:lnTo>
                  <a:pt x="112" y="773"/>
                </a:lnTo>
                <a:lnTo>
                  <a:pt x="109" y="773"/>
                </a:lnTo>
                <a:lnTo>
                  <a:pt x="107" y="771"/>
                </a:lnTo>
                <a:lnTo>
                  <a:pt x="102" y="768"/>
                </a:lnTo>
                <a:lnTo>
                  <a:pt x="100" y="766"/>
                </a:lnTo>
                <a:lnTo>
                  <a:pt x="98" y="766"/>
                </a:lnTo>
                <a:lnTo>
                  <a:pt x="98" y="764"/>
                </a:lnTo>
                <a:lnTo>
                  <a:pt x="95" y="761"/>
                </a:lnTo>
                <a:lnTo>
                  <a:pt x="93" y="759"/>
                </a:lnTo>
                <a:lnTo>
                  <a:pt x="91" y="759"/>
                </a:lnTo>
                <a:lnTo>
                  <a:pt x="91" y="757"/>
                </a:lnTo>
                <a:lnTo>
                  <a:pt x="89" y="757"/>
                </a:lnTo>
                <a:lnTo>
                  <a:pt x="86" y="754"/>
                </a:lnTo>
                <a:lnTo>
                  <a:pt x="84" y="754"/>
                </a:lnTo>
                <a:lnTo>
                  <a:pt x="84" y="752"/>
                </a:lnTo>
                <a:lnTo>
                  <a:pt x="84" y="750"/>
                </a:lnTo>
                <a:lnTo>
                  <a:pt x="84" y="748"/>
                </a:lnTo>
                <a:lnTo>
                  <a:pt x="82" y="748"/>
                </a:lnTo>
                <a:lnTo>
                  <a:pt x="82" y="745"/>
                </a:lnTo>
                <a:lnTo>
                  <a:pt x="82" y="743"/>
                </a:lnTo>
                <a:lnTo>
                  <a:pt x="82" y="741"/>
                </a:lnTo>
                <a:lnTo>
                  <a:pt x="82" y="738"/>
                </a:lnTo>
                <a:lnTo>
                  <a:pt x="79" y="736"/>
                </a:lnTo>
                <a:lnTo>
                  <a:pt x="79" y="734"/>
                </a:lnTo>
                <a:lnTo>
                  <a:pt x="79" y="731"/>
                </a:lnTo>
                <a:lnTo>
                  <a:pt x="79" y="729"/>
                </a:lnTo>
                <a:lnTo>
                  <a:pt x="79" y="727"/>
                </a:lnTo>
                <a:lnTo>
                  <a:pt x="82" y="727"/>
                </a:lnTo>
                <a:lnTo>
                  <a:pt x="82" y="724"/>
                </a:lnTo>
                <a:lnTo>
                  <a:pt x="82" y="722"/>
                </a:lnTo>
                <a:lnTo>
                  <a:pt x="82" y="720"/>
                </a:lnTo>
                <a:lnTo>
                  <a:pt x="77" y="717"/>
                </a:lnTo>
                <a:lnTo>
                  <a:pt x="77" y="715"/>
                </a:lnTo>
                <a:lnTo>
                  <a:pt x="77" y="713"/>
                </a:lnTo>
                <a:lnTo>
                  <a:pt x="72" y="710"/>
                </a:lnTo>
                <a:lnTo>
                  <a:pt x="72" y="708"/>
                </a:lnTo>
                <a:lnTo>
                  <a:pt x="72" y="706"/>
                </a:lnTo>
                <a:lnTo>
                  <a:pt x="70" y="703"/>
                </a:lnTo>
                <a:lnTo>
                  <a:pt x="70" y="701"/>
                </a:lnTo>
                <a:lnTo>
                  <a:pt x="70" y="699"/>
                </a:lnTo>
                <a:lnTo>
                  <a:pt x="68" y="694"/>
                </a:lnTo>
                <a:lnTo>
                  <a:pt x="68" y="692"/>
                </a:lnTo>
                <a:lnTo>
                  <a:pt x="65" y="687"/>
                </a:lnTo>
                <a:lnTo>
                  <a:pt x="65" y="685"/>
                </a:lnTo>
                <a:lnTo>
                  <a:pt x="63" y="682"/>
                </a:lnTo>
                <a:lnTo>
                  <a:pt x="61" y="678"/>
                </a:lnTo>
                <a:lnTo>
                  <a:pt x="61" y="675"/>
                </a:lnTo>
                <a:lnTo>
                  <a:pt x="56" y="668"/>
                </a:lnTo>
                <a:lnTo>
                  <a:pt x="51" y="664"/>
                </a:lnTo>
                <a:lnTo>
                  <a:pt x="49" y="661"/>
                </a:lnTo>
                <a:lnTo>
                  <a:pt x="49" y="659"/>
                </a:lnTo>
                <a:lnTo>
                  <a:pt x="47" y="659"/>
                </a:lnTo>
                <a:lnTo>
                  <a:pt x="47" y="657"/>
                </a:lnTo>
                <a:lnTo>
                  <a:pt x="49" y="657"/>
                </a:lnTo>
                <a:lnTo>
                  <a:pt x="49" y="654"/>
                </a:lnTo>
                <a:lnTo>
                  <a:pt x="47" y="652"/>
                </a:lnTo>
                <a:lnTo>
                  <a:pt x="47" y="650"/>
                </a:lnTo>
                <a:lnTo>
                  <a:pt x="44" y="647"/>
                </a:lnTo>
                <a:lnTo>
                  <a:pt x="42" y="645"/>
                </a:lnTo>
                <a:lnTo>
                  <a:pt x="40" y="640"/>
                </a:lnTo>
                <a:lnTo>
                  <a:pt x="37" y="640"/>
                </a:lnTo>
                <a:lnTo>
                  <a:pt x="35" y="638"/>
                </a:lnTo>
                <a:lnTo>
                  <a:pt x="33" y="636"/>
                </a:lnTo>
                <a:lnTo>
                  <a:pt x="30" y="633"/>
                </a:lnTo>
                <a:lnTo>
                  <a:pt x="30" y="626"/>
                </a:lnTo>
                <a:lnTo>
                  <a:pt x="28" y="624"/>
                </a:lnTo>
                <a:lnTo>
                  <a:pt x="28" y="622"/>
                </a:lnTo>
                <a:lnTo>
                  <a:pt x="30" y="622"/>
                </a:lnTo>
                <a:lnTo>
                  <a:pt x="30" y="619"/>
                </a:lnTo>
                <a:lnTo>
                  <a:pt x="30" y="617"/>
                </a:lnTo>
                <a:lnTo>
                  <a:pt x="33" y="617"/>
                </a:lnTo>
                <a:lnTo>
                  <a:pt x="37" y="612"/>
                </a:lnTo>
                <a:lnTo>
                  <a:pt x="40" y="608"/>
                </a:lnTo>
                <a:lnTo>
                  <a:pt x="147" y="391"/>
                </a:lnTo>
                <a:lnTo>
                  <a:pt x="172" y="338"/>
                </a:lnTo>
                <a:lnTo>
                  <a:pt x="172" y="335"/>
                </a:lnTo>
                <a:lnTo>
                  <a:pt x="172" y="333"/>
                </a:lnTo>
                <a:lnTo>
                  <a:pt x="172" y="331"/>
                </a:lnTo>
                <a:lnTo>
                  <a:pt x="177" y="328"/>
                </a:lnTo>
                <a:lnTo>
                  <a:pt x="175" y="328"/>
                </a:lnTo>
                <a:lnTo>
                  <a:pt x="172" y="328"/>
                </a:lnTo>
                <a:lnTo>
                  <a:pt x="172" y="331"/>
                </a:lnTo>
                <a:lnTo>
                  <a:pt x="172" y="328"/>
                </a:lnTo>
                <a:lnTo>
                  <a:pt x="170" y="328"/>
                </a:lnTo>
                <a:lnTo>
                  <a:pt x="168" y="328"/>
                </a:lnTo>
                <a:lnTo>
                  <a:pt x="165" y="328"/>
                </a:lnTo>
                <a:lnTo>
                  <a:pt x="165" y="326"/>
                </a:lnTo>
                <a:lnTo>
                  <a:pt x="168" y="324"/>
                </a:lnTo>
                <a:lnTo>
                  <a:pt x="165" y="321"/>
                </a:lnTo>
                <a:lnTo>
                  <a:pt x="163" y="321"/>
                </a:lnTo>
                <a:lnTo>
                  <a:pt x="161" y="324"/>
                </a:lnTo>
                <a:lnTo>
                  <a:pt x="156" y="326"/>
                </a:lnTo>
                <a:lnTo>
                  <a:pt x="154" y="326"/>
                </a:lnTo>
                <a:lnTo>
                  <a:pt x="154" y="324"/>
                </a:lnTo>
                <a:lnTo>
                  <a:pt x="151" y="324"/>
                </a:lnTo>
                <a:lnTo>
                  <a:pt x="149" y="324"/>
                </a:lnTo>
                <a:lnTo>
                  <a:pt x="149" y="321"/>
                </a:lnTo>
                <a:lnTo>
                  <a:pt x="147" y="321"/>
                </a:lnTo>
                <a:lnTo>
                  <a:pt x="147" y="319"/>
                </a:lnTo>
                <a:lnTo>
                  <a:pt x="149" y="319"/>
                </a:lnTo>
                <a:lnTo>
                  <a:pt x="149" y="317"/>
                </a:lnTo>
                <a:lnTo>
                  <a:pt x="149" y="315"/>
                </a:lnTo>
                <a:lnTo>
                  <a:pt x="149" y="312"/>
                </a:lnTo>
                <a:lnTo>
                  <a:pt x="147" y="312"/>
                </a:lnTo>
                <a:lnTo>
                  <a:pt x="144" y="312"/>
                </a:lnTo>
                <a:lnTo>
                  <a:pt x="142" y="312"/>
                </a:lnTo>
                <a:lnTo>
                  <a:pt x="137" y="310"/>
                </a:lnTo>
                <a:lnTo>
                  <a:pt x="137" y="308"/>
                </a:lnTo>
                <a:lnTo>
                  <a:pt x="133" y="308"/>
                </a:lnTo>
                <a:lnTo>
                  <a:pt x="133" y="305"/>
                </a:lnTo>
                <a:lnTo>
                  <a:pt x="128" y="303"/>
                </a:lnTo>
                <a:lnTo>
                  <a:pt x="128" y="301"/>
                </a:lnTo>
                <a:lnTo>
                  <a:pt x="126" y="298"/>
                </a:lnTo>
                <a:lnTo>
                  <a:pt x="123" y="296"/>
                </a:lnTo>
                <a:lnTo>
                  <a:pt x="121" y="296"/>
                </a:lnTo>
                <a:lnTo>
                  <a:pt x="119" y="294"/>
                </a:lnTo>
                <a:lnTo>
                  <a:pt x="116" y="294"/>
                </a:lnTo>
                <a:lnTo>
                  <a:pt x="114" y="294"/>
                </a:lnTo>
                <a:lnTo>
                  <a:pt x="116" y="291"/>
                </a:lnTo>
                <a:lnTo>
                  <a:pt x="114" y="291"/>
                </a:lnTo>
                <a:lnTo>
                  <a:pt x="112" y="291"/>
                </a:lnTo>
                <a:lnTo>
                  <a:pt x="109" y="291"/>
                </a:lnTo>
                <a:lnTo>
                  <a:pt x="107" y="291"/>
                </a:lnTo>
                <a:lnTo>
                  <a:pt x="105" y="291"/>
                </a:lnTo>
                <a:lnTo>
                  <a:pt x="102" y="289"/>
                </a:lnTo>
                <a:lnTo>
                  <a:pt x="100" y="289"/>
                </a:lnTo>
                <a:lnTo>
                  <a:pt x="100" y="287"/>
                </a:lnTo>
                <a:lnTo>
                  <a:pt x="98" y="287"/>
                </a:lnTo>
                <a:lnTo>
                  <a:pt x="95" y="284"/>
                </a:lnTo>
                <a:lnTo>
                  <a:pt x="93" y="284"/>
                </a:lnTo>
                <a:lnTo>
                  <a:pt x="89" y="282"/>
                </a:lnTo>
                <a:lnTo>
                  <a:pt x="86" y="282"/>
                </a:lnTo>
                <a:lnTo>
                  <a:pt x="86" y="280"/>
                </a:lnTo>
                <a:lnTo>
                  <a:pt x="84" y="277"/>
                </a:lnTo>
                <a:lnTo>
                  <a:pt x="82" y="277"/>
                </a:lnTo>
                <a:lnTo>
                  <a:pt x="79" y="273"/>
                </a:lnTo>
                <a:lnTo>
                  <a:pt x="77" y="273"/>
                </a:lnTo>
                <a:lnTo>
                  <a:pt x="72" y="270"/>
                </a:lnTo>
                <a:lnTo>
                  <a:pt x="70" y="270"/>
                </a:lnTo>
                <a:lnTo>
                  <a:pt x="70" y="268"/>
                </a:lnTo>
                <a:lnTo>
                  <a:pt x="68" y="268"/>
                </a:lnTo>
                <a:lnTo>
                  <a:pt x="68" y="266"/>
                </a:lnTo>
                <a:lnTo>
                  <a:pt x="65" y="266"/>
                </a:lnTo>
                <a:lnTo>
                  <a:pt x="58" y="261"/>
                </a:lnTo>
                <a:lnTo>
                  <a:pt x="58" y="259"/>
                </a:lnTo>
                <a:lnTo>
                  <a:pt x="56" y="259"/>
                </a:lnTo>
                <a:lnTo>
                  <a:pt x="54" y="259"/>
                </a:lnTo>
                <a:lnTo>
                  <a:pt x="54" y="256"/>
                </a:lnTo>
                <a:lnTo>
                  <a:pt x="51" y="256"/>
                </a:lnTo>
                <a:lnTo>
                  <a:pt x="49" y="252"/>
                </a:lnTo>
                <a:lnTo>
                  <a:pt x="47" y="249"/>
                </a:lnTo>
                <a:lnTo>
                  <a:pt x="44" y="249"/>
                </a:lnTo>
                <a:lnTo>
                  <a:pt x="40" y="245"/>
                </a:lnTo>
                <a:lnTo>
                  <a:pt x="37" y="245"/>
                </a:lnTo>
                <a:lnTo>
                  <a:pt x="37" y="242"/>
                </a:lnTo>
                <a:lnTo>
                  <a:pt x="37" y="240"/>
                </a:lnTo>
                <a:lnTo>
                  <a:pt x="37" y="238"/>
                </a:lnTo>
                <a:lnTo>
                  <a:pt x="37" y="235"/>
                </a:lnTo>
                <a:lnTo>
                  <a:pt x="35" y="235"/>
                </a:lnTo>
                <a:lnTo>
                  <a:pt x="35" y="233"/>
                </a:lnTo>
                <a:lnTo>
                  <a:pt x="35" y="231"/>
                </a:lnTo>
                <a:lnTo>
                  <a:pt x="33" y="231"/>
                </a:lnTo>
                <a:lnTo>
                  <a:pt x="33" y="228"/>
                </a:lnTo>
                <a:lnTo>
                  <a:pt x="30" y="228"/>
                </a:lnTo>
                <a:lnTo>
                  <a:pt x="28" y="226"/>
                </a:lnTo>
                <a:lnTo>
                  <a:pt x="26" y="226"/>
                </a:lnTo>
                <a:lnTo>
                  <a:pt x="23" y="226"/>
                </a:lnTo>
                <a:lnTo>
                  <a:pt x="16" y="221"/>
                </a:lnTo>
                <a:lnTo>
                  <a:pt x="14" y="217"/>
                </a:lnTo>
                <a:lnTo>
                  <a:pt x="14" y="214"/>
                </a:lnTo>
                <a:lnTo>
                  <a:pt x="14" y="210"/>
                </a:lnTo>
                <a:lnTo>
                  <a:pt x="14" y="207"/>
                </a:lnTo>
                <a:lnTo>
                  <a:pt x="16" y="205"/>
                </a:lnTo>
                <a:lnTo>
                  <a:pt x="16" y="203"/>
                </a:lnTo>
                <a:lnTo>
                  <a:pt x="14" y="203"/>
                </a:lnTo>
                <a:lnTo>
                  <a:pt x="14" y="200"/>
                </a:lnTo>
                <a:lnTo>
                  <a:pt x="9" y="200"/>
                </a:lnTo>
                <a:lnTo>
                  <a:pt x="9" y="198"/>
                </a:lnTo>
                <a:lnTo>
                  <a:pt x="7" y="198"/>
                </a:lnTo>
                <a:lnTo>
                  <a:pt x="7" y="196"/>
                </a:lnTo>
                <a:lnTo>
                  <a:pt x="7" y="193"/>
                </a:lnTo>
                <a:lnTo>
                  <a:pt x="7" y="184"/>
                </a:lnTo>
                <a:lnTo>
                  <a:pt x="7" y="182"/>
                </a:lnTo>
                <a:lnTo>
                  <a:pt x="7" y="179"/>
                </a:lnTo>
                <a:lnTo>
                  <a:pt x="7" y="159"/>
                </a:lnTo>
                <a:lnTo>
                  <a:pt x="0" y="84"/>
                </a:lnTo>
                <a:lnTo>
                  <a:pt x="2" y="84"/>
                </a:lnTo>
                <a:lnTo>
                  <a:pt x="5" y="86"/>
                </a:lnTo>
                <a:lnTo>
                  <a:pt x="5" y="89"/>
                </a:lnTo>
                <a:lnTo>
                  <a:pt x="7" y="91"/>
                </a:lnTo>
                <a:lnTo>
                  <a:pt x="9" y="91"/>
                </a:lnTo>
                <a:lnTo>
                  <a:pt x="12" y="91"/>
                </a:lnTo>
                <a:lnTo>
                  <a:pt x="14" y="91"/>
                </a:lnTo>
                <a:lnTo>
                  <a:pt x="16" y="91"/>
                </a:lnTo>
                <a:lnTo>
                  <a:pt x="16" y="89"/>
                </a:lnTo>
                <a:lnTo>
                  <a:pt x="19" y="86"/>
                </a:lnTo>
                <a:lnTo>
                  <a:pt x="21" y="86"/>
                </a:lnTo>
                <a:lnTo>
                  <a:pt x="28" y="86"/>
                </a:lnTo>
                <a:lnTo>
                  <a:pt x="30" y="86"/>
                </a:lnTo>
                <a:lnTo>
                  <a:pt x="33" y="84"/>
                </a:lnTo>
                <a:lnTo>
                  <a:pt x="35" y="82"/>
                </a:lnTo>
                <a:lnTo>
                  <a:pt x="35" y="79"/>
                </a:lnTo>
                <a:lnTo>
                  <a:pt x="33" y="79"/>
                </a:lnTo>
                <a:lnTo>
                  <a:pt x="33" y="77"/>
                </a:lnTo>
                <a:lnTo>
                  <a:pt x="33" y="75"/>
                </a:lnTo>
                <a:lnTo>
                  <a:pt x="33" y="72"/>
                </a:lnTo>
                <a:lnTo>
                  <a:pt x="37" y="72"/>
                </a:lnTo>
                <a:lnTo>
                  <a:pt x="40" y="72"/>
                </a:lnTo>
                <a:lnTo>
                  <a:pt x="42" y="72"/>
                </a:lnTo>
                <a:lnTo>
                  <a:pt x="42" y="70"/>
                </a:lnTo>
                <a:lnTo>
                  <a:pt x="40" y="70"/>
                </a:lnTo>
                <a:lnTo>
                  <a:pt x="40" y="68"/>
                </a:lnTo>
                <a:lnTo>
                  <a:pt x="42" y="68"/>
                </a:lnTo>
                <a:lnTo>
                  <a:pt x="44" y="68"/>
                </a:lnTo>
                <a:lnTo>
                  <a:pt x="44" y="65"/>
                </a:lnTo>
                <a:lnTo>
                  <a:pt x="47" y="63"/>
                </a:lnTo>
                <a:lnTo>
                  <a:pt x="47" y="65"/>
                </a:lnTo>
                <a:lnTo>
                  <a:pt x="49" y="65"/>
                </a:lnTo>
                <a:lnTo>
                  <a:pt x="49" y="68"/>
                </a:lnTo>
                <a:lnTo>
                  <a:pt x="51" y="68"/>
                </a:lnTo>
                <a:lnTo>
                  <a:pt x="54" y="68"/>
                </a:lnTo>
                <a:lnTo>
                  <a:pt x="54" y="65"/>
                </a:lnTo>
                <a:lnTo>
                  <a:pt x="56" y="68"/>
                </a:lnTo>
                <a:lnTo>
                  <a:pt x="56" y="70"/>
                </a:lnTo>
                <a:lnTo>
                  <a:pt x="58" y="70"/>
                </a:lnTo>
                <a:lnTo>
                  <a:pt x="61" y="70"/>
                </a:lnTo>
                <a:lnTo>
                  <a:pt x="63" y="70"/>
                </a:lnTo>
                <a:lnTo>
                  <a:pt x="65" y="70"/>
                </a:lnTo>
                <a:lnTo>
                  <a:pt x="68" y="68"/>
                </a:lnTo>
                <a:lnTo>
                  <a:pt x="68" y="65"/>
                </a:lnTo>
                <a:lnTo>
                  <a:pt x="70" y="63"/>
                </a:lnTo>
                <a:lnTo>
                  <a:pt x="68" y="61"/>
                </a:lnTo>
                <a:lnTo>
                  <a:pt x="70" y="61"/>
                </a:lnTo>
                <a:lnTo>
                  <a:pt x="72" y="61"/>
                </a:lnTo>
                <a:lnTo>
                  <a:pt x="75" y="61"/>
                </a:lnTo>
                <a:lnTo>
                  <a:pt x="77" y="58"/>
                </a:lnTo>
                <a:lnTo>
                  <a:pt x="82" y="56"/>
                </a:lnTo>
                <a:lnTo>
                  <a:pt x="84" y="56"/>
                </a:lnTo>
                <a:lnTo>
                  <a:pt x="86" y="56"/>
                </a:lnTo>
                <a:lnTo>
                  <a:pt x="93" y="58"/>
                </a:lnTo>
                <a:lnTo>
                  <a:pt x="95" y="58"/>
                </a:lnTo>
                <a:lnTo>
                  <a:pt x="98" y="56"/>
                </a:lnTo>
                <a:lnTo>
                  <a:pt x="100" y="56"/>
                </a:lnTo>
                <a:lnTo>
                  <a:pt x="105" y="49"/>
                </a:lnTo>
                <a:lnTo>
                  <a:pt x="107" y="44"/>
                </a:lnTo>
                <a:lnTo>
                  <a:pt x="109" y="44"/>
                </a:lnTo>
                <a:lnTo>
                  <a:pt x="109" y="42"/>
                </a:lnTo>
                <a:lnTo>
                  <a:pt x="112" y="42"/>
                </a:lnTo>
                <a:lnTo>
                  <a:pt x="112" y="40"/>
                </a:lnTo>
                <a:lnTo>
                  <a:pt x="114" y="40"/>
                </a:lnTo>
                <a:lnTo>
                  <a:pt x="116" y="40"/>
                </a:lnTo>
                <a:lnTo>
                  <a:pt x="119" y="40"/>
                </a:lnTo>
                <a:lnTo>
                  <a:pt x="121" y="40"/>
                </a:lnTo>
                <a:lnTo>
                  <a:pt x="128" y="37"/>
                </a:lnTo>
                <a:lnTo>
                  <a:pt x="130" y="35"/>
                </a:lnTo>
                <a:lnTo>
                  <a:pt x="133" y="37"/>
                </a:lnTo>
                <a:lnTo>
                  <a:pt x="133" y="40"/>
                </a:lnTo>
                <a:lnTo>
                  <a:pt x="133" y="42"/>
                </a:lnTo>
                <a:lnTo>
                  <a:pt x="135" y="42"/>
                </a:lnTo>
                <a:lnTo>
                  <a:pt x="137" y="44"/>
                </a:lnTo>
                <a:lnTo>
                  <a:pt x="140" y="44"/>
                </a:lnTo>
                <a:lnTo>
                  <a:pt x="142" y="44"/>
                </a:lnTo>
                <a:lnTo>
                  <a:pt x="144" y="44"/>
                </a:lnTo>
                <a:lnTo>
                  <a:pt x="147" y="47"/>
                </a:lnTo>
                <a:lnTo>
                  <a:pt x="151" y="47"/>
                </a:lnTo>
                <a:lnTo>
                  <a:pt x="154" y="47"/>
                </a:lnTo>
                <a:lnTo>
                  <a:pt x="156" y="44"/>
                </a:lnTo>
                <a:lnTo>
                  <a:pt x="158" y="44"/>
                </a:lnTo>
                <a:lnTo>
                  <a:pt x="161" y="44"/>
                </a:lnTo>
                <a:lnTo>
                  <a:pt x="161" y="42"/>
                </a:lnTo>
                <a:lnTo>
                  <a:pt x="163" y="42"/>
                </a:lnTo>
                <a:lnTo>
                  <a:pt x="165" y="44"/>
                </a:lnTo>
                <a:lnTo>
                  <a:pt x="168" y="44"/>
                </a:lnTo>
                <a:lnTo>
                  <a:pt x="170" y="44"/>
                </a:lnTo>
                <a:lnTo>
                  <a:pt x="175" y="42"/>
                </a:lnTo>
                <a:lnTo>
                  <a:pt x="177" y="44"/>
                </a:lnTo>
                <a:lnTo>
                  <a:pt x="179" y="44"/>
                </a:lnTo>
                <a:lnTo>
                  <a:pt x="182" y="44"/>
                </a:lnTo>
                <a:lnTo>
                  <a:pt x="184" y="44"/>
                </a:lnTo>
                <a:lnTo>
                  <a:pt x="186" y="47"/>
                </a:lnTo>
                <a:lnTo>
                  <a:pt x="189" y="47"/>
                </a:lnTo>
                <a:lnTo>
                  <a:pt x="193" y="47"/>
                </a:lnTo>
                <a:lnTo>
                  <a:pt x="198" y="49"/>
                </a:lnTo>
                <a:lnTo>
                  <a:pt x="200" y="49"/>
                </a:lnTo>
                <a:lnTo>
                  <a:pt x="205" y="51"/>
                </a:lnTo>
                <a:lnTo>
                  <a:pt x="210" y="49"/>
                </a:lnTo>
                <a:lnTo>
                  <a:pt x="212" y="47"/>
                </a:lnTo>
                <a:lnTo>
                  <a:pt x="212" y="44"/>
                </a:lnTo>
                <a:lnTo>
                  <a:pt x="212" y="42"/>
                </a:lnTo>
                <a:lnTo>
                  <a:pt x="212" y="40"/>
                </a:lnTo>
                <a:lnTo>
                  <a:pt x="212" y="37"/>
                </a:lnTo>
                <a:lnTo>
                  <a:pt x="214" y="37"/>
                </a:lnTo>
                <a:lnTo>
                  <a:pt x="214" y="35"/>
                </a:lnTo>
                <a:lnTo>
                  <a:pt x="212" y="35"/>
                </a:lnTo>
                <a:lnTo>
                  <a:pt x="210" y="33"/>
                </a:lnTo>
                <a:lnTo>
                  <a:pt x="207" y="31"/>
                </a:lnTo>
                <a:lnTo>
                  <a:pt x="205" y="28"/>
                </a:lnTo>
                <a:lnTo>
                  <a:pt x="205" y="26"/>
                </a:lnTo>
                <a:lnTo>
                  <a:pt x="205" y="24"/>
                </a:lnTo>
                <a:lnTo>
                  <a:pt x="203" y="24"/>
                </a:lnTo>
                <a:lnTo>
                  <a:pt x="203" y="21"/>
                </a:lnTo>
                <a:lnTo>
                  <a:pt x="198" y="21"/>
                </a:lnTo>
                <a:lnTo>
                  <a:pt x="198" y="19"/>
                </a:lnTo>
                <a:lnTo>
                  <a:pt x="200" y="17"/>
                </a:lnTo>
                <a:lnTo>
                  <a:pt x="200" y="14"/>
                </a:lnTo>
                <a:lnTo>
                  <a:pt x="203" y="14"/>
                </a:lnTo>
                <a:lnTo>
                  <a:pt x="203" y="17"/>
                </a:lnTo>
                <a:lnTo>
                  <a:pt x="205" y="14"/>
                </a:lnTo>
                <a:lnTo>
                  <a:pt x="207" y="12"/>
                </a:lnTo>
                <a:lnTo>
                  <a:pt x="207" y="10"/>
                </a:lnTo>
                <a:lnTo>
                  <a:pt x="207" y="7"/>
                </a:lnTo>
                <a:lnTo>
                  <a:pt x="210" y="5"/>
                </a:lnTo>
                <a:lnTo>
                  <a:pt x="210" y="3"/>
                </a:lnTo>
                <a:lnTo>
                  <a:pt x="212" y="3"/>
                </a:lnTo>
                <a:lnTo>
                  <a:pt x="214" y="5"/>
                </a:lnTo>
                <a:lnTo>
                  <a:pt x="217" y="7"/>
                </a:lnTo>
                <a:lnTo>
                  <a:pt x="219" y="7"/>
                </a:lnTo>
                <a:lnTo>
                  <a:pt x="223" y="10"/>
                </a:lnTo>
                <a:lnTo>
                  <a:pt x="226" y="12"/>
                </a:lnTo>
                <a:lnTo>
                  <a:pt x="228" y="12"/>
                </a:lnTo>
                <a:lnTo>
                  <a:pt x="233" y="12"/>
                </a:lnTo>
                <a:lnTo>
                  <a:pt x="235" y="10"/>
                </a:lnTo>
                <a:lnTo>
                  <a:pt x="237" y="10"/>
                </a:lnTo>
                <a:lnTo>
                  <a:pt x="242" y="10"/>
                </a:lnTo>
                <a:lnTo>
                  <a:pt x="244" y="10"/>
                </a:lnTo>
                <a:lnTo>
                  <a:pt x="247" y="12"/>
                </a:lnTo>
                <a:lnTo>
                  <a:pt x="249" y="12"/>
                </a:lnTo>
                <a:lnTo>
                  <a:pt x="251" y="10"/>
                </a:lnTo>
                <a:lnTo>
                  <a:pt x="254" y="10"/>
                </a:lnTo>
                <a:lnTo>
                  <a:pt x="254" y="7"/>
                </a:lnTo>
                <a:lnTo>
                  <a:pt x="254" y="5"/>
                </a:lnTo>
                <a:lnTo>
                  <a:pt x="256" y="5"/>
                </a:lnTo>
                <a:lnTo>
                  <a:pt x="258" y="5"/>
                </a:lnTo>
                <a:lnTo>
                  <a:pt x="258" y="7"/>
                </a:lnTo>
                <a:lnTo>
                  <a:pt x="261" y="7"/>
                </a:lnTo>
                <a:lnTo>
                  <a:pt x="265" y="3"/>
                </a:lnTo>
                <a:lnTo>
                  <a:pt x="268" y="3"/>
                </a:lnTo>
                <a:lnTo>
                  <a:pt x="270" y="3"/>
                </a:lnTo>
                <a:lnTo>
                  <a:pt x="268" y="5"/>
                </a:lnTo>
                <a:lnTo>
                  <a:pt x="270" y="5"/>
                </a:lnTo>
                <a:lnTo>
                  <a:pt x="272" y="3"/>
                </a:lnTo>
                <a:lnTo>
                  <a:pt x="275" y="3"/>
                </a:lnTo>
                <a:lnTo>
                  <a:pt x="277" y="0"/>
                </a:lnTo>
                <a:lnTo>
                  <a:pt x="279" y="0"/>
                </a:lnTo>
                <a:lnTo>
                  <a:pt x="282" y="0"/>
                </a:lnTo>
                <a:lnTo>
                  <a:pt x="279" y="3"/>
                </a:lnTo>
                <a:lnTo>
                  <a:pt x="279" y="5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6" name="Freeform 13">
            <a:extLst>
              <a:ext uri="{FF2B5EF4-FFF2-40B4-BE49-F238E27FC236}">
                <a16:creationId xmlns:a16="http://schemas.microsoft.com/office/drawing/2014/main" id="{739E2D62-94B8-9A9A-CFD1-186054D05DF3}"/>
              </a:ext>
            </a:extLst>
          </p:cNvPr>
          <p:cNvSpPr>
            <a:spLocks/>
          </p:cNvSpPr>
          <p:nvPr/>
        </p:nvSpPr>
        <p:spPr bwMode="auto">
          <a:xfrm>
            <a:off x="3274547" y="3510614"/>
            <a:ext cx="379397" cy="597198"/>
          </a:xfrm>
          <a:custGeom>
            <a:avLst/>
            <a:gdLst>
              <a:gd name="T0" fmla="*/ 312 w 322"/>
              <a:gd name="T1" fmla="*/ 358 h 531"/>
              <a:gd name="T2" fmla="*/ 289 w 322"/>
              <a:gd name="T3" fmla="*/ 370 h 531"/>
              <a:gd name="T4" fmla="*/ 280 w 322"/>
              <a:gd name="T5" fmla="*/ 386 h 531"/>
              <a:gd name="T6" fmla="*/ 266 w 322"/>
              <a:gd name="T7" fmla="*/ 412 h 531"/>
              <a:gd name="T8" fmla="*/ 294 w 322"/>
              <a:gd name="T9" fmla="*/ 431 h 531"/>
              <a:gd name="T10" fmla="*/ 287 w 322"/>
              <a:gd name="T11" fmla="*/ 445 h 531"/>
              <a:gd name="T12" fmla="*/ 275 w 322"/>
              <a:gd name="T13" fmla="*/ 459 h 531"/>
              <a:gd name="T14" fmla="*/ 282 w 322"/>
              <a:gd name="T15" fmla="*/ 493 h 531"/>
              <a:gd name="T16" fmla="*/ 254 w 322"/>
              <a:gd name="T17" fmla="*/ 507 h 531"/>
              <a:gd name="T18" fmla="*/ 224 w 322"/>
              <a:gd name="T19" fmla="*/ 517 h 531"/>
              <a:gd name="T20" fmla="*/ 189 w 322"/>
              <a:gd name="T21" fmla="*/ 524 h 531"/>
              <a:gd name="T22" fmla="*/ 184 w 322"/>
              <a:gd name="T23" fmla="*/ 531 h 531"/>
              <a:gd name="T24" fmla="*/ 156 w 322"/>
              <a:gd name="T25" fmla="*/ 512 h 531"/>
              <a:gd name="T26" fmla="*/ 124 w 322"/>
              <a:gd name="T27" fmla="*/ 514 h 531"/>
              <a:gd name="T28" fmla="*/ 117 w 322"/>
              <a:gd name="T29" fmla="*/ 517 h 531"/>
              <a:gd name="T30" fmla="*/ 105 w 322"/>
              <a:gd name="T31" fmla="*/ 486 h 531"/>
              <a:gd name="T32" fmla="*/ 77 w 322"/>
              <a:gd name="T33" fmla="*/ 514 h 531"/>
              <a:gd name="T34" fmla="*/ 26 w 322"/>
              <a:gd name="T35" fmla="*/ 491 h 531"/>
              <a:gd name="T36" fmla="*/ 35 w 322"/>
              <a:gd name="T37" fmla="*/ 461 h 531"/>
              <a:gd name="T38" fmla="*/ 17 w 322"/>
              <a:gd name="T39" fmla="*/ 470 h 531"/>
              <a:gd name="T40" fmla="*/ 7 w 322"/>
              <a:gd name="T41" fmla="*/ 484 h 531"/>
              <a:gd name="T42" fmla="*/ 0 w 322"/>
              <a:gd name="T43" fmla="*/ 466 h 531"/>
              <a:gd name="T44" fmla="*/ 3 w 322"/>
              <a:gd name="T45" fmla="*/ 433 h 531"/>
              <a:gd name="T46" fmla="*/ 0 w 322"/>
              <a:gd name="T47" fmla="*/ 412 h 531"/>
              <a:gd name="T48" fmla="*/ 3 w 322"/>
              <a:gd name="T49" fmla="*/ 393 h 531"/>
              <a:gd name="T50" fmla="*/ 10 w 322"/>
              <a:gd name="T51" fmla="*/ 363 h 531"/>
              <a:gd name="T52" fmla="*/ 14 w 322"/>
              <a:gd name="T53" fmla="*/ 342 h 531"/>
              <a:gd name="T54" fmla="*/ 26 w 322"/>
              <a:gd name="T55" fmla="*/ 324 h 531"/>
              <a:gd name="T56" fmla="*/ 38 w 322"/>
              <a:gd name="T57" fmla="*/ 296 h 531"/>
              <a:gd name="T58" fmla="*/ 52 w 322"/>
              <a:gd name="T59" fmla="*/ 268 h 531"/>
              <a:gd name="T60" fmla="*/ 70 w 322"/>
              <a:gd name="T61" fmla="*/ 244 h 531"/>
              <a:gd name="T62" fmla="*/ 91 w 322"/>
              <a:gd name="T63" fmla="*/ 223 h 531"/>
              <a:gd name="T64" fmla="*/ 112 w 322"/>
              <a:gd name="T65" fmla="*/ 186 h 531"/>
              <a:gd name="T66" fmla="*/ 107 w 322"/>
              <a:gd name="T67" fmla="*/ 158 h 531"/>
              <a:gd name="T68" fmla="*/ 131 w 322"/>
              <a:gd name="T69" fmla="*/ 102 h 531"/>
              <a:gd name="T70" fmla="*/ 159 w 322"/>
              <a:gd name="T71" fmla="*/ 86 h 531"/>
              <a:gd name="T72" fmla="*/ 175 w 322"/>
              <a:gd name="T73" fmla="*/ 70 h 531"/>
              <a:gd name="T74" fmla="*/ 189 w 322"/>
              <a:gd name="T75" fmla="*/ 51 h 531"/>
              <a:gd name="T76" fmla="*/ 194 w 322"/>
              <a:gd name="T77" fmla="*/ 35 h 531"/>
              <a:gd name="T78" fmla="*/ 182 w 322"/>
              <a:gd name="T79" fmla="*/ 14 h 531"/>
              <a:gd name="T80" fmla="*/ 168 w 322"/>
              <a:gd name="T81" fmla="*/ 7 h 531"/>
              <a:gd name="T82" fmla="*/ 205 w 322"/>
              <a:gd name="T83" fmla="*/ 7 h 531"/>
              <a:gd name="T84" fmla="*/ 221 w 322"/>
              <a:gd name="T85" fmla="*/ 16 h 531"/>
              <a:gd name="T86" fmla="*/ 240 w 322"/>
              <a:gd name="T87" fmla="*/ 42 h 531"/>
              <a:gd name="T88" fmla="*/ 240 w 322"/>
              <a:gd name="T89" fmla="*/ 72 h 531"/>
              <a:gd name="T90" fmla="*/ 233 w 322"/>
              <a:gd name="T91" fmla="*/ 102 h 531"/>
              <a:gd name="T92" fmla="*/ 224 w 322"/>
              <a:gd name="T93" fmla="*/ 128 h 531"/>
              <a:gd name="T94" fmla="*/ 226 w 322"/>
              <a:gd name="T95" fmla="*/ 142 h 531"/>
              <a:gd name="T96" fmla="*/ 228 w 322"/>
              <a:gd name="T97" fmla="*/ 156 h 531"/>
              <a:gd name="T98" fmla="*/ 240 w 322"/>
              <a:gd name="T99" fmla="*/ 168 h 531"/>
              <a:gd name="T100" fmla="*/ 254 w 322"/>
              <a:gd name="T101" fmla="*/ 191 h 531"/>
              <a:gd name="T102" fmla="*/ 273 w 322"/>
              <a:gd name="T103" fmla="*/ 189 h 531"/>
              <a:gd name="T104" fmla="*/ 289 w 322"/>
              <a:gd name="T105" fmla="*/ 202 h 531"/>
              <a:gd name="T106" fmla="*/ 280 w 322"/>
              <a:gd name="T107" fmla="*/ 221 h 531"/>
              <a:gd name="T108" fmla="*/ 259 w 322"/>
              <a:gd name="T109" fmla="*/ 235 h 531"/>
              <a:gd name="T110" fmla="*/ 247 w 322"/>
              <a:gd name="T111" fmla="*/ 254 h 531"/>
              <a:gd name="T112" fmla="*/ 261 w 322"/>
              <a:gd name="T113" fmla="*/ 268 h 531"/>
              <a:gd name="T114" fmla="*/ 277 w 322"/>
              <a:gd name="T115" fmla="*/ 296 h 531"/>
              <a:gd name="T116" fmla="*/ 270 w 322"/>
              <a:gd name="T117" fmla="*/ 310 h 531"/>
              <a:gd name="T118" fmla="*/ 282 w 322"/>
              <a:gd name="T119" fmla="*/ 331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22" h="531">
                <a:moveTo>
                  <a:pt x="310" y="347"/>
                </a:moveTo>
                <a:lnTo>
                  <a:pt x="317" y="349"/>
                </a:lnTo>
                <a:lnTo>
                  <a:pt x="322" y="349"/>
                </a:lnTo>
                <a:lnTo>
                  <a:pt x="322" y="351"/>
                </a:lnTo>
                <a:lnTo>
                  <a:pt x="319" y="351"/>
                </a:lnTo>
                <a:lnTo>
                  <a:pt x="319" y="354"/>
                </a:lnTo>
                <a:lnTo>
                  <a:pt x="319" y="356"/>
                </a:lnTo>
                <a:lnTo>
                  <a:pt x="317" y="356"/>
                </a:lnTo>
                <a:lnTo>
                  <a:pt x="317" y="358"/>
                </a:lnTo>
                <a:lnTo>
                  <a:pt x="315" y="358"/>
                </a:lnTo>
                <a:lnTo>
                  <a:pt x="312" y="358"/>
                </a:lnTo>
                <a:lnTo>
                  <a:pt x="310" y="358"/>
                </a:lnTo>
                <a:lnTo>
                  <a:pt x="310" y="361"/>
                </a:lnTo>
                <a:lnTo>
                  <a:pt x="308" y="361"/>
                </a:lnTo>
                <a:lnTo>
                  <a:pt x="305" y="363"/>
                </a:lnTo>
                <a:lnTo>
                  <a:pt x="303" y="363"/>
                </a:lnTo>
                <a:lnTo>
                  <a:pt x="301" y="363"/>
                </a:lnTo>
                <a:lnTo>
                  <a:pt x="298" y="363"/>
                </a:lnTo>
                <a:lnTo>
                  <a:pt x="296" y="368"/>
                </a:lnTo>
                <a:lnTo>
                  <a:pt x="294" y="368"/>
                </a:lnTo>
                <a:lnTo>
                  <a:pt x="291" y="368"/>
                </a:lnTo>
                <a:lnTo>
                  <a:pt x="289" y="370"/>
                </a:lnTo>
                <a:lnTo>
                  <a:pt x="287" y="372"/>
                </a:lnTo>
                <a:lnTo>
                  <a:pt x="284" y="375"/>
                </a:lnTo>
                <a:lnTo>
                  <a:pt x="284" y="377"/>
                </a:lnTo>
                <a:lnTo>
                  <a:pt x="287" y="377"/>
                </a:lnTo>
                <a:lnTo>
                  <a:pt x="287" y="379"/>
                </a:lnTo>
                <a:lnTo>
                  <a:pt x="289" y="382"/>
                </a:lnTo>
                <a:lnTo>
                  <a:pt x="289" y="384"/>
                </a:lnTo>
                <a:lnTo>
                  <a:pt x="287" y="384"/>
                </a:lnTo>
                <a:lnTo>
                  <a:pt x="284" y="384"/>
                </a:lnTo>
                <a:lnTo>
                  <a:pt x="282" y="386"/>
                </a:lnTo>
                <a:lnTo>
                  <a:pt x="280" y="386"/>
                </a:lnTo>
                <a:lnTo>
                  <a:pt x="277" y="389"/>
                </a:lnTo>
                <a:lnTo>
                  <a:pt x="275" y="396"/>
                </a:lnTo>
                <a:lnTo>
                  <a:pt x="273" y="400"/>
                </a:lnTo>
                <a:lnTo>
                  <a:pt x="270" y="400"/>
                </a:lnTo>
                <a:lnTo>
                  <a:pt x="270" y="403"/>
                </a:lnTo>
                <a:lnTo>
                  <a:pt x="268" y="403"/>
                </a:lnTo>
                <a:lnTo>
                  <a:pt x="266" y="405"/>
                </a:lnTo>
                <a:lnTo>
                  <a:pt x="266" y="407"/>
                </a:lnTo>
                <a:lnTo>
                  <a:pt x="263" y="407"/>
                </a:lnTo>
                <a:lnTo>
                  <a:pt x="263" y="410"/>
                </a:lnTo>
                <a:lnTo>
                  <a:pt x="266" y="412"/>
                </a:lnTo>
                <a:lnTo>
                  <a:pt x="268" y="414"/>
                </a:lnTo>
                <a:lnTo>
                  <a:pt x="268" y="417"/>
                </a:lnTo>
                <a:lnTo>
                  <a:pt x="270" y="417"/>
                </a:lnTo>
                <a:lnTo>
                  <a:pt x="270" y="419"/>
                </a:lnTo>
                <a:lnTo>
                  <a:pt x="270" y="421"/>
                </a:lnTo>
                <a:lnTo>
                  <a:pt x="273" y="421"/>
                </a:lnTo>
                <a:lnTo>
                  <a:pt x="282" y="424"/>
                </a:lnTo>
                <a:lnTo>
                  <a:pt x="287" y="426"/>
                </a:lnTo>
                <a:lnTo>
                  <a:pt x="291" y="428"/>
                </a:lnTo>
                <a:lnTo>
                  <a:pt x="294" y="428"/>
                </a:lnTo>
                <a:lnTo>
                  <a:pt x="294" y="431"/>
                </a:lnTo>
                <a:lnTo>
                  <a:pt x="291" y="433"/>
                </a:lnTo>
                <a:lnTo>
                  <a:pt x="287" y="435"/>
                </a:lnTo>
                <a:lnTo>
                  <a:pt x="282" y="435"/>
                </a:lnTo>
                <a:lnTo>
                  <a:pt x="282" y="438"/>
                </a:lnTo>
                <a:lnTo>
                  <a:pt x="280" y="438"/>
                </a:lnTo>
                <a:lnTo>
                  <a:pt x="280" y="440"/>
                </a:lnTo>
                <a:lnTo>
                  <a:pt x="280" y="442"/>
                </a:lnTo>
                <a:lnTo>
                  <a:pt x="282" y="445"/>
                </a:lnTo>
                <a:lnTo>
                  <a:pt x="284" y="442"/>
                </a:lnTo>
                <a:lnTo>
                  <a:pt x="287" y="442"/>
                </a:lnTo>
                <a:lnTo>
                  <a:pt x="287" y="445"/>
                </a:lnTo>
                <a:lnTo>
                  <a:pt x="289" y="445"/>
                </a:lnTo>
                <a:lnTo>
                  <a:pt x="291" y="447"/>
                </a:lnTo>
                <a:lnTo>
                  <a:pt x="291" y="449"/>
                </a:lnTo>
                <a:lnTo>
                  <a:pt x="291" y="452"/>
                </a:lnTo>
                <a:lnTo>
                  <a:pt x="289" y="452"/>
                </a:lnTo>
                <a:lnTo>
                  <a:pt x="287" y="452"/>
                </a:lnTo>
                <a:lnTo>
                  <a:pt x="284" y="454"/>
                </a:lnTo>
                <a:lnTo>
                  <a:pt x="282" y="454"/>
                </a:lnTo>
                <a:lnTo>
                  <a:pt x="280" y="456"/>
                </a:lnTo>
                <a:lnTo>
                  <a:pt x="280" y="459"/>
                </a:lnTo>
                <a:lnTo>
                  <a:pt x="275" y="459"/>
                </a:lnTo>
                <a:lnTo>
                  <a:pt x="275" y="461"/>
                </a:lnTo>
                <a:lnTo>
                  <a:pt x="273" y="475"/>
                </a:lnTo>
                <a:lnTo>
                  <a:pt x="273" y="480"/>
                </a:lnTo>
                <a:lnTo>
                  <a:pt x="275" y="480"/>
                </a:lnTo>
                <a:lnTo>
                  <a:pt x="275" y="482"/>
                </a:lnTo>
                <a:lnTo>
                  <a:pt x="277" y="482"/>
                </a:lnTo>
                <a:lnTo>
                  <a:pt x="280" y="484"/>
                </a:lnTo>
                <a:lnTo>
                  <a:pt x="282" y="484"/>
                </a:lnTo>
                <a:lnTo>
                  <a:pt x="282" y="486"/>
                </a:lnTo>
                <a:lnTo>
                  <a:pt x="282" y="491"/>
                </a:lnTo>
                <a:lnTo>
                  <a:pt x="282" y="493"/>
                </a:lnTo>
                <a:lnTo>
                  <a:pt x="277" y="498"/>
                </a:lnTo>
                <a:lnTo>
                  <a:pt x="277" y="500"/>
                </a:lnTo>
                <a:lnTo>
                  <a:pt x="275" y="500"/>
                </a:lnTo>
                <a:lnTo>
                  <a:pt x="275" y="503"/>
                </a:lnTo>
                <a:lnTo>
                  <a:pt x="277" y="505"/>
                </a:lnTo>
                <a:lnTo>
                  <a:pt x="273" y="507"/>
                </a:lnTo>
                <a:lnTo>
                  <a:pt x="268" y="507"/>
                </a:lnTo>
                <a:lnTo>
                  <a:pt x="263" y="507"/>
                </a:lnTo>
                <a:lnTo>
                  <a:pt x="261" y="507"/>
                </a:lnTo>
                <a:lnTo>
                  <a:pt x="259" y="507"/>
                </a:lnTo>
                <a:lnTo>
                  <a:pt x="254" y="507"/>
                </a:lnTo>
                <a:lnTo>
                  <a:pt x="252" y="510"/>
                </a:lnTo>
                <a:lnTo>
                  <a:pt x="249" y="510"/>
                </a:lnTo>
                <a:lnTo>
                  <a:pt x="242" y="517"/>
                </a:lnTo>
                <a:lnTo>
                  <a:pt x="240" y="517"/>
                </a:lnTo>
                <a:lnTo>
                  <a:pt x="240" y="519"/>
                </a:lnTo>
                <a:lnTo>
                  <a:pt x="238" y="519"/>
                </a:lnTo>
                <a:lnTo>
                  <a:pt x="235" y="519"/>
                </a:lnTo>
                <a:lnTo>
                  <a:pt x="231" y="519"/>
                </a:lnTo>
                <a:lnTo>
                  <a:pt x="231" y="517"/>
                </a:lnTo>
                <a:lnTo>
                  <a:pt x="228" y="517"/>
                </a:lnTo>
                <a:lnTo>
                  <a:pt x="224" y="517"/>
                </a:lnTo>
                <a:lnTo>
                  <a:pt x="221" y="519"/>
                </a:lnTo>
                <a:lnTo>
                  <a:pt x="210" y="524"/>
                </a:lnTo>
                <a:lnTo>
                  <a:pt x="208" y="524"/>
                </a:lnTo>
                <a:lnTo>
                  <a:pt x="205" y="524"/>
                </a:lnTo>
                <a:lnTo>
                  <a:pt x="201" y="526"/>
                </a:lnTo>
                <a:lnTo>
                  <a:pt x="198" y="526"/>
                </a:lnTo>
                <a:lnTo>
                  <a:pt x="194" y="526"/>
                </a:lnTo>
                <a:lnTo>
                  <a:pt x="194" y="528"/>
                </a:lnTo>
                <a:lnTo>
                  <a:pt x="191" y="528"/>
                </a:lnTo>
                <a:lnTo>
                  <a:pt x="191" y="526"/>
                </a:lnTo>
                <a:lnTo>
                  <a:pt x="189" y="524"/>
                </a:lnTo>
                <a:lnTo>
                  <a:pt x="189" y="521"/>
                </a:lnTo>
                <a:lnTo>
                  <a:pt x="187" y="519"/>
                </a:lnTo>
                <a:lnTo>
                  <a:pt x="187" y="517"/>
                </a:lnTo>
                <a:lnTo>
                  <a:pt x="187" y="514"/>
                </a:lnTo>
                <a:lnTo>
                  <a:pt x="187" y="517"/>
                </a:lnTo>
                <a:lnTo>
                  <a:pt x="184" y="517"/>
                </a:lnTo>
                <a:lnTo>
                  <a:pt x="182" y="517"/>
                </a:lnTo>
                <a:lnTo>
                  <a:pt x="182" y="519"/>
                </a:lnTo>
                <a:lnTo>
                  <a:pt x="182" y="521"/>
                </a:lnTo>
                <a:lnTo>
                  <a:pt x="184" y="528"/>
                </a:lnTo>
                <a:lnTo>
                  <a:pt x="184" y="531"/>
                </a:lnTo>
                <a:lnTo>
                  <a:pt x="182" y="531"/>
                </a:lnTo>
                <a:lnTo>
                  <a:pt x="173" y="526"/>
                </a:lnTo>
                <a:lnTo>
                  <a:pt x="170" y="526"/>
                </a:lnTo>
                <a:lnTo>
                  <a:pt x="168" y="524"/>
                </a:lnTo>
                <a:lnTo>
                  <a:pt x="166" y="524"/>
                </a:lnTo>
                <a:lnTo>
                  <a:pt x="163" y="524"/>
                </a:lnTo>
                <a:lnTo>
                  <a:pt x="161" y="521"/>
                </a:lnTo>
                <a:lnTo>
                  <a:pt x="159" y="519"/>
                </a:lnTo>
                <a:lnTo>
                  <a:pt x="156" y="519"/>
                </a:lnTo>
                <a:lnTo>
                  <a:pt x="154" y="517"/>
                </a:lnTo>
                <a:lnTo>
                  <a:pt x="156" y="512"/>
                </a:lnTo>
                <a:lnTo>
                  <a:pt x="156" y="510"/>
                </a:lnTo>
                <a:lnTo>
                  <a:pt x="154" y="510"/>
                </a:lnTo>
                <a:lnTo>
                  <a:pt x="152" y="512"/>
                </a:lnTo>
                <a:lnTo>
                  <a:pt x="145" y="517"/>
                </a:lnTo>
                <a:lnTo>
                  <a:pt x="142" y="517"/>
                </a:lnTo>
                <a:lnTo>
                  <a:pt x="140" y="517"/>
                </a:lnTo>
                <a:lnTo>
                  <a:pt x="138" y="517"/>
                </a:lnTo>
                <a:lnTo>
                  <a:pt x="133" y="517"/>
                </a:lnTo>
                <a:lnTo>
                  <a:pt x="128" y="514"/>
                </a:lnTo>
                <a:lnTo>
                  <a:pt x="126" y="514"/>
                </a:lnTo>
                <a:lnTo>
                  <a:pt x="124" y="514"/>
                </a:lnTo>
                <a:lnTo>
                  <a:pt x="124" y="517"/>
                </a:lnTo>
                <a:lnTo>
                  <a:pt x="121" y="517"/>
                </a:lnTo>
                <a:lnTo>
                  <a:pt x="121" y="521"/>
                </a:lnTo>
                <a:lnTo>
                  <a:pt x="121" y="524"/>
                </a:lnTo>
                <a:lnTo>
                  <a:pt x="121" y="526"/>
                </a:lnTo>
                <a:lnTo>
                  <a:pt x="119" y="526"/>
                </a:lnTo>
                <a:lnTo>
                  <a:pt x="117" y="528"/>
                </a:lnTo>
                <a:lnTo>
                  <a:pt x="114" y="526"/>
                </a:lnTo>
                <a:lnTo>
                  <a:pt x="114" y="524"/>
                </a:lnTo>
                <a:lnTo>
                  <a:pt x="114" y="521"/>
                </a:lnTo>
                <a:lnTo>
                  <a:pt x="117" y="517"/>
                </a:lnTo>
                <a:lnTo>
                  <a:pt x="117" y="510"/>
                </a:lnTo>
                <a:lnTo>
                  <a:pt x="117" y="507"/>
                </a:lnTo>
                <a:lnTo>
                  <a:pt x="114" y="505"/>
                </a:lnTo>
                <a:lnTo>
                  <a:pt x="114" y="503"/>
                </a:lnTo>
                <a:lnTo>
                  <a:pt x="117" y="500"/>
                </a:lnTo>
                <a:lnTo>
                  <a:pt x="117" y="498"/>
                </a:lnTo>
                <a:lnTo>
                  <a:pt x="114" y="496"/>
                </a:lnTo>
                <a:lnTo>
                  <a:pt x="114" y="493"/>
                </a:lnTo>
                <a:lnTo>
                  <a:pt x="112" y="491"/>
                </a:lnTo>
                <a:lnTo>
                  <a:pt x="107" y="489"/>
                </a:lnTo>
                <a:lnTo>
                  <a:pt x="105" y="486"/>
                </a:lnTo>
                <a:lnTo>
                  <a:pt x="103" y="486"/>
                </a:lnTo>
                <a:lnTo>
                  <a:pt x="103" y="484"/>
                </a:lnTo>
                <a:lnTo>
                  <a:pt x="105" y="480"/>
                </a:lnTo>
                <a:lnTo>
                  <a:pt x="103" y="480"/>
                </a:lnTo>
                <a:lnTo>
                  <a:pt x="100" y="482"/>
                </a:lnTo>
                <a:lnTo>
                  <a:pt x="96" y="484"/>
                </a:lnTo>
                <a:lnTo>
                  <a:pt x="84" y="500"/>
                </a:lnTo>
                <a:lnTo>
                  <a:pt x="80" y="510"/>
                </a:lnTo>
                <a:lnTo>
                  <a:pt x="80" y="512"/>
                </a:lnTo>
                <a:lnTo>
                  <a:pt x="80" y="514"/>
                </a:lnTo>
                <a:lnTo>
                  <a:pt x="77" y="514"/>
                </a:lnTo>
                <a:lnTo>
                  <a:pt x="77" y="517"/>
                </a:lnTo>
                <a:lnTo>
                  <a:pt x="75" y="517"/>
                </a:lnTo>
                <a:lnTo>
                  <a:pt x="70" y="512"/>
                </a:lnTo>
                <a:lnTo>
                  <a:pt x="66" y="512"/>
                </a:lnTo>
                <a:lnTo>
                  <a:pt x="59" y="510"/>
                </a:lnTo>
                <a:lnTo>
                  <a:pt x="45" y="503"/>
                </a:lnTo>
                <a:lnTo>
                  <a:pt x="42" y="500"/>
                </a:lnTo>
                <a:lnTo>
                  <a:pt x="42" y="498"/>
                </a:lnTo>
                <a:lnTo>
                  <a:pt x="40" y="498"/>
                </a:lnTo>
                <a:lnTo>
                  <a:pt x="38" y="498"/>
                </a:lnTo>
                <a:lnTo>
                  <a:pt x="26" y="491"/>
                </a:lnTo>
                <a:lnTo>
                  <a:pt x="24" y="491"/>
                </a:lnTo>
                <a:lnTo>
                  <a:pt x="24" y="489"/>
                </a:lnTo>
                <a:lnTo>
                  <a:pt x="24" y="482"/>
                </a:lnTo>
                <a:lnTo>
                  <a:pt x="26" y="480"/>
                </a:lnTo>
                <a:lnTo>
                  <a:pt x="28" y="475"/>
                </a:lnTo>
                <a:lnTo>
                  <a:pt x="31" y="473"/>
                </a:lnTo>
                <a:lnTo>
                  <a:pt x="28" y="470"/>
                </a:lnTo>
                <a:lnTo>
                  <a:pt x="31" y="468"/>
                </a:lnTo>
                <a:lnTo>
                  <a:pt x="33" y="463"/>
                </a:lnTo>
                <a:lnTo>
                  <a:pt x="35" y="463"/>
                </a:lnTo>
                <a:lnTo>
                  <a:pt x="35" y="461"/>
                </a:lnTo>
                <a:lnTo>
                  <a:pt x="35" y="459"/>
                </a:lnTo>
                <a:lnTo>
                  <a:pt x="33" y="459"/>
                </a:lnTo>
                <a:lnTo>
                  <a:pt x="28" y="461"/>
                </a:lnTo>
                <a:lnTo>
                  <a:pt x="26" y="463"/>
                </a:lnTo>
                <a:lnTo>
                  <a:pt x="24" y="463"/>
                </a:lnTo>
                <a:lnTo>
                  <a:pt x="24" y="466"/>
                </a:lnTo>
                <a:lnTo>
                  <a:pt x="21" y="466"/>
                </a:lnTo>
                <a:lnTo>
                  <a:pt x="21" y="468"/>
                </a:lnTo>
                <a:lnTo>
                  <a:pt x="19" y="468"/>
                </a:lnTo>
                <a:lnTo>
                  <a:pt x="19" y="470"/>
                </a:lnTo>
                <a:lnTo>
                  <a:pt x="17" y="470"/>
                </a:lnTo>
                <a:lnTo>
                  <a:pt x="17" y="473"/>
                </a:lnTo>
                <a:lnTo>
                  <a:pt x="17" y="475"/>
                </a:lnTo>
                <a:lnTo>
                  <a:pt x="14" y="475"/>
                </a:lnTo>
                <a:lnTo>
                  <a:pt x="14" y="477"/>
                </a:lnTo>
                <a:lnTo>
                  <a:pt x="12" y="477"/>
                </a:lnTo>
                <a:lnTo>
                  <a:pt x="12" y="480"/>
                </a:lnTo>
                <a:lnTo>
                  <a:pt x="12" y="482"/>
                </a:lnTo>
                <a:lnTo>
                  <a:pt x="12" y="484"/>
                </a:lnTo>
                <a:lnTo>
                  <a:pt x="10" y="486"/>
                </a:lnTo>
                <a:lnTo>
                  <a:pt x="10" y="484"/>
                </a:lnTo>
                <a:lnTo>
                  <a:pt x="7" y="484"/>
                </a:lnTo>
                <a:lnTo>
                  <a:pt x="5" y="484"/>
                </a:lnTo>
                <a:lnTo>
                  <a:pt x="5" y="482"/>
                </a:lnTo>
                <a:lnTo>
                  <a:pt x="3" y="482"/>
                </a:lnTo>
                <a:lnTo>
                  <a:pt x="3" y="480"/>
                </a:lnTo>
                <a:lnTo>
                  <a:pt x="3" y="477"/>
                </a:lnTo>
                <a:lnTo>
                  <a:pt x="3" y="475"/>
                </a:lnTo>
                <a:lnTo>
                  <a:pt x="3" y="473"/>
                </a:lnTo>
                <a:lnTo>
                  <a:pt x="0" y="473"/>
                </a:lnTo>
                <a:lnTo>
                  <a:pt x="0" y="470"/>
                </a:lnTo>
                <a:lnTo>
                  <a:pt x="0" y="468"/>
                </a:lnTo>
                <a:lnTo>
                  <a:pt x="0" y="466"/>
                </a:lnTo>
                <a:lnTo>
                  <a:pt x="3" y="466"/>
                </a:lnTo>
                <a:lnTo>
                  <a:pt x="3" y="463"/>
                </a:lnTo>
                <a:lnTo>
                  <a:pt x="3" y="461"/>
                </a:lnTo>
                <a:lnTo>
                  <a:pt x="3" y="459"/>
                </a:lnTo>
                <a:lnTo>
                  <a:pt x="5" y="459"/>
                </a:lnTo>
                <a:lnTo>
                  <a:pt x="3" y="452"/>
                </a:lnTo>
                <a:lnTo>
                  <a:pt x="5" y="449"/>
                </a:lnTo>
                <a:lnTo>
                  <a:pt x="3" y="447"/>
                </a:lnTo>
                <a:lnTo>
                  <a:pt x="3" y="445"/>
                </a:lnTo>
                <a:lnTo>
                  <a:pt x="3" y="442"/>
                </a:lnTo>
                <a:lnTo>
                  <a:pt x="3" y="433"/>
                </a:lnTo>
                <a:lnTo>
                  <a:pt x="3" y="431"/>
                </a:lnTo>
                <a:lnTo>
                  <a:pt x="3" y="428"/>
                </a:lnTo>
                <a:lnTo>
                  <a:pt x="3" y="426"/>
                </a:lnTo>
                <a:lnTo>
                  <a:pt x="5" y="426"/>
                </a:lnTo>
                <a:lnTo>
                  <a:pt x="5" y="424"/>
                </a:lnTo>
                <a:lnTo>
                  <a:pt x="3" y="424"/>
                </a:lnTo>
                <a:lnTo>
                  <a:pt x="3" y="421"/>
                </a:lnTo>
                <a:lnTo>
                  <a:pt x="3" y="419"/>
                </a:lnTo>
                <a:lnTo>
                  <a:pt x="3" y="417"/>
                </a:lnTo>
                <a:lnTo>
                  <a:pt x="0" y="414"/>
                </a:lnTo>
                <a:lnTo>
                  <a:pt x="0" y="412"/>
                </a:lnTo>
                <a:lnTo>
                  <a:pt x="3" y="412"/>
                </a:lnTo>
                <a:lnTo>
                  <a:pt x="3" y="410"/>
                </a:lnTo>
                <a:lnTo>
                  <a:pt x="5" y="410"/>
                </a:lnTo>
                <a:lnTo>
                  <a:pt x="5" y="405"/>
                </a:lnTo>
                <a:lnTo>
                  <a:pt x="3" y="403"/>
                </a:lnTo>
                <a:lnTo>
                  <a:pt x="0" y="403"/>
                </a:lnTo>
                <a:lnTo>
                  <a:pt x="0" y="400"/>
                </a:lnTo>
                <a:lnTo>
                  <a:pt x="0" y="398"/>
                </a:lnTo>
                <a:lnTo>
                  <a:pt x="0" y="396"/>
                </a:lnTo>
                <a:lnTo>
                  <a:pt x="0" y="393"/>
                </a:lnTo>
                <a:lnTo>
                  <a:pt x="3" y="393"/>
                </a:lnTo>
                <a:lnTo>
                  <a:pt x="5" y="386"/>
                </a:lnTo>
                <a:lnTo>
                  <a:pt x="5" y="384"/>
                </a:lnTo>
                <a:lnTo>
                  <a:pt x="5" y="382"/>
                </a:lnTo>
                <a:lnTo>
                  <a:pt x="7" y="377"/>
                </a:lnTo>
                <a:lnTo>
                  <a:pt x="7" y="375"/>
                </a:lnTo>
                <a:lnTo>
                  <a:pt x="7" y="372"/>
                </a:lnTo>
                <a:lnTo>
                  <a:pt x="10" y="372"/>
                </a:lnTo>
                <a:lnTo>
                  <a:pt x="10" y="370"/>
                </a:lnTo>
                <a:lnTo>
                  <a:pt x="10" y="368"/>
                </a:lnTo>
                <a:lnTo>
                  <a:pt x="10" y="365"/>
                </a:lnTo>
                <a:lnTo>
                  <a:pt x="10" y="363"/>
                </a:lnTo>
                <a:lnTo>
                  <a:pt x="10" y="361"/>
                </a:lnTo>
                <a:lnTo>
                  <a:pt x="12" y="358"/>
                </a:lnTo>
                <a:lnTo>
                  <a:pt x="10" y="358"/>
                </a:lnTo>
                <a:lnTo>
                  <a:pt x="10" y="356"/>
                </a:lnTo>
                <a:lnTo>
                  <a:pt x="12" y="354"/>
                </a:lnTo>
                <a:lnTo>
                  <a:pt x="12" y="351"/>
                </a:lnTo>
                <a:lnTo>
                  <a:pt x="14" y="349"/>
                </a:lnTo>
                <a:lnTo>
                  <a:pt x="12" y="347"/>
                </a:lnTo>
                <a:lnTo>
                  <a:pt x="12" y="344"/>
                </a:lnTo>
                <a:lnTo>
                  <a:pt x="14" y="344"/>
                </a:lnTo>
                <a:lnTo>
                  <a:pt x="14" y="342"/>
                </a:lnTo>
                <a:lnTo>
                  <a:pt x="17" y="342"/>
                </a:lnTo>
                <a:lnTo>
                  <a:pt x="17" y="340"/>
                </a:lnTo>
                <a:lnTo>
                  <a:pt x="19" y="340"/>
                </a:lnTo>
                <a:lnTo>
                  <a:pt x="19" y="338"/>
                </a:lnTo>
                <a:lnTo>
                  <a:pt x="19" y="335"/>
                </a:lnTo>
                <a:lnTo>
                  <a:pt x="19" y="333"/>
                </a:lnTo>
                <a:lnTo>
                  <a:pt x="21" y="331"/>
                </a:lnTo>
                <a:lnTo>
                  <a:pt x="21" y="328"/>
                </a:lnTo>
                <a:lnTo>
                  <a:pt x="24" y="328"/>
                </a:lnTo>
                <a:lnTo>
                  <a:pt x="26" y="326"/>
                </a:lnTo>
                <a:lnTo>
                  <a:pt x="26" y="324"/>
                </a:lnTo>
                <a:lnTo>
                  <a:pt x="28" y="319"/>
                </a:lnTo>
                <a:lnTo>
                  <a:pt x="28" y="317"/>
                </a:lnTo>
                <a:lnTo>
                  <a:pt x="28" y="314"/>
                </a:lnTo>
                <a:lnTo>
                  <a:pt x="28" y="312"/>
                </a:lnTo>
                <a:lnTo>
                  <a:pt x="28" y="310"/>
                </a:lnTo>
                <a:lnTo>
                  <a:pt x="31" y="310"/>
                </a:lnTo>
                <a:lnTo>
                  <a:pt x="33" y="307"/>
                </a:lnTo>
                <a:lnTo>
                  <a:pt x="35" y="305"/>
                </a:lnTo>
                <a:lnTo>
                  <a:pt x="35" y="303"/>
                </a:lnTo>
                <a:lnTo>
                  <a:pt x="38" y="298"/>
                </a:lnTo>
                <a:lnTo>
                  <a:pt x="38" y="296"/>
                </a:lnTo>
                <a:lnTo>
                  <a:pt x="40" y="293"/>
                </a:lnTo>
                <a:lnTo>
                  <a:pt x="42" y="291"/>
                </a:lnTo>
                <a:lnTo>
                  <a:pt x="42" y="289"/>
                </a:lnTo>
                <a:lnTo>
                  <a:pt x="45" y="289"/>
                </a:lnTo>
                <a:lnTo>
                  <a:pt x="45" y="286"/>
                </a:lnTo>
                <a:lnTo>
                  <a:pt x="47" y="284"/>
                </a:lnTo>
                <a:lnTo>
                  <a:pt x="47" y="282"/>
                </a:lnTo>
                <a:lnTo>
                  <a:pt x="49" y="279"/>
                </a:lnTo>
                <a:lnTo>
                  <a:pt x="49" y="277"/>
                </a:lnTo>
                <a:lnTo>
                  <a:pt x="49" y="272"/>
                </a:lnTo>
                <a:lnTo>
                  <a:pt x="52" y="268"/>
                </a:lnTo>
                <a:lnTo>
                  <a:pt x="52" y="265"/>
                </a:lnTo>
                <a:lnTo>
                  <a:pt x="52" y="263"/>
                </a:lnTo>
                <a:lnTo>
                  <a:pt x="54" y="263"/>
                </a:lnTo>
                <a:lnTo>
                  <a:pt x="54" y="261"/>
                </a:lnTo>
                <a:lnTo>
                  <a:pt x="56" y="258"/>
                </a:lnTo>
                <a:lnTo>
                  <a:pt x="59" y="256"/>
                </a:lnTo>
                <a:lnTo>
                  <a:pt x="61" y="254"/>
                </a:lnTo>
                <a:lnTo>
                  <a:pt x="63" y="251"/>
                </a:lnTo>
                <a:lnTo>
                  <a:pt x="66" y="247"/>
                </a:lnTo>
                <a:lnTo>
                  <a:pt x="68" y="244"/>
                </a:lnTo>
                <a:lnTo>
                  <a:pt x="70" y="244"/>
                </a:lnTo>
                <a:lnTo>
                  <a:pt x="70" y="242"/>
                </a:lnTo>
                <a:lnTo>
                  <a:pt x="73" y="240"/>
                </a:lnTo>
                <a:lnTo>
                  <a:pt x="73" y="237"/>
                </a:lnTo>
                <a:lnTo>
                  <a:pt x="75" y="237"/>
                </a:lnTo>
                <a:lnTo>
                  <a:pt x="77" y="235"/>
                </a:lnTo>
                <a:lnTo>
                  <a:pt x="80" y="235"/>
                </a:lnTo>
                <a:lnTo>
                  <a:pt x="84" y="233"/>
                </a:lnTo>
                <a:lnTo>
                  <a:pt x="87" y="233"/>
                </a:lnTo>
                <a:lnTo>
                  <a:pt x="87" y="230"/>
                </a:lnTo>
                <a:lnTo>
                  <a:pt x="89" y="228"/>
                </a:lnTo>
                <a:lnTo>
                  <a:pt x="91" y="223"/>
                </a:lnTo>
                <a:lnTo>
                  <a:pt x="91" y="221"/>
                </a:lnTo>
                <a:lnTo>
                  <a:pt x="93" y="219"/>
                </a:lnTo>
                <a:lnTo>
                  <a:pt x="98" y="214"/>
                </a:lnTo>
                <a:lnTo>
                  <a:pt x="100" y="209"/>
                </a:lnTo>
                <a:lnTo>
                  <a:pt x="100" y="207"/>
                </a:lnTo>
                <a:lnTo>
                  <a:pt x="103" y="207"/>
                </a:lnTo>
                <a:lnTo>
                  <a:pt x="105" y="205"/>
                </a:lnTo>
                <a:lnTo>
                  <a:pt x="105" y="202"/>
                </a:lnTo>
                <a:lnTo>
                  <a:pt x="107" y="202"/>
                </a:lnTo>
                <a:lnTo>
                  <a:pt x="112" y="189"/>
                </a:lnTo>
                <a:lnTo>
                  <a:pt x="112" y="186"/>
                </a:lnTo>
                <a:lnTo>
                  <a:pt x="114" y="184"/>
                </a:lnTo>
                <a:lnTo>
                  <a:pt x="114" y="179"/>
                </a:lnTo>
                <a:lnTo>
                  <a:pt x="117" y="177"/>
                </a:lnTo>
                <a:lnTo>
                  <a:pt x="117" y="175"/>
                </a:lnTo>
                <a:lnTo>
                  <a:pt x="117" y="172"/>
                </a:lnTo>
                <a:lnTo>
                  <a:pt x="117" y="170"/>
                </a:lnTo>
                <a:lnTo>
                  <a:pt x="119" y="168"/>
                </a:lnTo>
                <a:lnTo>
                  <a:pt x="117" y="165"/>
                </a:lnTo>
                <a:lnTo>
                  <a:pt x="114" y="165"/>
                </a:lnTo>
                <a:lnTo>
                  <a:pt x="110" y="161"/>
                </a:lnTo>
                <a:lnTo>
                  <a:pt x="107" y="158"/>
                </a:lnTo>
                <a:lnTo>
                  <a:pt x="105" y="156"/>
                </a:lnTo>
                <a:lnTo>
                  <a:pt x="105" y="154"/>
                </a:lnTo>
                <a:lnTo>
                  <a:pt x="105" y="149"/>
                </a:lnTo>
                <a:lnTo>
                  <a:pt x="105" y="147"/>
                </a:lnTo>
                <a:lnTo>
                  <a:pt x="117" y="135"/>
                </a:lnTo>
                <a:lnTo>
                  <a:pt x="119" y="130"/>
                </a:lnTo>
                <a:lnTo>
                  <a:pt x="119" y="121"/>
                </a:lnTo>
                <a:lnTo>
                  <a:pt x="119" y="112"/>
                </a:lnTo>
                <a:lnTo>
                  <a:pt x="119" y="109"/>
                </a:lnTo>
                <a:lnTo>
                  <a:pt x="121" y="109"/>
                </a:lnTo>
                <a:lnTo>
                  <a:pt x="131" y="102"/>
                </a:lnTo>
                <a:lnTo>
                  <a:pt x="133" y="102"/>
                </a:lnTo>
                <a:lnTo>
                  <a:pt x="140" y="100"/>
                </a:lnTo>
                <a:lnTo>
                  <a:pt x="142" y="100"/>
                </a:lnTo>
                <a:lnTo>
                  <a:pt x="145" y="100"/>
                </a:lnTo>
                <a:lnTo>
                  <a:pt x="147" y="98"/>
                </a:lnTo>
                <a:lnTo>
                  <a:pt x="156" y="95"/>
                </a:lnTo>
                <a:lnTo>
                  <a:pt x="156" y="93"/>
                </a:lnTo>
                <a:lnTo>
                  <a:pt x="159" y="88"/>
                </a:lnTo>
                <a:lnTo>
                  <a:pt x="156" y="88"/>
                </a:lnTo>
                <a:lnTo>
                  <a:pt x="156" y="86"/>
                </a:lnTo>
                <a:lnTo>
                  <a:pt x="159" y="86"/>
                </a:lnTo>
                <a:lnTo>
                  <a:pt x="161" y="84"/>
                </a:lnTo>
                <a:lnTo>
                  <a:pt x="161" y="81"/>
                </a:lnTo>
                <a:lnTo>
                  <a:pt x="163" y="79"/>
                </a:lnTo>
                <a:lnTo>
                  <a:pt x="168" y="77"/>
                </a:lnTo>
                <a:lnTo>
                  <a:pt x="170" y="77"/>
                </a:lnTo>
                <a:lnTo>
                  <a:pt x="175" y="77"/>
                </a:lnTo>
                <a:lnTo>
                  <a:pt x="177" y="77"/>
                </a:lnTo>
                <a:lnTo>
                  <a:pt x="177" y="74"/>
                </a:lnTo>
                <a:lnTo>
                  <a:pt x="175" y="74"/>
                </a:lnTo>
                <a:lnTo>
                  <a:pt x="175" y="72"/>
                </a:lnTo>
                <a:lnTo>
                  <a:pt x="175" y="70"/>
                </a:lnTo>
                <a:lnTo>
                  <a:pt x="175" y="65"/>
                </a:lnTo>
                <a:lnTo>
                  <a:pt x="175" y="63"/>
                </a:lnTo>
                <a:lnTo>
                  <a:pt x="182" y="63"/>
                </a:lnTo>
                <a:lnTo>
                  <a:pt x="184" y="60"/>
                </a:lnTo>
                <a:lnTo>
                  <a:pt x="184" y="58"/>
                </a:lnTo>
                <a:lnTo>
                  <a:pt x="184" y="56"/>
                </a:lnTo>
                <a:lnTo>
                  <a:pt x="182" y="56"/>
                </a:lnTo>
                <a:lnTo>
                  <a:pt x="182" y="54"/>
                </a:lnTo>
                <a:lnTo>
                  <a:pt x="182" y="51"/>
                </a:lnTo>
                <a:lnTo>
                  <a:pt x="184" y="51"/>
                </a:lnTo>
                <a:lnTo>
                  <a:pt x="189" y="51"/>
                </a:lnTo>
                <a:lnTo>
                  <a:pt x="189" y="49"/>
                </a:lnTo>
                <a:lnTo>
                  <a:pt x="189" y="47"/>
                </a:lnTo>
                <a:lnTo>
                  <a:pt x="187" y="44"/>
                </a:lnTo>
                <a:lnTo>
                  <a:pt x="184" y="44"/>
                </a:lnTo>
                <a:lnTo>
                  <a:pt x="184" y="42"/>
                </a:lnTo>
                <a:lnTo>
                  <a:pt x="184" y="37"/>
                </a:lnTo>
                <a:lnTo>
                  <a:pt x="187" y="37"/>
                </a:lnTo>
                <a:lnTo>
                  <a:pt x="187" y="35"/>
                </a:lnTo>
                <a:lnTo>
                  <a:pt x="189" y="37"/>
                </a:lnTo>
                <a:lnTo>
                  <a:pt x="191" y="35"/>
                </a:lnTo>
                <a:lnTo>
                  <a:pt x="194" y="35"/>
                </a:lnTo>
                <a:lnTo>
                  <a:pt x="196" y="33"/>
                </a:lnTo>
                <a:lnTo>
                  <a:pt x="196" y="30"/>
                </a:lnTo>
                <a:lnTo>
                  <a:pt x="196" y="28"/>
                </a:lnTo>
                <a:lnTo>
                  <a:pt x="194" y="28"/>
                </a:lnTo>
                <a:lnTo>
                  <a:pt x="194" y="26"/>
                </a:lnTo>
                <a:lnTo>
                  <a:pt x="191" y="26"/>
                </a:lnTo>
                <a:lnTo>
                  <a:pt x="191" y="23"/>
                </a:lnTo>
                <a:lnTo>
                  <a:pt x="189" y="23"/>
                </a:lnTo>
                <a:lnTo>
                  <a:pt x="187" y="23"/>
                </a:lnTo>
                <a:lnTo>
                  <a:pt x="184" y="21"/>
                </a:lnTo>
                <a:lnTo>
                  <a:pt x="182" y="14"/>
                </a:lnTo>
                <a:lnTo>
                  <a:pt x="173" y="14"/>
                </a:lnTo>
                <a:lnTo>
                  <a:pt x="170" y="14"/>
                </a:lnTo>
                <a:lnTo>
                  <a:pt x="168" y="14"/>
                </a:lnTo>
                <a:lnTo>
                  <a:pt x="166" y="12"/>
                </a:lnTo>
                <a:lnTo>
                  <a:pt x="161" y="9"/>
                </a:lnTo>
                <a:lnTo>
                  <a:pt x="159" y="9"/>
                </a:lnTo>
                <a:lnTo>
                  <a:pt x="161" y="7"/>
                </a:lnTo>
                <a:lnTo>
                  <a:pt x="163" y="7"/>
                </a:lnTo>
                <a:lnTo>
                  <a:pt x="166" y="7"/>
                </a:lnTo>
                <a:lnTo>
                  <a:pt x="168" y="9"/>
                </a:lnTo>
                <a:lnTo>
                  <a:pt x="168" y="7"/>
                </a:lnTo>
                <a:lnTo>
                  <a:pt x="170" y="2"/>
                </a:lnTo>
                <a:lnTo>
                  <a:pt x="173" y="2"/>
                </a:lnTo>
                <a:lnTo>
                  <a:pt x="173" y="0"/>
                </a:lnTo>
                <a:lnTo>
                  <a:pt x="175" y="0"/>
                </a:lnTo>
                <a:lnTo>
                  <a:pt x="177" y="0"/>
                </a:lnTo>
                <a:lnTo>
                  <a:pt x="180" y="0"/>
                </a:lnTo>
                <a:lnTo>
                  <a:pt x="187" y="0"/>
                </a:lnTo>
                <a:lnTo>
                  <a:pt x="198" y="7"/>
                </a:lnTo>
                <a:lnTo>
                  <a:pt x="201" y="7"/>
                </a:lnTo>
                <a:lnTo>
                  <a:pt x="203" y="7"/>
                </a:lnTo>
                <a:lnTo>
                  <a:pt x="205" y="7"/>
                </a:lnTo>
                <a:lnTo>
                  <a:pt x="208" y="5"/>
                </a:lnTo>
                <a:lnTo>
                  <a:pt x="210" y="5"/>
                </a:lnTo>
                <a:lnTo>
                  <a:pt x="212" y="7"/>
                </a:lnTo>
                <a:lnTo>
                  <a:pt x="215" y="7"/>
                </a:lnTo>
                <a:lnTo>
                  <a:pt x="215" y="9"/>
                </a:lnTo>
                <a:lnTo>
                  <a:pt x="217" y="9"/>
                </a:lnTo>
                <a:lnTo>
                  <a:pt x="217" y="12"/>
                </a:lnTo>
                <a:lnTo>
                  <a:pt x="217" y="14"/>
                </a:lnTo>
                <a:lnTo>
                  <a:pt x="217" y="16"/>
                </a:lnTo>
                <a:lnTo>
                  <a:pt x="219" y="16"/>
                </a:lnTo>
                <a:lnTo>
                  <a:pt x="221" y="16"/>
                </a:lnTo>
                <a:lnTo>
                  <a:pt x="224" y="16"/>
                </a:lnTo>
                <a:lnTo>
                  <a:pt x="226" y="19"/>
                </a:lnTo>
                <a:lnTo>
                  <a:pt x="231" y="21"/>
                </a:lnTo>
                <a:lnTo>
                  <a:pt x="233" y="23"/>
                </a:lnTo>
                <a:lnTo>
                  <a:pt x="235" y="23"/>
                </a:lnTo>
                <a:lnTo>
                  <a:pt x="238" y="23"/>
                </a:lnTo>
                <a:lnTo>
                  <a:pt x="238" y="26"/>
                </a:lnTo>
                <a:lnTo>
                  <a:pt x="240" y="28"/>
                </a:lnTo>
                <a:lnTo>
                  <a:pt x="240" y="33"/>
                </a:lnTo>
                <a:lnTo>
                  <a:pt x="238" y="42"/>
                </a:lnTo>
                <a:lnTo>
                  <a:pt x="240" y="42"/>
                </a:lnTo>
                <a:lnTo>
                  <a:pt x="240" y="44"/>
                </a:lnTo>
                <a:lnTo>
                  <a:pt x="240" y="47"/>
                </a:lnTo>
                <a:lnTo>
                  <a:pt x="242" y="47"/>
                </a:lnTo>
                <a:lnTo>
                  <a:pt x="242" y="49"/>
                </a:lnTo>
                <a:lnTo>
                  <a:pt x="242" y="51"/>
                </a:lnTo>
                <a:lnTo>
                  <a:pt x="242" y="54"/>
                </a:lnTo>
                <a:lnTo>
                  <a:pt x="242" y="58"/>
                </a:lnTo>
                <a:lnTo>
                  <a:pt x="240" y="65"/>
                </a:lnTo>
                <a:lnTo>
                  <a:pt x="240" y="67"/>
                </a:lnTo>
                <a:lnTo>
                  <a:pt x="240" y="70"/>
                </a:lnTo>
                <a:lnTo>
                  <a:pt x="240" y="72"/>
                </a:lnTo>
                <a:lnTo>
                  <a:pt x="242" y="74"/>
                </a:lnTo>
                <a:lnTo>
                  <a:pt x="242" y="77"/>
                </a:lnTo>
                <a:lnTo>
                  <a:pt x="240" y="81"/>
                </a:lnTo>
                <a:lnTo>
                  <a:pt x="240" y="84"/>
                </a:lnTo>
                <a:lnTo>
                  <a:pt x="240" y="88"/>
                </a:lnTo>
                <a:lnTo>
                  <a:pt x="238" y="88"/>
                </a:lnTo>
                <a:lnTo>
                  <a:pt x="240" y="91"/>
                </a:lnTo>
                <a:lnTo>
                  <a:pt x="238" y="93"/>
                </a:lnTo>
                <a:lnTo>
                  <a:pt x="235" y="95"/>
                </a:lnTo>
                <a:lnTo>
                  <a:pt x="235" y="98"/>
                </a:lnTo>
                <a:lnTo>
                  <a:pt x="233" y="102"/>
                </a:lnTo>
                <a:lnTo>
                  <a:pt x="233" y="105"/>
                </a:lnTo>
                <a:lnTo>
                  <a:pt x="233" y="107"/>
                </a:lnTo>
                <a:lnTo>
                  <a:pt x="233" y="109"/>
                </a:lnTo>
                <a:lnTo>
                  <a:pt x="231" y="114"/>
                </a:lnTo>
                <a:lnTo>
                  <a:pt x="231" y="116"/>
                </a:lnTo>
                <a:lnTo>
                  <a:pt x="233" y="116"/>
                </a:lnTo>
                <a:lnTo>
                  <a:pt x="231" y="119"/>
                </a:lnTo>
                <a:lnTo>
                  <a:pt x="231" y="121"/>
                </a:lnTo>
                <a:lnTo>
                  <a:pt x="231" y="123"/>
                </a:lnTo>
                <a:lnTo>
                  <a:pt x="228" y="126"/>
                </a:lnTo>
                <a:lnTo>
                  <a:pt x="224" y="128"/>
                </a:lnTo>
                <a:lnTo>
                  <a:pt x="221" y="133"/>
                </a:lnTo>
                <a:lnTo>
                  <a:pt x="217" y="133"/>
                </a:lnTo>
                <a:lnTo>
                  <a:pt x="215" y="133"/>
                </a:lnTo>
                <a:lnTo>
                  <a:pt x="215" y="135"/>
                </a:lnTo>
                <a:lnTo>
                  <a:pt x="215" y="137"/>
                </a:lnTo>
                <a:lnTo>
                  <a:pt x="217" y="140"/>
                </a:lnTo>
                <a:lnTo>
                  <a:pt x="219" y="140"/>
                </a:lnTo>
                <a:lnTo>
                  <a:pt x="219" y="144"/>
                </a:lnTo>
                <a:lnTo>
                  <a:pt x="221" y="142"/>
                </a:lnTo>
                <a:lnTo>
                  <a:pt x="224" y="142"/>
                </a:lnTo>
                <a:lnTo>
                  <a:pt x="226" y="142"/>
                </a:lnTo>
                <a:lnTo>
                  <a:pt x="228" y="142"/>
                </a:lnTo>
                <a:lnTo>
                  <a:pt x="231" y="144"/>
                </a:lnTo>
                <a:lnTo>
                  <a:pt x="231" y="147"/>
                </a:lnTo>
                <a:lnTo>
                  <a:pt x="228" y="149"/>
                </a:lnTo>
                <a:lnTo>
                  <a:pt x="226" y="151"/>
                </a:lnTo>
                <a:lnTo>
                  <a:pt x="224" y="151"/>
                </a:lnTo>
                <a:lnTo>
                  <a:pt x="221" y="154"/>
                </a:lnTo>
                <a:lnTo>
                  <a:pt x="224" y="154"/>
                </a:lnTo>
                <a:lnTo>
                  <a:pt x="226" y="154"/>
                </a:lnTo>
                <a:lnTo>
                  <a:pt x="228" y="154"/>
                </a:lnTo>
                <a:lnTo>
                  <a:pt x="228" y="156"/>
                </a:lnTo>
                <a:lnTo>
                  <a:pt x="228" y="158"/>
                </a:lnTo>
                <a:lnTo>
                  <a:pt x="231" y="158"/>
                </a:lnTo>
                <a:lnTo>
                  <a:pt x="233" y="158"/>
                </a:lnTo>
                <a:lnTo>
                  <a:pt x="233" y="161"/>
                </a:lnTo>
                <a:lnTo>
                  <a:pt x="233" y="163"/>
                </a:lnTo>
                <a:lnTo>
                  <a:pt x="235" y="163"/>
                </a:lnTo>
                <a:lnTo>
                  <a:pt x="235" y="165"/>
                </a:lnTo>
                <a:lnTo>
                  <a:pt x="238" y="168"/>
                </a:lnTo>
                <a:lnTo>
                  <a:pt x="235" y="168"/>
                </a:lnTo>
                <a:lnTo>
                  <a:pt x="238" y="168"/>
                </a:lnTo>
                <a:lnTo>
                  <a:pt x="240" y="168"/>
                </a:lnTo>
                <a:lnTo>
                  <a:pt x="240" y="170"/>
                </a:lnTo>
                <a:lnTo>
                  <a:pt x="240" y="172"/>
                </a:lnTo>
                <a:lnTo>
                  <a:pt x="240" y="175"/>
                </a:lnTo>
                <a:lnTo>
                  <a:pt x="242" y="175"/>
                </a:lnTo>
                <a:lnTo>
                  <a:pt x="245" y="177"/>
                </a:lnTo>
                <a:lnTo>
                  <a:pt x="245" y="179"/>
                </a:lnTo>
                <a:lnTo>
                  <a:pt x="247" y="182"/>
                </a:lnTo>
                <a:lnTo>
                  <a:pt x="252" y="186"/>
                </a:lnTo>
                <a:lnTo>
                  <a:pt x="252" y="189"/>
                </a:lnTo>
                <a:lnTo>
                  <a:pt x="252" y="191"/>
                </a:lnTo>
                <a:lnTo>
                  <a:pt x="254" y="191"/>
                </a:lnTo>
                <a:lnTo>
                  <a:pt x="254" y="193"/>
                </a:lnTo>
                <a:lnTo>
                  <a:pt x="256" y="196"/>
                </a:lnTo>
                <a:lnTo>
                  <a:pt x="259" y="196"/>
                </a:lnTo>
                <a:lnTo>
                  <a:pt x="259" y="193"/>
                </a:lnTo>
                <a:lnTo>
                  <a:pt x="261" y="193"/>
                </a:lnTo>
                <a:lnTo>
                  <a:pt x="261" y="191"/>
                </a:lnTo>
                <a:lnTo>
                  <a:pt x="263" y="191"/>
                </a:lnTo>
                <a:lnTo>
                  <a:pt x="266" y="191"/>
                </a:lnTo>
                <a:lnTo>
                  <a:pt x="268" y="191"/>
                </a:lnTo>
                <a:lnTo>
                  <a:pt x="273" y="191"/>
                </a:lnTo>
                <a:lnTo>
                  <a:pt x="273" y="189"/>
                </a:lnTo>
                <a:lnTo>
                  <a:pt x="275" y="189"/>
                </a:lnTo>
                <a:lnTo>
                  <a:pt x="280" y="189"/>
                </a:lnTo>
                <a:lnTo>
                  <a:pt x="282" y="189"/>
                </a:lnTo>
                <a:lnTo>
                  <a:pt x="284" y="189"/>
                </a:lnTo>
                <a:lnTo>
                  <a:pt x="287" y="191"/>
                </a:lnTo>
                <a:lnTo>
                  <a:pt x="289" y="193"/>
                </a:lnTo>
                <a:lnTo>
                  <a:pt x="291" y="193"/>
                </a:lnTo>
                <a:lnTo>
                  <a:pt x="291" y="198"/>
                </a:lnTo>
                <a:lnTo>
                  <a:pt x="291" y="200"/>
                </a:lnTo>
                <a:lnTo>
                  <a:pt x="289" y="200"/>
                </a:lnTo>
                <a:lnTo>
                  <a:pt x="289" y="202"/>
                </a:lnTo>
                <a:lnTo>
                  <a:pt x="289" y="205"/>
                </a:lnTo>
                <a:lnTo>
                  <a:pt x="289" y="207"/>
                </a:lnTo>
                <a:lnTo>
                  <a:pt x="289" y="209"/>
                </a:lnTo>
                <a:lnTo>
                  <a:pt x="287" y="209"/>
                </a:lnTo>
                <a:lnTo>
                  <a:pt x="287" y="212"/>
                </a:lnTo>
                <a:lnTo>
                  <a:pt x="287" y="214"/>
                </a:lnTo>
                <a:lnTo>
                  <a:pt x="284" y="214"/>
                </a:lnTo>
                <a:lnTo>
                  <a:pt x="284" y="216"/>
                </a:lnTo>
                <a:lnTo>
                  <a:pt x="287" y="219"/>
                </a:lnTo>
                <a:lnTo>
                  <a:pt x="287" y="221"/>
                </a:lnTo>
                <a:lnTo>
                  <a:pt x="280" y="221"/>
                </a:lnTo>
                <a:lnTo>
                  <a:pt x="277" y="219"/>
                </a:lnTo>
                <a:lnTo>
                  <a:pt x="273" y="221"/>
                </a:lnTo>
                <a:lnTo>
                  <a:pt x="268" y="221"/>
                </a:lnTo>
                <a:lnTo>
                  <a:pt x="266" y="223"/>
                </a:lnTo>
                <a:lnTo>
                  <a:pt x="263" y="223"/>
                </a:lnTo>
                <a:lnTo>
                  <a:pt x="263" y="226"/>
                </a:lnTo>
                <a:lnTo>
                  <a:pt x="263" y="228"/>
                </a:lnTo>
                <a:lnTo>
                  <a:pt x="261" y="230"/>
                </a:lnTo>
                <a:lnTo>
                  <a:pt x="261" y="233"/>
                </a:lnTo>
                <a:lnTo>
                  <a:pt x="261" y="235"/>
                </a:lnTo>
                <a:lnTo>
                  <a:pt x="259" y="235"/>
                </a:lnTo>
                <a:lnTo>
                  <a:pt x="259" y="237"/>
                </a:lnTo>
                <a:lnTo>
                  <a:pt x="259" y="240"/>
                </a:lnTo>
                <a:lnTo>
                  <a:pt x="259" y="244"/>
                </a:lnTo>
                <a:lnTo>
                  <a:pt x="259" y="247"/>
                </a:lnTo>
                <a:lnTo>
                  <a:pt x="256" y="247"/>
                </a:lnTo>
                <a:lnTo>
                  <a:pt x="256" y="249"/>
                </a:lnTo>
                <a:lnTo>
                  <a:pt x="254" y="249"/>
                </a:lnTo>
                <a:lnTo>
                  <a:pt x="252" y="249"/>
                </a:lnTo>
                <a:lnTo>
                  <a:pt x="252" y="251"/>
                </a:lnTo>
                <a:lnTo>
                  <a:pt x="249" y="254"/>
                </a:lnTo>
                <a:lnTo>
                  <a:pt x="247" y="254"/>
                </a:lnTo>
                <a:lnTo>
                  <a:pt x="247" y="256"/>
                </a:lnTo>
                <a:lnTo>
                  <a:pt x="245" y="256"/>
                </a:lnTo>
                <a:lnTo>
                  <a:pt x="245" y="258"/>
                </a:lnTo>
                <a:lnTo>
                  <a:pt x="247" y="258"/>
                </a:lnTo>
                <a:lnTo>
                  <a:pt x="247" y="261"/>
                </a:lnTo>
                <a:lnTo>
                  <a:pt x="249" y="261"/>
                </a:lnTo>
                <a:lnTo>
                  <a:pt x="252" y="261"/>
                </a:lnTo>
                <a:lnTo>
                  <a:pt x="254" y="261"/>
                </a:lnTo>
                <a:lnTo>
                  <a:pt x="256" y="263"/>
                </a:lnTo>
                <a:lnTo>
                  <a:pt x="259" y="265"/>
                </a:lnTo>
                <a:lnTo>
                  <a:pt x="261" y="268"/>
                </a:lnTo>
                <a:lnTo>
                  <a:pt x="261" y="270"/>
                </a:lnTo>
                <a:lnTo>
                  <a:pt x="261" y="272"/>
                </a:lnTo>
                <a:lnTo>
                  <a:pt x="261" y="277"/>
                </a:lnTo>
                <a:lnTo>
                  <a:pt x="261" y="279"/>
                </a:lnTo>
                <a:lnTo>
                  <a:pt x="261" y="282"/>
                </a:lnTo>
                <a:lnTo>
                  <a:pt x="263" y="284"/>
                </a:lnTo>
                <a:lnTo>
                  <a:pt x="270" y="289"/>
                </a:lnTo>
                <a:lnTo>
                  <a:pt x="275" y="291"/>
                </a:lnTo>
                <a:lnTo>
                  <a:pt x="277" y="291"/>
                </a:lnTo>
                <a:lnTo>
                  <a:pt x="277" y="293"/>
                </a:lnTo>
                <a:lnTo>
                  <a:pt x="277" y="296"/>
                </a:lnTo>
                <a:lnTo>
                  <a:pt x="275" y="296"/>
                </a:lnTo>
                <a:lnTo>
                  <a:pt x="275" y="298"/>
                </a:lnTo>
                <a:lnTo>
                  <a:pt x="273" y="298"/>
                </a:lnTo>
                <a:lnTo>
                  <a:pt x="273" y="300"/>
                </a:lnTo>
                <a:lnTo>
                  <a:pt x="273" y="303"/>
                </a:lnTo>
                <a:lnTo>
                  <a:pt x="270" y="303"/>
                </a:lnTo>
                <a:lnTo>
                  <a:pt x="268" y="303"/>
                </a:lnTo>
                <a:lnTo>
                  <a:pt x="268" y="305"/>
                </a:lnTo>
                <a:lnTo>
                  <a:pt x="268" y="307"/>
                </a:lnTo>
                <a:lnTo>
                  <a:pt x="270" y="307"/>
                </a:lnTo>
                <a:lnTo>
                  <a:pt x="270" y="310"/>
                </a:lnTo>
                <a:lnTo>
                  <a:pt x="273" y="312"/>
                </a:lnTo>
                <a:lnTo>
                  <a:pt x="277" y="314"/>
                </a:lnTo>
                <a:lnTo>
                  <a:pt x="277" y="317"/>
                </a:lnTo>
                <a:lnTo>
                  <a:pt x="280" y="317"/>
                </a:lnTo>
                <a:lnTo>
                  <a:pt x="280" y="319"/>
                </a:lnTo>
                <a:lnTo>
                  <a:pt x="280" y="321"/>
                </a:lnTo>
                <a:lnTo>
                  <a:pt x="280" y="324"/>
                </a:lnTo>
                <a:lnTo>
                  <a:pt x="280" y="326"/>
                </a:lnTo>
                <a:lnTo>
                  <a:pt x="280" y="328"/>
                </a:lnTo>
                <a:lnTo>
                  <a:pt x="282" y="328"/>
                </a:lnTo>
                <a:lnTo>
                  <a:pt x="282" y="331"/>
                </a:lnTo>
                <a:lnTo>
                  <a:pt x="284" y="333"/>
                </a:lnTo>
                <a:lnTo>
                  <a:pt x="287" y="335"/>
                </a:lnTo>
                <a:lnTo>
                  <a:pt x="287" y="338"/>
                </a:lnTo>
                <a:lnTo>
                  <a:pt x="289" y="338"/>
                </a:lnTo>
                <a:lnTo>
                  <a:pt x="294" y="338"/>
                </a:lnTo>
                <a:lnTo>
                  <a:pt x="296" y="338"/>
                </a:lnTo>
                <a:lnTo>
                  <a:pt x="303" y="340"/>
                </a:lnTo>
                <a:lnTo>
                  <a:pt x="305" y="344"/>
                </a:lnTo>
                <a:lnTo>
                  <a:pt x="308" y="347"/>
                </a:lnTo>
                <a:lnTo>
                  <a:pt x="310" y="347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7" name="Freeform 14">
            <a:extLst>
              <a:ext uri="{FF2B5EF4-FFF2-40B4-BE49-F238E27FC236}">
                <a16:creationId xmlns:a16="http://schemas.microsoft.com/office/drawing/2014/main" id="{E1B7E10E-5542-C094-190E-8F84D9B4CBB8}"/>
              </a:ext>
            </a:extLst>
          </p:cNvPr>
          <p:cNvSpPr>
            <a:spLocks/>
          </p:cNvSpPr>
          <p:nvPr/>
        </p:nvSpPr>
        <p:spPr bwMode="auto">
          <a:xfrm>
            <a:off x="3431255" y="4256269"/>
            <a:ext cx="71874" cy="44986"/>
          </a:xfrm>
          <a:custGeom>
            <a:avLst/>
            <a:gdLst>
              <a:gd name="T0" fmla="*/ 40 w 61"/>
              <a:gd name="T1" fmla="*/ 40 h 40"/>
              <a:gd name="T2" fmla="*/ 5 w 61"/>
              <a:gd name="T3" fmla="*/ 35 h 40"/>
              <a:gd name="T4" fmla="*/ 0 w 61"/>
              <a:gd name="T5" fmla="*/ 35 h 40"/>
              <a:gd name="T6" fmla="*/ 0 w 61"/>
              <a:gd name="T7" fmla="*/ 33 h 40"/>
              <a:gd name="T8" fmla="*/ 0 w 61"/>
              <a:gd name="T9" fmla="*/ 33 h 40"/>
              <a:gd name="T10" fmla="*/ 2 w 61"/>
              <a:gd name="T11" fmla="*/ 31 h 40"/>
              <a:gd name="T12" fmla="*/ 0 w 61"/>
              <a:gd name="T13" fmla="*/ 28 h 40"/>
              <a:gd name="T14" fmla="*/ 0 w 61"/>
              <a:gd name="T15" fmla="*/ 28 h 40"/>
              <a:gd name="T16" fmla="*/ 0 w 61"/>
              <a:gd name="T17" fmla="*/ 24 h 40"/>
              <a:gd name="T18" fmla="*/ 0 w 61"/>
              <a:gd name="T19" fmla="*/ 21 h 40"/>
              <a:gd name="T20" fmla="*/ 2 w 61"/>
              <a:gd name="T21" fmla="*/ 21 h 40"/>
              <a:gd name="T22" fmla="*/ 2 w 61"/>
              <a:gd name="T23" fmla="*/ 21 h 40"/>
              <a:gd name="T24" fmla="*/ 2 w 61"/>
              <a:gd name="T25" fmla="*/ 19 h 40"/>
              <a:gd name="T26" fmla="*/ 5 w 61"/>
              <a:gd name="T27" fmla="*/ 17 h 40"/>
              <a:gd name="T28" fmla="*/ 2 w 61"/>
              <a:gd name="T29" fmla="*/ 14 h 40"/>
              <a:gd name="T30" fmla="*/ 2 w 61"/>
              <a:gd name="T31" fmla="*/ 14 h 40"/>
              <a:gd name="T32" fmla="*/ 2 w 61"/>
              <a:gd name="T33" fmla="*/ 12 h 40"/>
              <a:gd name="T34" fmla="*/ 5 w 61"/>
              <a:gd name="T35" fmla="*/ 10 h 40"/>
              <a:gd name="T36" fmla="*/ 5 w 61"/>
              <a:gd name="T37" fmla="*/ 10 h 40"/>
              <a:gd name="T38" fmla="*/ 7 w 61"/>
              <a:gd name="T39" fmla="*/ 3 h 40"/>
              <a:gd name="T40" fmla="*/ 7 w 61"/>
              <a:gd name="T41" fmla="*/ 0 h 40"/>
              <a:gd name="T42" fmla="*/ 33 w 61"/>
              <a:gd name="T43" fmla="*/ 3 h 40"/>
              <a:gd name="T44" fmla="*/ 54 w 61"/>
              <a:gd name="T45" fmla="*/ 5 h 40"/>
              <a:gd name="T46" fmla="*/ 54 w 61"/>
              <a:gd name="T47" fmla="*/ 7 h 40"/>
              <a:gd name="T48" fmla="*/ 54 w 61"/>
              <a:gd name="T49" fmla="*/ 7 h 40"/>
              <a:gd name="T50" fmla="*/ 56 w 61"/>
              <a:gd name="T51" fmla="*/ 10 h 40"/>
              <a:gd name="T52" fmla="*/ 58 w 61"/>
              <a:gd name="T53" fmla="*/ 10 h 40"/>
              <a:gd name="T54" fmla="*/ 61 w 61"/>
              <a:gd name="T55" fmla="*/ 12 h 40"/>
              <a:gd name="T56" fmla="*/ 61 w 61"/>
              <a:gd name="T57" fmla="*/ 12 h 40"/>
              <a:gd name="T58" fmla="*/ 61 w 61"/>
              <a:gd name="T59" fmla="*/ 14 h 40"/>
              <a:gd name="T60" fmla="*/ 58 w 61"/>
              <a:gd name="T61" fmla="*/ 17 h 40"/>
              <a:gd name="T62" fmla="*/ 61 w 61"/>
              <a:gd name="T63" fmla="*/ 19 h 40"/>
              <a:gd name="T64" fmla="*/ 61 w 61"/>
              <a:gd name="T65" fmla="*/ 19 h 40"/>
              <a:gd name="T66" fmla="*/ 58 w 61"/>
              <a:gd name="T67" fmla="*/ 24 h 40"/>
              <a:gd name="T68" fmla="*/ 56 w 61"/>
              <a:gd name="T69" fmla="*/ 26 h 40"/>
              <a:gd name="T70" fmla="*/ 56 w 61"/>
              <a:gd name="T71" fmla="*/ 31 h 40"/>
              <a:gd name="T72" fmla="*/ 56 w 61"/>
              <a:gd name="T73" fmla="*/ 31 h 40"/>
              <a:gd name="T74" fmla="*/ 56 w 61"/>
              <a:gd name="T75" fmla="*/ 33 h 40"/>
              <a:gd name="T76" fmla="*/ 56 w 61"/>
              <a:gd name="T77" fmla="*/ 35 h 40"/>
              <a:gd name="T78" fmla="*/ 56 w 61"/>
              <a:gd name="T79" fmla="*/ 38 h 40"/>
              <a:gd name="T80" fmla="*/ 56 w 61"/>
              <a:gd name="T81" fmla="*/ 38 h 40"/>
              <a:gd name="T82" fmla="*/ 58 w 61"/>
              <a:gd name="T83" fmla="*/ 40 h 40"/>
              <a:gd name="T84" fmla="*/ 58 w 61"/>
              <a:gd name="T85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" h="40">
                <a:moveTo>
                  <a:pt x="58" y="40"/>
                </a:moveTo>
                <a:lnTo>
                  <a:pt x="40" y="40"/>
                </a:lnTo>
                <a:lnTo>
                  <a:pt x="23" y="38"/>
                </a:lnTo>
                <a:lnTo>
                  <a:pt x="5" y="35"/>
                </a:lnTo>
                <a:lnTo>
                  <a:pt x="0" y="35"/>
                </a:lnTo>
                <a:lnTo>
                  <a:pt x="0" y="35"/>
                </a:lnTo>
                <a:lnTo>
                  <a:pt x="0" y="35"/>
                </a:lnTo>
                <a:lnTo>
                  <a:pt x="0" y="33"/>
                </a:lnTo>
                <a:lnTo>
                  <a:pt x="0" y="33"/>
                </a:lnTo>
                <a:lnTo>
                  <a:pt x="0" y="33"/>
                </a:lnTo>
                <a:lnTo>
                  <a:pt x="2" y="31"/>
                </a:lnTo>
                <a:lnTo>
                  <a:pt x="2" y="31"/>
                </a:lnTo>
                <a:lnTo>
                  <a:pt x="2" y="31"/>
                </a:lnTo>
                <a:lnTo>
                  <a:pt x="0" y="28"/>
                </a:lnTo>
                <a:lnTo>
                  <a:pt x="0" y="28"/>
                </a:lnTo>
                <a:lnTo>
                  <a:pt x="0" y="28"/>
                </a:lnTo>
                <a:lnTo>
                  <a:pt x="0" y="26"/>
                </a:lnTo>
                <a:lnTo>
                  <a:pt x="0" y="24"/>
                </a:lnTo>
                <a:lnTo>
                  <a:pt x="0" y="21"/>
                </a:lnTo>
                <a:lnTo>
                  <a:pt x="0" y="21"/>
                </a:lnTo>
                <a:lnTo>
                  <a:pt x="0" y="21"/>
                </a:lnTo>
                <a:lnTo>
                  <a:pt x="2" y="21"/>
                </a:lnTo>
                <a:lnTo>
                  <a:pt x="2" y="21"/>
                </a:lnTo>
                <a:lnTo>
                  <a:pt x="2" y="21"/>
                </a:lnTo>
                <a:lnTo>
                  <a:pt x="2" y="21"/>
                </a:lnTo>
                <a:lnTo>
                  <a:pt x="2" y="19"/>
                </a:lnTo>
                <a:lnTo>
                  <a:pt x="5" y="19"/>
                </a:lnTo>
                <a:lnTo>
                  <a:pt x="5" y="17"/>
                </a:lnTo>
                <a:lnTo>
                  <a:pt x="5" y="17"/>
                </a:lnTo>
                <a:lnTo>
                  <a:pt x="2" y="14"/>
                </a:lnTo>
                <a:lnTo>
                  <a:pt x="2" y="14"/>
                </a:lnTo>
                <a:lnTo>
                  <a:pt x="2" y="14"/>
                </a:lnTo>
                <a:lnTo>
                  <a:pt x="2" y="12"/>
                </a:lnTo>
                <a:lnTo>
                  <a:pt x="2" y="12"/>
                </a:lnTo>
                <a:lnTo>
                  <a:pt x="5" y="10"/>
                </a:lnTo>
                <a:lnTo>
                  <a:pt x="5" y="10"/>
                </a:lnTo>
                <a:lnTo>
                  <a:pt x="5" y="10"/>
                </a:lnTo>
                <a:lnTo>
                  <a:pt x="5" y="10"/>
                </a:lnTo>
                <a:lnTo>
                  <a:pt x="5" y="10"/>
                </a:lnTo>
                <a:lnTo>
                  <a:pt x="7" y="3"/>
                </a:lnTo>
                <a:lnTo>
                  <a:pt x="7" y="3"/>
                </a:lnTo>
                <a:lnTo>
                  <a:pt x="7" y="0"/>
                </a:lnTo>
                <a:lnTo>
                  <a:pt x="16" y="3"/>
                </a:lnTo>
                <a:lnTo>
                  <a:pt x="33" y="3"/>
                </a:lnTo>
                <a:lnTo>
                  <a:pt x="54" y="5"/>
                </a:lnTo>
                <a:lnTo>
                  <a:pt x="54" y="5"/>
                </a:lnTo>
                <a:lnTo>
                  <a:pt x="54" y="7"/>
                </a:lnTo>
                <a:lnTo>
                  <a:pt x="54" y="7"/>
                </a:lnTo>
                <a:lnTo>
                  <a:pt x="54" y="7"/>
                </a:lnTo>
                <a:lnTo>
                  <a:pt x="54" y="7"/>
                </a:lnTo>
                <a:lnTo>
                  <a:pt x="56" y="10"/>
                </a:lnTo>
                <a:lnTo>
                  <a:pt x="56" y="10"/>
                </a:lnTo>
                <a:lnTo>
                  <a:pt x="56" y="10"/>
                </a:lnTo>
                <a:lnTo>
                  <a:pt x="58" y="10"/>
                </a:lnTo>
                <a:lnTo>
                  <a:pt x="58" y="12"/>
                </a:lnTo>
                <a:lnTo>
                  <a:pt x="61" y="12"/>
                </a:lnTo>
                <a:lnTo>
                  <a:pt x="61" y="12"/>
                </a:lnTo>
                <a:lnTo>
                  <a:pt x="61" y="12"/>
                </a:lnTo>
                <a:lnTo>
                  <a:pt x="61" y="12"/>
                </a:lnTo>
                <a:lnTo>
                  <a:pt x="61" y="14"/>
                </a:lnTo>
                <a:lnTo>
                  <a:pt x="61" y="14"/>
                </a:lnTo>
                <a:lnTo>
                  <a:pt x="58" y="17"/>
                </a:lnTo>
                <a:lnTo>
                  <a:pt x="58" y="19"/>
                </a:lnTo>
                <a:lnTo>
                  <a:pt x="61" y="19"/>
                </a:lnTo>
                <a:lnTo>
                  <a:pt x="61" y="19"/>
                </a:lnTo>
                <a:lnTo>
                  <a:pt x="61" y="19"/>
                </a:lnTo>
                <a:lnTo>
                  <a:pt x="58" y="24"/>
                </a:lnTo>
                <a:lnTo>
                  <a:pt x="58" y="24"/>
                </a:lnTo>
                <a:lnTo>
                  <a:pt x="58" y="26"/>
                </a:lnTo>
                <a:lnTo>
                  <a:pt x="56" y="26"/>
                </a:lnTo>
                <a:lnTo>
                  <a:pt x="56" y="28"/>
                </a:lnTo>
                <a:lnTo>
                  <a:pt x="56" y="31"/>
                </a:lnTo>
                <a:lnTo>
                  <a:pt x="56" y="31"/>
                </a:lnTo>
                <a:lnTo>
                  <a:pt x="56" y="31"/>
                </a:lnTo>
                <a:lnTo>
                  <a:pt x="56" y="33"/>
                </a:lnTo>
                <a:lnTo>
                  <a:pt x="56" y="33"/>
                </a:lnTo>
                <a:lnTo>
                  <a:pt x="56" y="35"/>
                </a:lnTo>
                <a:lnTo>
                  <a:pt x="56" y="35"/>
                </a:lnTo>
                <a:lnTo>
                  <a:pt x="56" y="38"/>
                </a:lnTo>
                <a:lnTo>
                  <a:pt x="56" y="38"/>
                </a:lnTo>
                <a:lnTo>
                  <a:pt x="56" y="38"/>
                </a:lnTo>
                <a:lnTo>
                  <a:pt x="56" y="38"/>
                </a:lnTo>
                <a:lnTo>
                  <a:pt x="56" y="38"/>
                </a:lnTo>
                <a:lnTo>
                  <a:pt x="58" y="40"/>
                </a:lnTo>
                <a:lnTo>
                  <a:pt x="58" y="40"/>
                </a:lnTo>
                <a:lnTo>
                  <a:pt x="58" y="40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8" name="Freeform 15">
            <a:extLst>
              <a:ext uri="{FF2B5EF4-FFF2-40B4-BE49-F238E27FC236}">
                <a16:creationId xmlns:a16="http://schemas.microsoft.com/office/drawing/2014/main" id="{30D09F48-26E9-0B23-2AEB-B52CE3DB65AD}"/>
              </a:ext>
            </a:extLst>
          </p:cNvPr>
          <p:cNvSpPr>
            <a:spLocks/>
          </p:cNvSpPr>
          <p:nvPr/>
        </p:nvSpPr>
        <p:spPr bwMode="auto">
          <a:xfrm>
            <a:off x="2712523" y="4348491"/>
            <a:ext cx="510183" cy="489231"/>
          </a:xfrm>
          <a:custGeom>
            <a:avLst/>
            <a:gdLst>
              <a:gd name="T0" fmla="*/ 317 w 433"/>
              <a:gd name="T1" fmla="*/ 81 h 435"/>
              <a:gd name="T2" fmla="*/ 326 w 433"/>
              <a:gd name="T3" fmla="*/ 102 h 435"/>
              <a:gd name="T4" fmla="*/ 359 w 433"/>
              <a:gd name="T5" fmla="*/ 112 h 435"/>
              <a:gd name="T6" fmla="*/ 380 w 433"/>
              <a:gd name="T7" fmla="*/ 128 h 435"/>
              <a:gd name="T8" fmla="*/ 412 w 433"/>
              <a:gd name="T9" fmla="*/ 142 h 435"/>
              <a:gd name="T10" fmla="*/ 431 w 433"/>
              <a:gd name="T11" fmla="*/ 158 h 435"/>
              <a:gd name="T12" fmla="*/ 426 w 433"/>
              <a:gd name="T13" fmla="*/ 174 h 435"/>
              <a:gd name="T14" fmla="*/ 405 w 433"/>
              <a:gd name="T15" fmla="*/ 212 h 435"/>
              <a:gd name="T16" fmla="*/ 389 w 433"/>
              <a:gd name="T17" fmla="*/ 230 h 435"/>
              <a:gd name="T18" fmla="*/ 373 w 433"/>
              <a:gd name="T19" fmla="*/ 258 h 435"/>
              <a:gd name="T20" fmla="*/ 361 w 433"/>
              <a:gd name="T21" fmla="*/ 279 h 435"/>
              <a:gd name="T22" fmla="*/ 354 w 433"/>
              <a:gd name="T23" fmla="*/ 293 h 435"/>
              <a:gd name="T24" fmla="*/ 342 w 433"/>
              <a:gd name="T25" fmla="*/ 307 h 435"/>
              <a:gd name="T26" fmla="*/ 328 w 433"/>
              <a:gd name="T27" fmla="*/ 326 h 435"/>
              <a:gd name="T28" fmla="*/ 305 w 433"/>
              <a:gd name="T29" fmla="*/ 337 h 435"/>
              <a:gd name="T30" fmla="*/ 270 w 433"/>
              <a:gd name="T31" fmla="*/ 361 h 435"/>
              <a:gd name="T32" fmla="*/ 256 w 433"/>
              <a:gd name="T33" fmla="*/ 386 h 435"/>
              <a:gd name="T34" fmla="*/ 235 w 433"/>
              <a:gd name="T35" fmla="*/ 419 h 435"/>
              <a:gd name="T36" fmla="*/ 217 w 433"/>
              <a:gd name="T37" fmla="*/ 431 h 435"/>
              <a:gd name="T38" fmla="*/ 182 w 433"/>
              <a:gd name="T39" fmla="*/ 428 h 435"/>
              <a:gd name="T40" fmla="*/ 163 w 433"/>
              <a:gd name="T41" fmla="*/ 428 h 435"/>
              <a:gd name="T42" fmla="*/ 149 w 433"/>
              <a:gd name="T43" fmla="*/ 403 h 435"/>
              <a:gd name="T44" fmla="*/ 152 w 433"/>
              <a:gd name="T45" fmla="*/ 379 h 435"/>
              <a:gd name="T46" fmla="*/ 145 w 433"/>
              <a:gd name="T47" fmla="*/ 356 h 435"/>
              <a:gd name="T48" fmla="*/ 142 w 433"/>
              <a:gd name="T49" fmla="*/ 340 h 435"/>
              <a:gd name="T50" fmla="*/ 128 w 433"/>
              <a:gd name="T51" fmla="*/ 321 h 435"/>
              <a:gd name="T52" fmla="*/ 105 w 433"/>
              <a:gd name="T53" fmla="*/ 314 h 435"/>
              <a:gd name="T54" fmla="*/ 91 w 433"/>
              <a:gd name="T55" fmla="*/ 314 h 435"/>
              <a:gd name="T56" fmla="*/ 82 w 433"/>
              <a:gd name="T57" fmla="*/ 316 h 435"/>
              <a:gd name="T58" fmla="*/ 63 w 433"/>
              <a:gd name="T59" fmla="*/ 316 h 435"/>
              <a:gd name="T60" fmla="*/ 47 w 433"/>
              <a:gd name="T61" fmla="*/ 314 h 435"/>
              <a:gd name="T62" fmla="*/ 28 w 433"/>
              <a:gd name="T63" fmla="*/ 307 h 435"/>
              <a:gd name="T64" fmla="*/ 17 w 433"/>
              <a:gd name="T65" fmla="*/ 307 h 435"/>
              <a:gd name="T66" fmla="*/ 12 w 433"/>
              <a:gd name="T67" fmla="*/ 293 h 435"/>
              <a:gd name="T68" fmla="*/ 14 w 433"/>
              <a:gd name="T69" fmla="*/ 275 h 435"/>
              <a:gd name="T70" fmla="*/ 17 w 433"/>
              <a:gd name="T71" fmla="*/ 256 h 435"/>
              <a:gd name="T72" fmla="*/ 21 w 433"/>
              <a:gd name="T73" fmla="*/ 237 h 435"/>
              <a:gd name="T74" fmla="*/ 17 w 433"/>
              <a:gd name="T75" fmla="*/ 226 h 435"/>
              <a:gd name="T76" fmla="*/ 14 w 433"/>
              <a:gd name="T77" fmla="*/ 216 h 435"/>
              <a:gd name="T78" fmla="*/ 12 w 433"/>
              <a:gd name="T79" fmla="*/ 202 h 435"/>
              <a:gd name="T80" fmla="*/ 0 w 433"/>
              <a:gd name="T81" fmla="*/ 188 h 435"/>
              <a:gd name="T82" fmla="*/ 10 w 433"/>
              <a:gd name="T83" fmla="*/ 179 h 435"/>
              <a:gd name="T84" fmla="*/ 3 w 433"/>
              <a:gd name="T85" fmla="*/ 158 h 435"/>
              <a:gd name="T86" fmla="*/ 24 w 433"/>
              <a:gd name="T87" fmla="*/ 119 h 435"/>
              <a:gd name="T88" fmla="*/ 31 w 433"/>
              <a:gd name="T89" fmla="*/ 86 h 435"/>
              <a:gd name="T90" fmla="*/ 38 w 433"/>
              <a:gd name="T91" fmla="*/ 56 h 435"/>
              <a:gd name="T92" fmla="*/ 35 w 433"/>
              <a:gd name="T93" fmla="*/ 35 h 435"/>
              <a:gd name="T94" fmla="*/ 47 w 433"/>
              <a:gd name="T95" fmla="*/ 42 h 435"/>
              <a:gd name="T96" fmla="*/ 77 w 433"/>
              <a:gd name="T97" fmla="*/ 23 h 435"/>
              <a:gd name="T98" fmla="*/ 86 w 433"/>
              <a:gd name="T99" fmla="*/ 7 h 435"/>
              <a:gd name="T100" fmla="*/ 114 w 433"/>
              <a:gd name="T101" fmla="*/ 5 h 435"/>
              <a:gd name="T102" fmla="*/ 133 w 433"/>
              <a:gd name="T103" fmla="*/ 2 h 435"/>
              <a:gd name="T104" fmla="*/ 156 w 433"/>
              <a:gd name="T105" fmla="*/ 12 h 435"/>
              <a:gd name="T106" fmla="*/ 173 w 433"/>
              <a:gd name="T107" fmla="*/ 26 h 435"/>
              <a:gd name="T108" fmla="*/ 200 w 433"/>
              <a:gd name="T109" fmla="*/ 30 h 435"/>
              <a:gd name="T110" fmla="*/ 226 w 433"/>
              <a:gd name="T111" fmla="*/ 26 h 435"/>
              <a:gd name="T112" fmla="*/ 242 w 433"/>
              <a:gd name="T113" fmla="*/ 30 h 435"/>
              <a:gd name="T114" fmla="*/ 263 w 433"/>
              <a:gd name="T115" fmla="*/ 16 h 435"/>
              <a:gd name="T116" fmla="*/ 270 w 433"/>
              <a:gd name="T117" fmla="*/ 32 h 435"/>
              <a:gd name="T118" fmla="*/ 259 w 433"/>
              <a:gd name="T119" fmla="*/ 44 h 435"/>
              <a:gd name="T120" fmla="*/ 277 w 433"/>
              <a:gd name="T121" fmla="*/ 56 h 435"/>
              <a:gd name="T122" fmla="*/ 303 w 433"/>
              <a:gd name="T123" fmla="*/ 58 h 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33" h="435">
                <a:moveTo>
                  <a:pt x="310" y="58"/>
                </a:moveTo>
                <a:lnTo>
                  <a:pt x="310" y="60"/>
                </a:lnTo>
                <a:lnTo>
                  <a:pt x="312" y="63"/>
                </a:lnTo>
                <a:lnTo>
                  <a:pt x="310" y="77"/>
                </a:lnTo>
                <a:lnTo>
                  <a:pt x="310" y="79"/>
                </a:lnTo>
                <a:lnTo>
                  <a:pt x="310" y="81"/>
                </a:lnTo>
                <a:lnTo>
                  <a:pt x="312" y="81"/>
                </a:lnTo>
                <a:lnTo>
                  <a:pt x="314" y="81"/>
                </a:lnTo>
                <a:lnTo>
                  <a:pt x="317" y="81"/>
                </a:lnTo>
                <a:lnTo>
                  <a:pt x="319" y="79"/>
                </a:lnTo>
                <a:lnTo>
                  <a:pt x="321" y="81"/>
                </a:lnTo>
                <a:lnTo>
                  <a:pt x="326" y="84"/>
                </a:lnTo>
                <a:lnTo>
                  <a:pt x="326" y="86"/>
                </a:lnTo>
                <a:lnTo>
                  <a:pt x="326" y="88"/>
                </a:lnTo>
                <a:lnTo>
                  <a:pt x="321" y="93"/>
                </a:lnTo>
                <a:lnTo>
                  <a:pt x="319" y="98"/>
                </a:lnTo>
                <a:lnTo>
                  <a:pt x="319" y="100"/>
                </a:lnTo>
                <a:lnTo>
                  <a:pt x="326" y="102"/>
                </a:lnTo>
                <a:lnTo>
                  <a:pt x="331" y="105"/>
                </a:lnTo>
                <a:lnTo>
                  <a:pt x="333" y="105"/>
                </a:lnTo>
                <a:lnTo>
                  <a:pt x="335" y="105"/>
                </a:lnTo>
                <a:lnTo>
                  <a:pt x="342" y="105"/>
                </a:lnTo>
                <a:lnTo>
                  <a:pt x="345" y="105"/>
                </a:lnTo>
                <a:lnTo>
                  <a:pt x="349" y="112"/>
                </a:lnTo>
                <a:lnTo>
                  <a:pt x="352" y="112"/>
                </a:lnTo>
                <a:lnTo>
                  <a:pt x="356" y="112"/>
                </a:lnTo>
                <a:lnTo>
                  <a:pt x="359" y="112"/>
                </a:lnTo>
                <a:lnTo>
                  <a:pt x="361" y="114"/>
                </a:lnTo>
                <a:lnTo>
                  <a:pt x="366" y="116"/>
                </a:lnTo>
                <a:lnTo>
                  <a:pt x="366" y="119"/>
                </a:lnTo>
                <a:lnTo>
                  <a:pt x="368" y="121"/>
                </a:lnTo>
                <a:lnTo>
                  <a:pt x="370" y="121"/>
                </a:lnTo>
                <a:lnTo>
                  <a:pt x="373" y="123"/>
                </a:lnTo>
                <a:lnTo>
                  <a:pt x="375" y="123"/>
                </a:lnTo>
                <a:lnTo>
                  <a:pt x="377" y="126"/>
                </a:lnTo>
                <a:lnTo>
                  <a:pt x="380" y="128"/>
                </a:lnTo>
                <a:lnTo>
                  <a:pt x="391" y="133"/>
                </a:lnTo>
                <a:lnTo>
                  <a:pt x="396" y="135"/>
                </a:lnTo>
                <a:lnTo>
                  <a:pt x="398" y="135"/>
                </a:lnTo>
                <a:lnTo>
                  <a:pt x="403" y="135"/>
                </a:lnTo>
                <a:lnTo>
                  <a:pt x="405" y="135"/>
                </a:lnTo>
                <a:lnTo>
                  <a:pt x="405" y="137"/>
                </a:lnTo>
                <a:lnTo>
                  <a:pt x="410" y="140"/>
                </a:lnTo>
                <a:lnTo>
                  <a:pt x="410" y="142"/>
                </a:lnTo>
                <a:lnTo>
                  <a:pt x="412" y="142"/>
                </a:lnTo>
                <a:lnTo>
                  <a:pt x="412" y="144"/>
                </a:lnTo>
                <a:lnTo>
                  <a:pt x="415" y="144"/>
                </a:lnTo>
                <a:lnTo>
                  <a:pt x="417" y="144"/>
                </a:lnTo>
                <a:lnTo>
                  <a:pt x="419" y="144"/>
                </a:lnTo>
                <a:lnTo>
                  <a:pt x="422" y="144"/>
                </a:lnTo>
                <a:lnTo>
                  <a:pt x="422" y="147"/>
                </a:lnTo>
                <a:lnTo>
                  <a:pt x="424" y="147"/>
                </a:lnTo>
                <a:lnTo>
                  <a:pt x="426" y="151"/>
                </a:lnTo>
                <a:lnTo>
                  <a:pt x="431" y="158"/>
                </a:lnTo>
                <a:lnTo>
                  <a:pt x="431" y="161"/>
                </a:lnTo>
                <a:lnTo>
                  <a:pt x="433" y="163"/>
                </a:lnTo>
                <a:lnTo>
                  <a:pt x="431" y="163"/>
                </a:lnTo>
                <a:lnTo>
                  <a:pt x="429" y="163"/>
                </a:lnTo>
                <a:lnTo>
                  <a:pt x="429" y="165"/>
                </a:lnTo>
                <a:lnTo>
                  <a:pt x="429" y="168"/>
                </a:lnTo>
                <a:lnTo>
                  <a:pt x="429" y="170"/>
                </a:lnTo>
                <a:lnTo>
                  <a:pt x="426" y="172"/>
                </a:lnTo>
                <a:lnTo>
                  <a:pt x="426" y="174"/>
                </a:lnTo>
                <a:lnTo>
                  <a:pt x="426" y="184"/>
                </a:lnTo>
                <a:lnTo>
                  <a:pt x="426" y="193"/>
                </a:lnTo>
                <a:lnTo>
                  <a:pt x="426" y="198"/>
                </a:lnTo>
                <a:lnTo>
                  <a:pt x="424" y="202"/>
                </a:lnTo>
                <a:lnTo>
                  <a:pt x="422" y="205"/>
                </a:lnTo>
                <a:lnTo>
                  <a:pt x="419" y="207"/>
                </a:lnTo>
                <a:lnTo>
                  <a:pt x="417" y="209"/>
                </a:lnTo>
                <a:lnTo>
                  <a:pt x="410" y="209"/>
                </a:lnTo>
                <a:lnTo>
                  <a:pt x="405" y="212"/>
                </a:lnTo>
                <a:lnTo>
                  <a:pt x="403" y="216"/>
                </a:lnTo>
                <a:lnTo>
                  <a:pt x="401" y="216"/>
                </a:lnTo>
                <a:lnTo>
                  <a:pt x="398" y="219"/>
                </a:lnTo>
                <a:lnTo>
                  <a:pt x="398" y="221"/>
                </a:lnTo>
                <a:lnTo>
                  <a:pt x="394" y="226"/>
                </a:lnTo>
                <a:lnTo>
                  <a:pt x="391" y="226"/>
                </a:lnTo>
                <a:lnTo>
                  <a:pt x="389" y="226"/>
                </a:lnTo>
                <a:lnTo>
                  <a:pt x="389" y="228"/>
                </a:lnTo>
                <a:lnTo>
                  <a:pt x="389" y="230"/>
                </a:lnTo>
                <a:lnTo>
                  <a:pt x="387" y="233"/>
                </a:lnTo>
                <a:lnTo>
                  <a:pt x="387" y="237"/>
                </a:lnTo>
                <a:lnTo>
                  <a:pt x="387" y="244"/>
                </a:lnTo>
                <a:lnTo>
                  <a:pt x="384" y="244"/>
                </a:lnTo>
                <a:lnTo>
                  <a:pt x="380" y="249"/>
                </a:lnTo>
                <a:lnTo>
                  <a:pt x="380" y="251"/>
                </a:lnTo>
                <a:lnTo>
                  <a:pt x="377" y="254"/>
                </a:lnTo>
                <a:lnTo>
                  <a:pt x="375" y="256"/>
                </a:lnTo>
                <a:lnTo>
                  <a:pt x="373" y="258"/>
                </a:lnTo>
                <a:lnTo>
                  <a:pt x="370" y="258"/>
                </a:lnTo>
                <a:lnTo>
                  <a:pt x="370" y="261"/>
                </a:lnTo>
                <a:lnTo>
                  <a:pt x="370" y="265"/>
                </a:lnTo>
                <a:lnTo>
                  <a:pt x="370" y="270"/>
                </a:lnTo>
                <a:lnTo>
                  <a:pt x="370" y="272"/>
                </a:lnTo>
                <a:lnTo>
                  <a:pt x="366" y="275"/>
                </a:lnTo>
                <a:lnTo>
                  <a:pt x="366" y="277"/>
                </a:lnTo>
                <a:lnTo>
                  <a:pt x="363" y="279"/>
                </a:lnTo>
                <a:lnTo>
                  <a:pt x="361" y="279"/>
                </a:lnTo>
                <a:lnTo>
                  <a:pt x="359" y="279"/>
                </a:lnTo>
                <a:lnTo>
                  <a:pt x="356" y="279"/>
                </a:lnTo>
                <a:lnTo>
                  <a:pt x="356" y="282"/>
                </a:lnTo>
                <a:lnTo>
                  <a:pt x="356" y="284"/>
                </a:lnTo>
                <a:lnTo>
                  <a:pt x="359" y="289"/>
                </a:lnTo>
                <a:lnTo>
                  <a:pt x="359" y="291"/>
                </a:lnTo>
                <a:lnTo>
                  <a:pt x="359" y="293"/>
                </a:lnTo>
                <a:lnTo>
                  <a:pt x="356" y="293"/>
                </a:lnTo>
                <a:lnTo>
                  <a:pt x="354" y="293"/>
                </a:lnTo>
                <a:lnTo>
                  <a:pt x="354" y="296"/>
                </a:lnTo>
                <a:lnTo>
                  <a:pt x="352" y="296"/>
                </a:lnTo>
                <a:lnTo>
                  <a:pt x="349" y="298"/>
                </a:lnTo>
                <a:lnTo>
                  <a:pt x="349" y="300"/>
                </a:lnTo>
                <a:lnTo>
                  <a:pt x="349" y="303"/>
                </a:lnTo>
                <a:lnTo>
                  <a:pt x="347" y="303"/>
                </a:lnTo>
                <a:lnTo>
                  <a:pt x="347" y="305"/>
                </a:lnTo>
                <a:lnTo>
                  <a:pt x="345" y="305"/>
                </a:lnTo>
                <a:lnTo>
                  <a:pt x="342" y="307"/>
                </a:lnTo>
                <a:lnTo>
                  <a:pt x="342" y="310"/>
                </a:lnTo>
                <a:lnTo>
                  <a:pt x="340" y="312"/>
                </a:lnTo>
                <a:lnTo>
                  <a:pt x="340" y="314"/>
                </a:lnTo>
                <a:lnTo>
                  <a:pt x="338" y="314"/>
                </a:lnTo>
                <a:lnTo>
                  <a:pt x="338" y="316"/>
                </a:lnTo>
                <a:lnTo>
                  <a:pt x="333" y="321"/>
                </a:lnTo>
                <a:lnTo>
                  <a:pt x="333" y="323"/>
                </a:lnTo>
                <a:lnTo>
                  <a:pt x="331" y="323"/>
                </a:lnTo>
                <a:lnTo>
                  <a:pt x="328" y="326"/>
                </a:lnTo>
                <a:lnTo>
                  <a:pt x="326" y="326"/>
                </a:lnTo>
                <a:lnTo>
                  <a:pt x="324" y="326"/>
                </a:lnTo>
                <a:lnTo>
                  <a:pt x="324" y="328"/>
                </a:lnTo>
                <a:lnTo>
                  <a:pt x="319" y="328"/>
                </a:lnTo>
                <a:lnTo>
                  <a:pt x="317" y="330"/>
                </a:lnTo>
                <a:lnTo>
                  <a:pt x="312" y="333"/>
                </a:lnTo>
                <a:lnTo>
                  <a:pt x="310" y="333"/>
                </a:lnTo>
                <a:lnTo>
                  <a:pt x="310" y="335"/>
                </a:lnTo>
                <a:lnTo>
                  <a:pt x="305" y="337"/>
                </a:lnTo>
                <a:lnTo>
                  <a:pt x="303" y="337"/>
                </a:lnTo>
                <a:lnTo>
                  <a:pt x="301" y="340"/>
                </a:lnTo>
                <a:lnTo>
                  <a:pt x="301" y="342"/>
                </a:lnTo>
                <a:lnTo>
                  <a:pt x="298" y="342"/>
                </a:lnTo>
                <a:lnTo>
                  <a:pt x="296" y="344"/>
                </a:lnTo>
                <a:lnTo>
                  <a:pt x="294" y="349"/>
                </a:lnTo>
                <a:lnTo>
                  <a:pt x="291" y="351"/>
                </a:lnTo>
                <a:lnTo>
                  <a:pt x="289" y="354"/>
                </a:lnTo>
                <a:lnTo>
                  <a:pt x="270" y="361"/>
                </a:lnTo>
                <a:lnTo>
                  <a:pt x="268" y="363"/>
                </a:lnTo>
                <a:lnTo>
                  <a:pt x="266" y="365"/>
                </a:lnTo>
                <a:lnTo>
                  <a:pt x="263" y="365"/>
                </a:lnTo>
                <a:lnTo>
                  <a:pt x="263" y="370"/>
                </a:lnTo>
                <a:lnTo>
                  <a:pt x="261" y="372"/>
                </a:lnTo>
                <a:lnTo>
                  <a:pt x="261" y="377"/>
                </a:lnTo>
                <a:lnTo>
                  <a:pt x="261" y="379"/>
                </a:lnTo>
                <a:lnTo>
                  <a:pt x="259" y="382"/>
                </a:lnTo>
                <a:lnTo>
                  <a:pt x="256" y="386"/>
                </a:lnTo>
                <a:lnTo>
                  <a:pt x="256" y="389"/>
                </a:lnTo>
                <a:lnTo>
                  <a:pt x="254" y="391"/>
                </a:lnTo>
                <a:lnTo>
                  <a:pt x="247" y="393"/>
                </a:lnTo>
                <a:lnTo>
                  <a:pt x="242" y="396"/>
                </a:lnTo>
                <a:lnTo>
                  <a:pt x="240" y="398"/>
                </a:lnTo>
                <a:lnTo>
                  <a:pt x="240" y="400"/>
                </a:lnTo>
                <a:lnTo>
                  <a:pt x="238" y="410"/>
                </a:lnTo>
                <a:lnTo>
                  <a:pt x="238" y="412"/>
                </a:lnTo>
                <a:lnTo>
                  <a:pt x="235" y="419"/>
                </a:lnTo>
                <a:lnTo>
                  <a:pt x="235" y="421"/>
                </a:lnTo>
                <a:lnTo>
                  <a:pt x="233" y="426"/>
                </a:lnTo>
                <a:lnTo>
                  <a:pt x="233" y="428"/>
                </a:lnTo>
                <a:lnTo>
                  <a:pt x="233" y="431"/>
                </a:lnTo>
                <a:lnTo>
                  <a:pt x="228" y="433"/>
                </a:lnTo>
                <a:lnTo>
                  <a:pt x="226" y="433"/>
                </a:lnTo>
                <a:lnTo>
                  <a:pt x="224" y="435"/>
                </a:lnTo>
                <a:lnTo>
                  <a:pt x="221" y="433"/>
                </a:lnTo>
                <a:lnTo>
                  <a:pt x="217" y="431"/>
                </a:lnTo>
                <a:lnTo>
                  <a:pt x="214" y="426"/>
                </a:lnTo>
                <a:lnTo>
                  <a:pt x="212" y="424"/>
                </a:lnTo>
                <a:lnTo>
                  <a:pt x="203" y="419"/>
                </a:lnTo>
                <a:lnTo>
                  <a:pt x="200" y="419"/>
                </a:lnTo>
                <a:lnTo>
                  <a:pt x="198" y="421"/>
                </a:lnTo>
                <a:lnTo>
                  <a:pt x="191" y="424"/>
                </a:lnTo>
                <a:lnTo>
                  <a:pt x="186" y="426"/>
                </a:lnTo>
                <a:lnTo>
                  <a:pt x="184" y="428"/>
                </a:lnTo>
                <a:lnTo>
                  <a:pt x="182" y="428"/>
                </a:lnTo>
                <a:lnTo>
                  <a:pt x="180" y="428"/>
                </a:lnTo>
                <a:lnTo>
                  <a:pt x="177" y="428"/>
                </a:lnTo>
                <a:lnTo>
                  <a:pt x="175" y="428"/>
                </a:lnTo>
                <a:lnTo>
                  <a:pt x="173" y="431"/>
                </a:lnTo>
                <a:lnTo>
                  <a:pt x="170" y="431"/>
                </a:lnTo>
                <a:lnTo>
                  <a:pt x="168" y="431"/>
                </a:lnTo>
                <a:lnTo>
                  <a:pt x="166" y="431"/>
                </a:lnTo>
                <a:lnTo>
                  <a:pt x="166" y="428"/>
                </a:lnTo>
                <a:lnTo>
                  <a:pt x="163" y="428"/>
                </a:lnTo>
                <a:lnTo>
                  <a:pt x="159" y="428"/>
                </a:lnTo>
                <a:lnTo>
                  <a:pt x="156" y="428"/>
                </a:lnTo>
                <a:lnTo>
                  <a:pt x="156" y="426"/>
                </a:lnTo>
                <a:lnTo>
                  <a:pt x="156" y="424"/>
                </a:lnTo>
                <a:lnTo>
                  <a:pt x="154" y="412"/>
                </a:lnTo>
                <a:lnTo>
                  <a:pt x="154" y="407"/>
                </a:lnTo>
                <a:lnTo>
                  <a:pt x="152" y="405"/>
                </a:lnTo>
                <a:lnTo>
                  <a:pt x="149" y="405"/>
                </a:lnTo>
                <a:lnTo>
                  <a:pt x="149" y="403"/>
                </a:lnTo>
                <a:lnTo>
                  <a:pt x="149" y="400"/>
                </a:lnTo>
                <a:lnTo>
                  <a:pt x="149" y="398"/>
                </a:lnTo>
                <a:lnTo>
                  <a:pt x="149" y="396"/>
                </a:lnTo>
                <a:lnTo>
                  <a:pt x="152" y="391"/>
                </a:lnTo>
                <a:lnTo>
                  <a:pt x="152" y="389"/>
                </a:lnTo>
                <a:lnTo>
                  <a:pt x="149" y="386"/>
                </a:lnTo>
                <a:lnTo>
                  <a:pt x="149" y="384"/>
                </a:lnTo>
                <a:lnTo>
                  <a:pt x="152" y="382"/>
                </a:lnTo>
                <a:lnTo>
                  <a:pt x="152" y="379"/>
                </a:lnTo>
                <a:lnTo>
                  <a:pt x="149" y="375"/>
                </a:lnTo>
                <a:lnTo>
                  <a:pt x="147" y="375"/>
                </a:lnTo>
                <a:lnTo>
                  <a:pt x="147" y="372"/>
                </a:lnTo>
                <a:lnTo>
                  <a:pt x="147" y="370"/>
                </a:lnTo>
                <a:lnTo>
                  <a:pt x="147" y="368"/>
                </a:lnTo>
                <a:lnTo>
                  <a:pt x="145" y="365"/>
                </a:lnTo>
                <a:lnTo>
                  <a:pt x="145" y="363"/>
                </a:lnTo>
                <a:lnTo>
                  <a:pt x="145" y="361"/>
                </a:lnTo>
                <a:lnTo>
                  <a:pt x="145" y="356"/>
                </a:lnTo>
                <a:lnTo>
                  <a:pt x="145" y="354"/>
                </a:lnTo>
                <a:lnTo>
                  <a:pt x="145" y="351"/>
                </a:lnTo>
                <a:lnTo>
                  <a:pt x="147" y="351"/>
                </a:lnTo>
                <a:lnTo>
                  <a:pt x="147" y="349"/>
                </a:lnTo>
                <a:lnTo>
                  <a:pt x="147" y="347"/>
                </a:lnTo>
                <a:lnTo>
                  <a:pt x="147" y="344"/>
                </a:lnTo>
                <a:lnTo>
                  <a:pt x="147" y="342"/>
                </a:lnTo>
                <a:lnTo>
                  <a:pt x="145" y="342"/>
                </a:lnTo>
                <a:lnTo>
                  <a:pt x="142" y="340"/>
                </a:lnTo>
                <a:lnTo>
                  <a:pt x="140" y="337"/>
                </a:lnTo>
                <a:lnTo>
                  <a:pt x="140" y="335"/>
                </a:lnTo>
                <a:lnTo>
                  <a:pt x="140" y="328"/>
                </a:lnTo>
                <a:lnTo>
                  <a:pt x="140" y="326"/>
                </a:lnTo>
                <a:lnTo>
                  <a:pt x="138" y="326"/>
                </a:lnTo>
                <a:lnTo>
                  <a:pt x="133" y="321"/>
                </a:lnTo>
                <a:lnTo>
                  <a:pt x="133" y="323"/>
                </a:lnTo>
                <a:lnTo>
                  <a:pt x="131" y="321"/>
                </a:lnTo>
                <a:lnTo>
                  <a:pt x="128" y="321"/>
                </a:lnTo>
                <a:lnTo>
                  <a:pt x="126" y="321"/>
                </a:lnTo>
                <a:lnTo>
                  <a:pt x="126" y="319"/>
                </a:lnTo>
                <a:lnTo>
                  <a:pt x="126" y="321"/>
                </a:lnTo>
                <a:lnTo>
                  <a:pt x="124" y="321"/>
                </a:lnTo>
                <a:lnTo>
                  <a:pt x="114" y="319"/>
                </a:lnTo>
                <a:lnTo>
                  <a:pt x="112" y="319"/>
                </a:lnTo>
                <a:lnTo>
                  <a:pt x="110" y="316"/>
                </a:lnTo>
                <a:lnTo>
                  <a:pt x="107" y="314"/>
                </a:lnTo>
                <a:lnTo>
                  <a:pt x="105" y="314"/>
                </a:lnTo>
                <a:lnTo>
                  <a:pt x="105" y="312"/>
                </a:lnTo>
                <a:lnTo>
                  <a:pt x="103" y="307"/>
                </a:lnTo>
                <a:lnTo>
                  <a:pt x="100" y="307"/>
                </a:lnTo>
                <a:lnTo>
                  <a:pt x="98" y="307"/>
                </a:lnTo>
                <a:lnTo>
                  <a:pt x="96" y="307"/>
                </a:lnTo>
                <a:lnTo>
                  <a:pt x="96" y="310"/>
                </a:lnTo>
                <a:lnTo>
                  <a:pt x="93" y="310"/>
                </a:lnTo>
                <a:lnTo>
                  <a:pt x="93" y="312"/>
                </a:lnTo>
                <a:lnTo>
                  <a:pt x="91" y="314"/>
                </a:lnTo>
                <a:lnTo>
                  <a:pt x="89" y="316"/>
                </a:lnTo>
                <a:lnTo>
                  <a:pt x="86" y="316"/>
                </a:lnTo>
                <a:lnTo>
                  <a:pt x="89" y="316"/>
                </a:lnTo>
                <a:lnTo>
                  <a:pt x="89" y="319"/>
                </a:lnTo>
                <a:lnTo>
                  <a:pt x="86" y="319"/>
                </a:lnTo>
                <a:lnTo>
                  <a:pt x="84" y="316"/>
                </a:lnTo>
                <a:lnTo>
                  <a:pt x="84" y="314"/>
                </a:lnTo>
                <a:lnTo>
                  <a:pt x="84" y="316"/>
                </a:lnTo>
                <a:lnTo>
                  <a:pt x="82" y="316"/>
                </a:lnTo>
                <a:lnTo>
                  <a:pt x="79" y="316"/>
                </a:lnTo>
                <a:lnTo>
                  <a:pt x="77" y="316"/>
                </a:lnTo>
                <a:lnTo>
                  <a:pt x="77" y="319"/>
                </a:lnTo>
                <a:lnTo>
                  <a:pt x="75" y="319"/>
                </a:lnTo>
                <a:lnTo>
                  <a:pt x="72" y="316"/>
                </a:lnTo>
                <a:lnTo>
                  <a:pt x="70" y="316"/>
                </a:lnTo>
                <a:lnTo>
                  <a:pt x="68" y="316"/>
                </a:lnTo>
                <a:lnTo>
                  <a:pt x="65" y="316"/>
                </a:lnTo>
                <a:lnTo>
                  <a:pt x="63" y="316"/>
                </a:lnTo>
                <a:lnTo>
                  <a:pt x="61" y="316"/>
                </a:lnTo>
                <a:lnTo>
                  <a:pt x="61" y="314"/>
                </a:lnTo>
                <a:lnTo>
                  <a:pt x="58" y="314"/>
                </a:lnTo>
                <a:lnTo>
                  <a:pt x="56" y="314"/>
                </a:lnTo>
                <a:lnTo>
                  <a:pt x="56" y="312"/>
                </a:lnTo>
                <a:lnTo>
                  <a:pt x="54" y="312"/>
                </a:lnTo>
                <a:lnTo>
                  <a:pt x="52" y="314"/>
                </a:lnTo>
                <a:lnTo>
                  <a:pt x="49" y="314"/>
                </a:lnTo>
                <a:lnTo>
                  <a:pt x="47" y="314"/>
                </a:lnTo>
                <a:lnTo>
                  <a:pt x="45" y="314"/>
                </a:lnTo>
                <a:lnTo>
                  <a:pt x="42" y="312"/>
                </a:lnTo>
                <a:lnTo>
                  <a:pt x="40" y="312"/>
                </a:lnTo>
                <a:lnTo>
                  <a:pt x="38" y="312"/>
                </a:lnTo>
                <a:lnTo>
                  <a:pt x="35" y="312"/>
                </a:lnTo>
                <a:lnTo>
                  <a:pt x="33" y="312"/>
                </a:lnTo>
                <a:lnTo>
                  <a:pt x="31" y="312"/>
                </a:lnTo>
                <a:lnTo>
                  <a:pt x="31" y="310"/>
                </a:lnTo>
                <a:lnTo>
                  <a:pt x="28" y="307"/>
                </a:lnTo>
                <a:lnTo>
                  <a:pt x="26" y="307"/>
                </a:lnTo>
                <a:lnTo>
                  <a:pt x="24" y="307"/>
                </a:lnTo>
                <a:lnTo>
                  <a:pt x="21" y="307"/>
                </a:lnTo>
                <a:lnTo>
                  <a:pt x="21" y="310"/>
                </a:lnTo>
                <a:lnTo>
                  <a:pt x="21" y="307"/>
                </a:lnTo>
                <a:lnTo>
                  <a:pt x="19" y="307"/>
                </a:lnTo>
                <a:lnTo>
                  <a:pt x="19" y="310"/>
                </a:lnTo>
                <a:lnTo>
                  <a:pt x="17" y="310"/>
                </a:lnTo>
                <a:lnTo>
                  <a:pt x="17" y="307"/>
                </a:lnTo>
                <a:lnTo>
                  <a:pt x="14" y="307"/>
                </a:lnTo>
                <a:lnTo>
                  <a:pt x="12" y="307"/>
                </a:lnTo>
                <a:lnTo>
                  <a:pt x="12" y="305"/>
                </a:lnTo>
                <a:lnTo>
                  <a:pt x="10" y="305"/>
                </a:lnTo>
                <a:lnTo>
                  <a:pt x="10" y="303"/>
                </a:lnTo>
                <a:lnTo>
                  <a:pt x="12" y="298"/>
                </a:lnTo>
                <a:lnTo>
                  <a:pt x="14" y="296"/>
                </a:lnTo>
                <a:lnTo>
                  <a:pt x="14" y="293"/>
                </a:lnTo>
                <a:lnTo>
                  <a:pt x="12" y="293"/>
                </a:lnTo>
                <a:lnTo>
                  <a:pt x="12" y="291"/>
                </a:lnTo>
                <a:lnTo>
                  <a:pt x="12" y="289"/>
                </a:lnTo>
                <a:lnTo>
                  <a:pt x="12" y="286"/>
                </a:lnTo>
                <a:lnTo>
                  <a:pt x="12" y="284"/>
                </a:lnTo>
                <a:lnTo>
                  <a:pt x="14" y="282"/>
                </a:lnTo>
                <a:lnTo>
                  <a:pt x="14" y="279"/>
                </a:lnTo>
                <a:lnTo>
                  <a:pt x="14" y="277"/>
                </a:lnTo>
                <a:lnTo>
                  <a:pt x="12" y="277"/>
                </a:lnTo>
                <a:lnTo>
                  <a:pt x="14" y="275"/>
                </a:lnTo>
                <a:lnTo>
                  <a:pt x="14" y="272"/>
                </a:lnTo>
                <a:lnTo>
                  <a:pt x="12" y="272"/>
                </a:lnTo>
                <a:lnTo>
                  <a:pt x="12" y="270"/>
                </a:lnTo>
                <a:lnTo>
                  <a:pt x="12" y="268"/>
                </a:lnTo>
                <a:lnTo>
                  <a:pt x="14" y="265"/>
                </a:lnTo>
                <a:lnTo>
                  <a:pt x="17" y="261"/>
                </a:lnTo>
                <a:lnTo>
                  <a:pt x="19" y="258"/>
                </a:lnTo>
                <a:lnTo>
                  <a:pt x="17" y="258"/>
                </a:lnTo>
                <a:lnTo>
                  <a:pt x="17" y="256"/>
                </a:lnTo>
                <a:lnTo>
                  <a:pt x="14" y="256"/>
                </a:lnTo>
                <a:lnTo>
                  <a:pt x="14" y="254"/>
                </a:lnTo>
                <a:lnTo>
                  <a:pt x="17" y="254"/>
                </a:lnTo>
                <a:lnTo>
                  <a:pt x="19" y="251"/>
                </a:lnTo>
                <a:lnTo>
                  <a:pt x="19" y="249"/>
                </a:lnTo>
                <a:lnTo>
                  <a:pt x="19" y="244"/>
                </a:lnTo>
                <a:lnTo>
                  <a:pt x="19" y="242"/>
                </a:lnTo>
                <a:lnTo>
                  <a:pt x="19" y="240"/>
                </a:lnTo>
                <a:lnTo>
                  <a:pt x="21" y="237"/>
                </a:lnTo>
                <a:lnTo>
                  <a:pt x="21" y="235"/>
                </a:lnTo>
                <a:lnTo>
                  <a:pt x="19" y="233"/>
                </a:lnTo>
                <a:lnTo>
                  <a:pt x="19" y="235"/>
                </a:lnTo>
                <a:lnTo>
                  <a:pt x="17" y="233"/>
                </a:lnTo>
                <a:lnTo>
                  <a:pt x="14" y="233"/>
                </a:lnTo>
                <a:lnTo>
                  <a:pt x="14" y="230"/>
                </a:lnTo>
                <a:lnTo>
                  <a:pt x="19" y="228"/>
                </a:lnTo>
                <a:lnTo>
                  <a:pt x="19" y="226"/>
                </a:lnTo>
                <a:lnTo>
                  <a:pt x="17" y="226"/>
                </a:lnTo>
                <a:lnTo>
                  <a:pt x="14" y="226"/>
                </a:lnTo>
                <a:lnTo>
                  <a:pt x="14" y="223"/>
                </a:lnTo>
                <a:lnTo>
                  <a:pt x="17" y="223"/>
                </a:lnTo>
                <a:lnTo>
                  <a:pt x="17" y="221"/>
                </a:lnTo>
                <a:lnTo>
                  <a:pt x="19" y="221"/>
                </a:lnTo>
                <a:lnTo>
                  <a:pt x="19" y="219"/>
                </a:lnTo>
                <a:lnTo>
                  <a:pt x="17" y="219"/>
                </a:lnTo>
                <a:lnTo>
                  <a:pt x="17" y="216"/>
                </a:lnTo>
                <a:lnTo>
                  <a:pt x="14" y="216"/>
                </a:lnTo>
                <a:lnTo>
                  <a:pt x="12" y="219"/>
                </a:lnTo>
                <a:lnTo>
                  <a:pt x="12" y="216"/>
                </a:lnTo>
                <a:lnTo>
                  <a:pt x="12" y="214"/>
                </a:lnTo>
                <a:lnTo>
                  <a:pt x="10" y="214"/>
                </a:lnTo>
                <a:lnTo>
                  <a:pt x="10" y="212"/>
                </a:lnTo>
                <a:lnTo>
                  <a:pt x="10" y="209"/>
                </a:lnTo>
                <a:lnTo>
                  <a:pt x="10" y="207"/>
                </a:lnTo>
                <a:lnTo>
                  <a:pt x="10" y="205"/>
                </a:lnTo>
                <a:lnTo>
                  <a:pt x="12" y="202"/>
                </a:lnTo>
                <a:lnTo>
                  <a:pt x="10" y="200"/>
                </a:lnTo>
                <a:lnTo>
                  <a:pt x="7" y="200"/>
                </a:lnTo>
                <a:lnTo>
                  <a:pt x="5" y="198"/>
                </a:lnTo>
                <a:lnTo>
                  <a:pt x="5" y="195"/>
                </a:lnTo>
                <a:lnTo>
                  <a:pt x="5" y="193"/>
                </a:lnTo>
                <a:lnTo>
                  <a:pt x="5" y="191"/>
                </a:lnTo>
                <a:lnTo>
                  <a:pt x="3" y="191"/>
                </a:lnTo>
                <a:lnTo>
                  <a:pt x="0" y="191"/>
                </a:lnTo>
                <a:lnTo>
                  <a:pt x="0" y="188"/>
                </a:lnTo>
                <a:lnTo>
                  <a:pt x="3" y="188"/>
                </a:lnTo>
                <a:lnTo>
                  <a:pt x="3" y="186"/>
                </a:lnTo>
                <a:lnTo>
                  <a:pt x="0" y="186"/>
                </a:lnTo>
                <a:lnTo>
                  <a:pt x="0" y="184"/>
                </a:lnTo>
                <a:lnTo>
                  <a:pt x="3" y="184"/>
                </a:lnTo>
                <a:lnTo>
                  <a:pt x="5" y="184"/>
                </a:lnTo>
                <a:lnTo>
                  <a:pt x="5" y="181"/>
                </a:lnTo>
                <a:lnTo>
                  <a:pt x="7" y="181"/>
                </a:lnTo>
                <a:lnTo>
                  <a:pt x="10" y="179"/>
                </a:lnTo>
                <a:lnTo>
                  <a:pt x="12" y="177"/>
                </a:lnTo>
                <a:lnTo>
                  <a:pt x="14" y="177"/>
                </a:lnTo>
                <a:lnTo>
                  <a:pt x="17" y="177"/>
                </a:lnTo>
                <a:lnTo>
                  <a:pt x="19" y="174"/>
                </a:lnTo>
                <a:lnTo>
                  <a:pt x="19" y="172"/>
                </a:lnTo>
                <a:lnTo>
                  <a:pt x="14" y="168"/>
                </a:lnTo>
                <a:lnTo>
                  <a:pt x="10" y="163"/>
                </a:lnTo>
                <a:lnTo>
                  <a:pt x="5" y="158"/>
                </a:lnTo>
                <a:lnTo>
                  <a:pt x="3" y="158"/>
                </a:lnTo>
                <a:lnTo>
                  <a:pt x="5" y="154"/>
                </a:lnTo>
                <a:lnTo>
                  <a:pt x="7" y="151"/>
                </a:lnTo>
                <a:lnTo>
                  <a:pt x="7" y="149"/>
                </a:lnTo>
                <a:lnTo>
                  <a:pt x="10" y="144"/>
                </a:lnTo>
                <a:lnTo>
                  <a:pt x="10" y="142"/>
                </a:lnTo>
                <a:lnTo>
                  <a:pt x="12" y="140"/>
                </a:lnTo>
                <a:lnTo>
                  <a:pt x="17" y="130"/>
                </a:lnTo>
                <a:lnTo>
                  <a:pt x="21" y="121"/>
                </a:lnTo>
                <a:lnTo>
                  <a:pt x="24" y="119"/>
                </a:lnTo>
                <a:lnTo>
                  <a:pt x="24" y="116"/>
                </a:lnTo>
                <a:lnTo>
                  <a:pt x="26" y="114"/>
                </a:lnTo>
                <a:lnTo>
                  <a:pt x="28" y="114"/>
                </a:lnTo>
                <a:lnTo>
                  <a:pt x="28" y="112"/>
                </a:lnTo>
                <a:lnTo>
                  <a:pt x="28" y="107"/>
                </a:lnTo>
                <a:lnTo>
                  <a:pt x="26" y="107"/>
                </a:lnTo>
                <a:lnTo>
                  <a:pt x="26" y="105"/>
                </a:lnTo>
                <a:lnTo>
                  <a:pt x="28" y="95"/>
                </a:lnTo>
                <a:lnTo>
                  <a:pt x="31" y="86"/>
                </a:lnTo>
                <a:lnTo>
                  <a:pt x="35" y="77"/>
                </a:lnTo>
                <a:lnTo>
                  <a:pt x="38" y="67"/>
                </a:lnTo>
                <a:lnTo>
                  <a:pt x="38" y="65"/>
                </a:lnTo>
                <a:lnTo>
                  <a:pt x="40" y="65"/>
                </a:lnTo>
                <a:lnTo>
                  <a:pt x="40" y="63"/>
                </a:lnTo>
                <a:lnTo>
                  <a:pt x="45" y="63"/>
                </a:lnTo>
                <a:lnTo>
                  <a:pt x="42" y="63"/>
                </a:lnTo>
                <a:lnTo>
                  <a:pt x="40" y="60"/>
                </a:lnTo>
                <a:lnTo>
                  <a:pt x="38" y="56"/>
                </a:lnTo>
                <a:lnTo>
                  <a:pt x="35" y="49"/>
                </a:lnTo>
                <a:lnTo>
                  <a:pt x="28" y="39"/>
                </a:lnTo>
                <a:lnTo>
                  <a:pt x="31" y="39"/>
                </a:lnTo>
                <a:lnTo>
                  <a:pt x="31" y="37"/>
                </a:lnTo>
                <a:lnTo>
                  <a:pt x="28" y="35"/>
                </a:lnTo>
                <a:lnTo>
                  <a:pt x="31" y="32"/>
                </a:lnTo>
                <a:lnTo>
                  <a:pt x="33" y="32"/>
                </a:lnTo>
                <a:lnTo>
                  <a:pt x="35" y="32"/>
                </a:lnTo>
                <a:lnTo>
                  <a:pt x="35" y="35"/>
                </a:lnTo>
                <a:lnTo>
                  <a:pt x="38" y="35"/>
                </a:lnTo>
                <a:lnTo>
                  <a:pt x="38" y="37"/>
                </a:lnTo>
                <a:lnTo>
                  <a:pt x="40" y="39"/>
                </a:lnTo>
                <a:lnTo>
                  <a:pt x="42" y="39"/>
                </a:lnTo>
                <a:lnTo>
                  <a:pt x="45" y="42"/>
                </a:lnTo>
                <a:lnTo>
                  <a:pt x="45" y="44"/>
                </a:lnTo>
                <a:lnTo>
                  <a:pt x="45" y="46"/>
                </a:lnTo>
                <a:lnTo>
                  <a:pt x="45" y="44"/>
                </a:lnTo>
                <a:lnTo>
                  <a:pt x="47" y="42"/>
                </a:lnTo>
                <a:lnTo>
                  <a:pt x="47" y="39"/>
                </a:lnTo>
                <a:lnTo>
                  <a:pt x="58" y="37"/>
                </a:lnTo>
                <a:lnTo>
                  <a:pt x="61" y="37"/>
                </a:lnTo>
                <a:lnTo>
                  <a:pt x="65" y="35"/>
                </a:lnTo>
                <a:lnTo>
                  <a:pt x="68" y="35"/>
                </a:lnTo>
                <a:lnTo>
                  <a:pt x="75" y="28"/>
                </a:lnTo>
                <a:lnTo>
                  <a:pt x="75" y="26"/>
                </a:lnTo>
                <a:lnTo>
                  <a:pt x="75" y="23"/>
                </a:lnTo>
                <a:lnTo>
                  <a:pt x="77" y="23"/>
                </a:lnTo>
                <a:lnTo>
                  <a:pt x="77" y="21"/>
                </a:lnTo>
                <a:lnTo>
                  <a:pt x="79" y="21"/>
                </a:lnTo>
                <a:lnTo>
                  <a:pt x="82" y="19"/>
                </a:lnTo>
                <a:lnTo>
                  <a:pt x="82" y="16"/>
                </a:lnTo>
                <a:lnTo>
                  <a:pt x="84" y="14"/>
                </a:lnTo>
                <a:lnTo>
                  <a:pt x="84" y="12"/>
                </a:lnTo>
                <a:lnTo>
                  <a:pt x="86" y="12"/>
                </a:lnTo>
                <a:lnTo>
                  <a:pt x="86" y="9"/>
                </a:lnTo>
                <a:lnTo>
                  <a:pt x="86" y="7"/>
                </a:lnTo>
                <a:lnTo>
                  <a:pt x="89" y="7"/>
                </a:lnTo>
                <a:lnTo>
                  <a:pt x="93" y="7"/>
                </a:lnTo>
                <a:lnTo>
                  <a:pt x="103" y="7"/>
                </a:lnTo>
                <a:lnTo>
                  <a:pt x="105" y="7"/>
                </a:lnTo>
                <a:lnTo>
                  <a:pt x="107" y="7"/>
                </a:lnTo>
                <a:lnTo>
                  <a:pt x="110" y="7"/>
                </a:lnTo>
                <a:lnTo>
                  <a:pt x="112" y="7"/>
                </a:lnTo>
                <a:lnTo>
                  <a:pt x="112" y="5"/>
                </a:lnTo>
                <a:lnTo>
                  <a:pt x="114" y="5"/>
                </a:lnTo>
                <a:lnTo>
                  <a:pt x="117" y="5"/>
                </a:lnTo>
                <a:lnTo>
                  <a:pt x="119" y="2"/>
                </a:lnTo>
                <a:lnTo>
                  <a:pt x="119" y="0"/>
                </a:lnTo>
                <a:lnTo>
                  <a:pt x="121" y="0"/>
                </a:lnTo>
                <a:lnTo>
                  <a:pt x="126" y="0"/>
                </a:lnTo>
                <a:lnTo>
                  <a:pt x="128" y="0"/>
                </a:lnTo>
                <a:lnTo>
                  <a:pt x="131" y="0"/>
                </a:lnTo>
                <a:lnTo>
                  <a:pt x="133" y="0"/>
                </a:lnTo>
                <a:lnTo>
                  <a:pt x="133" y="2"/>
                </a:lnTo>
                <a:lnTo>
                  <a:pt x="135" y="5"/>
                </a:lnTo>
                <a:lnTo>
                  <a:pt x="140" y="7"/>
                </a:lnTo>
                <a:lnTo>
                  <a:pt x="142" y="7"/>
                </a:lnTo>
                <a:lnTo>
                  <a:pt x="145" y="7"/>
                </a:lnTo>
                <a:lnTo>
                  <a:pt x="145" y="9"/>
                </a:lnTo>
                <a:lnTo>
                  <a:pt x="147" y="9"/>
                </a:lnTo>
                <a:lnTo>
                  <a:pt x="152" y="12"/>
                </a:lnTo>
                <a:lnTo>
                  <a:pt x="154" y="12"/>
                </a:lnTo>
                <a:lnTo>
                  <a:pt x="156" y="12"/>
                </a:lnTo>
                <a:lnTo>
                  <a:pt x="159" y="14"/>
                </a:lnTo>
                <a:lnTo>
                  <a:pt x="159" y="16"/>
                </a:lnTo>
                <a:lnTo>
                  <a:pt x="161" y="16"/>
                </a:lnTo>
                <a:lnTo>
                  <a:pt x="161" y="19"/>
                </a:lnTo>
                <a:lnTo>
                  <a:pt x="163" y="21"/>
                </a:lnTo>
                <a:lnTo>
                  <a:pt x="168" y="23"/>
                </a:lnTo>
                <a:lnTo>
                  <a:pt x="170" y="23"/>
                </a:lnTo>
                <a:lnTo>
                  <a:pt x="170" y="26"/>
                </a:lnTo>
                <a:lnTo>
                  <a:pt x="173" y="26"/>
                </a:lnTo>
                <a:lnTo>
                  <a:pt x="175" y="26"/>
                </a:lnTo>
                <a:lnTo>
                  <a:pt x="175" y="28"/>
                </a:lnTo>
                <a:lnTo>
                  <a:pt x="177" y="28"/>
                </a:lnTo>
                <a:lnTo>
                  <a:pt x="184" y="32"/>
                </a:lnTo>
                <a:lnTo>
                  <a:pt x="186" y="32"/>
                </a:lnTo>
                <a:lnTo>
                  <a:pt x="189" y="32"/>
                </a:lnTo>
                <a:lnTo>
                  <a:pt x="196" y="30"/>
                </a:lnTo>
                <a:lnTo>
                  <a:pt x="198" y="32"/>
                </a:lnTo>
                <a:lnTo>
                  <a:pt x="200" y="30"/>
                </a:lnTo>
                <a:lnTo>
                  <a:pt x="205" y="28"/>
                </a:lnTo>
                <a:lnTo>
                  <a:pt x="207" y="28"/>
                </a:lnTo>
                <a:lnTo>
                  <a:pt x="207" y="26"/>
                </a:lnTo>
                <a:lnTo>
                  <a:pt x="210" y="23"/>
                </a:lnTo>
                <a:lnTo>
                  <a:pt x="212" y="23"/>
                </a:lnTo>
                <a:lnTo>
                  <a:pt x="219" y="23"/>
                </a:lnTo>
                <a:lnTo>
                  <a:pt x="221" y="23"/>
                </a:lnTo>
                <a:lnTo>
                  <a:pt x="224" y="23"/>
                </a:lnTo>
                <a:lnTo>
                  <a:pt x="226" y="26"/>
                </a:lnTo>
                <a:lnTo>
                  <a:pt x="228" y="28"/>
                </a:lnTo>
                <a:lnTo>
                  <a:pt x="231" y="28"/>
                </a:lnTo>
                <a:lnTo>
                  <a:pt x="231" y="30"/>
                </a:lnTo>
                <a:lnTo>
                  <a:pt x="231" y="32"/>
                </a:lnTo>
                <a:lnTo>
                  <a:pt x="231" y="35"/>
                </a:lnTo>
                <a:lnTo>
                  <a:pt x="233" y="35"/>
                </a:lnTo>
                <a:lnTo>
                  <a:pt x="235" y="35"/>
                </a:lnTo>
                <a:lnTo>
                  <a:pt x="240" y="32"/>
                </a:lnTo>
                <a:lnTo>
                  <a:pt x="242" y="30"/>
                </a:lnTo>
                <a:lnTo>
                  <a:pt x="245" y="30"/>
                </a:lnTo>
                <a:lnTo>
                  <a:pt x="247" y="30"/>
                </a:lnTo>
                <a:lnTo>
                  <a:pt x="249" y="28"/>
                </a:lnTo>
                <a:lnTo>
                  <a:pt x="252" y="28"/>
                </a:lnTo>
                <a:lnTo>
                  <a:pt x="252" y="26"/>
                </a:lnTo>
                <a:lnTo>
                  <a:pt x="252" y="23"/>
                </a:lnTo>
                <a:lnTo>
                  <a:pt x="256" y="23"/>
                </a:lnTo>
                <a:lnTo>
                  <a:pt x="259" y="21"/>
                </a:lnTo>
                <a:lnTo>
                  <a:pt x="263" y="16"/>
                </a:lnTo>
                <a:lnTo>
                  <a:pt x="266" y="14"/>
                </a:lnTo>
                <a:lnTo>
                  <a:pt x="266" y="12"/>
                </a:lnTo>
                <a:lnTo>
                  <a:pt x="270" y="9"/>
                </a:lnTo>
                <a:lnTo>
                  <a:pt x="275" y="9"/>
                </a:lnTo>
                <a:lnTo>
                  <a:pt x="275" y="12"/>
                </a:lnTo>
                <a:lnTo>
                  <a:pt x="273" y="21"/>
                </a:lnTo>
                <a:lnTo>
                  <a:pt x="273" y="26"/>
                </a:lnTo>
                <a:lnTo>
                  <a:pt x="270" y="28"/>
                </a:lnTo>
                <a:lnTo>
                  <a:pt x="270" y="32"/>
                </a:lnTo>
                <a:lnTo>
                  <a:pt x="270" y="35"/>
                </a:lnTo>
                <a:lnTo>
                  <a:pt x="268" y="35"/>
                </a:lnTo>
                <a:lnTo>
                  <a:pt x="266" y="35"/>
                </a:lnTo>
                <a:lnTo>
                  <a:pt x="263" y="35"/>
                </a:lnTo>
                <a:lnTo>
                  <a:pt x="263" y="37"/>
                </a:lnTo>
                <a:lnTo>
                  <a:pt x="261" y="37"/>
                </a:lnTo>
                <a:lnTo>
                  <a:pt x="261" y="39"/>
                </a:lnTo>
                <a:lnTo>
                  <a:pt x="259" y="42"/>
                </a:lnTo>
                <a:lnTo>
                  <a:pt x="259" y="44"/>
                </a:lnTo>
                <a:lnTo>
                  <a:pt x="256" y="46"/>
                </a:lnTo>
                <a:lnTo>
                  <a:pt x="254" y="49"/>
                </a:lnTo>
                <a:lnTo>
                  <a:pt x="254" y="51"/>
                </a:lnTo>
                <a:lnTo>
                  <a:pt x="256" y="51"/>
                </a:lnTo>
                <a:lnTo>
                  <a:pt x="259" y="51"/>
                </a:lnTo>
                <a:lnTo>
                  <a:pt x="261" y="51"/>
                </a:lnTo>
                <a:lnTo>
                  <a:pt x="268" y="56"/>
                </a:lnTo>
                <a:lnTo>
                  <a:pt x="270" y="56"/>
                </a:lnTo>
                <a:lnTo>
                  <a:pt x="277" y="56"/>
                </a:lnTo>
                <a:lnTo>
                  <a:pt x="280" y="56"/>
                </a:lnTo>
                <a:lnTo>
                  <a:pt x="284" y="58"/>
                </a:lnTo>
                <a:lnTo>
                  <a:pt x="287" y="58"/>
                </a:lnTo>
                <a:lnTo>
                  <a:pt x="289" y="58"/>
                </a:lnTo>
                <a:lnTo>
                  <a:pt x="289" y="56"/>
                </a:lnTo>
                <a:lnTo>
                  <a:pt x="296" y="56"/>
                </a:lnTo>
                <a:lnTo>
                  <a:pt x="296" y="58"/>
                </a:lnTo>
                <a:lnTo>
                  <a:pt x="301" y="58"/>
                </a:lnTo>
                <a:lnTo>
                  <a:pt x="303" y="58"/>
                </a:lnTo>
                <a:lnTo>
                  <a:pt x="305" y="60"/>
                </a:lnTo>
                <a:lnTo>
                  <a:pt x="310" y="58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39" name="Freeform 16">
            <a:extLst>
              <a:ext uri="{FF2B5EF4-FFF2-40B4-BE49-F238E27FC236}">
                <a16:creationId xmlns:a16="http://schemas.microsoft.com/office/drawing/2014/main" id="{6D2C48C2-B295-E19E-2A9E-A4DBAF9AD615}"/>
              </a:ext>
            </a:extLst>
          </p:cNvPr>
          <p:cNvSpPr>
            <a:spLocks/>
          </p:cNvSpPr>
          <p:nvPr/>
        </p:nvSpPr>
        <p:spPr bwMode="auto">
          <a:xfrm>
            <a:off x="3214456" y="4194412"/>
            <a:ext cx="817705" cy="599448"/>
          </a:xfrm>
          <a:custGeom>
            <a:avLst/>
            <a:gdLst>
              <a:gd name="T0" fmla="*/ 633 w 694"/>
              <a:gd name="T1" fmla="*/ 260 h 533"/>
              <a:gd name="T2" fmla="*/ 617 w 694"/>
              <a:gd name="T3" fmla="*/ 272 h 533"/>
              <a:gd name="T4" fmla="*/ 603 w 694"/>
              <a:gd name="T5" fmla="*/ 286 h 533"/>
              <a:gd name="T6" fmla="*/ 596 w 694"/>
              <a:gd name="T7" fmla="*/ 311 h 533"/>
              <a:gd name="T8" fmla="*/ 598 w 694"/>
              <a:gd name="T9" fmla="*/ 328 h 533"/>
              <a:gd name="T10" fmla="*/ 594 w 694"/>
              <a:gd name="T11" fmla="*/ 356 h 533"/>
              <a:gd name="T12" fmla="*/ 573 w 694"/>
              <a:gd name="T13" fmla="*/ 384 h 533"/>
              <a:gd name="T14" fmla="*/ 540 w 694"/>
              <a:gd name="T15" fmla="*/ 409 h 533"/>
              <a:gd name="T16" fmla="*/ 531 w 694"/>
              <a:gd name="T17" fmla="*/ 430 h 533"/>
              <a:gd name="T18" fmla="*/ 515 w 694"/>
              <a:gd name="T19" fmla="*/ 449 h 533"/>
              <a:gd name="T20" fmla="*/ 505 w 694"/>
              <a:gd name="T21" fmla="*/ 479 h 533"/>
              <a:gd name="T22" fmla="*/ 452 w 694"/>
              <a:gd name="T23" fmla="*/ 500 h 533"/>
              <a:gd name="T24" fmla="*/ 421 w 694"/>
              <a:gd name="T25" fmla="*/ 495 h 533"/>
              <a:gd name="T26" fmla="*/ 382 w 694"/>
              <a:gd name="T27" fmla="*/ 502 h 533"/>
              <a:gd name="T28" fmla="*/ 335 w 694"/>
              <a:gd name="T29" fmla="*/ 512 h 533"/>
              <a:gd name="T30" fmla="*/ 303 w 694"/>
              <a:gd name="T31" fmla="*/ 519 h 533"/>
              <a:gd name="T32" fmla="*/ 293 w 694"/>
              <a:gd name="T33" fmla="*/ 528 h 533"/>
              <a:gd name="T34" fmla="*/ 268 w 694"/>
              <a:gd name="T35" fmla="*/ 528 h 533"/>
              <a:gd name="T36" fmla="*/ 256 w 694"/>
              <a:gd name="T37" fmla="*/ 512 h 533"/>
              <a:gd name="T38" fmla="*/ 247 w 694"/>
              <a:gd name="T39" fmla="*/ 484 h 533"/>
              <a:gd name="T40" fmla="*/ 254 w 694"/>
              <a:gd name="T41" fmla="*/ 453 h 533"/>
              <a:gd name="T42" fmla="*/ 245 w 694"/>
              <a:gd name="T43" fmla="*/ 433 h 533"/>
              <a:gd name="T44" fmla="*/ 224 w 694"/>
              <a:gd name="T45" fmla="*/ 414 h 533"/>
              <a:gd name="T46" fmla="*/ 219 w 694"/>
              <a:gd name="T47" fmla="*/ 372 h 533"/>
              <a:gd name="T48" fmla="*/ 210 w 694"/>
              <a:gd name="T49" fmla="*/ 342 h 533"/>
              <a:gd name="T50" fmla="*/ 182 w 694"/>
              <a:gd name="T51" fmla="*/ 344 h 533"/>
              <a:gd name="T52" fmla="*/ 158 w 694"/>
              <a:gd name="T53" fmla="*/ 346 h 533"/>
              <a:gd name="T54" fmla="*/ 126 w 694"/>
              <a:gd name="T55" fmla="*/ 360 h 533"/>
              <a:gd name="T56" fmla="*/ 103 w 694"/>
              <a:gd name="T57" fmla="*/ 351 h 533"/>
              <a:gd name="T58" fmla="*/ 40 w 694"/>
              <a:gd name="T59" fmla="*/ 321 h 533"/>
              <a:gd name="T60" fmla="*/ 3 w 694"/>
              <a:gd name="T61" fmla="*/ 305 h 533"/>
              <a:gd name="T62" fmla="*/ 14 w 694"/>
              <a:gd name="T63" fmla="*/ 284 h 533"/>
              <a:gd name="T64" fmla="*/ 35 w 694"/>
              <a:gd name="T65" fmla="*/ 260 h 533"/>
              <a:gd name="T66" fmla="*/ 98 w 694"/>
              <a:gd name="T67" fmla="*/ 239 h 533"/>
              <a:gd name="T68" fmla="*/ 172 w 694"/>
              <a:gd name="T69" fmla="*/ 237 h 533"/>
              <a:gd name="T70" fmla="*/ 214 w 694"/>
              <a:gd name="T71" fmla="*/ 230 h 533"/>
              <a:gd name="T72" fmla="*/ 231 w 694"/>
              <a:gd name="T73" fmla="*/ 204 h 533"/>
              <a:gd name="T74" fmla="*/ 221 w 694"/>
              <a:gd name="T75" fmla="*/ 179 h 533"/>
              <a:gd name="T76" fmla="*/ 240 w 694"/>
              <a:gd name="T77" fmla="*/ 160 h 533"/>
              <a:gd name="T78" fmla="*/ 238 w 694"/>
              <a:gd name="T79" fmla="*/ 132 h 533"/>
              <a:gd name="T80" fmla="*/ 242 w 694"/>
              <a:gd name="T81" fmla="*/ 95 h 533"/>
              <a:gd name="T82" fmla="*/ 270 w 694"/>
              <a:gd name="T83" fmla="*/ 88 h 533"/>
              <a:gd name="T84" fmla="*/ 272 w 694"/>
              <a:gd name="T85" fmla="*/ 48 h 533"/>
              <a:gd name="T86" fmla="*/ 296 w 694"/>
              <a:gd name="T87" fmla="*/ 25 h 533"/>
              <a:gd name="T88" fmla="*/ 324 w 694"/>
              <a:gd name="T89" fmla="*/ 32 h 533"/>
              <a:gd name="T90" fmla="*/ 328 w 694"/>
              <a:gd name="T91" fmla="*/ 51 h 533"/>
              <a:gd name="T92" fmla="*/ 356 w 694"/>
              <a:gd name="T93" fmla="*/ 37 h 533"/>
              <a:gd name="T94" fmla="*/ 401 w 694"/>
              <a:gd name="T95" fmla="*/ 16 h 533"/>
              <a:gd name="T96" fmla="*/ 440 w 694"/>
              <a:gd name="T97" fmla="*/ 2 h 533"/>
              <a:gd name="T98" fmla="*/ 466 w 694"/>
              <a:gd name="T99" fmla="*/ 14 h 533"/>
              <a:gd name="T100" fmla="*/ 489 w 694"/>
              <a:gd name="T101" fmla="*/ 37 h 533"/>
              <a:gd name="T102" fmla="*/ 526 w 694"/>
              <a:gd name="T103" fmla="*/ 48 h 533"/>
              <a:gd name="T104" fmla="*/ 561 w 694"/>
              <a:gd name="T105" fmla="*/ 72 h 533"/>
              <a:gd name="T106" fmla="*/ 610 w 694"/>
              <a:gd name="T107" fmla="*/ 118 h 533"/>
              <a:gd name="T108" fmla="*/ 645 w 694"/>
              <a:gd name="T109" fmla="*/ 123 h 533"/>
              <a:gd name="T110" fmla="*/ 677 w 694"/>
              <a:gd name="T111" fmla="*/ 137 h 533"/>
              <a:gd name="T112" fmla="*/ 689 w 694"/>
              <a:gd name="T113" fmla="*/ 160 h 533"/>
              <a:gd name="T114" fmla="*/ 663 w 694"/>
              <a:gd name="T115" fmla="*/ 193 h 533"/>
              <a:gd name="T116" fmla="*/ 640 w 694"/>
              <a:gd name="T117" fmla="*/ 221 h 533"/>
              <a:gd name="T118" fmla="*/ 650 w 694"/>
              <a:gd name="T119" fmla="*/ 244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94" h="533">
                <a:moveTo>
                  <a:pt x="657" y="267"/>
                </a:moveTo>
                <a:lnTo>
                  <a:pt x="654" y="265"/>
                </a:lnTo>
                <a:lnTo>
                  <a:pt x="652" y="265"/>
                </a:lnTo>
                <a:lnTo>
                  <a:pt x="652" y="263"/>
                </a:lnTo>
                <a:lnTo>
                  <a:pt x="650" y="263"/>
                </a:lnTo>
                <a:lnTo>
                  <a:pt x="647" y="263"/>
                </a:lnTo>
                <a:lnTo>
                  <a:pt x="647" y="260"/>
                </a:lnTo>
                <a:lnTo>
                  <a:pt x="645" y="260"/>
                </a:lnTo>
                <a:lnTo>
                  <a:pt x="645" y="258"/>
                </a:lnTo>
                <a:lnTo>
                  <a:pt x="643" y="258"/>
                </a:lnTo>
                <a:lnTo>
                  <a:pt x="643" y="260"/>
                </a:lnTo>
                <a:lnTo>
                  <a:pt x="643" y="263"/>
                </a:lnTo>
                <a:lnTo>
                  <a:pt x="640" y="263"/>
                </a:lnTo>
                <a:lnTo>
                  <a:pt x="640" y="260"/>
                </a:lnTo>
                <a:lnTo>
                  <a:pt x="638" y="260"/>
                </a:lnTo>
                <a:lnTo>
                  <a:pt x="636" y="260"/>
                </a:lnTo>
                <a:lnTo>
                  <a:pt x="633" y="260"/>
                </a:lnTo>
                <a:lnTo>
                  <a:pt x="631" y="260"/>
                </a:lnTo>
                <a:lnTo>
                  <a:pt x="629" y="263"/>
                </a:lnTo>
                <a:lnTo>
                  <a:pt x="629" y="260"/>
                </a:lnTo>
                <a:lnTo>
                  <a:pt x="626" y="260"/>
                </a:lnTo>
                <a:lnTo>
                  <a:pt x="624" y="260"/>
                </a:lnTo>
                <a:lnTo>
                  <a:pt x="622" y="260"/>
                </a:lnTo>
                <a:lnTo>
                  <a:pt x="622" y="263"/>
                </a:lnTo>
                <a:lnTo>
                  <a:pt x="622" y="260"/>
                </a:lnTo>
                <a:lnTo>
                  <a:pt x="619" y="260"/>
                </a:lnTo>
                <a:lnTo>
                  <a:pt x="617" y="260"/>
                </a:lnTo>
                <a:lnTo>
                  <a:pt x="615" y="260"/>
                </a:lnTo>
                <a:lnTo>
                  <a:pt x="615" y="258"/>
                </a:lnTo>
                <a:lnTo>
                  <a:pt x="615" y="260"/>
                </a:lnTo>
                <a:lnTo>
                  <a:pt x="622" y="270"/>
                </a:lnTo>
                <a:lnTo>
                  <a:pt x="622" y="272"/>
                </a:lnTo>
                <a:lnTo>
                  <a:pt x="619" y="272"/>
                </a:lnTo>
                <a:lnTo>
                  <a:pt x="617" y="272"/>
                </a:lnTo>
                <a:lnTo>
                  <a:pt x="615" y="270"/>
                </a:lnTo>
                <a:lnTo>
                  <a:pt x="612" y="270"/>
                </a:lnTo>
                <a:lnTo>
                  <a:pt x="610" y="270"/>
                </a:lnTo>
                <a:lnTo>
                  <a:pt x="608" y="272"/>
                </a:lnTo>
                <a:lnTo>
                  <a:pt x="605" y="272"/>
                </a:lnTo>
                <a:lnTo>
                  <a:pt x="603" y="272"/>
                </a:lnTo>
                <a:lnTo>
                  <a:pt x="603" y="274"/>
                </a:lnTo>
                <a:lnTo>
                  <a:pt x="601" y="277"/>
                </a:lnTo>
                <a:lnTo>
                  <a:pt x="598" y="279"/>
                </a:lnTo>
                <a:lnTo>
                  <a:pt x="598" y="281"/>
                </a:lnTo>
                <a:lnTo>
                  <a:pt x="598" y="284"/>
                </a:lnTo>
                <a:lnTo>
                  <a:pt x="596" y="284"/>
                </a:lnTo>
                <a:lnTo>
                  <a:pt x="598" y="286"/>
                </a:lnTo>
                <a:lnTo>
                  <a:pt x="598" y="284"/>
                </a:lnTo>
                <a:lnTo>
                  <a:pt x="601" y="284"/>
                </a:lnTo>
                <a:lnTo>
                  <a:pt x="603" y="284"/>
                </a:lnTo>
                <a:lnTo>
                  <a:pt x="603" y="286"/>
                </a:lnTo>
                <a:lnTo>
                  <a:pt x="605" y="286"/>
                </a:lnTo>
                <a:lnTo>
                  <a:pt x="605" y="288"/>
                </a:lnTo>
                <a:lnTo>
                  <a:pt x="605" y="291"/>
                </a:lnTo>
                <a:lnTo>
                  <a:pt x="605" y="293"/>
                </a:lnTo>
                <a:lnTo>
                  <a:pt x="603" y="295"/>
                </a:lnTo>
                <a:lnTo>
                  <a:pt x="603" y="298"/>
                </a:lnTo>
                <a:lnTo>
                  <a:pt x="603" y="302"/>
                </a:lnTo>
                <a:lnTo>
                  <a:pt x="601" y="302"/>
                </a:lnTo>
                <a:lnTo>
                  <a:pt x="603" y="302"/>
                </a:lnTo>
                <a:lnTo>
                  <a:pt x="605" y="305"/>
                </a:lnTo>
                <a:lnTo>
                  <a:pt x="608" y="305"/>
                </a:lnTo>
                <a:lnTo>
                  <a:pt x="608" y="309"/>
                </a:lnTo>
                <a:lnTo>
                  <a:pt x="608" y="311"/>
                </a:lnTo>
                <a:lnTo>
                  <a:pt x="605" y="311"/>
                </a:lnTo>
                <a:lnTo>
                  <a:pt x="605" y="314"/>
                </a:lnTo>
                <a:lnTo>
                  <a:pt x="603" y="314"/>
                </a:lnTo>
                <a:lnTo>
                  <a:pt x="596" y="311"/>
                </a:lnTo>
                <a:lnTo>
                  <a:pt x="594" y="311"/>
                </a:lnTo>
                <a:lnTo>
                  <a:pt x="591" y="311"/>
                </a:lnTo>
                <a:lnTo>
                  <a:pt x="589" y="311"/>
                </a:lnTo>
                <a:lnTo>
                  <a:pt x="587" y="311"/>
                </a:lnTo>
                <a:lnTo>
                  <a:pt x="587" y="314"/>
                </a:lnTo>
                <a:lnTo>
                  <a:pt x="589" y="314"/>
                </a:lnTo>
                <a:lnTo>
                  <a:pt x="589" y="316"/>
                </a:lnTo>
                <a:lnTo>
                  <a:pt x="591" y="316"/>
                </a:lnTo>
                <a:lnTo>
                  <a:pt x="594" y="316"/>
                </a:lnTo>
                <a:lnTo>
                  <a:pt x="596" y="316"/>
                </a:lnTo>
                <a:lnTo>
                  <a:pt x="596" y="318"/>
                </a:lnTo>
                <a:lnTo>
                  <a:pt x="598" y="318"/>
                </a:lnTo>
                <a:lnTo>
                  <a:pt x="598" y="321"/>
                </a:lnTo>
                <a:lnTo>
                  <a:pt x="598" y="323"/>
                </a:lnTo>
                <a:lnTo>
                  <a:pt x="598" y="325"/>
                </a:lnTo>
                <a:lnTo>
                  <a:pt x="596" y="325"/>
                </a:lnTo>
                <a:lnTo>
                  <a:pt x="598" y="328"/>
                </a:lnTo>
                <a:lnTo>
                  <a:pt x="601" y="330"/>
                </a:lnTo>
                <a:lnTo>
                  <a:pt x="603" y="332"/>
                </a:lnTo>
                <a:lnTo>
                  <a:pt x="603" y="335"/>
                </a:lnTo>
                <a:lnTo>
                  <a:pt x="603" y="337"/>
                </a:lnTo>
                <a:lnTo>
                  <a:pt x="603" y="339"/>
                </a:lnTo>
                <a:lnTo>
                  <a:pt x="601" y="339"/>
                </a:lnTo>
                <a:lnTo>
                  <a:pt x="601" y="342"/>
                </a:lnTo>
                <a:lnTo>
                  <a:pt x="603" y="342"/>
                </a:lnTo>
                <a:lnTo>
                  <a:pt x="603" y="344"/>
                </a:lnTo>
                <a:lnTo>
                  <a:pt x="601" y="346"/>
                </a:lnTo>
                <a:lnTo>
                  <a:pt x="601" y="351"/>
                </a:lnTo>
                <a:lnTo>
                  <a:pt x="598" y="351"/>
                </a:lnTo>
                <a:lnTo>
                  <a:pt x="598" y="353"/>
                </a:lnTo>
                <a:lnTo>
                  <a:pt x="598" y="356"/>
                </a:lnTo>
                <a:lnTo>
                  <a:pt x="596" y="356"/>
                </a:lnTo>
                <a:lnTo>
                  <a:pt x="594" y="353"/>
                </a:lnTo>
                <a:lnTo>
                  <a:pt x="594" y="356"/>
                </a:lnTo>
                <a:lnTo>
                  <a:pt x="594" y="358"/>
                </a:lnTo>
                <a:lnTo>
                  <a:pt x="591" y="360"/>
                </a:lnTo>
                <a:lnTo>
                  <a:pt x="589" y="360"/>
                </a:lnTo>
                <a:lnTo>
                  <a:pt x="589" y="363"/>
                </a:lnTo>
                <a:lnTo>
                  <a:pt x="587" y="363"/>
                </a:lnTo>
                <a:lnTo>
                  <a:pt x="587" y="365"/>
                </a:lnTo>
                <a:lnTo>
                  <a:pt x="584" y="365"/>
                </a:lnTo>
                <a:lnTo>
                  <a:pt x="582" y="372"/>
                </a:lnTo>
                <a:lnTo>
                  <a:pt x="584" y="372"/>
                </a:lnTo>
                <a:lnTo>
                  <a:pt x="582" y="372"/>
                </a:lnTo>
                <a:lnTo>
                  <a:pt x="582" y="377"/>
                </a:lnTo>
                <a:lnTo>
                  <a:pt x="580" y="377"/>
                </a:lnTo>
                <a:lnTo>
                  <a:pt x="580" y="379"/>
                </a:lnTo>
                <a:lnTo>
                  <a:pt x="577" y="379"/>
                </a:lnTo>
                <a:lnTo>
                  <a:pt x="575" y="379"/>
                </a:lnTo>
                <a:lnTo>
                  <a:pt x="575" y="381"/>
                </a:lnTo>
                <a:lnTo>
                  <a:pt x="573" y="384"/>
                </a:lnTo>
                <a:lnTo>
                  <a:pt x="573" y="388"/>
                </a:lnTo>
                <a:lnTo>
                  <a:pt x="570" y="391"/>
                </a:lnTo>
                <a:lnTo>
                  <a:pt x="570" y="393"/>
                </a:lnTo>
                <a:lnTo>
                  <a:pt x="568" y="395"/>
                </a:lnTo>
                <a:lnTo>
                  <a:pt x="566" y="395"/>
                </a:lnTo>
                <a:lnTo>
                  <a:pt x="547" y="393"/>
                </a:lnTo>
                <a:lnTo>
                  <a:pt x="547" y="395"/>
                </a:lnTo>
                <a:lnTo>
                  <a:pt x="545" y="395"/>
                </a:lnTo>
                <a:lnTo>
                  <a:pt x="545" y="398"/>
                </a:lnTo>
                <a:lnTo>
                  <a:pt x="542" y="398"/>
                </a:lnTo>
                <a:lnTo>
                  <a:pt x="542" y="400"/>
                </a:lnTo>
                <a:lnTo>
                  <a:pt x="540" y="400"/>
                </a:lnTo>
                <a:lnTo>
                  <a:pt x="540" y="402"/>
                </a:lnTo>
                <a:lnTo>
                  <a:pt x="538" y="402"/>
                </a:lnTo>
                <a:lnTo>
                  <a:pt x="540" y="405"/>
                </a:lnTo>
                <a:lnTo>
                  <a:pt x="542" y="407"/>
                </a:lnTo>
                <a:lnTo>
                  <a:pt x="540" y="409"/>
                </a:lnTo>
                <a:lnTo>
                  <a:pt x="540" y="412"/>
                </a:lnTo>
                <a:lnTo>
                  <a:pt x="540" y="414"/>
                </a:lnTo>
                <a:lnTo>
                  <a:pt x="538" y="416"/>
                </a:lnTo>
                <a:lnTo>
                  <a:pt x="538" y="419"/>
                </a:lnTo>
                <a:lnTo>
                  <a:pt x="535" y="419"/>
                </a:lnTo>
                <a:lnTo>
                  <a:pt x="538" y="419"/>
                </a:lnTo>
                <a:lnTo>
                  <a:pt x="540" y="419"/>
                </a:lnTo>
                <a:lnTo>
                  <a:pt x="540" y="421"/>
                </a:lnTo>
                <a:lnTo>
                  <a:pt x="538" y="421"/>
                </a:lnTo>
                <a:lnTo>
                  <a:pt x="538" y="423"/>
                </a:lnTo>
                <a:lnTo>
                  <a:pt x="535" y="426"/>
                </a:lnTo>
                <a:lnTo>
                  <a:pt x="533" y="426"/>
                </a:lnTo>
                <a:lnTo>
                  <a:pt x="533" y="428"/>
                </a:lnTo>
                <a:lnTo>
                  <a:pt x="535" y="428"/>
                </a:lnTo>
                <a:lnTo>
                  <a:pt x="533" y="428"/>
                </a:lnTo>
                <a:lnTo>
                  <a:pt x="533" y="430"/>
                </a:lnTo>
                <a:lnTo>
                  <a:pt x="531" y="430"/>
                </a:lnTo>
                <a:lnTo>
                  <a:pt x="531" y="433"/>
                </a:lnTo>
                <a:lnTo>
                  <a:pt x="529" y="433"/>
                </a:lnTo>
                <a:lnTo>
                  <a:pt x="529" y="435"/>
                </a:lnTo>
                <a:lnTo>
                  <a:pt x="526" y="437"/>
                </a:lnTo>
                <a:lnTo>
                  <a:pt x="524" y="437"/>
                </a:lnTo>
                <a:lnTo>
                  <a:pt x="524" y="435"/>
                </a:lnTo>
                <a:lnTo>
                  <a:pt x="522" y="435"/>
                </a:lnTo>
                <a:lnTo>
                  <a:pt x="519" y="435"/>
                </a:lnTo>
                <a:lnTo>
                  <a:pt x="519" y="437"/>
                </a:lnTo>
                <a:lnTo>
                  <a:pt x="517" y="437"/>
                </a:lnTo>
                <a:lnTo>
                  <a:pt x="517" y="440"/>
                </a:lnTo>
                <a:lnTo>
                  <a:pt x="519" y="440"/>
                </a:lnTo>
                <a:lnTo>
                  <a:pt x="519" y="442"/>
                </a:lnTo>
                <a:lnTo>
                  <a:pt x="517" y="444"/>
                </a:lnTo>
                <a:lnTo>
                  <a:pt x="517" y="447"/>
                </a:lnTo>
                <a:lnTo>
                  <a:pt x="515" y="447"/>
                </a:lnTo>
                <a:lnTo>
                  <a:pt x="515" y="449"/>
                </a:lnTo>
                <a:lnTo>
                  <a:pt x="512" y="449"/>
                </a:lnTo>
                <a:lnTo>
                  <a:pt x="512" y="451"/>
                </a:lnTo>
                <a:lnTo>
                  <a:pt x="512" y="453"/>
                </a:lnTo>
                <a:lnTo>
                  <a:pt x="510" y="456"/>
                </a:lnTo>
                <a:lnTo>
                  <a:pt x="510" y="458"/>
                </a:lnTo>
                <a:lnTo>
                  <a:pt x="510" y="460"/>
                </a:lnTo>
                <a:lnTo>
                  <a:pt x="505" y="463"/>
                </a:lnTo>
                <a:lnTo>
                  <a:pt x="505" y="465"/>
                </a:lnTo>
                <a:lnTo>
                  <a:pt x="505" y="467"/>
                </a:lnTo>
                <a:lnTo>
                  <a:pt x="503" y="467"/>
                </a:lnTo>
                <a:lnTo>
                  <a:pt x="503" y="470"/>
                </a:lnTo>
                <a:lnTo>
                  <a:pt x="501" y="472"/>
                </a:lnTo>
                <a:lnTo>
                  <a:pt x="498" y="474"/>
                </a:lnTo>
                <a:lnTo>
                  <a:pt x="498" y="477"/>
                </a:lnTo>
                <a:lnTo>
                  <a:pt x="501" y="479"/>
                </a:lnTo>
                <a:lnTo>
                  <a:pt x="503" y="479"/>
                </a:lnTo>
                <a:lnTo>
                  <a:pt x="505" y="479"/>
                </a:lnTo>
                <a:lnTo>
                  <a:pt x="505" y="481"/>
                </a:lnTo>
                <a:lnTo>
                  <a:pt x="503" y="484"/>
                </a:lnTo>
                <a:lnTo>
                  <a:pt x="501" y="484"/>
                </a:lnTo>
                <a:lnTo>
                  <a:pt x="498" y="484"/>
                </a:lnTo>
                <a:lnTo>
                  <a:pt x="496" y="486"/>
                </a:lnTo>
                <a:lnTo>
                  <a:pt x="491" y="486"/>
                </a:lnTo>
                <a:lnTo>
                  <a:pt x="487" y="488"/>
                </a:lnTo>
                <a:lnTo>
                  <a:pt x="480" y="491"/>
                </a:lnTo>
                <a:lnTo>
                  <a:pt x="475" y="493"/>
                </a:lnTo>
                <a:lnTo>
                  <a:pt x="466" y="495"/>
                </a:lnTo>
                <a:lnTo>
                  <a:pt x="463" y="495"/>
                </a:lnTo>
                <a:lnTo>
                  <a:pt x="461" y="498"/>
                </a:lnTo>
                <a:lnTo>
                  <a:pt x="459" y="498"/>
                </a:lnTo>
                <a:lnTo>
                  <a:pt x="456" y="498"/>
                </a:lnTo>
                <a:lnTo>
                  <a:pt x="456" y="500"/>
                </a:lnTo>
                <a:lnTo>
                  <a:pt x="454" y="500"/>
                </a:lnTo>
                <a:lnTo>
                  <a:pt x="452" y="500"/>
                </a:lnTo>
                <a:lnTo>
                  <a:pt x="449" y="500"/>
                </a:lnTo>
                <a:lnTo>
                  <a:pt x="449" y="498"/>
                </a:lnTo>
                <a:lnTo>
                  <a:pt x="452" y="498"/>
                </a:lnTo>
                <a:lnTo>
                  <a:pt x="452" y="495"/>
                </a:lnTo>
                <a:lnTo>
                  <a:pt x="449" y="495"/>
                </a:lnTo>
                <a:lnTo>
                  <a:pt x="447" y="495"/>
                </a:lnTo>
                <a:lnTo>
                  <a:pt x="445" y="495"/>
                </a:lnTo>
                <a:lnTo>
                  <a:pt x="442" y="495"/>
                </a:lnTo>
                <a:lnTo>
                  <a:pt x="440" y="495"/>
                </a:lnTo>
                <a:lnTo>
                  <a:pt x="440" y="493"/>
                </a:lnTo>
                <a:lnTo>
                  <a:pt x="438" y="493"/>
                </a:lnTo>
                <a:lnTo>
                  <a:pt x="433" y="495"/>
                </a:lnTo>
                <a:lnTo>
                  <a:pt x="431" y="495"/>
                </a:lnTo>
                <a:lnTo>
                  <a:pt x="428" y="495"/>
                </a:lnTo>
                <a:lnTo>
                  <a:pt x="426" y="495"/>
                </a:lnTo>
                <a:lnTo>
                  <a:pt x="424" y="495"/>
                </a:lnTo>
                <a:lnTo>
                  <a:pt x="421" y="495"/>
                </a:lnTo>
                <a:lnTo>
                  <a:pt x="419" y="495"/>
                </a:lnTo>
                <a:lnTo>
                  <a:pt x="417" y="495"/>
                </a:lnTo>
                <a:lnTo>
                  <a:pt x="414" y="495"/>
                </a:lnTo>
                <a:lnTo>
                  <a:pt x="414" y="493"/>
                </a:lnTo>
                <a:lnTo>
                  <a:pt x="412" y="493"/>
                </a:lnTo>
                <a:lnTo>
                  <a:pt x="412" y="495"/>
                </a:lnTo>
                <a:lnTo>
                  <a:pt x="407" y="495"/>
                </a:lnTo>
                <a:lnTo>
                  <a:pt x="405" y="495"/>
                </a:lnTo>
                <a:lnTo>
                  <a:pt x="405" y="498"/>
                </a:lnTo>
                <a:lnTo>
                  <a:pt x="403" y="498"/>
                </a:lnTo>
                <a:lnTo>
                  <a:pt x="396" y="500"/>
                </a:lnTo>
                <a:lnTo>
                  <a:pt x="394" y="500"/>
                </a:lnTo>
                <a:lnTo>
                  <a:pt x="391" y="500"/>
                </a:lnTo>
                <a:lnTo>
                  <a:pt x="387" y="502"/>
                </a:lnTo>
                <a:lnTo>
                  <a:pt x="384" y="505"/>
                </a:lnTo>
                <a:lnTo>
                  <a:pt x="384" y="502"/>
                </a:lnTo>
                <a:lnTo>
                  <a:pt x="382" y="502"/>
                </a:lnTo>
                <a:lnTo>
                  <a:pt x="380" y="502"/>
                </a:lnTo>
                <a:lnTo>
                  <a:pt x="375" y="502"/>
                </a:lnTo>
                <a:lnTo>
                  <a:pt x="373" y="502"/>
                </a:lnTo>
                <a:lnTo>
                  <a:pt x="368" y="505"/>
                </a:lnTo>
                <a:lnTo>
                  <a:pt x="366" y="505"/>
                </a:lnTo>
                <a:lnTo>
                  <a:pt x="363" y="505"/>
                </a:lnTo>
                <a:lnTo>
                  <a:pt x="361" y="507"/>
                </a:lnTo>
                <a:lnTo>
                  <a:pt x="359" y="507"/>
                </a:lnTo>
                <a:lnTo>
                  <a:pt x="356" y="507"/>
                </a:lnTo>
                <a:lnTo>
                  <a:pt x="354" y="507"/>
                </a:lnTo>
                <a:lnTo>
                  <a:pt x="352" y="507"/>
                </a:lnTo>
                <a:lnTo>
                  <a:pt x="349" y="509"/>
                </a:lnTo>
                <a:lnTo>
                  <a:pt x="345" y="512"/>
                </a:lnTo>
                <a:lnTo>
                  <a:pt x="342" y="512"/>
                </a:lnTo>
                <a:lnTo>
                  <a:pt x="340" y="512"/>
                </a:lnTo>
                <a:lnTo>
                  <a:pt x="338" y="512"/>
                </a:lnTo>
                <a:lnTo>
                  <a:pt x="335" y="512"/>
                </a:lnTo>
                <a:lnTo>
                  <a:pt x="333" y="512"/>
                </a:lnTo>
                <a:lnTo>
                  <a:pt x="333" y="514"/>
                </a:lnTo>
                <a:lnTo>
                  <a:pt x="328" y="514"/>
                </a:lnTo>
                <a:lnTo>
                  <a:pt x="326" y="516"/>
                </a:lnTo>
                <a:lnTo>
                  <a:pt x="324" y="516"/>
                </a:lnTo>
                <a:lnTo>
                  <a:pt x="324" y="519"/>
                </a:lnTo>
                <a:lnTo>
                  <a:pt x="319" y="519"/>
                </a:lnTo>
                <a:lnTo>
                  <a:pt x="317" y="521"/>
                </a:lnTo>
                <a:lnTo>
                  <a:pt x="314" y="521"/>
                </a:lnTo>
                <a:lnTo>
                  <a:pt x="314" y="519"/>
                </a:lnTo>
                <a:lnTo>
                  <a:pt x="312" y="516"/>
                </a:lnTo>
                <a:lnTo>
                  <a:pt x="312" y="519"/>
                </a:lnTo>
                <a:lnTo>
                  <a:pt x="310" y="519"/>
                </a:lnTo>
                <a:lnTo>
                  <a:pt x="310" y="521"/>
                </a:lnTo>
                <a:lnTo>
                  <a:pt x="307" y="521"/>
                </a:lnTo>
                <a:lnTo>
                  <a:pt x="305" y="519"/>
                </a:lnTo>
                <a:lnTo>
                  <a:pt x="303" y="519"/>
                </a:lnTo>
                <a:lnTo>
                  <a:pt x="300" y="519"/>
                </a:lnTo>
                <a:lnTo>
                  <a:pt x="298" y="519"/>
                </a:lnTo>
                <a:lnTo>
                  <a:pt x="300" y="516"/>
                </a:lnTo>
                <a:lnTo>
                  <a:pt x="300" y="514"/>
                </a:lnTo>
                <a:lnTo>
                  <a:pt x="298" y="514"/>
                </a:lnTo>
                <a:lnTo>
                  <a:pt x="296" y="514"/>
                </a:lnTo>
                <a:lnTo>
                  <a:pt x="296" y="516"/>
                </a:lnTo>
                <a:lnTo>
                  <a:pt x="298" y="516"/>
                </a:lnTo>
                <a:lnTo>
                  <a:pt x="298" y="519"/>
                </a:lnTo>
                <a:lnTo>
                  <a:pt x="296" y="519"/>
                </a:lnTo>
                <a:lnTo>
                  <a:pt x="291" y="521"/>
                </a:lnTo>
                <a:lnTo>
                  <a:pt x="291" y="523"/>
                </a:lnTo>
                <a:lnTo>
                  <a:pt x="293" y="523"/>
                </a:lnTo>
                <a:lnTo>
                  <a:pt x="296" y="523"/>
                </a:lnTo>
                <a:lnTo>
                  <a:pt x="296" y="526"/>
                </a:lnTo>
                <a:lnTo>
                  <a:pt x="296" y="528"/>
                </a:lnTo>
                <a:lnTo>
                  <a:pt x="293" y="528"/>
                </a:lnTo>
                <a:lnTo>
                  <a:pt x="293" y="530"/>
                </a:lnTo>
                <a:lnTo>
                  <a:pt x="291" y="530"/>
                </a:lnTo>
                <a:lnTo>
                  <a:pt x="289" y="530"/>
                </a:lnTo>
                <a:lnTo>
                  <a:pt x="286" y="530"/>
                </a:lnTo>
                <a:lnTo>
                  <a:pt x="284" y="530"/>
                </a:lnTo>
                <a:lnTo>
                  <a:pt x="284" y="528"/>
                </a:lnTo>
                <a:lnTo>
                  <a:pt x="284" y="530"/>
                </a:lnTo>
                <a:lnTo>
                  <a:pt x="282" y="530"/>
                </a:lnTo>
                <a:lnTo>
                  <a:pt x="282" y="528"/>
                </a:lnTo>
                <a:lnTo>
                  <a:pt x="282" y="530"/>
                </a:lnTo>
                <a:lnTo>
                  <a:pt x="279" y="530"/>
                </a:lnTo>
                <a:lnTo>
                  <a:pt x="277" y="530"/>
                </a:lnTo>
                <a:lnTo>
                  <a:pt x="272" y="533"/>
                </a:lnTo>
                <a:lnTo>
                  <a:pt x="270" y="533"/>
                </a:lnTo>
                <a:lnTo>
                  <a:pt x="270" y="530"/>
                </a:lnTo>
                <a:lnTo>
                  <a:pt x="270" y="528"/>
                </a:lnTo>
                <a:lnTo>
                  <a:pt x="268" y="528"/>
                </a:lnTo>
                <a:lnTo>
                  <a:pt x="268" y="530"/>
                </a:lnTo>
                <a:lnTo>
                  <a:pt x="266" y="530"/>
                </a:lnTo>
                <a:lnTo>
                  <a:pt x="263" y="530"/>
                </a:lnTo>
                <a:lnTo>
                  <a:pt x="261" y="530"/>
                </a:lnTo>
                <a:lnTo>
                  <a:pt x="259" y="528"/>
                </a:lnTo>
                <a:lnTo>
                  <a:pt x="259" y="526"/>
                </a:lnTo>
                <a:lnTo>
                  <a:pt x="259" y="523"/>
                </a:lnTo>
                <a:lnTo>
                  <a:pt x="259" y="521"/>
                </a:lnTo>
                <a:lnTo>
                  <a:pt x="256" y="519"/>
                </a:lnTo>
                <a:lnTo>
                  <a:pt x="254" y="519"/>
                </a:lnTo>
                <a:lnTo>
                  <a:pt x="254" y="516"/>
                </a:lnTo>
                <a:lnTo>
                  <a:pt x="252" y="516"/>
                </a:lnTo>
                <a:lnTo>
                  <a:pt x="254" y="516"/>
                </a:lnTo>
                <a:lnTo>
                  <a:pt x="254" y="514"/>
                </a:lnTo>
                <a:lnTo>
                  <a:pt x="256" y="514"/>
                </a:lnTo>
                <a:lnTo>
                  <a:pt x="259" y="514"/>
                </a:lnTo>
                <a:lnTo>
                  <a:pt x="256" y="512"/>
                </a:lnTo>
                <a:lnTo>
                  <a:pt x="256" y="509"/>
                </a:lnTo>
                <a:lnTo>
                  <a:pt x="259" y="509"/>
                </a:lnTo>
                <a:lnTo>
                  <a:pt x="259" y="507"/>
                </a:lnTo>
                <a:lnTo>
                  <a:pt x="256" y="507"/>
                </a:lnTo>
                <a:lnTo>
                  <a:pt x="254" y="507"/>
                </a:lnTo>
                <a:lnTo>
                  <a:pt x="252" y="505"/>
                </a:lnTo>
                <a:lnTo>
                  <a:pt x="249" y="505"/>
                </a:lnTo>
                <a:lnTo>
                  <a:pt x="249" y="502"/>
                </a:lnTo>
                <a:lnTo>
                  <a:pt x="249" y="500"/>
                </a:lnTo>
                <a:lnTo>
                  <a:pt x="247" y="500"/>
                </a:lnTo>
                <a:lnTo>
                  <a:pt x="245" y="498"/>
                </a:lnTo>
                <a:lnTo>
                  <a:pt x="245" y="495"/>
                </a:lnTo>
                <a:lnTo>
                  <a:pt x="242" y="493"/>
                </a:lnTo>
                <a:lnTo>
                  <a:pt x="242" y="491"/>
                </a:lnTo>
                <a:lnTo>
                  <a:pt x="245" y="486"/>
                </a:lnTo>
                <a:lnTo>
                  <a:pt x="245" y="484"/>
                </a:lnTo>
                <a:lnTo>
                  <a:pt x="247" y="484"/>
                </a:lnTo>
                <a:lnTo>
                  <a:pt x="249" y="481"/>
                </a:lnTo>
                <a:lnTo>
                  <a:pt x="247" y="479"/>
                </a:lnTo>
                <a:lnTo>
                  <a:pt x="245" y="479"/>
                </a:lnTo>
                <a:lnTo>
                  <a:pt x="242" y="477"/>
                </a:lnTo>
                <a:lnTo>
                  <a:pt x="245" y="477"/>
                </a:lnTo>
                <a:lnTo>
                  <a:pt x="245" y="474"/>
                </a:lnTo>
                <a:lnTo>
                  <a:pt x="247" y="474"/>
                </a:lnTo>
                <a:lnTo>
                  <a:pt x="249" y="472"/>
                </a:lnTo>
                <a:lnTo>
                  <a:pt x="247" y="470"/>
                </a:lnTo>
                <a:lnTo>
                  <a:pt x="247" y="467"/>
                </a:lnTo>
                <a:lnTo>
                  <a:pt x="247" y="465"/>
                </a:lnTo>
                <a:lnTo>
                  <a:pt x="247" y="463"/>
                </a:lnTo>
                <a:lnTo>
                  <a:pt x="247" y="460"/>
                </a:lnTo>
                <a:lnTo>
                  <a:pt x="249" y="460"/>
                </a:lnTo>
                <a:lnTo>
                  <a:pt x="249" y="458"/>
                </a:lnTo>
                <a:lnTo>
                  <a:pt x="252" y="453"/>
                </a:lnTo>
                <a:lnTo>
                  <a:pt x="254" y="453"/>
                </a:lnTo>
                <a:lnTo>
                  <a:pt x="254" y="451"/>
                </a:lnTo>
                <a:lnTo>
                  <a:pt x="256" y="451"/>
                </a:lnTo>
                <a:lnTo>
                  <a:pt x="256" y="449"/>
                </a:lnTo>
                <a:lnTo>
                  <a:pt x="256" y="447"/>
                </a:lnTo>
                <a:lnTo>
                  <a:pt x="256" y="444"/>
                </a:lnTo>
                <a:lnTo>
                  <a:pt x="259" y="444"/>
                </a:lnTo>
                <a:lnTo>
                  <a:pt x="259" y="442"/>
                </a:lnTo>
                <a:lnTo>
                  <a:pt x="259" y="440"/>
                </a:lnTo>
                <a:lnTo>
                  <a:pt x="256" y="440"/>
                </a:lnTo>
                <a:lnTo>
                  <a:pt x="256" y="437"/>
                </a:lnTo>
                <a:lnTo>
                  <a:pt x="254" y="437"/>
                </a:lnTo>
                <a:lnTo>
                  <a:pt x="252" y="437"/>
                </a:lnTo>
                <a:lnTo>
                  <a:pt x="252" y="435"/>
                </a:lnTo>
                <a:lnTo>
                  <a:pt x="249" y="433"/>
                </a:lnTo>
                <a:lnTo>
                  <a:pt x="249" y="435"/>
                </a:lnTo>
                <a:lnTo>
                  <a:pt x="247" y="435"/>
                </a:lnTo>
                <a:lnTo>
                  <a:pt x="245" y="433"/>
                </a:lnTo>
                <a:lnTo>
                  <a:pt x="242" y="433"/>
                </a:lnTo>
                <a:lnTo>
                  <a:pt x="240" y="433"/>
                </a:lnTo>
                <a:lnTo>
                  <a:pt x="238" y="435"/>
                </a:lnTo>
                <a:lnTo>
                  <a:pt x="238" y="433"/>
                </a:lnTo>
                <a:lnTo>
                  <a:pt x="238" y="435"/>
                </a:lnTo>
                <a:lnTo>
                  <a:pt x="235" y="435"/>
                </a:lnTo>
                <a:lnTo>
                  <a:pt x="231" y="435"/>
                </a:lnTo>
                <a:lnTo>
                  <a:pt x="231" y="433"/>
                </a:lnTo>
                <a:lnTo>
                  <a:pt x="231" y="430"/>
                </a:lnTo>
                <a:lnTo>
                  <a:pt x="228" y="428"/>
                </a:lnTo>
                <a:lnTo>
                  <a:pt x="228" y="426"/>
                </a:lnTo>
                <a:lnTo>
                  <a:pt x="228" y="423"/>
                </a:lnTo>
                <a:lnTo>
                  <a:pt x="228" y="421"/>
                </a:lnTo>
                <a:lnTo>
                  <a:pt x="226" y="421"/>
                </a:lnTo>
                <a:lnTo>
                  <a:pt x="226" y="419"/>
                </a:lnTo>
                <a:lnTo>
                  <a:pt x="224" y="416"/>
                </a:lnTo>
                <a:lnTo>
                  <a:pt x="224" y="414"/>
                </a:lnTo>
                <a:lnTo>
                  <a:pt x="224" y="409"/>
                </a:lnTo>
                <a:lnTo>
                  <a:pt x="224" y="407"/>
                </a:lnTo>
                <a:lnTo>
                  <a:pt x="224" y="405"/>
                </a:lnTo>
                <a:lnTo>
                  <a:pt x="221" y="405"/>
                </a:lnTo>
                <a:lnTo>
                  <a:pt x="221" y="402"/>
                </a:lnTo>
                <a:lnTo>
                  <a:pt x="219" y="402"/>
                </a:lnTo>
                <a:lnTo>
                  <a:pt x="219" y="400"/>
                </a:lnTo>
                <a:lnTo>
                  <a:pt x="221" y="395"/>
                </a:lnTo>
                <a:lnTo>
                  <a:pt x="221" y="393"/>
                </a:lnTo>
                <a:lnTo>
                  <a:pt x="224" y="393"/>
                </a:lnTo>
                <a:lnTo>
                  <a:pt x="224" y="391"/>
                </a:lnTo>
                <a:lnTo>
                  <a:pt x="224" y="388"/>
                </a:lnTo>
                <a:lnTo>
                  <a:pt x="226" y="388"/>
                </a:lnTo>
                <a:lnTo>
                  <a:pt x="228" y="386"/>
                </a:lnTo>
                <a:lnTo>
                  <a:pt x="226" y="379"/>
                </a:lnTo>
                <a:lnTo>
                  <a:pt x="219" y="374"/>
                </a:lnTo>
                <a:lnTo>
                  <a:pt x="219" y="372"/>
                </a:lnTo>
                <a:lnTo>
                  <a:pt x="219" y="370"/>
                </a:lnTo>
                <a:lnTo>
                  <a:pt x="219" y="367"/>
                </a:lnTo>
                <a:lnTo>
                  <a:pt x="219" y="365"/>
                </a:lnTo>
                <a:lnTo>
                  <a:pt x="219" y="363"/>
                </a:lnTo>
                <a:lnTo>
                  <a:pt x="221" y="363"/>
                </a:lnTo>
                <a:lnTo>
                  <a:pt x="221" y="360"/>
                </a:lnTo>
                <a:lnTo>
                  <a:pt x="221" y="358"/>
                </a:lnTo>
                <a:lnTo>
                  <a:pt x="224" y="358"/>
                </a:lnTo>
                <a:lnTo>
                  <a:pt x="221" y="356"/>
                </a:lnTo>
                <a:lnTo>
                  <a:pt x="219" y="353"/>
                </a:lnTo>
                <a:lnTo>
                  <a:pt x="219" y="351"/>
                </a:lnTo>
                <a:lnTo>
                  <a:pt x="214" y="349"/>
                </a:lnTo>
                <a:lnTo>
                  <a:pt x="212" y="349"/>
                </a:lnTo>
                <a:lnTo>
                  <a:pt x="212" y="346"/>
                </a:lnTo>
                <a:lnTo>
                  <a:pt x="212" y="344"/>
                </a:lnTo>
                <a:lnTo>
                  <a:pt x="212" y="342"/>
                </a:lnTo>
                <a:lnTo>
                  <a:pt x="210" y="342"/>
                </a:lnTo>
                <a:lnTo>
                  <a:pt x="207" y="342"/>
                </a:lnTo>
                <a:lnTo>
                  <a:pt x="205" y="342"/>
                </a:lnTo>
                <a:lnTo>
                  <a:pt x="203" y="342"/>
                </a:lnTo>
                <a:lnTo>
                  <a:pt x="203" y="344"/>
                </a:lnTo>
                <a:lnTo>
                  <a:pt x="200" y="344"/>
                </a:lnTo>
                <a:lnTo>
                  <a:pt x="198" y="344"/>
                </a:lnTo>
                <a:lnTo>
                  <a:pt x="198" y="342"/>
                </a:lnTo>
                <a:lnTo>
                  <a:pt x="196" y="342"/>
                </a:lnTo>
                <a:lnTo>
                  <a:pt x="189" y="339"/>
                </a:lnTo>
                <a:lnTo>
                  <a:pt x="186" y="339"/>
                </a:lnTo>
                <a:lnTo>
                  <a:pt x="186" y="342"/>
                </a:lnTo>
                <a:lnTo>
                  <a:pt x="186" y="344"/>
                </a:lnTo>
                <a:lnTo>
                  <a:pt x="186" y="346"/>
                </a:lnTo>
                <a:lnTo>
                  <a:pt x="184" y="349"/>
                </a:lnTo>
                <a:lnTo>
                  <a:pt x="182" y="349"/>
                </a:lnTo>
                <a:lnTo>
                  <a:pt x="182" y="346"/>
                </a:lnTo>
                <a:lnTo>
                  <a:pt x="182" y="344"/>
                </a:lnTo>
                <a:lnTo>
                  <a:pt x="179" y="344"/>
                </a:lnTo>
                <a:lnTo>
                  <a:pt x="179" y="342"/>
                </a:lnTo>
                <a:lnTo>
                  <a:pt x="179" y="346"/>
                </a:lnTo>
                <a:lnTo>
                  <a:pt x="177" y="346"/>
                </a:lnTo>
                <a:lnTo>
                  <a:pt x="177" y="349"/>
                </a:lnTo>
                <a:lnTo>
                  <a:pt x="175" y="349"/>
                </a:lnTo>
                <a:lnTo>
                  <a:pt x="172" y="349"/>
                </a:lnTo>
                <a:lnTo>
                  <a:pt x="170" y="349"/>
                </a:lnTo>
                <a:lnTo>
                  <a:pt x="168" y="346"/>
                </a:lnTo>
                <a:lnTo>
                  <a:pt x="168" y="344"/>
                </a:lnTo>
                <a:lnTo>
                  <a:pt x="165" y="342"/>
                </a:lnTo>
                <a:lnTo>
                  <a:pt x="165" y="339"/>
                </a:lnTo>
                <a:lnTo>
                  <a:pt x="163" y="342"/>
                </a:lnTo>
                <a:lnTo>
                  <a:pt x="165" y="346"/>
                </a:lnTo>
                <a:lnTo>
                  <a:pt x="163" y="349"/>
                </a:lnTo>
                <a:lnTo>
                  <a:pt x="161" y="346"/>
                </a:lnTo>
                <a:lnTo>
                  <a:pt x="158" y="346"/>
                </a:lnTo>
                <a:lnTo>
                  <a:pt x="154" y="346"/>
                </a:lnTo>
                <a:lnTo>
                  <a:pt x="151" y="346"/>
                </a:lnTo>
                <a:lnTo>
                  <a:pt x="149" y="346"/>
                </a:lnTo>
                <a:lnTo>
                  <a:pt x="144" y="346"/>
                </a:lnTo>
                <a:lnTo>
                  <a:pt x="142" y="346"/>
                </a:lnTo>
                <a:lnTo>
                  <a:pt x="140" y="346"/>
                </a:lnTo>
                <a:lnTo>
                  <a:pt x="138" y="346"/>
                </a:lnTo>
                <a:lnTo>
                  <a:pt x="135" y="346"/>
                </a:lnTo>
                <a:lnTo>
                  <a:pt x="133" y="346"/>
                </a:lnTo>
                <a:lnTo>
                  <a:pt x="128" y="346"/>
                </a:lnTo>
                <a:lnTo>
                  <a:pt x="126" y="349"/>
                </a:lnTo>
                <a:lnTo>
                  <a:pt x="126" y="351"/>
                </a:lnTo>
                <a:lnTo>
                  <a:pt x="124" y="353"/>
                </a:lnTo>
                <a:lnTo>
                  <a:pt x="126" y="356"/>
                </a:lnTo>
                <a:lnTo>
                  <a:pt x="124" y="358"/>
                </a:lnTo>
                <a:lnTo>
                  <a:pt x="124" y="360"/>
                </a:lnTo>
                <a:lnTo>
                  <a:pt x="126" y="360"/>
                </a:lnTo>
                <a:lnTo>
                  <a:pt x="126" y="363"/>
                </a:lnTo>
                <a:lnTo>
                  <a:pt x="124" y="363"/>
                </a:lnTo>
                <a:lnTo>
                  <a:pt x="121" y="363"/>
                </a:lnTo>
                <a:lnTo>
                  <a:pt x="119" y="363"/>
                </a:lnTo>
                <a:lnTo>
                  <a:pt x="119" y="360"/>
                </a:lnTo>
                <a:lnTo>
                  <a:pt x="119" y="356"/>
                </a:lnTo>
                <a:lnTo>
                  <a:pt x="119" y="351"/>
                </a:lnTo>
                <a:lnTo>
                  <a:pt x="119" y="349"/>
                </a:lnTo>
                <a:lnTo>
                  <a:pt x="119" y="346"/>
                </a:lnTo>
                <a:lnTo>
                  <a:pt x="117" y="344"/>
                </a:lnTo>
                <a:lnTo>
                  <a:pt x="114" y="346"/>
                </a:lnTo>
                <a:lnTo>
                  <a:pt x="112" y="351"/>
                </a:lnTo>
                <a:lnTo>
                  <a:pt x="110" y="351"/>
                </a:lnTo>
                <a:lnTo>
                  <a:pt x="110" y="353"/>
                </a:lnTo>
                <a:lnTo>
                  <a:pt x="107" y="353"/>
                </a:lnTo>
                <a:lnTo>
                  <a:pt x="105" y="353"/>
                </a:lnTo>
                <a:lnTo>
                  <a:pt x="103" y="351"/>
                </a:lnTo>
                <a:lnTo>
                  <a:pt x="103" y="349"/>
                </a:lnTo>
                <a:lnTo>
                  <a:pt x="100" y="344"/>
                </a:lnTo>
                <a:lnTo>
                  <a:pt x="100" y="342"/>
                </a:lnTo>
                <a:lnTo>
                  <a:pt x="100" y="339"/>
                </a:lnTo>
                <a:lnTo>
                  <a:pt x="100" y="337"/>
                </a:lnTo>
                <a:lnTo>
                  <a:pt x="103" y="337"/>
                </a:lnTo>
                <a:lnTo>
                  <a:pt x="103" y="335"/>
                </a:lnTo>
                <a:lnTo>
                  <a:pt x="105" y="335"/>
                </a:lnTo>
                <a:lnTo>
                  <a:pt x="105" y="332"/>
                </a:lnTo>
                <a:lnTo>
                  <a:pt x="103" y="332"/>
                </a:lnTo>
                <a:lnTo>
                  <a:pt x="100" y="332"/>
                </a:lnTo>
                <a:lnTo>
                  <a:pt x="96" y="332"/>
                </a:lnTo>
                <a:lnTo>
                  <a:pt x="91" y="330"/>
                </a:lnTo>
                <a:lnTo>
                  <a:pt x="86" y="330"/>
                </a:lnTo>
                <a:lnTo>
                  <a:pt x="68" y="328"/>
                </a:lnTo>
                <a:lnTo>
                  <a:pt x="58" y="325"/>
                </a:lnTo>
                <a:lnTo>
                  <a:pt x="40" y="321"/>
                </a:lnTo>
                <a:lnTo>
                  <a:pt x="37" y="318"/>
                </a:lnTo>
                <a:lnTo>
                  <a:pt x="35" y="316"/>
                </a:lnTo>
                <a:lnTo>
                  <a:pt x="33" y="316"/>
                </a:lnTo>
                <a:lnTo>
                  <a:pt x="30" y="316"/>
                </a:lnTo>
                <a:lnTo>
                  <a:pt x="28" y="316"/>
                </a:lnTo>
                <a:lnTo>
                  <a:pt x="26" y="318"/>
                </a:lnTo>
                <a:lnTo>
                  <a:pt x="21" y="323"/>
                </a:lnTo>
                <a:lnTo>
                  <a:pt x="19" y="325"/>
                </a:lnTo>
                <a:lnTo>
                  <a:pt x="7" y="328"/>
                </a:lnTo>
                <a:lnTo>
                  <a:pt x="3" y="330"/>
                </a:lnTo>
                <a:lnTo>
                  <a:pt x="0" y="335"/>
                </a:lnTo>
                <a:lnTo>
                  <a:pt x="0" y="330"/>
                </a:lnTo>
                <a:lnTo>
                  <a:pt x="0" y="321"/>
                </a:lnTo>
                <a:lnTo>
                  <a:pt x="0" y="311"/>
                </a:lnTo>
                <a:lnTo>
                  <a:pt x="0" y="309"/>
                </a:lnTo>
                <a:lnTo>
                  <a:pt x="3" y="307"/>
                </a:lnTo>
                <a:lnTo>
                  <a:pt x="3" y="305"/>
                </a:lnTo>
                <a:lnTo>
                  <a:pt x="3" y="302"/>
                </a:lnTo>
                <a:lnTo>
                  <a:pt x="3" y="300"/>
                </a:lnTo>
                <a:lnTo>
                  <a:pt x="5" y="300"/>
                </a:lnTo>
                <a:lnTo>
                  <a:pt x="7" y="300"/>
                </a:lnTo>
                <a:lnTo>
                  <a:pt x="5" y="298"/>
                </a:lnTo>
                <a:lnTo>
                  <a:pt x="5" y="295"/>
                </a:lnTo>
                <a:lnTo>
                  <a:pt x="5" y="293"/>
                </a:lnTo>
                <a:lnTo>
                  <a:pt x="7" y="293"/>
                </a:lnTo>
                <a:lnTo>
                  <a:pt x="7" y="295"/>
                </a:lnTo>
                <a:lnTo>
                  <a:pt x="10" y="295"/>
                </a:lnTo>
                <a:lnTo>
                  <a:pt x="12" y="295"/>
                </a:lnTo>
                <a:lnTo>
                  <a:pt x="12" y="293"/>
                </a:lnTo>
                <a:lnTo>
                  <a:pt x="10" y="291"/>
                </a:lnTo>
                <a:lnTo>
                  <a:pt x="12" y="288"/>
                </a:lnTo>
                <a:lnTo>
                  <a:pt x="12" y="286"/>
                </a:lnTo>
                <a:lnTo>
                  <a:pt x="12" y="284"/>
                </a:lnTo>
                <a:lnTo>
                  <a:pt x="14" y="284"/>
                </a:lnTo>
                <a:lnTo>
                  <a:pt x="14" y="281"/>
                </a:lnTo>
                <a:lnTo>
                  <a:pt x="16" y="281"/>
                </a:lnTo>
                <a:lnTo>
                  <a:pt x="19" y="279"/>
                </a:lnTo>
                <a:lnTo>
                  <a:pt x="19" y="277"/>
                </a:lnTo>
                <a:lnTo>
                  <a:pt x="21" y="277"/>
                </a:lnTo>
                <a:lnTo>
                  <a:pt x="21" y="274"/>
                </a:lnTo>
                <a:lnTo>
                  <a:pt x="23" y="274"/>
                </a:lnTo>
                <a:lnTo>
                  <a:pt x="26" y="272"/>
                </a:lnTo>
                <a:lnTo>
                  <a:pt x="28" y="274"/>
                </a:lnTo>
                <a:lnTo>
                  <a:pt x="30" y="274"/>
                </a:lnTo>
                <a:lnTo>
                  <a:pt x="33" y="272"/>
                </a:lnTo>
                <a:lnTo>
                  <a:pt x="33" y="270"/>
                </a:lnTo>
                <a:lnTo>
                  <a:pt x="35" y="270"/>
                </a:lnTo>
                <a:lnTo>
                  <a:pt x="35" y="267"/>
                </a:lnTo>
                <a:lnTo>
                  <a:pt x="35" y="265"/>
                </a:lnTo>
                <a:lnTo>
                  <a:pt x="35" y="263"/>
                </a:lnTo>
                <a:lnTo>
                  <a:pt x="35" y="260"/>
                </a:lnTo>
                <a:lnTo>
                  <a:pt x="37" y="260"/>
                </a:lnTo>
                <a:lnTo>
                  <a:pt x="47" y="249"/>
                </a:lnTo>
                <a:lnTo>
                  <a:pt x="49" y="249"/>
                </a:lnTo>
                <a:lnTo>
                  <a:pt x="58" y="246"/>
                </a:lnTo>
                <a:lnTo>
                  <a:pt x="61" y="246"/>
                </a:lnTo>
                <a:lnTo>
                  <a:pt x="63" y="246"/>
                </a:lnTo>
                <a:lnTo>
                  <a:pt x="63" y="244"/>
                </a:lnTo>
                <a:lnTo>
                  <a:pt x="65" y="244"/>
                </a:lnTo>
                <a:lnTo>
                  <a:pt x="68" y="244"/>
                </a:lnTo>
                <a:lnTo>
                  <a:pt x="72" y="246"/>
                </a:lnTo>
                <a:lnTo>
                  <a:pt x="75" y="246"/>
                </a:lnTo>
                <a:lnTo>
                  <a:pt x="77" y="246"/>
                </a:lnTo>
                <a:lnTo>
                  <a:pt x="91" y="242"/>
                </a:lnTo>
                <a:lnTo>
                  <a:pt x="93" y="242"/>
                </a:lnTo>
                <a:lnTo>
                  <a:pt x="93" y="239"/>
                </a:lnTo>
                <a:lnTo>
                  <a:pt x="96" y="239"/>
                </a:lnTo>
                <a:lnTo>
                  <a:pt x="98" y="239"/>
                </a:lnTo>
                <a:lnTo>
                  <a:pt x="98" y="242"/>
                </a:lnTo>
                <a:lnTo>
                  <a:pt x="98" y="244"/>
                </a:lnTo>
                <a:lnTo>
                  <a:pt x="100" y="246"/>
                </a:lnTo>
                <a:lnTo>
                  <a:pt x="103" y="249"/>
                </a:lnTo>
                <a:lnTo>
                  <a:pt x="105" y="249"/>
                </a:lnTo>
                <a:lnTo>
                  <a:pt x="114" y="239"/>
                </a:lnTo>
                <a:lnTo>
                  <a:pt x="117" y="237"/>
                </a:lnTo>
                <a:lnTo>
                  <a:pt x="119" y="235"/>
                </a:lnTo>
                <a:lnTo>
                  <a:pt x="126" y="232"/>
                </a:lnTo>
                <a:lnTo>
                  <a:pt x="131" y="230"/>
                </a:lnTo>
                <a:lnTo>
                  <a:pt x="133" y="232"/>
                </a:lnTo>
                <a:lnTo>
                  <a:pt x="135" y="232"/>
                </a:lnTo>
                <a:lnTo>
                  <a:pt x="138" y="232"/>
                </a:lnTo>
                <a:lnTo>
                  <a:pt x="151" y="235"/>
                </a:lnTo>
                <a:lnTo>
                  <a:pt x="165" y="235"/>
                </a:lnTo>
                <a:lnTo>
                  <a:pt x="170" y="235"/>
                </a:lnTo>
                <a:lnTo>
                  <a:pt x="172" y="237"/>
                </a:lnTo>
                <a:lnTo>
                  <a:pt x="175" y="237"/>
                </a:lnTo>
                <a:lnTo>
                  <a:pt x="177" y="239"/>
                </a:lnTo>
                <a:lnTo>
                  <a:pt x="179" y="239"/>
                </a:lnTo>
                <a:lnTo>
                  <a:pt x="179" y="242"/>
                </a:lnTo>
                <a:lnTo>
                  <a:pt x="182" y="242"/>
                </a:lnTo>
                <a:lnTo>
                  <a:pt x="184" y="239"/>
                </a:lnTo>
                <a:lnTo>
                  <a:pt x="184" y="242"/>
                </a:lnTo>
                <a:lnTo>
                  <a:pt x="186" y="242"/>
                </a:lnTo>
                <a:lnTo>
                  <a:pt x="189" y="244"/>
                </a:lnTo>
                <a:lnTo>
                  <a:pt x="191" y="244"/>
                </a:lnTo>
                <a:lnTo>
                  <a:pt x="193" y="244"/>
                </a:lnTo>
                <a:lnTo>
                  <a:pt x="207" y="237"/>
                </a:lnTo>
                <a:lnTo>
                  <a:pt x="210" y="237"/>
                </a:lnTo>
                <a:lnTo>
                  <a:pt x="210" y="235"/>
                </a:lnTo>
                <a:lnTo>
                  <a:pt x="212" y="232"/>
                </a:lnTo>
                <a:lnTo>
                  <a:pt x="214" y="232"/>
                </a:lnTo>
                <a:lnTo>
                  <a:pt x="214" y="230"/>
                </a:lnTo>
                <a:lnTo>
                  <a:pt x="221" y="228"/>
                </a:lnTo>
                <a:lnTo>
                  <a:pt x="224" y="228"/>
                </a:lnTo>
                <a:lnTo>
                  <a:pt x="226" y="228"/>
                </a:lnTo>
                <a:lnTo>
                  <a:pt x="226" y="225"/>
                </a:lnTo>
                <a:lnTo>
                  <a:pt x="228" y="225"/>
                </a:lnTo>
                <a:lnTo>
                  <a:pt x="228" y="223"/>
                </a:lnTo>
                <a:lnTo>
                  <a:pt x="231" y="223"/>
                </a:lnTo>
                <a:lnTo>
                  <a:pt x="233" y="223"/>
                </a:lnTo>
                <a:lnTo>
                  <a:pt x="231" y="218"/>
                </a:lnTo>
                <a:lnTo>
                  <a:pt x="231" y="216"/>
                </a:lnTo>
                <a:lnTo>
                  <a:pt x="231" y="214"/>
                </a:lnTo>
                <a:lnTo>
                  <a:pt x="231" y="211"/>
                </a:lnTo>
                <a:lnTo>
                  <a:pt x="228" y="211"/>
                </a:lnTo>
                <a:lnTo>
                  <a:pt x="228" y="209"/>
                </a:lnTo>
                <a:lnTo>
                  <a:pt x="228" y="207"/>
                </a:lnTo>
                <a:lnTo>
                  <a:pt x="231" y="207"/>
                </a:lnTo>
                <a:lnTo>
                  <a:pt x="231" y="204"/>
                </a:lnTo>
                <a:lnTo>
                  <a:pt x="231" y="202"/>
                </a:lnTo>
                <a:lnTo>
                  <a:pt x="233" y="200"/>
                </a:lnTo>
                <a:lnTo>
                  <a:pt x="235" y="197"/>
                </a:lnTo>
                <a:lnTo>
                  <a:pt x="235" y="195"/>
                </a:lnTo>
                <a:lnTo>
                  <a:pt x="235" y="193"/>
                </a:lnTo>
                <a:lnTo>
                  <a:pt x="235" y="190"/>
                </a:lnTo>
                <a:lnTo>
                  <a:pt x="233" y="190"/>
                </a:lnTo>
                <a:lnTo>
                  <a:pt x="231" y="188"/>
                </a:lnTo>
                <a:lnTo>
                  <a:pt x="228" y="188"/>
                </a:lnTo>
                <a:lnTo>
                  <a:pt x="228" y="186"/>
                </a:lnTo>
                <a:lnTo>
                  <a:pt x="226" y="186"/>
                </a:lnTo>
                <a:lnTo>
                  <a:pt x="226" y="188"/>
                </a:lnTo>
                <a:lnTo>
                  <a:pt x="224" y="188"/>
                </a:lnTo>
                <a:lnTo>
                  <a:pt x="221" y="186"/>
                </a:lnTo>
                <a:lnTo>
                  <a:pt x="221" y="183"/>
                </a:lnTo>
                <a:lnTo>
                  <a:pt x="221" y="181"/>
                </a:lnTo>
                <a:lnTo>
                  <a:pt x="221" y="179"/>
                </a:lnTo>
                <a:lnTo>
                  <a:pt x="221" y="176"/>
                </a:lnTo>
                <a:lnTo>
                  <a:pt x="224" y="176"/>
                </a:lnTo>
                <a:lnTo>
                  <a:pt x="226" y="176"/>
                </a:lnTo>
                <a:lnTo>
                  <a:pt x="228" y="174"/>
                </a:lnTo>
                <a:lnTo>
                  <a:pt x="228" y="172"/>
                </a:lnTo>
                <a:lnTo>
                  <a:pt x="231" y="169"/>
                </a:lnTo>
                <a:lnTo>
                  <a:pt x="231" y="172"/>
                </a:lnTo>
                <a:lnTo>
                  <a:pt x="231" y="169"/>
                </a:lnTo>
                <a:lnTo>
                  <a:pt x="233" y="169"/>
                </a:lnTo>
                <a:lnTo>
                  <a:pt x="233" y="167"/>
                </a:lnTo>
                <a:lnTo>
                  <a:pt x="233" y="165"/>
                </a:lnTo>
                <a:lnTo>
                  <a:pt x="235" y="165"/>
                </a:lnTo>
                <a:lnTo>
                  <a:pt x="238" y="165"/>
                </a:lnTo>
                <a:lnTo>
                  <a:pt x="238" y="163"/>
                </a:lnTo>
                <a:lnTo>
                  <a:pt x="240" y="163"/>
                </a:lnTo>
                <a:lnTo>
                  <a:pt x="242" y="160"/>
                </a:lnTo>
                <a:lnTo>
                  <a:pt x="240" y="160"/>
                </a:lnTo>
                <a:lnTo>
                  <a:pt x="240" y="158"/>
                </a:lnTo>
                <a:lnTo>
                  <a:pt x="242" y="158"/>
                </a:lnTo>
                <a:lnTo>
                  <a:pt x="242" y="156"/>
                </a:lnTo>
                <a:lnTo>
                  <a:pt x="245" y="156"/>
                </a:lnTo>
                <a:lnTo>
                  <a:pt x="247" y="156"/>
                </a:lnTo>
                <a:lnTo>
                  <a:pt x="247" y="153"/>
                </a:lnTo>
                <a:lnTo>
                  <a:pt x="247" y="151"/>
                </a:lnTo>
                <a:lnTo>
                  <a:pt x="245" y="151"/>
                </a:lnTo>
                <a:lnTo>
                  <a:pt x="245" y="149"/>
                </a:lnTo>
                <a:lnTo>
                  <a:pt x="245" y="146"/>
                </a:lnTo>
                <a:lnTo>
                  <a:pt x="245" y="144"/>
                </a:lnTo>
                <a:lnTo>
                  <a:pt x="242" y="144"/>
                </a:lnTo>
                <a:lnTo>
                  <a:pt x="242" y="139"/>
                </a:lnTo>
                <a:lnTo>
                  <a:pt x="242" y="137"/>
                </a:lnTo>
                <a:lnTo>
                  <a:pt x="240" y="135"/>
                </a:lnTo>
                <a:lnTo>
                  <a:pt x="240" y="132"/>
                </a:lnTo>
                <a:lnTo>
                  <a:pt x="238" y="132"/>
                </a:lnTo>
                <a:lnTo>
                  <a:pt x="238" y="130"/>
                </a:lnTo>
                <a:lnTo>
                  <a:pt x="235" y="130"/>
                </a:lnTo>
                <a:lnTo>
                  <a:pt x="233" y="130"/>
                </a:lnTo>
                <a:lnTo>
                  <a:pt x="233" y="128"/>
                </a:lnTo>
                <a:lnTo>
                  <a:pt x="231" y="125"/>
                </a:lnTo>
                <a:lnTo>
                  <a:pt x="231" y="123"/>
                </a:lnTo>
                <a:lnTo>
                  <a:pt x="233" y="118"/>
                </a:lnTo>
                <a:lnTo>
                  <a:pt x="235" y="116"/>
                </a:lnTo>
                <a:lnTo>
                  <a:pt x="235" y="114"/>
                </a:lnTo>
                <a:lnTo>
                  <a:pt x="238" y="114"/>
                </a:lnTo>
                <a:lnTo>
                  <a:pt x="238" y="111"/>
                </a:lnTo>
                <a:lnTo>
                  <a:pt x="240" y="109"/>
                </a:lnTo>
                <a:lnTo>
                  <a:pt x="240" y="107"/>
                </a:lnTo>
                <a:lnTo>
                  <a:pt x="240" y="102"/>
                </a:lnTo>
                <a:lnTo>
                  <a:pt x="240" y="100"/>
                </a:lnTo>
                <a:lnTo>
                  <a:pt x="242" y="97"/>
                </a:lnTo>
                <a:lnTo>
                  <a:pt x="242" y="95"/>
                </a:lnTo>
                <a:lnTo>
                  <a:pt x="245" y="95"/>
                </a:lnTo>
                <a:lnTo>
                  <a:pt x="247" y="95"/>
                </a:lnTo>
                <a:lnTo>
                  <a:pt x="249" y="95"/>
                </a:lnTo>
                <a:lnTo>
                  <a:pt x="249" y="93"/>
                </a:lnTo>
                <a:lnTo>
                  <a:pt x="252" y="93"/>
                </a:lnTo>
                <a:lnTo>
                  <a:pt x="252" y="90"/>
                </a:lnTo>
                <a:lnTo>
                  <a:pt x="254" y="90"/>
                </a:lnTo>
                <a:lnTo>
                  <a:pt x="254" y="88"/>
                </a:lnTo>
                <a:lnTo>
                  <a:pt x="254" y="90"/>
                </a:lnTo>
                <a:lnTo>
                  <a:pt x="256" y="90"/>
                </a:lnTo>
                <a:lnTo>
                  <a:pt x="259" y="90"/>
                </a:lnTo>
                <a:lnTo>
                  <a:pt x="259" y="88"/>
                </a:lnTo>
                <a:lnTo>
                  <a:pt x="261" y="88"/>
                </a:lnTo>
                <a:lnTo>
                  <a:pt x="263" y="90"/>
                </a:lnTo>
                <a:lnTo>
                  <a:pt x="266" y="88"/>
                </a:lnTo>
                <a:lnTo>
                  <a:pt x="268" y="88"/>
                </a:lnTo>
                <a:lnTo>
                  <a:pt x="270" y="88"/>
                </a:lnTo>
                <a:lnTo>
                  <a:pt x="272" y="88"/>
                </a:lnTo>
                <a:lnTo>
                  <a:pt x="272" y="86"/>
                </a:lnTo>
                <a:lnTo>
                  <a:pt x="272" y="83"/>
                </a:lnTo>
                <a:lnTo>
                  <a:pt x="272" y="81"/>
                </a:lnTo>
                <a:lnTo>
                  <a:pt x="272" y="79"/>
                </a:lnTo>
                <a:lnTo>
                  <a:pt x="270" y="69"/>
                </a:lnTo>
                <a:lnTo>
                  <a:pt x="268" y="67"/>
                </a:lnTo>
                <a:lnTo>
                  <a:pt x="268" y="60"/>
                </a:lnTo>
                <a:lnTo>
                  <a:pt x="268" y="58"/>
                </a:lnTo>
                <a:lnTo>
                  <a:pt x="270" y="58"/>
                </a:lnTo>
                <a:lnTo>
                  <a:pt x="270" y="55"/>
                </a:lnTo>
                <a:lnTo>
                  <a:pt x="272" y="55"/>
                </a:lnTo>
                <a:lnTo>
                  <a:pt x="272" y="53"/>
                </a:lnTo>
                <a:lnTo>
                  <a:pt x="275" y="53"/>
                </a:lnTo>
                <a:lnTo>
                  <a:pt x="275" y="51"/>
                </a:lnTo>
                <a:lnTo>
                  <a:pt x="272" y="51"/>
                </a:lnTo>
                <a:lnTo>
                  <a:pt x="272" y="48"/>
                </a:lnTo>
                <a:lnTo>
                  <a:pt x="272" y="46"/>
                </a:lnTo>
                <a:lnTo>
                  <a:pt x="270" y="46"/>
                </a:lnTo>
                <a:lnTo>
                  <a:pt x="272" y="37"/>
                </a:lnTo>
                <a:lnTo>
                  <a:pt x="272" y="34"/>
                </a:lnTo>
                <a:lnTo>
                  <a:pt x="275" y="34"/>
                </a:lnTo>
                <a:lnTo>
                  <a:pt x="277" y="34"/>
                </a:lnTo>
                <a:lnTo>
                  <a:pt x="279" y="34"/>
                </a:lnTo>
                <a:lnTo>
                  <a:pt x="282" y="34"/>
                </a:lnTo>
                <a:lnTo>
                  <a:pt x="289" y="39"/>
                </a:lnTo>
                <a:lnTo>
                  <a:pt x="291" y="39"/>
                </a:lnTo>
                <a:lnTo>
                  <a:pt x="293" y="37"/>
                </a:lnTo>
                <a:lnTo>
                  <a:pt x="293" y="34"/>
                </a:lnTo>
                <a:lnTo>
                  <a:pt x="293" y="32"/>
                </a:lnTo>
                <a:lnTo>
                  <a:pt x="293" y="30"/>
                </a:lnTo>
                <a:lnTo>
                  <a:pt x="293" y="27"/>
                </a:lnTo>
                <a:lnTo>
                  <a:pt x="293" y="25"/>
                </a:lnTo>
                <a:lnTo>
                  <a:pt x="296" y="25"/>
                </a:lnTo>
                <a:lnTo>
                  <a:pt x="293" y="25"/>
                </a:lnTo>
                <a:lnTo>
                  <a:pt x="293" y="23"/>
                </a:lnTo>
                <a:lnTo>
                  <a:pt x="293" y="21"/>
                </a:lnTo>
                <a:lnTo>
                  <a:pt x="298" y="16"/>
                </a:lnTo>
                <a:lnTo>
                  <a:pt x="300" y="16"/>
                </a:lnTo>
                <a:lnTo>
                  <a:pt x="300" y="18"/>
                </a:lnTo>
                <a:lnTo>
                  <a:pt x="305" y="21"/>
                </a:lnTo>
                <a:lnTo>
                  <a:pt x="307" y="21"/>
                </a:lnTo>
                <a:lnTo>
                  <a:pt x="307" y="23"/>
                </a:lnTo>
                <a:lnTo>
                  <a:pt x="310" y="25"/>
                </a:lnTo>
                <a:lnTo>
                  <a:pt x="310" y="30"/>
                </a:lnTo>
                <a:lnTo>
                  <a:pt x="312" y="30"/>
                </a:lnTo>
                <a:lnTo>
                  <a:pt x="314" y="30"/>
                </a:lnTo>
                <a:lnTo>
                  <a:pt x="317" y="32"/>
                </a:lnTo>
                <a:lnTo>
                  <a:pt x="319" y="32"/>
                </a:lnTo>
                <a:lnTo>
                  <a:pt x="321" y="32"/>
                </a:lnTo>
                <a:lnTo>
                  <a:pt x="324" y="32"/>
                </a:lnTo>
                <a:lnTo>
                  <a:pt x="326" y="30"/>
                </a:lnTo>
                <a:lnTo>
                  <a:pt x="328" y="30"/>
                </a:lnTo>
                <a:lnTo>
                  <a:pt x="328" y="32"/>
                </a:lnTo>
                <a:lnTo>
                  <a:pt x="328" y="34"/>
                </a:lnTo>
                <a:lnTo>
                  <a:pt x="331" y="37"/>
                </a:lnTo>
                <a:lnTo>
                  <a:pt x="328" y="37"/>
                </a:lnTo>
                <a:lnTo>
                  <a:pt x="328" y="39"/>
                </a:lnTo>
                <a:lnTo>
                  <a:pt x="326" y="41"/>
                </a:lnTo>
                <a:lnTo>
                  <a:pt x="326" y="44"/>
                </a:lnTo>
                <a:lnTo>
                  <a:pt x="324" y="46"/>
                </a:lnTo>
                <a:lnTo>
                  <a:pt x="324" y="48"/>
                </a:lnTo>
                <a:lnTo>
                  <a:pt x="321" y="48"/>
                </a:lnTo>
                <a:lnTo>
                  <a:pt x="321" y="51"/>
                </a:lnTo>
                <a:lnTo>
                  <a:pt x="321" y="53"/>
                </a:lnTo>
                <a:lnTo>
                  <a:pt x="324" y="53"/>
                </a:lnTo>
                <a:lnTo>
                  <a:pt x="324" y="51"/>
                </a:lnTo>
                <a:lnTo>
                  <a:pt x="328" y="51"/>
                </a:lnTo>
                <a:lnTo>
                  <a:pt x="328" y="48"/>
                </a:lnTo>
                <a:lnTo>
                  <a:pt x="331" y="48"/>
                </a:lnTo>
                <a:lnTo>
                  <a:pt x="331" y="46"/>
                </a:lnTo>
                <a:lnTo>
                  <a:pt x="333" y="46"/>
                </a:lnTo>
                <a:lnTo>
                  <a:pt x="335" y="46"/>
                </a:lnTo>
                <a:lnTo>
                  <a:pt x="338" y="46"/>
                </a:lnTo>
                <a:lnTo>
                  <a:pt x="342" y="48"/>
                </a:lnTo>
                <a:lnTo>
                  <a:pt x="345" y="46"/>
                </a:lnTo>
                <a:lnTo>
                  <a:pt x="347" y="46"/>
                </a:lnTo>
                <a:lnTo>
                  <a:pt x="347" y="44"/>
                </a:lnTo>
                <a:lnTo>
                  <a:pt x="349" y="44"/>
                </a:lnTo>
                <a:lnTo>
                  <a:pt x="349" y="41"/>
                </a:lnTo>
                <a:lnTo>
                  <a:pt x="352" y="41"/>
                </a:lnTo>
                <a:lnTo>
                  <a:pt x="352" y="39"/>
                </a:lnTo>
                <a:lnTo>
                  <a:pt x="354" y="39"/>
                </a:lnTo>
                <a:lnTo>
                  <a:pt x="354" y="37"/>
                </a:lnTo>
                <a:lnTo>
                  <a:pt x="356" y="37"/>
                </a:lnTo>
                <a:lnTo>
                  <a:pt x="359" y="37"/>
                </a:lnTo>
                <a:lnTo>
                  <a:pt x="361" y="37"/>
                </a:lnTo>
                <a:lnTo>
                  <a:pt x="363" y="37"/>
                </a:lnTo>
                <a:lnTo>
                  <a:pt x="366" y="34"/>
                </a:lnTo>
                <a:lnTo>
                  <a:pt x="368" y="34"/>
                </a:lnTo>
                <a:lnTo>
                  <a:pt x="368" y="32"/>
                </a:lnTo>
                <a:lnTo>
                  <a:pt x="370" y="32"/>
                </a:lnTo>
                <a:lnTo>
                  <a:pt x="373" y="32"/>
                </a:lnTo>
                <a:lnTo>
                  <a:pt x="373" y="30"/>
                </a:lnTo>
                <a:lnTo>
                  <a:pt x="375" y="30"/>
                </a:lnTo>
                <a:lnTo>
                  <a:pt x="377" y="27"/>
                </a:lnTo>
                <a:lnTo>
                  <a:pt x="377" y="25"/>
                </a:lnTo>
                <a:lnTo>
                  <a:pt x="380" y="25"/>
                </a:lnTo>
                <a:lnTo>
                  <a:pt x="382" y="25"/>
                </a:lnTo>
                <a:lnTo>
                  <a:pt x="384" y="25"/>
                </a:lnTo>
                <a:lnTo>
                  <a:pt x="401" y="18"/>
                </a:lnTo>
                <a:lnTo>
                  <a:pt x="401" y="16"/>
                </a:lnTo>
                <a:lnTo>
                  <a:pt x="403" y="16"/>
                </a:lnTo>
                <a:lnTo>
                  <a:pt x="403" y="14"/>
                </a:lnTo>
                <a:lnTo>
                  <a:pt x="405" y="14"/>
                </a:lnTo>
                <a:lnTo>
                  <a:pt x="412" y="11"/>
                </a:lnTo>
                <a:lnTo>
                  <a:pt x="412" y="9"/>
                </a:lnTo>
                <a:lnTo>
                  <a:pt x="414" y="9"/>
                </a:lnTo>
                <a:lnTo>
                  <a:pt x="417" y="9"/>
                </a:lnTo>
                <a:lnTo>
                  <a:pt x="417" y="7"/>
                </a:lnTo>
                <a:lnTo>
                  <a:pt x="419" y="7"/>
                </a:lnTo>
                <a:lnTo>
                  <a:pt x="421" y="4"/>
                </a:lnTo>
                <a:lnTo>
                  <a:pt x="426" y="4"/>
                </a:lnTo>
                <a:lnTo>
                  <a:pt x="431" y="2"/>
                </a:lnTo>
                <a:lnTo>
                  <a:pt x="433" y="2"/>
                </a:lnTo>
                <a:lnTo>
                  <a:pt x="435" y="2"/>
                </a:lnTo>
                <a:lnTo>
                  <a:pt x="435" y="0"/>
                </a:lnTo>
                <a:lnTo>
                  <a:pt x="438" y="2"/>
                </a:lnTo>
                <a:lnTo>
                  <a:pt x="440" y="2"/>
                </a:lnTo>
                <a:lnTo>
                  <a:pt x="442" y="2"/>
                </a:lnTo>
                <a:lnTo>
                  <a:pt x="445" y="2"/>
                </a:lnTo>
                <a:lnTo>
                  <a:pt x="445" y="4"/>
                </a:lnTo>
                <a:lnTo>
                  <a:pt x="447" y="4"/>
                </a:lnTo>
                <a:lnTo>
                  <a:pt x="449" y="4"/>
                </a:lnTo>
                <a:lnTo>
                  <a:pt x="452" y="4"/>
                </a:lnTo>
                <a:lnTo>
                  <a:pt x="454" y="4"/>
                </a:lnTo>
                <a:lnTo>
                  <a:pt x="456" y="4"/>
                </a:lnTo>
                <a:lnTo>
                  <a:pt x="456" y="7"/>
                </a:lnTo>
                <a:lnTo>
                  <a:pt x="459" y="7"/>
                </a:lnTo>
                <a:lnTo>
                  <a:pt x="461" y="7"/>
                </a:lnTo>
                <a:lnTo>
                  <a:pt x="463" y="7"/>
                </a:lnTo>
                <a:lnTo>
                  <a:pt x="463" y="9"/>
                </a:lnTo>
                <a:lnTo>
                  <a:pt x="466" y="9"/>
                </a:lnTo>
                <a:lnTo>
                  <a:pt x="468" y="9"/>
                </a:lnTo>
                <a:lnTo>
                  <a:pt x="468" y="11"/>
                </a:lnTo>
                <a:lnTo>
                  <a:pt x="466" y="14"/>
                </a:lnTo>
                <a:lnTo>
                  <a:pt x="466" y="16"/>
                </a:lnTo>
                <a:lnTo>
                  <a:pt x="463" y="18"/>
                </a:lnTo>
                <a:lnTo>
                  <a:pt x="463" y="21"/>
                </a:lnTo>
                <a:lnTo>
                  <a:pt x="461" y="21"/>
                </a:lnTo>
                <a:lnTo>
                  <a:pt x="461" y="23"/>
                </a:lnTo>
                <a:lnTo>
                  <a:pt x="461" y="25"/>
                </a:lnTo>
                <a:lnTo>
                  <a:pt x="461" y="27"/>
                </a:lnTo>
                <a:lnTo>
                  <a:pt x="461" y="30"/>
                </a:lnTo>
                <a:lnTo>
                  <a:pt x="463" y="32"/>
                </a:lnTo>
                <a:lnTo>
                  <a:pt x="468" y="34"/>
                </a:lnTo>
                <a:lnTo>
                  <a:pt x="470" y="34"/>
                </a:lnTo>
                <a:lnTo>
                  <a:pt x="470" y="37"/>
                </a:lnTo>
                <a:lnTo>
                  <a:pt x="484" y="41"/>
                </a:lnTo>
                <a:lnTo>
                  <a:pt x="487" y="41"/>
                </a:lnTo>
                <a:lnTo>
                  <a:pt x="487" y="39"/>
                </a:lnTo>
                <a:lnTo>
                  <a:pt x="489" y="39"/>
                </a:lnTo>
                <a:lnTo>
                  <a:pt x="489" y="37"/>
                </a:lnTo>
                <a:lnTo>
                  <a:pt x="491" y="37"/>
                </a:lnTo>
                <a:lnTo>
                  <a:pt x="498" y="34"/>
                </a:lnTo>
                <a:lnTo>
                  <a:pt x="501" y="34"/>
                </a:lnTo>
                <a:lnTo>
                  <a:pt x="501" y="32"/>
                </a:lnTo>
                <a:lnTo>
                  <a:pt x="503" y="32"/>
                </a:lnTo>
                <a:lnTo>
                  <a:pt x="505" y="34"/>
                </a:lnTo>
                <a:lnTo>
                  <a:pt x="508" y="34"/>
                </a:lnTo>
                <a:lnTo>
                  <a:pt x="510" y="37"/>
                </a:lnTo>
                <a:lnTo>
                  <a:pt x="512" y="37"/>
                </a:lnTo>
                <a:lnTo>
                  <a:pt x="515" y="37"/>
                </a:lnTo>
                <a:lnTo>
                  <a:pt x="517" y="37"/>
                </a:lnTo>
                <a:lnTo>
                  <a:pt x="517" y="39"/>
                </a:lnTo>
                <a:lnTo>
                  <a:pt x="519" y="39"/>
                </a:lnTo>
                <a:lnTo>
                  <a:pt x="519" y="41"/>
                </a:lnTo>
                <a:lnTo>
                  <a:pt x="522" y="44"/>
                </a:lnTo>
                <a:lnTo>
                  <a:pt x="526" y="46"/>
                </a:lnTo>
                <a:lnTo>
                  <a:pt x="526" y="48"/>
                </a:lnTo>
                <a:lnTo>
                  <a:pt x="529" y="51"/>
                </a:lnTo>
                <a:lnTo>
                  <a:pt x="531" y="53"/>
                </a:lnTo>
                <a:lnTo>
                  <a:pt x="533" y="53"/>
                </a:lnTo>
                <a:lnTo>
                  <a:pt x="533" y="55"/>
                </a:lnTo>
                <a:lnTo>
                  <a:pt x="535" y="55"/>
                </a:lnTo>
                <a:lnTo>
                  <a:pt x="535" y="58"/>
                </a:lnTo>
                <a:lnTo>
                  <a:pt x="538" y="55"/>
                </a:lnTo>
                <a:lnTo>
                  <a:pt x="538" y="58"/>
                </a:lnTo>
                <a:lnTo>
                  <a:pt x="540" y="58"/>
                </a:lnTo>
                <a:lnTo>
                  <a:pt x="542" y="58"/>
                </a:lnTo>
                <a:lnTo>
                  <a:pt x="542" y="60"/>
                </a:lnTo>
                <a:lnTo>
                  <a:pt x="545" y="62"/>
                </a:lnTo>
                <a:lnTo>
                  <a:pt x="547" y="65"/>
                </a:lnTo>
                <a:lnTo>
                  <a:pt x="554" y="69"/>
                </a:lnTo>
                <a:lnTo>
                  <a:pt x="556" y="69"/>
                </a:lnTo>
                <a:lnTo>
                  <a:pt x="559" y="72"/>
                </a:lnTo>
                <a:lnTo>
                  <a:pt x="561" y="72"/>
                </a:lnTo>
                <a:lnTo>
                  <a:pt x="563" y="72"/>
                </a:lnTo>
                <a:lnTo>
                  <a:pt x="566" y="74"/>
                </a:lnTo>
                <a:lnTo>
                  <a:pt x="566" y="76"/>
                </a:lnTo>
                <a:lnTo>
                  <a:pt x="568" y="76"/>
                </a:lnTo>
                <a:lnTo>
                  <a:pt x="570" y="76"/>
                </a:lnTo>
                <a:lnTo>
                  <a:pt x="573" y="76"/>
                </a:lnTo>
                <a:lnTo>
                  <a:pt x="575" y="76"/>
                </a:lnTo>
                <a:lnTo>
                  <a:pt x="577" y="76"/>
                </a:lnTo>
                <a:lnTo>
                  <a:pt x="580" y="76"/>
                </a:lnTo>
                <a:lnTo>
                  <a:pt x="580" y="74"/>
                </a:lnTo>
                <a:lnTo>
                  <a:pt x="582" y="74"/>
                </a:lnTo>
                <a:lnTo>
                  <a:pt x="584" y="74"/>
                </a:lnTo>
                <a:lnTo>
                  <a:pt x="601" y="93"/>
                </a:lnTo>
                <a:lnTo>
                  <a:pt x="608" y="102"/>
                </a:lnTo>
                <a:lnTo>
                  <a:pt x="608" y="116"/>
                </a:lnTo>
                <a:lnTo>
                  <a:pt x="608" y="118"/>
                </a:lnTo>
                <a:lnTo>
                  <a:pt x="610" y="118"/>
                </a:lnTo>
                <a:lnTo>
                  <a:pt x="612" y="118"/>
                </a:lnTo>
                <a:lnTo>
                  <a:pt x="615" y="118"/>
                </a:lnTo>
                <a:lnTo>
                  <a:pt x="617" y="121"/>
                </a:lnTo>
                <a:lnTo>
                  <a:pt x="619" y="121"/>
                </a:lnTo>
                <a:lnTo>
                  <a:pt x="622" y="121"/>
                </a:lnTo>
                <a:lnTo>
                  <a:pt x="624" y="121"/>
                </a:lnTo>
                <a:lnTo>
                  <a:pt x="626" y="118"/>
                </a:lnTo>
                <a:lnTo>
                  <a:pt x="629" y="118"/>
                </a:lnTo>
                <a:lnTo>
                  <a:pt x="629" y="116"/>
                </a:lnTo>
                <a:lnTo>
                  <a:pt x="631" y="116"/>
                </a:lnTo>
                <a:lnTo>
                  <a:pt x="633" y="116"/>
                </a:lnTo>
                <a:lnTo>
                  <a:pt x="636" y="118"/>
                </a:lnTo>
                <a:lnTo>
                  <a:pt x="638" y="118"/>
                </a:lnTo>
                <a:lnTo>
                  <a:pt x="640" y="118"/>
                </a:lnTo>
                <a:lnTo>
                  <a:pt x="643" y="121"/>
                </a:lnTo>
                <a:lnTo>
                  <a:pt x="643" y="123"/>
                </a:lnTo>
                <a:lnTo>
                  <a:pt x="645" y="123"/>
                </a:lnTo>
                <a:lnTo>
                  <a:pt x="645" y="121"/>
                </a:lnTo>
                <a:lnTo>
                  <a:pt x="647" y="121"/>
                </a:lnTo>
                <a:lnTo>
                  <a:pt x="650" y="121"/>
                </a:lnTo>
                <a:lnTo>
                  <a:pt x="650" y="123"/>
                </a:lnTo>
                <a:lnTo>
                  <a:pt x="654" y="125"/>
                </a:lnTo>
                <a:lnTo>
                  <a:pt x="654" y="128"/>
                </a:lnTo>
                <a:lnTo>
                  <a:pt x="657" y="128"/>
                </a:lnTo>
                <a:lnTo>
                  <a:pt x="659" y="128"/>
                </a:lnTo>
                <a:lnTo>
                  <a:pt x="661" y="128"/>
                </a:lnTo>
                <a:lnTo>
                  <a:pt x="666" y="130"/>
                </a:lnTo>
                <a:lnTo>
                  <a:pt x="668" y="130"/>
                </a:lnTo>
                <a:lnTo>
                  <a:pt x="670" y="130"/>
                </a:lnTo>
                <a:lnTo>
                  <a:pt x="673" y="132"/>
                </a:lnTo>
                <a:lnTo>
                  <a:pt x="675" y="132"/>
                </a:lnTo>
                <a:lnTo>
                  <a:pt x="675" y="135"/>
                </a:lnTo>
                <a:lnTo>
                  <a:pt x="677" y="135"/>
                </a:lnTo>
                <a:lnTo>
                  <a:pt x="677" y="137"/>
                </a:lnTo>
                <a:lnTo>
                  <a:pt x="680" y="137"/>
                </a:lnTo>
                <a:lnTo>
                  <a:pt x="682" y="137"/>
                </a:lnTo>
                <a:lnTo>
                  <a:pt x="682" y="139"/>
                </a:lnTo>
                <a:lnTo>
                  <a:pt x="684" y="139"/>
                </a:lnTo>
                <a:lnTo>
                  <a:pt x="684" y="142"/>
                </a:lnTo>
                <a:lnTo>
                  <a:pt x="684" y="144"/>
                </a:lnTo>
                <a:lnTo>
                  <a:pt x="687" y="144"/>
                </a:lnTo>
                <a:lnTo>
                  <a:pt x="689" y="144"/>
                </a:lnTo>
                <a:lnTo>
                  <a:pt x="691" y="146"/>
                </a:lnTo>
                <a:lnTo>
                  <a:pt x="691" y="149"/>
                </a:lnTo>
                <a:lnTo>
                  <a:pt x="694" y="149"/>
                </a:lnTo>
                <a:lnTo>
                  <a:pt x="694" y="151"/>
                </a:lnTo>
                <a:lnTo>
                  <a:pt x="694" y="153"/>
                </a:lnTo>
                <a:lnTo>
                  <a:pt x="694" y="156"/>
                </a:lnTo>
                <a:lnTo>
                  <a:pt x="691" y="156"/>
                </a:lnTo>
                <a:lnTo>
                  <a:pt x="691" y="158"/>
                </a:lnTo>
                <a:lnTo>
                  <a:pt x="689" y="160"/>
                </a:lnTo>
                <a:lnTo>
                  <a:pt x="689" y="163"/>
                </a:lnTo>
                <a:lnTo>
                  <a:pt x="689" y="165"/>
                </a:lnTo>
                <a:lnTo>
                  <a:pt x="687" y="165"/>
                </a:lnTo>
                <a:lnTo>
                  <a:pt x="684" y="167"/>
                </a:lnTo>
                <a:lnTo>
                  <a:pt x="680" y="169"/>
                </a:lnTo>
                <a:lnTo>
                  <a:pt x="675" y="174"/>
                </a:lnTo>
                <a:lnTo>
                  <a:pt x="673" y="176"/>
                </a:lnTo>
                <a:lnTo>
                  <a:pt x="673" y="179"/>
                </a:lnTo>
                <a:lnTo>
                  <a:pt x="670" y="176"/>
                </a:lnTo>
                <a:lnTo>
                  <a:pt x="666" y="179"/>
                </a:lnTo>
                <a:lnTo>
                  <a:pt x="666" y="181"/>
                </a:lnTo>
                <a:lnTo>
                  <a:pt x="663" y="181"/>
                </a:lnTo>
                <a:lnTo>
                  <a:pt x="663" y="183"/>
                </a:lnTo>
                <a:lnTo>
                  <a:pt x="663" y="186"/>
                </a:lnTo>
                <a:lnTo>
                  <a:pt x="663" y="188"/>
                </a:lnTo>
                <a:lnTo>
                  <a:pt x="663" y="190"/>
                </a:lnTo>
                <a:lnTo>
                  <a:pt x="663" y="193"/>
                </a:lnTo>
                <a:lnTo>
                  <a:pt x="663" y="195"/>
                </a:lnTo>
                <a:lnTo>
                  <a:pt x="661" y="195"/>
                </a:lnTo>
                <a:lnTo>
                  <a:pt x="661" y="197"/>
                </a:lnTo>
                <a:lnTo>
                  <a:pt x="659" y="197"/>
                </a:lnTo>
                <a:lnTo>
                  <a:pt x="654" y="197"/>
                </a:lnTo>
                <a:lnTo>
                  <a:pt x="652" y="195"/>
                </a:lnTo>
                <a:lnTo>
                  <a:pt x="650" y="195"/>
                </a:lnTo>
                <a:lnTo>
                  <a:pt x="650" y="197"/>
                </a:lnTo>
                <a:lnTo>
                  <a:pt x="647" y="197"/>
                </a:lnTo>
                <a:lnTo>
                  <a:pt x="645" y="207"/>
                </a:lnTo>
                <a:lnTo>
                  <a:pt x="643" y="209"/>
                </a:lnTo>
                <a:lnTo>
                  <a:pt x="643" y="211"/>
                </a:lnTo>
                <a:lnTo>
                  <a:pt x="643" y="214"/>
                </a:lnTo>
                <a:lnTo>
                  <a:pt x="643" y="216"/>
                </a:lnTo>
                <a:lnTo>
                  <a:pt x="643" y="218"/>
                </a:lnTo>
                <a:lnTo>
                  <a:pt x="640" y="218"/>
                </a:lnTo>
                <a:lnTo>
                  <a:pt x="640" y="221"/>
                </a:lnTo>
                <a:lnTo>
                  <a:pt x="638" y="221"/>
                </a:lnTo>
                <a:lnTo>
                  <a:pt x="638" y="225"/>
                </a:lnTo>
                <a:lnTo>
                  <a:pt x="638" y="228"/>
                </a:lnTo>
                <a:lnTo>
                  <a:pt x="640" y="228"/>
                </a:lnTo>
                <a:lnTo>
                  <a:pt x="640" y="225"/>
                </a:lnTo>
                <a:lnTo>
                  <a:pt x="643" y="225"/>
                </a:lnTo>
                <a:lnTo>
                  <a:pt x="643" y="228"/>
                </a:lnTo>
                <a:lnTo>
                  <a:pt x="643" y="230"/>
                </a:lnTo>
                <a:lnTo>
                  <a:pt x="645" y="230"/>
                </a:lnTo>
                <a:lnTo>
                  <a:pt x="645" y="232"/>
                </a:lnTo>
                <a:lnTo>
                  <a:pt x="643" y="235"/>
                </a:lnTo>
                <a:lnTo>
                  <a:pt x="643" y="237"/>
                </a:lnTo>
                <a:lnTo>
                  <a:pt x="645" y="239"/>
                </a:lnTo>
                <a:lnTo>
                  <a:pt x="647" y="239"/>
                </a:lnTo>
                <a:lnTo>
                  <a:pt x="650" y="239"/>
                </a:lnTo>
                <a:lnTo>
                  <a:pt x="650" y="242"/>
                </a:lnTo>
                <a:lnTo>
                  <a:pt x="650" y="244"/>
                </a:lnTo>
                <a:lnTo>
                  <a:pt x="652" y="246"/>
                </a:lnTo>
                <a:lnTo>
                  <a:pt x="654" y="249"/>
                </a:lnTo>
                <a:lnTo>
                  <a:pt x="657" y="251"/>
                </a:lnTo>
                <a:lnTo>
                  <a:pt x="659" y="253"/>
                </a:lnTo>
                <a:lnTo>
                  <a:pt x="659" y="256"/>
                </a:lnTo>
                <a:lnTo>
                  <a:pt x="659" y="258"/>
                </a:lnTo>
                <a:lnTo>
                  <a:pt x="659" y="260"/>
                </a:lnTo>
                <a:lnTo>
                  <a:pt x="657" y="260"/>
                </a:lnTo>
                <a:lnTo>
                  <a:pt x="657" y="263"/>
                </a:lnTo>
                <a:lnTo>
                  <a:pt x="657" y="265"/>
                </a:lnTo>
                <a:lnTo>
                  <a:pt x="657" y="267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0" name="Freeform 17">
            <a:extLst>
              <a:ext uri="{FF2B5EF4-FFF2-40B4-BE49-F238E27FC236}">
                <a16:creationId xmlns:a16="http://schemas.microsoft.com/office/drawing/2014/main" id="{9D890293-6782-5007-2830-00EEFE9E0997}"/>
              </a:ext>
            </a:extLst>
          </p:cNvPr>
          <p:cNvSpPr>
            <a:spLocks/>
          </p:cNvSpPr>
          <p:nvPr/>
        </p:nvSpPr>
        <p:spPr bwMode="auto">
          <a:xfrm>
            <a:off x="2463911" y="3636576"/>
            <a:ext cx="857766" cy="779395"/>
          </a:xfrm>
          <a:custGeom>
            <a:avLst/>
            <a:gdLst>
              <a:gd name="T0" fmla="*/ 714 w 728"/>
              <a:gd name="T1" fmla="*/ 212 h 693"/>
              <a:gd name="T2" fmla="*/ 700 w 728"/>
              <a:gd name="T3" fmla="*/ 232 h 693"/>
              <a:gd name="T4" fmla="*/ 698 w 728"/>
              <a:gd name="T5" fmla="*/ 260 h 693"/>
              <a:gd name="T6" fmla="*/ 691 w 728"/>
              <a:gd name="T7" fmla="*/ 291 h 693"/>
              <a:gd name="T8" fmla="*/ 691 w 728"/>
              <a:gd name="T9" fmla="*/ 314 h 693"/>
              <a:gd name="T10" fmla="*/ 691 w 728"/>
              <a:gd name="T11" fmla="*/ 354 h 693"/>
              <a:gd name="T12" fmla="*/ 698 w 728"/>
              <a:gd name="T13" fmla="*/ 372 h 693"/>
              <a:gd name="T14" fmla="*/ 691 w 728"/>
              <a:gd name="T15" fmla="*/ 395 h 693"/>
              <a:gd name="T16" fmla="*/ 677 w 728"/>
              <a:gd name="T17" fmla="*/ 421 h 693"/>
              <a:gd name="T18" fmla="*/ 670 w 728"/>
              <a:gd name="T19" fmla="*/ 447 h 693"/>
              <a:gd name="T20" fmla="*/ 660 w 728"/>
              <a:gd name="T21" fmla="*/ 472 h 693"/>
              <a:gd name="T22" fmla="*/ 651 w 728"/>
              <a:gd name="T23" fmla="*/ 500 h 693"/>
              <a:gd name="T24" fmla="*/ 630 w 728"/>
              <a:gd name="T25" fmla="*/ 507 h 693"/>
              <a:gd name="T26" fmla="*/ 614 w 728"/>
              <a:gd name="T27" fmla="*/ 528 h 693"/>
              <a:gd name="T28" fmla="*/ 595 w 728"/>
              <a:gd name="T29" fmla="*/ 556 h 693"/>
              <a:gd name="T30" fmla="*/ 565 w 728"/>
              <a:gd name="T31" fmla="*/ 572 h 693"/>
              <a:gd name="T32" fmla="*/ 553 w 728"/>
              <a:gd name="T33" fmla="*/ 591 h 693"/>
              <a:gd name="T34" fmla="*/ 537 w 728"/>
              <a:gd name="T35" fmla="*/ 614 h 693"/>
              <a:gd name="T36" fmla="*/ 519 w 728"/>
              <a:gd name="T37" fmla="*/ 640 h 693"/>
              <a:gd name="T38" fmla="*/ 516 w 728"/>
              <a:gd name="T39" fmla="*/ 675 h 693"/>
              <a:gd name="T40" fmla="*/ 498 w 728"/>
              <a:gd name="T41" fmla="*/ 691 h 693"/>
              <a:gd name="T42" fmla="*/ 470 w 728"/>
              <a:gd name="T43" fmla="*/ 675 h 693"/>
              <a:gd name="T44" fmla="*/ 486 w 728"/>
              <a:gd name="T45" fmla="*/ 642 h 693"/>
              <a:gd name="T46" fmla="*/ 453 w 728"/>
              <a:gd name="T47" fmla="*/ 663 h 693"/>
              <a:gd name="T48" fmla="*/ 423 w 728"/>
              <a:gd name="T49" fmla="*/ 656 h 693"/>
              <a:gd name="T50" fmla="*/ 386 w 728"/>
              <a:gd name="T51" fmla="*/ 659 h 693"/>
              <a:gd name="T52" fmla="*/ 358 w 728"/>
              <a:gd name="T53" fmla="*/ 642 h 693"/>
              <a:gd name="T54" fmla="*/ 330 w 728"/>
              <a:gd name="T55" fmla="*/ 635 h 693"/>
              <a:gd name="T56" fmla="*/ 297 w 728"/>
              <a:gd name="T57" fmla="*/ 645 h 693"/>
              <a:gd name="T58" fmla="*/ 272 w 728"/>
              <a:gd name="T59" fmla="*/ 670 h 693"/>
              <a:gd name="T60" fmla="*/ 246 w 728"/>
              <a:gd name="T61" fmla="*/ 665 h 693"/>
              <a:gd name="T62" fmla="*/ 230 w 728"/>
              <a:gd name="T63" fmla="*/ 652 h 693"/>
              <a:gd name="T64" fmla="*/ 209 w 728"/>
              <a:gd name="T65" fmla="*/ 638 h 693"/>
              <a:gd name="T66" fmla="*/ 197 w 728"/>
              <a:gd name="T67" fmla="*/ 610 h 693"/>
              <a:gd name="T68" fmla="*/ 200 w 728"/>
              <a:gd name="T69" fmla="*/ 572 h 693"/>
              <a:gd name="T70" fmla="*/ 93 w 728"/>
              <a:gd name="T71" fmla="*/ 570 h 693"/>
              <a:gd name="T72" fmla="*/ 79 w 728"/>
              <a:gd name="T73" fmla="*/ 498 h 693"/>
              <a:gd name="T74" fmla="*/ 79 w 728"/>
              <a:gd name="T75" fmla="*/ 449 h 693"/>
              <a:gd name="T76" fmla="*/ 79 w 728"/>
              <a:gd name="T77" fmla="*/ 423 h 693"/>
              <a:gd name="T78" fmla="*/ 60 w 728"/>
              <a:gd name="T79" fmla="*/ 405 h 693"/>
              <a:gd name="T80" fmla="*/ 90 w 728"/>
              <a:gd name="T81" fmla="*/ 363 h 693"/>
              <a:gd name="T82" fmla="*/ 109 w 728"/>
              <a:gd name="T83" fmla="*/ 340 h 693"/>
              <a:gd name="T84" fmla="*/ 102 w 728"/>
              <a:gd name="T85" fmla="*/ 293 h 693"/>
              <a:gd name="T86" fmla="*/ 104 w 728"/>
              <a:gd name="T87" fmla="*/ 263 h 693"/>
              <a:gd name="T88" fmla="*/ 93 w 728"/>
              <a:gd name="T89" fmla="*/ 242 h 693"/>
              <a:gd name="T90" fmla="*/ 6 w 728"/>
              <a:gd name="T91" fmla="*/ 235 h 693"/>
              <a:gd name="T92" fmla="*/ 9 w 728"/>
              <a:gd name="T93" fmla="*/ 205 h 693"/>
              <a:gd name="T94" fmla="*/ 4 w 728"/>
              <a:gd name="T95" fmla="*/ 174 h 693"/>
              <a:gd name="T96" fmla="*/ 6 w 728"/>
              <a:gd name="T97" fmla="*/ 151 h 693"/>
              <a:gd name="T98" fmla="*/ 0 w 728"/>
              <a:gd name="T99" fmla="*/ 128 h 693"/>
              <a:gd name="T100" fmla="*/ 6 w 728"/>
              <a:gd name="T101" fmla="*/ 97 h 693"/>
              <a:gd name="T102" fmla="*/ 204 w 728"/>
              <a:gd name="T103" fmla="*/ 70 h 693"/>
              <a:gd name="T104" fmla="*/ 209 w 728"/>
              <a:gd name="T105" fmla="*/ 35 h 693"/>
              <a:gd name="T106" fmla="*/ 218 w 728"/>
              <a:gd name="T107" fmla="*/ 4 h 693"/>
              <a:gd name="T108" fmla="*/ 242 w 728"/>
              <a:gd name="T109" fmla="*/ 30 h 693"/>
              <a:gd name="T110" fmla="*/ 256 w 728"/>
              <a:gd name="T111" fmla="*/ 63 h 693"/>
              <a:gd name="T112" fmla="*/ 258 w 728"/>
              <a:gd name="T113" fmla="*/ 88 h 693"/>
              <a:gd name="T114" fmla="*/ 283 w 728"/>
              <a:gd name="T115" fmla="*/ 109 h 693"/>
              <a:gd name="T116" fmla="*/ 309 w 728"/>
              <a:gd name="T117" fmla="*/ 130 h 693"/>
              <a:gd name="T118" fmla="*/ 418 w 728"/>
              <a:gd name="T119" fmla="*/ 149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8" h="693">
                <a:moveTo>
                  <a:pt x="728" y="181"/>
                </a:moveTo>
                <a:lnTo>
                  <a:pt x="726" y="184"/>
                </a:lnTo>
                <a:lnTo>
                  <a:pt x="726" y="186"/>
                </a:lnTo>
                <a:lnTo>
                  <a:pt x="723" y="191"/>
                </a:lnTo>
                <a:lnTo>
                  <a:pt x="723" y="193"/>
                </a:lnTo>
                <a:lnTo>
                  <a:pt x="721" y="195"/>
                </a:lnTo>
                <a:lnTo>
                  <a:pt x="719" y="198"/>
                </a:lnTo>
                <a:lnTo>
                  <a:pt x="716" y="198"/>
                </a:lnTo>
                <a:lnTo>
                  <a:pt x="716" y="200"/>
                </a:lnTo>
                <a:lnTo>
                  <a:pt x="716" y="202"/>
                </a:lnTo>
                <a:lnTo>
                  <a:pt x="716" y="205"/>
                </a:lnTo>
                <a:lnTo>
                  <a:pt x="716" y="207"/>
                </a:lnTo>
                <a:lnTo>
                  <a:pt x="714" y="212"/>
                </a:lnTo>
                <a:lnTo>
                  <a:pt x="714" y="214"/>
                </a:lnTo>
                <a:lnTo>
                  <a:pt x="712" y="216"/>
                </a:lnTo>
                <a:lnTo>
                  <a:pt x="709" y="216"/>
                </a:lnTo>
                <a:lnTo>
                  <a:pt x="709" y="219"/>
                </a:lnTo>
                <a:lnTo>
                  <a:pt x="707" y="221"/>
                </a:lnTo>
                <a:lnTo>
                  <a:pt x="707" y="223"/>
                </a:lnTo>
                <a:lnTo>
                  <a:pt x="707" y="226"/>
                </a:lnTo>
                <a:lnTo>
                  <a:pt x="707" y="228"/>
                </a:lnTo>
                <a:lnTo>
                  <a:pt x="705" y="228"/>
                </a:lnTo>
                <a:lnTo>
                  <a:pt x="705" y="230"/>
                </a:lnTo>
                <a:lnTo>
                  <a:pt x="702" y="230"/>
                </a:lnTo>
                <a:lnTo>
                  <a:pt x="702" y="232"/>
                </a:lnTo>
                <a:lnTo>
                  <a:pt x="700" y="232"/>
                </a:lnTo>
                <a:lnTo>
                  <a:pt x="700" y="235"/>
                </a:lnTo>
                <a:lnTo>
                  <a:pt x="702" y="237"/>
                </a:lnTo>
                <a:lnTo>
                  <a:pt x="700" y="239"/>
                </a:lnTo>
                <a:lnTo>
                  <a:pt x="700" y="242"/>
                </a:lnTo>
                <a:lnTo>
                  <a:pt x="698" y="244"/>
                </a:lnTo>
                <a:lnTo>
                  <a:pt x="698" y="246"/>
                </a:lnTo>
                <a:lnTo>
                  <a:pt x="700" y="246"/>
                </a:lnTo>
                <a:lnTo>
                  <a:pt x="698" y="249"/>
                </a:lnTo>
                <a:lnTo>
                  <a:pt x="698" y="251"/>
                </a:lnTo>
                <a:lnTo>
                  <a:pt x="698" y="253"/>
                </a:lnTo>
                <a:lnTo>
                  <a:pt x="698" y="256"/>
                </a:lnTo>
                <a:lnTo>
                  <a:pt x="698" y="258"/>
                </a:lnTo>
                <a:lnTo>
                  <a:pt x="698" y="260"/>
                </a:lnTo>
                <a:lnTo>
                  <a:pt x="695" y="260"/>
                </a:lnTo>
                <a:lnTo>
                  <a:pt x="695" y="263"/>
                </a:lnTo>
                <a:lnTo>
                  <a:pt x="695" y="265"/>
                </a:lnTo>
                <a:lnTo>
                  <a:pt x="693" y="270"/>
                </a:lnTo>
                <a:lnTo>
                  <a:pt x="693" y="272"/>
                </a:lnTo>
                <a:lnTo>
                  <a:pt x="693" y="274"/>
                </a:lnTo>
                <a:lnTo>
                  <a:pt x="691" y="281"/>
                </a:lnTo>
                <a:lnTo>
                  <a:pt x="688" y="281"/>
                </a:lnTo>
                <a:lnTo>
                  <a:pt x="688" y="284"/>
                </a:lnTo>
                <a:lnTo>
                  <a:pt x="688" y="286"/>
                </a:lnTo>
                <a:lnTo>
                  <a:pt x="688" y="288"/>
                </a:lnTo>
                <a:lnTo>
                  <a:pt x="688" y="291"/>
                </a:lnTo>
                <a:lnTo>
                  <a:pt x="691" y="291"/>
                </a:lnTo>
                <a:lnTo>
                  <a:pt x="693" y="293"/>
                </a:lnTo>
                <a:lnTo>
                  <a:pt x="693" y="298"/>
                </a:lnTo>
                <a:lnTo>
                  <a:pt x="691" y="298"/>
                </a:lnTo>
                <a:lnTo>
                  <a:pt x="691" y="300"/>
                </a:lnTo>
                <a:lnTo>
                  <a:pt x="688" y="300"/>
                </a:lnTo>
                <a:lnTo>
                  <a:pt x="688" y="302"/>
                </a:lnTo>
                <a:lnTo>
                  <a:pt x="691" y="305"/>
                </a:lnTo>
                <a:lnTo>
                  <a:pt x="691" y="307"/>
                </a:lnTo>
                <a:lnTo>
                  <a:pt x="691" y="309"/>
                </a:lnTo>
                <a:lnTo>
                  <a:pt x="691" y="312"/>
                </a:lnTo>
                <a:lnTo>
                  <a:pt x="693" y="312"/>
                </a:lnTo>
                <a:lnTo>
                  <a:pt x="693" y="314"/>
                </a:lnTo>
                <a:lnTo>
                  <a:pt x="691" y="314"/>
                </a:lnTo>
                <a:lnTo>
                  <a:pt x="691" y="316"/>
                </a:lnTo>
                <a:lnTo>
                  <a:pt x="691" y="319"/>
                </a:lnTo>
                <a:lnTo>
                  <a:pt x="691" y="321"/>
                </a:lnTo>
                <a:lnTo>
                  <a:pt x="691" y="330"/>
                </a:lnTo>
                <a:lnTo>
                  <a:pt x="691" y="333"/>
                </a:lnTo>
                <a:lnTo>
                  <a:pt x="691" y="335"/>
                </a:lnTo>
                <a:lnTo>
                  <a:pt x="693" y="337"/>
                </a:lnTo>
                <a:lnTo>
                  <a:pt x="691" y="340"/>
                </a:lnTo>
                <a:lnTo>
                  <a:pt x="693" y="347"/>
                </a:lnTo>
                <a:lnTo>
                  <a:pt x="691" y="347"/>
                </a:lnTo>
                <a:lnTo>
                  <a:pt x="691" y="349"/>
                </a:lnTo>
                <a:lnTo>
                  <a:pt x="691" y="351"/>
                </a:lnTo>
                <a:lnTo>
                  <a:pt x="691" y="354"/>
                </a:lnTo>
                <a:lnTo>
                  <a:pt x="688" y="354"/>
                </a:lnTo>
                <a:lnTo>
                  <a:pt x="688" y="356"/>
                </a:lnTo>
                <a:lnTo>
                  <a:pt x="688" y="358"/>
                </a:lnTo>
                <a:lnTo>
                  <a:pt x="688" y="361"/>
                </a:lnTo>
                <a:lnTo>
                  <a:pt x="691" y="361"/>
                </a:lnTo>
                <a:lnTo>
                  <a:pt x="691" y="363"/>
                </a:lnTo>
                <a:lnTo>
                  <a:pt x="691" y="365"/>
                </a:lnTo>
                <a:lnTo>
                  <a:pt x="691" y="368"/>
                </a:lnTo>
                <a:lnTo>
                  <a:pt x="691" y="370"/>
                </a:lnTo>
                <a:lnTo>
                  <a:pt x="693" y="370"/>
                </a:lnTo>
                <a:lnTo>
                  <a:pt x="693" y="372"/>
                </a:lnTo>
                <a:lnTo>
                  <a:pt x="695" y="372"/>
                </a:lnTo>
                <a:lnTo>
                  <a:pt x="698" y="372"/>
                </a:lnTo>
                <a:lnTo>
                  <a:pt x="698" y="374"/>
                </a:lnTo>
                <a:lnTo>
                  <a:pt x="700" y="374"/>
                </a:lnTo>
                <a:lnTo>
                  <a:pt x="700" y="377"/>
                </a:lnTo>
                <a:lnTo>
                  <a:pt x="698" y="379"/>
                </a:lnTo>
                <a:lnTo>
                  <a:pt x="698" y="381"/>
                </a:lnTo>
                <a:lnTo>
                  <a:pt x="695" y="381"/>
                </a:lnTo>
                <a:lnTo>
                  <a:pt x="693" y="384"/>
                </a:lnTo>
                <a:lnTo>
                  <a:pt x="693" y="386"/>
                </a:lnTo>
                <a:lnTo>
                  <a:pt x="691" y="386"/>
                </a:lnTo>
                <a:lnTo>
                  <a:pt x="691" y="388"/>
                </a:lnTo>
                <a:lnTo>
                  <a:pt x="691" y="391"/>
                </a:lnTo>
                <a:lnTo>
                  <a:pt x="691" y="393"/>
                </a:lnTo>
                <a:lnTo>
                  <a:pt x="691" y="395"/>
                </a:lnTo>
                <a:lnTo>
                  <a:pt x="691" y="398"/>
                </a:lnTo>
                <a:lnTo>
                  <a:pt x="688" y="402"/>
                </a:lnTo>
                <a:lnTo>
                  <a:pt x="688" y="405"/>
                </a:lnTo>
                <a:lnTo>
                  <a:pt x="686" y="405"/>
                </a:lnTo>
                <a:lnTo>
                  <a:pt x="686" y="407"/>
                </a:lnTo>
                <a:lnTo>
                  <a:pt x="686" y="409"/>
                </a:lnTo>
                <a:lnTo>
                  <a:pt x="684" y="409"/>
                </a:lnTo>
                <a:lnTo>
                  <a:pt x="684" y="412"/>
                </a:lnTo>
                <a:lnTo>
                  <a:pt x="681" y="412"/>
                </a:lnTo>
                <a:lnTo>
                  <a:pt x="681" y="414"/>
                </a:lnTo>
                <a:lnTo>
                  <a:pt x="679" y="414"/>
                </a:lnTo>
                <a:lnTo>
                  <a:pt x="679" y="416"/>
                </a:lnTo>
                <a:lnTo>
                  <a:pt x="677" y="421"/>
                </a:lnTo>
                <a:lnTo>
                  <a:pt x="677" y="423"/>
                </a:lnTo>
                <a:lnTo>
                  <a:pt x="677" y="426"/>
                </a:lnTo>
                <a:lnTo>
                  <a:pt x="674" y="426"/>
                </a:lnTo>
                <a:lnTo>
                  <a:pt x="672" y="426"/>
                </a:lnTo>
                <a:lnTo>
                  <a:pt x="672" y="428"/>
                </a:lnTo>
                <a:lnTo>
                  <a:pt x="672" y="430"/>
                </a:lnTo>
                <a:lnTo>
                  <a:pt x="672" y="433"/>
                </a:lnTo>
                <a:lnTo>
                  <a:pt x="672" y="435"/>
                </a:lnTo>
                <a:lnTo>
                  <a:pt x="672" y="437"/>
                </a:lnTo>
                <a:lnTo>
                  <a:pt x="672" y="440"/>
                </a:lnTo>
                <a:lnTo>
                  <a:pt x="670" y="442"/>
                </a:lnTo>
                <a:lnTo>
                  <a:pt x="670" y="444"/>
                </a:lnTo>
                <a:lnTo>
                  <a:pt x="670" y="447"/>
                </a:lnTo>
                <a:lnTo>
                  <a:pt x="670" y="449"/>
                </a:lnTo>
                <a:lnTo>
                  <a:pt x="672" y="449"/>
                </a:lnTo>
                <a:lnTo>
                  <a:pt x="672" y="451"/>
                </a:lnTo>
                <a:lnTo>
                  <a:pt x="670" y="451"/>
                </a:lnTo>
                <a:lnTo>
                  <a:pt x="667" y="454"/>
                </a:lnTo>
                <a:lnTo>
                  <a:pt x="665" y="454"/>
                </a:lnTo>
                <a:lnTo>
                  <a:pt x="665" y="456"/>
                </a:lnTo>
                <a:lnTo>
                  <a:pt x="663" y="461"/>
                </a:lnTo>
                <a:lnTo>
                  <a:pt x="663" y="463"/>
                </a:lnTo>
                <a:lnTo>
                  <a:pt x="663" y="465"/>
                </a:lnTo>
                <a:lnTo>
                  <a:pt x="660" y="468"/>
                </a:lnTo>
                <a:lnTo>
                  <a:pt x="660" y="470"/>
                </a:lnTo>
                <a:lnTo>
                  <a:pt x="660" y="472"/>
                </a:lnTo>
                <a:lnTo>
                  <a:pt x="660" y="475"/>
                </a:lnTo>
                <a:lnTo>
                  <a:pt x="660" y="477"/>
                </a:lnTo>
                <a:lnTo>
                  <a:pt x="660" y="479"/>
                </a:lnTo>
                <a:lnTo>
                  <a:pt x="660" y="482"/>
                </a:lnTo>
                <a:lnTo>
                  <a:pt x="658" y="484"/>
                </a:lnTo>
                <a:lnTo>
                  <a:pt x="658" y="486"/>
                </a:lnTo>
                <a:lnTo>
                  <a:pt x="656" y="486"/>
                </a:lnTo>
                <a:lnTo>
                  <a:pt x="656" y="489"/>
                </a:lnTo>
                <a:lnTo>
                  <a:pt x="656" y="491"/>
                </a:lnTo>
                <a:lnTo>
                  <a:pt x="653" y="491"/>
                </a:lnTo>
                <a:lnTo>
                  <a:pt x="653" y="496"/>
                </a:lnTo>
                <a:lnTo>
                  <a:pt x="653" y="498"/>
                </a:lnTo>
                <a:lnTo>
                  <a:pt x="651" y="500"/>
                </a:lnTo>
                <a:lnTo>
                  <a:pt x="651" y="503"/>
                </a:lnTo>
                <a:lnTo>
                  <a:pt x="649" y="503"/>
                </a:lnTo>
                <a:lnTo>
                  <a:pt x="649" y="505"/>
                </a:lnTo>
                <a:lnTo>
                  <a:pt x="647" y="507"/>
                </a:lnTo>
                <a:lnTo>
                  <a:pt x="644" y="507"/>
                </a:lnTo>
                <a:lnTo>
                  <a:pt x="642" y="507"/>
                </a:lnTo>
                <a:lnTo>
                  <a:pt x="640" y="510"/>
                </a:lnTo>
                <a:lnTo>
                  <a:pt x="640" y="507"/>
                </a:lnTo>
                <a:lnTo>
                  <a:pt x="640" y="505"/>
                </a:lnTo>
                <a:lnTo>
                  <a:pt x="637" y="505"/>
                </a:lnTo>
                <a:lnTo>
                  <a:pt x="635" y="507"/>
                </a:lnTo>
                <a:lnTo>
                  <a:pt x="633" y="507"/>
                </a:lnTo>
                <a:lnTo>
                  <a:pt x="630" y="507"/>
                </a:lnTo>
                <a:lnTo>
                  <a:pt x="630" y="510"/>
                </a:lnTo>
                <a:lnTo>
                  <a:pt x="628" y="510"/>
                </a:lnTo>
                <a:lnTo>
                  <a:pt x="626" y="510"/>
                </a:lnTo>
                <a:lnTo>
                  <a:pt x="626" y="512"/>
                </a:lnTo>
                <a:lnTo>
                  <a:pt x="621" y="514"/>
                </a:lnTo>
                <a:lnTo>
                  <a:pt x="621" y="517"/>
                </a:lnTo>
                <a:lnTo>
                  <a:pt x="619" y="517"/>
                </a:lnTo>
                <a:lnTo>
                  <a:pt x="616" y="519"/>
                </a:lnTo>
                <a:lnTo>
                  <a:pt x="616" y="521"/>
                </a:lnTo>
                <a:lnTo>
                  <a:pt x="616" y="523"/>
                </a:lnTo>
                <a:lnTo>
                  <a:pt x="614" y="523"/>
                </a:lnTo>
                <a:lnTo>
                  <a:pt x="614" y="526"/>
                </a:lnTo>
                <a:lnTo>
                  <a:pt x="614" y="528"/>
                </a:lnTo>
                <a:lnTo>
                  <a:pt x="614" y="530"/>
                </a:lnTo>
                <a:lnTo>
                  <a:pt x="612" y="535"/>
                </a:lnTo>
                <a:lnTo>
                  <a:pt x="612" y="537"/>
                </a:lnTo>
                <a:lnTo>
                  <a:pt x="609" y="540"/>
                </a:lnTo>
                <a:lnTo>
                  <a:pt x="607" y="540"/>
                </a:lnTo>
                <a:lnTo>
                  <a:pt x="607" y="542"/>
                </a:lnTo>
                <a:lnTo>
                  <a:pt x="607" y="544"/>
                </a:lnTo>
                <a:lnTo>
                  <a:pt x="607" y="547"/>
                </a:lnTo>
                <a:lnTo>
                  <a:pt x="605" y="551"/>
                </a:lnTo>
                <a:lnTo>
                  <a:pt x="602" y="554"/>
                </a:lnTo>
                <a:lnTo>
                  <a:pt x="600" y="556"/>
                </a:lnTo>
                <a:lnTo>
                  <a:pt x="598" y="556"/>
                </a:lnTo>
                <a:lnTo>
                  <a:pt x="595" y="556"/>
                </a:lnTo>
                <a:lnTo>
                  <a:pt x="593" y="558"/>
                </a:lnTo>
                <a:lnTo>
                  <a:pt x="591" y="558"/>
                </a:lnTo>
                <a:lnTo>
                  <a:pt x="591" y="561"/>
                </a:lnTo>
                <a:lnTo>
                  <a:pt x="584" y="561"/>
                </a:lnTo>
                <a:lnTo>
                  <a:pt x="581" y="561"/>
                </a:lnTo>
                <a:lnTo>
                  <a:pt x="579" y="561"/>
                </a:lnTo>
                <a:lnTo>
                  <a:pt x="577" y="561"/>
                </a:lnTo>
                <a:lnTo>
                  <a:pt x="577" y="563"/>
                </a:lnTo>
                <a:lnTo>
                  <a:pt x="574" y="565"/>
                </a:lnTo>
                <a:lnTo>
                  <a:pt x="572" y="570"/>
                </a:lnTo>
                <a:lnTo>
                  <a:pt x="570" y="570"/>
                </a:lnTo>
                <a:lnTo>
                  <a:pt x="567" y="570"/>
                </a:lnTo>
                <a:lnTo>
                  <a:pt x="565" y="572"/>
                </a:lnTo>
                <a:lnTo>
                  <a:pt x="563" y="575"/>
                </a:lnTo>
                <a:lnTo>
                  <a:pt x="560" y="575"/>
                </a:lnTo>
                <a:lnTo>
                  <a:pt x="558" y="577"/>
                </a:lnTo>
                <a:lnTo>
                  <a:pt x="558" y="579"/>
                </a:lnTo>
                <a:lnTo>
                  <a:pt x="558" y="582"/>
                </a:lnTo>
                <a:lnTo>
                  <a:pt x="553" y="582"/>
                </a:lnTo>
                <a:lnTo>
                  <a:pt x="551" y="584"/>
                </a:lnTo>
                <a:lnTo>
                  <a:pt x="551" y="586"/>
                </a:lnTo>
                <a:lnTo>
                  <a:pt x="549" y="586"/>
                </a:lnTo>
                <a:lnTo>
                  <a:pt x="549" y="589"/>
                </a:lnTo>
                <a:lnTo>
                  <a:pt x="549" y="591"/>
                </a:lnTo>
                <a:lnTo>
                  <a:pt x="551" y="591"/>
                </a:lnTo>
                <a:lnTo>
                  <a:pt x="553" y="591"/>
                </a:lnTo>
                <a:lnTo>
                  <a:pt x="553" y="593"/>
                </a:lnTo>
                <a:lnTo>
                  <a:pt x="553" y="596"/>
                </a:lnTo>
                <a:lnTo>
                  <a:pt x="553" y="598"/>
                </a:lnTo>
                <a:lnTo>
                  <a:pt x="551" y="600"/>
                </a:lnTo>
                <a:lnTo>
                  <a:pt x="549" y="600"/>
                </a:lnTo>
                <a:lnTo>
                  <a:pt x="549" y="603"/>
                </a:lnTo>
                <a:lnTo>
                  <a:pt x="546" y="605"/>
                </a:lnTo>
                <a:lnTo>
                  <a:pt x="546" y="607"/>
                </a:lnTo>
                <a:lnTo>
                  <a:pt x="544" y="610"/>
                </a:lnTo>
                <a:lnTo>
                  <a:pt x="542" y="612"/>
                </a:lnTo>
                <a:lnTo>
                  <a:pt x="539" y="612"/>
                </a:lnTo>
                <a:lnTo>
                  <a:pt x="539" y="614"/>
                </a:lnTo>
                <a:lnTo>
                  <a:pt x="537" y="614"/>
                </a:lnTo>
                <a:lnTo>
                  <a:pt x="535" y="614"/>
                </a:lnTo>
                <a:lnTo>
                  <a:pt x="530" y="617"/>
                </a:lnTo>
                <a:lnTo>
                  <a:pt x="528" y="619"/>
                </a:lnTo>
                <a:lnTo>
                  <a:pt x="528" y="621"/>
                </a:lnTo>
                <a:lnTo>
                  <a:pt x="528" y="624"/>
                </a:lnTo>
                <a:lnTo>
                  <a:pt x="525" y="626"/>
                </a:lnTo>
                <a:lnTo>
                  <a:pt x="525" y="628"/>
                </a:lnTo>
                <a:lnTo>
                  <a:pt x="525" y="631"/>
                </a:lnTo>
                <a:lnTo>
                  <a:pt x="525" y="633"/>
                </a:lnTo>
                <a:lnTo>
                  <a:pt x="523" y="633"/>
                </a:lnTo>
                <a:lnTo>
                  <a:pt x="521" y="638"/>
                </a:lnTo>
                <a:lnTo>
                  <a:pt x="519" y="638"/>
                </a:lnTo>
                <a:lnTo>
                  <a:pt x="519" y="640"/>
                </a:lnTo>
                <a:lnTo>
                  <a:pt x="519" y="642"/>
                </a:lnTo>
                <a:lnTo>
                  <a:pt x="516" y="645"/>
                </a:lnTo>
                <a:lnTo>
                  <a:pt x="516" y="649"/>
                </a:lnTo>
                <a:lnTo>
                  <a:pt x="516" y="652"/>
                </a:lnTo>
                <a:lnTo>
                  <a:pt x="514" y="652"/>
                </a:lnTo>
                <a:lnTo>
                  <a:pt x="514" y="654"/>
                </a:lnTo>
                <a:lnTo>
                  <a:pt x="514" y="656"/>
                </a:lnTo>
                <a:lnTo>
                  <a:pt x="514" y="659"/>
                </a:lnTo>
                <a:lnTo>
                  <a:pt x="512" y="659"/>
                </a:lnTo>
                <a:lnTo>
                  <a:pt x="512" y="663"/>
                </a:lnTo>
                <a:lnTo>
                  <a:pt x="512" y="665"/>
                </a:lnTo>
                <a:lnTo>
                  <a:pt x="512" y="668"/>
                </a:lnTo>
                <a:lnTo>
                  <a:pt x="516" y="675"/>
                </a:lnTo>
                <a:lnTo>
                  <a:pt x="516" y="677"/>
                </a:lnTo>
                <a:lnTo>
                  <a:pt x="519" y="679"/>
                </a:lnTo>
                <a:lnTo>
                  <a:pt x="519" y="684"/>
                </a:lnTo>
                <a:lnTo>
                  <a:pt x="521" y="689"/>
                </a:lnTo>
                <a:lnTo>
                  <a:pt x="521" y="691"/>
                </a:lnTo>
                <a:lnTo>
                  <a:pt x="516" y="693"/>
                </a:lnTo>
                <a:lnTo>
                  <a:pt x="514" y="691"/>
                </a:lnTo>
                <a:lnTo>
                  <a:pt x="512" y="691"/>
                </a:lnTo>
                <a:lnTo>
                  <a:pt x="507" y="691"/>
                </a:lnTo>
                <a:lnTo>
                  <a:pt x="507" y="689"/>
                </a:lnTo>
                <a:lnTo>
                  <a:pt x="500" y="689"/>
                </a:lnTo>
                <a:lnTo>
                  <a:pt x="500" y="691"/>
                </a:lnTo>
                <a:lnTo>
                  <a:pt x="498" y="691"/>
                </a:lnTo>
                <a:lnTo>
                  <a:pt x="495" y="691"/>
                </a:lnTo>
                <a:lnTo>
                  <a:pt x="491" y="689"/>
                </a:lnTo>
                <a:lnTo>
                  <a:pt x="488" y="689"/>
                </a:lnTo>
                <a:lnTo>
                  <a:pt x="481" y="689"/>
                </a:lnTo>
                <a:lnTo>
                  <a:pt x="479" y="689"/>
                </a:lnTo>
                <a:lnTo>
                  <a:pt x="472" y="684"/>
                </a:lnTo>
                <a:lnTo>
                  <a:pt x="470" y="684"/>
                </a:lnTo>
                <a:lnTo>
                  <a:pt x="467" y="684"/>
                </a:lnTo>
                <a:lnTo>
                  <a:pt x="465" y="684"/>
                </a:lnTo>
                <a:lnTo>
                  <a:pt x="465" y="682"/>
                </a:lnTo>
                <a:lnTo>
                  <a:pt x="467" y="679"/>
                </a:lnTo>
                <a:lnTo>
                  <a:pt x="470" y="677"/>
                </a:lnTo>
                <a:lnTo>
                  <a:pt x="470" y="675"/>
                </a:lnTo>
                <a:lnTo>
                  <a:pt x="472" y="672"/>
                </a:lnTo>
                <a:lnTo>
                  <a:pt x="472" y="670"/>
                </a:lnTo>
                <a:lnTo>
                  <a:pt x="474" y="670"/>
                </a:lnTo>
                <a:lnTo>
                  <a:pt x="474" y="668"/>
                </a:lnTo>
                <a:lnTo>
                  <a:pt x="477" y="668"/>
                </a:lnTo>
                <a:lnTo>
                  <a:pt x="479" y="668"/>
                </a:lnTo>
                <a:lnTo>
                  <a:pt x="481" y="668"/>
                </a:lnTo>
                <a:lnTo>
                  <a:pt x="481" y="665"/>
                </a:lnTo>
                <a:lnTo>
                  <a:pt x="481" y="661"/>
                </a:lnTo>
                <a:lnTo>
                  <a:pt x="484" y="659"/>
                </a:lnTo>
                <a:lnTo>
                  <a:pt x="484" y="654"/>
                </a:lnTo>
                <a:lnTo>
                  <a:pt x="486" y="645"/>
                </a:lnTo>
                <a:lnTo>
                  <a:pt x="486" y="642"/>
                </a:lnTo>
                <a:lnTo>
                  <a:pt x="481" y="642"/>
                </a:lnTo>
                <a:lnTo>
                  <a:pt x="477" y="645"/>
                </a:lnTo>
                <a:lnTo>
                  <a:pt x="477" y="647"/>
                </a:lnTo>
                <a:lnTo>
                  <a:pt x="474" y="649"/>
                </a:lnTo>
                <a:lnTo>
                  <a:pt x="470" y="654"/>
                </a:lnTo>
                <a:lnTo>
                  <a:pt x="467" y="656"/>
                </a:lnTo>
                <a:lnTo>
                  <a:pt x="463" y="656"/>
                </a:lnTo>
                <a:lnTo>
                  <a:pt x="463" y="659"/>
                </a:lnTo>
                <a:lnTo>
                  <a:pt x="463" y="661"/>
                </a:lnTo>
                <a:lnTo>
                  <a:pt x="460" y="661"/>
                </a:lnTo>
                <a:lnTo>
                  <a:pt x="458" y="663"/>
                </a:lnTo>
                <a:lnTo>
                  <a:pt x="456" y="663"/>
                </a:lnTo>
                <a:lnTo>
                  <a:pt x="453" y="663"/>
                </a:lnTo>
                <a:lnTo>
                  <a:pt x="451" y="665"/>
                </a:lnTo>
                <a:lnTo>
                  <a:pt x="446" y="668"/>
                </a:lnTo>
                <a:lnTo>
                  <a:pt x="444" y="668"/>
                </a:lnTo>
                <a:lnTo>
                  <a:pt x="442" y="668"/>
                </a:lnTo>
                <a:lnTo>
                  <a:pt x="442" y="665"/>
                </a:lnTo>
                <a:lnTo>
                  <a:pt x="442" y="663"/>
                </a:lnTo>
                <a:lnTo>
                  <a:pt x="442" y="661"/>
                </a:lnTo>
                <a:lnTo>
                  <a:pt x="439" y="661"/>
                </a:lnTo>
                <a:lnTo>
                  <a:pt x="437" y="659"/>
                </a:lnTo>
                <a:lnTo>
                  <a:pt x="435" y="656"/>
                </a:lnTo>
                <a:lnTo>
                  <a:pt x="432" y="656"/>
                </a:lnTo>
                <a:lnTo>
                  <a:pt x="430" y="656"/>
                </a:lnTo>
                <a:lnTo>
                  <a:pt x="423" y="656"/>
                </a:lnTo>
                <a:lnTo>
                  <a:pt x="421" y="656"/>
                </a:lnTo>
                <a:lnTo>
                  <a:pt x="418" y="659"/>
                </a:lnTo>
                <a:lnTo>
                  <a:pt x="418" y="661"/>
                </a:lnTo>
                <a:lnTo>
                  <a:pt x="416" y="661"/>
                </a:lnTo>
                <a:lnTo>
                  <a:pt x="411" y="663"/>
                </a:lnTo>
                <a:lnTo>
                  <a:pt x="409" y="665"/>
                </a:lnTo>
                <a:lnTo>
                  <a:pt x="407" y="663"/>
                </a:lnTo>
                <a:lnTo>
                  <a:pt x="400" y="665"/>
                </a:lnTo>
                <a:lnTo>
                  <a:pt x="397" y="665"/>
                </a:lnTo>
                <a:lnTo>
                  <a:pt x="395" y="665"/>
                </a:lnTo>
                <a:lnTo>
                  <a:pt x="388" y="661"/>
                </a:lnTo>
                <a:lnTo>
                  <a:pt x="386" y="661"/>
                </a:lnTo>
                <a:lnTo>
                  <a:pt x="386" y="659"/>
                </a:lnTo>
                <a:lnTo>
                  <a:pt x="384" y="659"/>
                </a:lnTo>
                <a:lnTo>
                  <a:pt x="381" y="659"/>
                </a:lnTo>
                <a:lnTo>
                  <a:pt x="381" y="656"/>
                </a:lnTo>
                <a:lnTo>
                  <a:pt x="379" y="656"/>
                </a:lnTo>
                <a:lnTo>
                  <a:pt x="374" y="654"/>
                </a:lnTo>
                <a:lnTo>
                  <a:pt x="372" y="652"/>
                </a:lnTo>
                <a:lnTo>
                  <a:pt x="372" y="649"/>
                </a:lnTo>
                <a:lnTo>
                  <a:pt x="370" y="649"/>
                </a:lnTo>
                <a:lnTo>
                  <a:pt x="370" y="647"/>
                </a:lnTo>
                <a:lnTo>
                  <a:pt x="367" y="645"/>
                </a:lnTo>
                <a:lnTo>
                  <a:pt x="365" y="645"/>
                </a:lnTo>
                <a:lnTo>
                  <a:pt x="363" y="645"/>
                </a:lnTo>
                <a:lnTo>
                  <a:pt x="358" y="642"/>
                </a:lnTo>
                <a:lnTo>
                  <a:pt x="356" y="642"/>
                </a:lnTo>
                <a:lnTo>
                  <a:pt x="356" y="640"/>
                </a:lnTo>
                <a:lnTo>
                  <a:pt x="353" y="640"/>
                </a:lnTo>
                <a:lnTo>
                  <a:pt x="351" y="640"/>
                </a:lnTo>
                <a:lnTo>
                  <a:pt x="346" y="638"/>
                </a:lnTo>
                <a:lnTo>
                  <a:pt x="344" y="635"/>
                </a:lnTo>
                <a:lnTo>
                  <a:pt x="344" y="633"/>
                </a:lnTo>
                <a:lnTo>
                  <a:pt x="342" y="633"/>
                </a:lnTo>
                <a:lnTo>
                  <a:pt x="339" y="633"/>
                </a:lnTo>
                <a:lnTo>
                  <a:pt x="337" y="633"/>
                </a:lnTo>
                <a:lnTo>
                  <a:pt x="332" y="633"/>
                </a:lnTo>
                <a:lnTo>
                  <a:pt x="330" y="633"/>
                </a:lnTo>
                <a:lnTo>
                  <a:pt x="330" y="635"/>
                </a:lnTo>
                <a:lnTo>
                  <a:pt x="328" y="638"/>
                </a:lnTo>
                <a:lnTo>
                  <a:pt x="325" y="638"/>
                </a:lnTo>
                <a:lnTo>
                  <a:pt x="323" y="638"/>
                </a:lnTo>
                <a:lnTo>
                  <a:pt x="323" y="640"/>
                </a:lnTo>
                <a:lnTo>
                  <a:pt x="321" y="640"/>
                </a:lnTo>
                <a:lnTo>
                  <a:pt x="318" y="640"/>
                </a:lnTo>
                <a:lnTo>
                  <a:pt x="316" y="640"/>
                </a:lnTo>
                <a:lnTo>
                  <a:pt x="314" y="640"/>
                </a:lnTo>
                <a:lnTo>
                  <a:pt x="304" y="640"/>
                </a:lnTo>
                <a:lnTo>
                  <a:pt x="300" y="640"/>
                </a:lnTo>
                <a:lnTo>
                  <a:pt x="297" y="640"/>
                </a:lnTo>
                <a:lnTo>
                  <a:pt x="297" y="642"/>
                </a:lnTo>
                <a:lnTo>
                  <a:pt x="297" y="645"/>
                </a:lnTo>
                <a:lnTo>
                  <a:pt x="295" y="645"/>
                </a:lnTo>
                <a:lnTo>
                  <a:pt x="295" y="647"/>
                </a:lnTo>
                <a:lnTo>
                  <a:pt x="293" y="649"/>
                </a:lnTo>
                <a:lnTo>
                  <a:pt x="293" y="652"/>
                </a:lnTo>
                <a:lnTo>
                  <a:pt x="290" y="654"/>
                </a:lnTo>
                <a:lnTo>
                  <a:pt x="288" y="654"/>
                </a:lnTo>
                <a:lnTo>
                  <a:pt x="288" y="656"/>
                </a:lnTo>
                <a:lnTo>
                  <a:pt x="286" y="656"/>
                </a:lnTo>
                <a:lnTo>
                  <a:pt x="286" y="659"/>
                </a:lnTo>
                <a:lnTo>
                  <a:pt x="286" y="661"/>
                </a:lnTo>
                <a:lnTo>
                  <a:pt x="279" y="668"/>
                </a:lnTo>
                <a:lnTo>
                  <a:pt x="276" y="668"/>
                </a:lnTo>
                <a:lnTo>
                  <a:pt x="272" y="670"/>
                </a:lnTo>
                <a:lnTo>
                  <a:pt x="269" y="670"/>
                </a:lnTo>
                <a:lnTo>
                  <a:pt x="258" y="672"/>
                </a:lnTo>
                <a:lnTo>
                  <a:pt x="258" y="675"/>
                </a:lnTo>
                <a:lnTo>
                  <a:pt x="256" y="677"/>
                </a:lnTo>
                <a:lnTo>
                  <a:pt x="256" y="679"/>
                </a:lnTo>
                <a:lnTo>
                  <a:pt x="256" y="677"/>
                </a:lnTo>
                <a:lnTo>
                  <a:pt x="256" y="675"/>
                </a:lnTo>
                <a:lnTo>
                  <a:pt x="253" y="672"/>
                </a:lnTo>
                <a:lnTo>
                  <a:pt x="251" y="672"/>
                </a:lnTo>
                <a:lnTo>
                  <a:pt x="249" y="670"/>
                </a:lnTo>
                <a:lnTo>
                  <a:pt x="249" y="668"/>
                </a:lnTo>
                <a:lnTo>
                  <a:pt x="246" y="668"/>
                </a:lnTo>
                <a:lnTo>
                  <a:pt x="246" y="665"/>
                </a:lnTo>
                <a:lnTo>
                  <a:pt x="244" y="665"/>
                </a:lnTo>
                <a:lnTo>
                  <a:pt x="242" y="665"/>
                </a:lnTo>
                <a:lnTo>
                  <a:pt x="239" y="665"/>
                </a:lnTo>
                <a:lnTo>
                  <a:pt x="239" y="663"/>
                </a:lnTo>
                <a:lnTo>
                  <a:pt x="237" y="663"/>
                </a:lnTo>
                <a:lnTo>
                  <a:pt x="237" y="661"/>
                </a:lnTo>
                <a:lnTo>
                  <a:pt x="237" y="659"/>
                </a:lnTo>
                <a:lnTo>
                  <a:pt x="237" y="656"/>
                </a:lnTo>
                <a:lnTo>
                  <a:pt x="237" y="654"/>
                </a:lnTo>
                <a:lnTo>
                  <a:pt x="237" y="652"/>
                </a:lnTo>
                <a:lnTo>
                  <a:pt x="235" y="652"/>
                </a:lnTo>
                <a:lnTo>
                  <a:pt x="232" y="652"/>
                </a:lnTo>
                <a:lnTo>
                  <a:pt x="230" y="652"/>
                </a:lnTo>
                <a:lnTo>
                  <a:pt x="228" y="652"/>
                </a:lnTo>
                <a:lnTo>
                  <a:pt x="225" y="649"/>
                </a:lnTo>
                <a:lnTo>
                  <a:pt x="223" y="649"/>
                </a:lnTo>
                <a:lnTo>
                  <a:pt x="221" y="647"/>
                </a:lnTo>
                <a:lnTo>
                  <a:pt x="218" y="647"/>
                </a:lnTo>
                <a:lnTo>
                  <a:pt x="218" y="645"/>
                </a:lnTo>
                <a:lnTo>
                  <a:pt x="216" y="645"/>
                </a:lnTo>
                <a:lnTo>
                  <a:pt x="216" y="642"/>
                </a:lnTo>
                <a:lnTo>
                  <a:pt x="214" y="642"/>
                </a:lnTo>
                <a:lnTo>
                  <a:pt x="211" y="642"/>
                </a:lnTo>
                <a:lnTo>
                  <a:pt x="211" y="640"/>
                </a:lnTo>
                <a:lnTo>
                  <a:pt x="209" y="640"/>
                </a:lnTo>
                <a:lnTo>
                  <a:pt x="209" y="638"/>
                </a:lnTo>
                <a:lnTo>
                  <a:pt x="207" y="638"/>
                </a:lnTo>
                <a:lnTo>
                  <a:pt x="204" y="635"/>
                </a:lnTo>
                <a:lnTo>
                  <a:pt x="202" y="635"/>
                </a:lnTo>
                <a:lnTo>
                  <a:pt x="200" y="633"/>
                </a:lnTo>
                <a:lnTo>
                  <a:pt x="200" y="631"/>
                </a:lnTo>
                <a:lnTo>
                  <a:pt x="200" y="626"/>
                </a:lnTo>
                <a:lnTo>
                  <a:pt x="200" y="624"/>
                </a:lnTo>
                <a:lnTo>
                  <a:pt x="200" y="621"/>
                </a:lnTo>
                <a:lnTo>
                  <a:pt x="197" y="621"/>
                </a:lnTo>
                <a:lnTo>
                  <a:pt x="197" y="617"/>
                </a:lnTo>
                <a:lnTo>
                  <a:pt x="197" y="614"/>
                </a:lnTo>
                <a:lnTo>
                  <a:pt x="195" y="610"/>
                </a:lnTo>
                <a:lnTo>
                  <a:pt x="197" y="610"/>
                </a:lnTo>
                <a:lnTo>
                  <a:pt x="197" y="607"/>
                </a:lnTo>
                <a:lnTo>
                  <a:pt x="197" y="605"/>
                </a:lnTo>
                <a:lnTo>
                  <a:pt x="195" y="600"/>
                </a:lnTo>
                <a:lnTo>
                  <a:pt x="195" y="598"/>
                </a:lnTo>
                <a:lnTo>
                  <a:pt x="195" y="596"/>
                </a:lnTo>
                <a:lnTo>
                  <a:pt x="197" y="593"/>
                </a:lnTo>
                <a:lnTo>
                  <a:pt x="202" y="586"/>
                </a:lnTo>
                <a:lnTo>
                  <a:pt x="204" y="584"/>
                </a:lnTo>
                <a:lnTo>
                  <a:pt x="202" y="582"/>
                </a:lnTo>
                <a:lnTo>
                  <a:pt x="204" y="579"/>
                </a:lnTo>
                <a:lnTo>
                  <a:pt x="204" y="572"/>
                </a:lnTo>
                <a:lnTo>
                  <a:pt x="202" y="572"/>
                </a:lnTo>
                <a:lnTo>
                  <a:pt x="200" y="572"/>
                </a:lnTo>
                <a:lnTo>
                  <a:pt x="200" y="575"/>
                </a:lnTo>
                <a:lnTo>
                  <a:pt x="197" y="575"/>
                </a:lnTo>
                <a:lnTo>
                  <a:pt x="193" y="575"/>
                </a:lnTo>
                <a:lnTo>
                  <a:pt x="181" y="575"/>
                </a:lnTo>
                <a:lnTo>
                  <a:pt x="169" y="575"/>
                </a:lnTo>
                <a:lnTo>
                  <a:pt x="158" y="575"/>
                </a:lnTo>
                <a:lnTo>
                  <a:pt x="146" y="572"/>
                </a:lnTo>
                <a:lnTo>
                  <a:pt x="135" y="572"/>
                </a:lnTo>
                <a:lnTo>
                  <a:pt x="123" y="572"/>
                </a:lnTo>
                <a:lnTo>
                  <a:pt x="111" y="572"/>
                </a:lnTo>
                <a:lnTo>
                  <a:pt x="100" y="572"/>
                </a:lnTo>
                <a:lnTo>
                  <a:pt x="95" y="572"/>
                </a:lnTo>
                <a:lnTo>
                  <a:pt x="93" y="570"/>
                </a:lnTo>
                <a:lnTo>
                  <a:pt x="93" y="568"/>
                </a:lnTo>
                <a:lnTo>
                  <a:pt x="90" y="561"/>
                </a:lnTo>
                <a:lnTo>
                  <a:pt x="90" y="554"/>
                </a:lnTo>
                <a:lnTo>
                  <a:pt x="90" y="544"/>
                </a:lnTo>
                <a:lnTo>
                  <a:pt x="88" y="533"/>
                </a:lnTo>
                <a:lnTo>
                  <a:pt x="88" y="523"/>
                </a:lnTo>
                <a:lnTo>
                  <a:pt x="88" y="521"/>
                </a:lnTo>
                <a:lnTo>
                  <a:pt x="88" y="519"/>
                </a:lnTo>
                <a:lnTo>
                  <a:pt x="81" y="512"/>
                </a:lnTo>
                <a:lnTo>
                  <a:pt x="74" y="505"/>
                </a:lnTo>
                <a:lnTo>
                  <a:pt x="69" y="500"/>
                </a:lnTo>
                <a:lnTo>
                  <a:pt x="67" y="498"/>
                </a:lnTo>
                <a:lnTo>
                  <a:pt x="79" y="498"/>
                </a:lnTo>
                <a:lnTo>
                  <a:pt x="86" y="496"/>
                </a:lnTo>
                <a:lnTo>
                  <a:pt x="86" y="491"/>
                </a:lnTo>
                <a:lnTo>
                  <a:pt x="86" y="486"/>
                </a:lnTo>
                <a:lnTo>
                  <a:pt x="86" y="482"/>
                </a:lnTo>
                <a:lnTo>
                  <a:pt x="86" y="477"/>
                </a:lnTo>
                <a:lnTo>
                  <a:pt x="86" y="470"/>
                </a:lnTo>
                <a:lnTo>
                  <a:pt x="86" y="468"/>
                </a:lnTo>
                <a:lnTo>
                  <a:pt x="83" y="465"/>
                </a:lnTo>
                <a:lnTo>
                  <a:pt x="81" y="463"/>
                </a:lnTo>
                <a:lnTo>
                  <a:pt x="81" y="461"/>
                </a:lnTo>
                <a:lnTo>
                  <a:pt x="81" y="458"/>
                </a:lnTo>
                <a:lnTo>
                  <a:pt x="79" y="454"/>
                </a:lnTo>
                <a:lnTo>
                  <a:pt x="79" y="449"/>
                </a:lnTo>
                <a:lnTo>
                  <a:pt x="74" y="447"/>
                </a:lnTo>
                <a:lnTo>
                  <a:pt x="74" y="444"/>
                </a:lnTo>
                <a:lnTo>
                  <a:pt x="74" y="442"/>
                </a:lnTo>
                <a:lnTo>
                  <a:pt x="74" y="440"/>
                </a:lnTo>
                <a:lnTo>
                  <a:pt x="74" y="437"/>
                </a:lnTo>
                <a:lnTo>
                  <a:pt x="74" y="435"/>
                </a:lnTo>
                <a:lnTo>
                  <a:pt x="74" y="433"/>
                </a:lnTo>
                <a:lnTo>
                  <a:pt x="76" y="433"/>
                </a:lnTo>
                <a:lnTo>
                  <a:pt x="76" y="430"/>
                </a:lnTo>
                <a:lnTo>
                  <a:pt x="79" y="428"/>
                </a:lnTo>
                <a:lnTo>
                  <a:pt x="79" y="426"/>
                </a:lnTo>
                <a:lnTo>
                  <a:pt x="76" y="426"/>
                </a:lnTo>
                <a:lnTo>
                  <a:pt x="79" y="423"/>
                </a:lnTo>
                <a:lnTo>
                  <a:pt x="76" y="423"/>
                </a:lnTo>
                <a:lnTo>
                  <a:pt x="76" y="421"/>
                </a:lnTo>
                <a:lnTo>
                  <a:pt x="74" y="421"/>
                </a:lnTo>
                <a:lnTo>
                  <a:pt x="74" y="419"/>
                </a:lnTo>
                <a:lnTo>
                  <a:pt x="74" y="416"/>
                </a:lnTo>
                <a:lnTo>
                  <a:pt x="74" y="414"/>
                </a:lnTo>
                <a:lnTo>
                  <a:pt x="72" y="414"/>
                </a:lnTo>
                <a:lnTo>
                  <a:pt x="67" y="412"/>
                </a:lnTo>
                <a:lnTo>
                  <a:pt x="65" y="412"/>
                </a:lnTo>
                <a:lnTo>
                  <a:pt x="65" y="409"/>
                </a:lnTo>
                <a:lnTo>
                  <a:pt x="62" y="409"/>
                </a:lnTo>
                <a:lnTo>
                  <a:pt x="58" y="405"/>
                </a:lnTo>
                <a:lnTo>
                  <a:pt x="60" y="405"/>
                </a:lnTo>
                <a:lnTo>
                  <a:pt x="62" y="402"/>
                </a:lnTo>
                <a:lnTo>
                  <a:pt x="72" y="395"/>
                </a:lnTo>
                <a:lnTo>
                  <a:pt x="79" y="391"/>
                </a:lnTo>
                <a:lnTo>
                  <a:pt x="79" y="388"/>
                </a:lnTo>
                <a:lnTo>
                  <a:pt x="81" y="386"/>
                </a:lnTo>
                <a:lnTo>
                  <a:pt x="81" y="384"/>
                </a:lnTo>
                <a:lnTo>
                  <a:pt x="81" y="381"/>
                </a:lnTo>
                <a:lnTo>
                  <a:pt x="81" y="379"/>
                </a:lnTo>
                <a:lnTo>
                  <a:pt x="86" y="372"/>
                </a:lnTo>
                <a:lnTo>
                  <a:pt x="86" y="370"/>
                </a:lnTo>
                <a:lnTo>
                  <a:pt x="86" y="368"/>
                </a:lnTo>
                <a:lnTo>
                  <a:pt x="88" y="365"/>
                </a:lnTo>
                <a:lnTo>
                  <a:pt x="90" y="363"/>
                </a:lnTo>
                <a:lnTo>
                  <a:pt x="90" y="361"/>
                </a:lnTo>
                <a:lnTo>
                  <a:pt x="93" y="361"/>
                </a:lnTo>
                <a:lnTo>
                  <a:pt x="97" y="361"/>
                </a:lnTo>
                <a:lnTo>
                  <a:pt x="97" y="358"/>
                </a:lnTo>
                <a:lnTo>
                  <a:pt x="100" y="356"/>
                </a:lnTo>
                <a:lnTo>
                  <a:pt x="100" y="354"/>
                </a:lnTo>
                <a:lnTo>
                  <a:pt x="102" y="354"/>
                </a:lnTo>
                <a:lnTo>
                  <a:pt x="102" y="351"/>
                </a:lnTo>
                <a:lnTo>
                  <a:pt x="102" y="349"/>
                </a:lnTo>
                <a:lnTo>
                  <a:pt x="102" y="347"/>
                </a:lnTo>
                <a:lnTo>
                  <a:pt x="102" y="344"/>
                </a:lnTo>
                <a:lnTo>
                  <a:pt x="104" y="344"/>
                </a:lnTo>
                <a:lnTo>
                  <a:pt x="109" y="340"/>
                </a:lnTo>
                <a:lnTo>
                  <a:pt x="114" y="328"/>
                </a:lnTo>
                <a:lnTo>
                  <a:pt x="114" y="326"/>
                </a:lnTo>
                <a:lnTo>
                  <a:pt x="114" y="323"/>
                </a:lnTo>
                <a:lnTo>
                  <a:pt x="111" y="321"/>
                </a:lnTo>
                <a:lnTo>
                  <a:pt x="111" y="316"/>
                </a:lnTo>
                <a:lnTo>
                  <a:pt x="109" y="316"/>
                </a:lnTo>
                <a:lnTo>
                  <a:pt x="109" y="314"/>
                </a:lnTo>
                <a:lnTo>
                  <a:pt x="109" y="307"/>
                </a:lnTo>
                <a:lnTo>
                  <a:pt x="107" y="302"/>
                </a:lnTo>
                <a:lnTo>
                  <a:pt x="107" y="300"/>
                </a:lnTo>
                <a:lnTo>
                  <a:pt x="104" y="298"/>
                </a:lnTo>
                <a:lnTo>
                  <a:pt x="104" y="293"/>
                </a:lnTo>
                <a:lnTo>
                  <a:pt x="102" y="293"/>
                </a:lnTo>
                <a:lnTo>
                  <a:pt x="100" y="293"/>
                </a:lnTo>
                <a:lnTo>
                  <a:pt x="97" y="291"/>
                </a:lnTo>
                <a:lnTo>
                  <a:pt x="97" y="288"/>
                </a:lnTo>
                <a:lnTo>
                  <a:pt x="97" y="286"/>
                </a:lnTo>
                <a:lnTo>
                  <a:pt x="97" y="284"/>
                </a:lnTo>
                <a:lnTo>
                  <a:pt x="95" y="277"/>
                </a:lnTo>
                <a:lnTo>
                  <a:pt x="97" y="274"/>
                </a:lnTo>
                <a:lnTo>
                  <a:pt x="97" y="272"/>
                </a:lnTo>
                <a:lnTo>
                  <a:pt x="102" y="270"/>
                </a:lnTo>
                <a:lnTo>
                  <a:pt x="102" y="267"/>
                </a:lnTo>
                <a:lnTo>
                  <a:pt x="104" y="267"/>
                </a:lnTo>
                <a:lnTo>
                  <a:pt x="104" y="265"/>
                </a:lnTo>
                <a:lnTo>
                  <a:pt x="104" y="263"/>
                </a:lnTo>
                <a:lnTo>
                  <a:pt x="107" y="263"/>
                </a:lnTo>
                <a:lnTo>
                  <a:pt x="109" y="260"/>
                </a:lnTo>
                <a:lnTo>
                  <a:pt x="109" y="258"/>
                </a:lnTo>
                <a:lnTo>
                  <a:pt x="107" y="253"/>
                </a:lnTo>
                <a:lnTo>
                  <a:pt x="104" y="251"/>
                </a:lnTo>
                <a:lnTo>
                  <a:pt x="104" y="249"/>
                </a:lnTo>
                <a:lnTo>
                  <a:pt x="104" y="244"/>
                </a:lnTo>
                <a:lnTo>
                  <a:pt x="102" y="244"/>
                </a:lnTo>
                <a:lnTo>
                  <a:pt x="100" y="244"/>
                </a:lnTo>
                <a:lnTo>
                  <a:pt x="100" y="242"/>
                </a:lnTo>
                <a:lnTo>
                  <a:pt x="97" y="242"/>
                </a:lnTo>
                <a:lnTo>
                  <a:pt x="95" y="242"/>
                </a:lnTo>
                <a:lnTo>
                  <a:pt x="93" y="242"/>
                </a:lnTo>
                <a:lnTo>
                  <a:pt x="90" y="242"/>
                </a:lnTo>
                <a:lnTo>
                  <a:pt x="88" y="242"/>
                </a:lnTo>
                <a:lnTo>
                  <a:pt x="86" y="239"/>
                </a:lnTo>
                <a:lnTo>
                  <a:pt x="83" y="239"/>
                </a:lnTo>
                <a:lnTo>
                  <a:pt x="81" y="242"/>
                </a:lnTo>
                <a:lnTo>
                  <a:pt x="79" y="242"/>
                </a:lnTo>
                <a:lnTo>
                  <a:pt x="76" y="239"/>
                </a:lnTo>
                <a:lnTo>
                  <a:pt x="74" y="237"/>
                </a:lnTo>
                <a:lnTo>
                  <a:pt x="76" y="237"/>
                </a:lnTo>
                <a:lnTo>
                  <a:pt x="76" y="235"/>
                </a:lnTo>
                <a:lnTo>
                  <a:pt x="74" y="235"/>
                </a:lnTo>
                <a:lnTo>
                  <a:pt x="9" y="235"/>
                </a:lnTo>
                <a:lnTo>
                  <a:pt x="6" y="235"/>
                </a:lnTo>
                <a:lnTo>
                  <a:pt x="6" y="232"/>
                </a:lnTo>
                <a:lnTo>
                  <a:pt x="6" y="228"/>
                </a:lnTo>
                <a:lnTo>
                  <a:pt x="6" y="226"/>
                </a:lnTo>
                <a:lnTo>
                  <a:pt x="6" y="223"/>
                </a:lnTo>
                <a:lnTo>
                  <a:pt x="6" y="221"/>
                </a:lnTo>
                <a:lnTo>
                  <a:pt x="9" y="221"/>
                </a:lnTo>
                <a:lnTo>
                  <a:pt x="9" y="219"/>
                </a:lnTo>
                <a:lnTo>
                  <a:pt x="9" y="216"/>
                </a:lnTo>
                <a:lnTo>
                  <a:pt x="6" y="216"/>
                </a:lnTo>
                <a:lnTo>
                  <a:pt x="6" y="214"/>
                </a:lnTo>
                <a:lnTo>
                  <a:pt x="9" y="212"/>
                </a:lnTo>
                <a:lnTo>
                  <a:pt x="9" y="207"/>
                </a:lnTo>
                <a:lnTo>
                  <a:pt x="9" y="205"/>
                </a:lnTo>
                <a:lnTo>
                  <a:pt x="9" y="200"/>
                </a:lnTo>
                <a:lnTo>
                  <a:pt x="9" y="198"/>
                </a:lnTo>
                <a:lnTo>
                  <a:pt x="6" y="195"/>
                </a:lnTo>
                <a:lnTo>
                  <a:pt x="4" y="188"/>
                </a:lnTo>
                <a:lnTo>
                  <a:pt x="2" y="188"/>
                </a:lnTo>
                <a:lnTo>
                  <a:pt x="2" y="186"/>
                </a:lnTo>
                <a:lnTo>
                  <a:pt x="4" y="184"/>
                </a:lnTo>
                <a:lnTo>
                  <a:pt x="4" y="181"/>
                </a:lnTo>
                <a:lnTo>
                  <a:pt x="2" y="181"/>
                </a:lnTo>
                <a:lnTo>
                  <a:pt x="2" y="179"/>
                </a:lnTo>
                <a:lnTo>
                  <a:pt x="2" y="177"/>
                </a:lnTo>
                <a:lnTo>
                  <a:pt x="2" y="174"/>
                </a:lnTo>
                <a:lnTo>
                  <a:pt x="4" y="174"/>
                </a:lnTo>
                <a:lnTo>
                  <a:pt x="4" y="172"/>
                </a:lnTo>
                <a:lnTo>
                  <a:pt x="4" y="170"/>
                </a:lnTo>
                <a:lnTo>
                  <a:pt x="4" y="167"/>
                </a:lnTo>
                <a:lnTo>
                  <a:pt x="4" y="165"/>
                </a:lnTo>
                <a:lnTo>
                  <a:pt x="6" y="165"/>
                </a:lnTo>
                <a:lnTo>
                  <a:pt x="6" y="163"/>
                </a:lnTo>
                <a:lnTo>
                  <a:pt x="4" y="160"/>
                </a:lnTo>
                <a:lnTo>
                  <a:pt x="4" y="158"/>
                </a:lnTo>
                <a:lnTo>
                  <a:pt x="4" y="156"/>
                </a:lnTo>
                <a:lnTo>
                  <a:pt x="2" y="153"/>
                </a:lnTo>
                <a:lnTo>
                  <a:pt x="4" y="153"/>
                </a:lnTo>
                <a:lnTo>
                  <a:pt x="6" y="153"/>
                </a:lnTo>
                <a:lnTo>
                  <a:pt x="6" y="151"/>
                </a:lnTo>
                <a:lnTo>
                  <a:pt x="6" y="149"/>
                </a:lnTo>
                <a:lnTo>
                  <a:pt x="9" y="149"/>
                </a:lnTo>
                <a:lnTo>
                  <a:pt x="9" y="146"/>
                </a:lnTo>
                <a:lnTo>
                  <a:pt x="6" y="146"/>
                </a:lnTo>
                <a:lnTo>
                  <a:pt x="6" y="144"/>
                </a:lnTo>
                <a:lnTo>
                  <a:pt x="4" y="144"/>
                </a:lnTo>
                <a:lnTo>
                  <a:pt x="4" y="137"/>
                </a:lnTo>
                <a:lnTo>
                  <a:pt x="4" y="135"/>
                </a:lnTo>
                <a:lnTo>
                  <a:pt x="4" y="132"/>
                </a:lnTo>
                <a:lnTo>
                  <a:pt x="2" y="132"/>
                </a:lnTo>
                <a:lnTo>
                  <a:pt x="2" y="130"/>
                </a:lnTo>
                <a:lnTo>
                  <a:pt x="0" y="130"/>
                </a:lnTo>
                <a:lnTo>
                  <a:pt x="0" y="128"/>
                </a:lnTo>
                <a:lnTo>
                  <a:pt x="0" y="125"/>
                </a:lnTo>
                <a:lnTo>
                  <a:pt x="0" y="123"/>
                </a:lnTo>
                <a:lnTo>
                  <a:pt x="2" y="123"/>
                </a:lnTo>
                <a:lnTo>
                  <a:pt x="2" y="121"/>
                </a:lnTo>
                <a:lnTo>
                  <a:pt x="4" y="121"/>
                </a:lnTo>
                <a:lnTo>
                  <a:pt x="4" y="118"/>
                </a:lnTo>
                <a:lnTo>
                  <a:pt x="2" y="116"/>
                </a:lnTo>
                <a:lnTo>
                  <a:pt x="2" y="114"/>
                </a:lnTo>
                <a:lnTo>
                  <a:pt x="2" y="111"/>
                </a:lnTo>
                <a:lnTo>
                  <a:pt x="4" y="107"/>
                </a:lnTo>
                <a:lnTo>
                  <a:pt x="6" y="102"/>
                </a:lnTo>
                <a:lnTo>
                  <a:pt x="6" y="100"/>
                </a:lnTo>
                <a:lnTo>
                  <a:pt x="6" y="97"/>
                </a:lnTo>
                <a:lnTo>
                  <a:pt x="4" y="95"/>
                </a:lnTo>
                <a:lnTo>
                  <a:pt x="2" y="93"/>
                </a:lnTo>
                <a:lnTo>
                  <a:pt x="0" y="93"/>
                </a:lnTo>
                <a:lnTo>
                  <a:pt x="197" y="90"/>
                </a:lnTo>
                <a:lnTo>
                  <a:pt x="200" y="88"/>
                </a:lnTo>
                <a:lnTo>
                  <a:pt x="202" y="88"/>
                </a:lnTo>
                <a:lnTo>
                  <a:pt x="202" y="86"/>
                </a:lnTo>
                <a:lnTo>
                  <a:pt x="202" y="81"/>
                </a:lnTo>
                <a:lnTo>
                  <a:pt x="204" y="81"/>
                </a:lnTo>
                <a:lnTo>
                  <a:pt x="204" y="79"/>
                </a:lnTo>
                <a:lnTo>
                  <a:pt x="204" y="77"/>
                </a:lnTo>
                <a:lnTo>
                  <a:pt x="204" y="74"/>
                </a:lnTo>
                <a:lnTo>
                  <a:pt x="204" y="70"/>
                </a:lnTo>
                <a:lnTo>
                  <a:pt x="204" y="67"/>
                </a:lnTo>
                <a:lnTo>
                  <a:pt x="207" y="67"/>
                </a:lnTo>
                <a:lnTo>
                  <a:pt x="207" y="65"/>
                </a:lnTo>
                <a:lnTo>
                  <a:pt x="209" y="63"/>
                </a:lnTo>
                <a:lnTo>
                  <a:pt x="209" y="60"/>
                </a:lnTo>
                <a:lnTo>
                  <a:pt x="211" y="58"/>
                </a:lnTo>
                <a:lnTo>
                  <a:pt x="211" y="56"/>
                </a:lnTo>
                <a:lnTo>
                  <a:pt x="214" y="49"/>
                </a:lnTo>
                <a:lnTo>
                  <a:pt x="214" y="46"/>
                </a:lnTo>
                <a:lnTo>
                  <a:pt x="211" y="42"/>
                </a:lnTo>
                <a:lnTo>
                  <a:pt x="211" y="39"/>
                </a:lnTo>
                <a:lnTo>
                  <a:pt x="209" y="37"/>
                </a:lnTo>
                <a:lnTo>
                  <a:pt x="209" y="35"/>
                </a:lnTo>
                <a:lnTo>
                  <a:pt x="209" y="32"/>
                </a:lnTo>
                <a:lnTo>
                  <a:pt x="209" y="30"/>
                </a:lnTo>
                <a:lnTo>
                  <a:pt x="209" y="28"/>
                </a:lnTo>
                <a:lnTo>
                  <a:pt x="211" y="25"/>
                </a:lnTo>
                <a:lnTo>
                  <a:pt x="214" y="25"/>
                </a:lnTo>
                <a:lnTo>
                  <a:pt x="216" y="21"/>
                </a:lnTo>
                <a:lnTo>
                  <a:pt x="218" y="18"/>
                </a:lnTo>
                <a:lnTo>
                  <a:pt x="218" y="16"/>
                </a:lnTo>
                <a:lnTo>
                  <a:pt x="221" y="14"/>
                </a:lnTo>
                <a:lnTo>
                  <a:pt x="218" y="11"/>
                </a:lnTo>
                <a:lnTo>
                  <a:pt x="218" y="9"/>
                </a:lnTo>
                <a:lnTo>
                  <a:pt x="218" y="7"/>
                </a:lnTo>
                <a:lnTo>
                  <a:pt x="218" y="4"/>
                </a:lnTo>
                <a:lnTo>
                  <a:pt x="221" y="4"/>
                </a:lnTo>
                <a:lnTo>
                  <a:pt x="221" y="2"/>
                </a:lnTo>
                <a:lnTo>
                  <a:pt x="223" y="2"/>
                </a:lnTo>
                <a:lnTo>
                  <a:pt x="223" y="0"/>
                </a:lnTo>
                <a:lnTo>
                  <a:pt x="225" y="0"/>
                </a:lnTo>
                <a:lnTo>
                  <a:pt x="230" y="4"/>
                </a:lnTo>
                <a:lnTo>
                  <a:pt x="235" y="11"/>
                </a:lnTo>
                <a:lnTo>
                  <a:pt x="235" y="14"/>
                </a:lnTo>
                <a:lnTo>
                  <a:pt x="237" y="18"/>
                </a:lnTo>
                <a:lnTo>
                  <a:pt x="239" y="21"/>
                </a:lnTo>
                <a:lnTo>
                  <a:pt x="239" y="23"/>
                </a:lnTo>
                <a:lnTo>
                  <a:pt x="242" y="28"/>
                </a:lnTo>
                <a:lnTo>
                  <a:pt x="242" y="30"/>
                </a:lnTo>
                <a:lnTo>
                  <a:pt x="244" y="35"/>
                </a:lnTo>
                <a:lnTo>
                  <a:pt x="244" y="37"/>
                </a:lnTo>
                <a:lnTo>
                  <a:pt x="244" y="39"/>
                </a:lnTo>
                <a:lnTo>
                  <a:pt x="246" y="42"/>
                </a:lnTo>
                <a:lnTo>
                  <a:pt x="246" y="44"/>
                </a:lnTo>
                <a:lnTo>
                  <a:pt x="246" y="46"/>
                </a:lnTo>
                <a:lnTo>
                  <a:pt x="251" y="49"/>
                </a:lnTo>
                <a:lnTo>
                  <a:pt x="251" y="51"/>
                </a:lnTo>
                <a:lnTo>
                  <a:pt x="251" y="53"/>
                </a:lnTo>
                <a:lnTo>
                  <a:pt x="256" y="56"/>
                </a:lnTo>
                <a:lnTo>
                  <a:pt x="256" y="58"/>
                </a:lnTo>
                <a:lnTo>
                  <a:pt x="256" y="60"/>
                </a:lnTo>
                <a:lnTo>
                  <a:pt x="256" y="63"/>
                </a:lnTo>
                <a:lnTo>
                  <a:pt x="253" y="63"/>
                </a:lnTo>
                <a:lnTo>
                  <a:pt x="253" y="65"/>
                </a:lnTo>
                <a:lnTo>
                  <a:pt x="253" y="67"/>
                </a:lnTo>
                <a:lnTo>
                  <a:pt x="253" y="70"/>
                </a:lnTo>
                <a:lnTo>
                  <a:pt x="253" y="72"/>
                </a:lnTo>
                <a:lnTo>
                  <a:pt x="256" y="74"/>
                </a:lnTo>
                <a:lnTo>
                  <a:pt x="256" y="77"/>
                </a:lnTo>
                <a:lnTo>
                  <a:pt x="256" y="79"/>
                </a:lnTo>
                <a:lnTo>
                  <a:pt x="256" y="81"/>
                </a:lnTo>
                <a:lnTo>
                  <a:pt x="256" y="84"/>
                </a:lnTo>
                <a:lnTo>
                  <a:pt x="258" y="84"/>
                </a:lnTo>
                <a:lnTo>
                  <a:pt x="258" y="86"/>
                </a:lnTo>
                <a:lnTo>
                  <a:pt x="258" y="88"/>
                </a:lnTo>
                <a:lnTo>
                  <a:pt x="258" y="90"/>
                </a:lnTo>
                <a:lnTo>
                  <a:pt x="260" y="90"/>
                </a:lnTo>
                <a:lnTo>
                  <a:pt x="263" y="93"/>
                </a:lnTo>
                <a:lnTo>
                  <a:pt x="265" y="93"/>
                </a:lnTo>
                <a:lnTo>
                  <a:pt x="265" y="95"/>
                </a:lnTo>
                <a:lnTo>
                  <a:pt x="267" y="95"/>
                </a:lnTo>
                <a:lnTo>
                  <a:pt x="269" y="97"/>
                </a:lnTo>
                <a:lnTo>
                  <a:pt x="272" y="100"/>
                </a:lnTo>
                <a:lnTo>
                  <a:pt x="272" y="102"/>
                </a:lnTo>
                <a:lnTo>
                  <a:pt x="274" y="102"/>
                </a:lnTo>
                <a:lnTo>
                  <a:pt x="276" y="104"/>
                </a:lnTo>
                <a:lnTo>
                  <a:pt x="281" y="107"/>
                </a:lnTo>
                <a:lnTo>
                  <a:pt x="283" y="109"/>
                </a:lnTo>
                <a:lnTo>
                  <a:pt x="286" y="109"/>
                </a:lnTo>
                <a:lnTo>
                  <a:pt x="290" y="111"/>
                </a:lnTo>
                <a:lnTo>
                  <a:pt x="290" y="114"/>
                </a:lnTo>
                <a:lnTo>
                  <a:pt x="290" y="116"/>
                </a:lnTo>
                <a:lnTo>
                  <a:pt x="290" y="121"/>
                </a:lnTo>
                <a:lnTo>
                  <a:pt x="293" y="123"/>
                </a:lnTo>
                <a:lnTo>
                  <a:pt x="295" y="123"/>
                </a:lnTo>
                <a:lnTo>
                  <a:pt x="297" y="123"/>
                </a:lnTo>
                <a:lnTo>
                  <a:pt x="300" y="123"/>
                </a:lnTo>
                <a:lnTo>
                  <a:pt x="304" y="125"/>
                </a:lnTo>
                <a:lnTo>
                  <a:pt x="307" y="125"/>
                </a:lnTo>
                <a:lnTo>
                  <a:pt x="307" y="128"/>
                </a:lnTo>
                <a:lnTo>
                  <a:pt x="309" y="130"/>
                </a:lnTo>
                <a:lnTo>
                  <a:pt x="309" y="132"/>
                </a:lnTo>
                <a:lnTo>
                  <a:pt x="309" y="135"/>
                </a:lnTo>
                <a:lnTo>
                  <a:pt x="311" y="135"/>
                </a:lnTo>
                <a:lnTo>
                  <a:pt x="314" y="135"/>
                </a:lnTo>
                <a:lnTo>
                  <a:pt x="314" y="132"/>
                </a:lnTo>
                <a:lnTo>
                  <a:pt x="316" y="132"/>
                </a:lnTo>
                <a:lnTo>
                  <a:pt x="318" y="135"/>
                </a:lnTo>
                <a:lnTo>
                  <a:pt x="321" y="135"/>
                </a:lnTo>
                <a:lnTo>
                  <a:pt x="323" y="135"/>
                </a:lnTo>
                <a:lnTo>
                  <a:pt x="325" y="137"/>
                </a:lnTo>
                <a:lnTo>
                  <a:pt x="328" y="139"/>
                </a:lnTo>
                <a:lnTo>
                  <a:pt x="330" y="139"/>
                </a:lnTo>
                <a:lnTo>
                  <a:pt x="418" y="149"/>
                </a:lnTo>
                <a:lnTo>
                  <a:pt x="660" y="174"/>
                </a:lnTo>
                <a:lnTo>
                  <a:pt x="667" y="174"/>
                </a:lnTo>
                <a:lnTo>
                  <a:pt x="728" y="181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>
              <a:solidFill>
                <a:schemeClr val="accent4"/>
              </a:solidFill>
            </a:endParaRPr>
          </a:p>
        </p:txBody>
      </p:sp>
      <p:sp>
        <p:nvSpPr>
          <p:cNvPr id="141" name="Freeform 18">
            <a:extLst>
              <a:ext uri="{FF2B5EF4-FFF2-40B4-BE49-F238E27FC236}">
                <a16:creationId xmlns:a16="http://schemas.microsoft.com/office/drawing/2014/main" id="{8728E5A4-722E-D6F3-EAE1-89AB51DDBF13}"/>
              </a:ext>
            </a:extLst>
          </p:cNvPr>
          <p:cNvSpPr>
            <a:spLocks/>
          </p:cNvSpPr>
          <p:nvPr/>
        </p:nvSpPr>
        <p:spPr bwMode="auto">
          <a:xfrm>
            <a:off x="2740801" y="5052534"/>
            <a:ext cx="517252" cy="473485"/>
          </a:xfrm>
          <a:custGeom>
            <a:avLst/>
            <a:gdLst>
              <a:gd name="T0" fmla="*/ 365 w 439"/>
              <a:gd name="T1" fmla="*/ 270 h 421"/>
              <a:gd name="T2" fmla="*/ 300 w 439"/>
              <a:gd name="T3" fmla="*/ 312 h 421"/>
              <a:gd name="T4" fmla="*/ 325 w 439"/>
              <a:gd name="T5" fmla="*/ 293 h 421"/>
              <a:gd name="T6" fmla="*/ 339 w 439"/>
              <a:gd name="T7" fmla="*/ 286 h 421"/>
              <a:gd name="T8" fmla="*/ 358 w 439"/>
              <a:gd name="T9" fmla="*/ 261 h 421"/>
              <a:gd name="T10" fmla="*/ 372 w 439"/>
              <a:gd name="T11" fmla="*/ 245 h 421"/>
              <a:gd name="T12" fmla="*/ 381 w 439"/>
              <a:gd name="T13" fmla="*/ 221 h 421"/>
              <a:gd name="T14" fmla="*/ 379 w 439"/>
              <a:gd name="T15" fmla="*/ 210 h 421"/>
              <a:gd name="T16" fmla="*/ 358 w 439"/>
              <a:gd name="T17" fmla="*/ 214 h 421"/>
              <a:gd name="T18" fmla="*/ 349 w 439"/>
              <a:gd name="T19" fmla="*/ 200 h 421"/>
              <a:gd name="T20" fmla="*/ 346 w 439"/>
              <a:gd name="T21" fmla="*/ 207 h 421"/>
              <a:gd name="T22" fmla="*/ 344 w 439"/>
              <a:gd name="T23" fmla="*/ 226 h 421"/>
              <a:gd name="T24" fmla="*/ 339 w 439"/>
              <a:gd name="T25" fmla="*/ 240 h 421"/>
              <a:gd name="T26" fmla="*/ 323 w 439"/>
              <a:gd name="T27" fmla="*/ 263 h 421"/>
              <a:gd name="T28" fmla="*/ 304 w 439"/>
              <a:gd name="T29" fmla="*/ 272 h 421"/>
              <a:gd name="T30" fmla="*/ 297 w 439"/>
              <a:gd name="T31" fmla="*/ 286 h 421"/>
              <a:gd name="T32" fmla="*/ 290 w 439"/>
              <a:gd name="T33" fmla="*/ 310 h 421"/>
              <a:gd name="T34" fmla="*/ 295 w 439"/>
              <a:gd name="T35" fmla="*/ 317 h 421"/>
              <a:gd name="T36" fmla="*/ 274 w 439"/>
              <a:gd name="T37" fmla="*/ 359 h 421"/>
              <a:gd name="T38" fmla="*/ 214 w 439"/>
              <a:gd name="T39" fmla="*/ 419 h 421"/>
              <a:gd name="T40" fmla="*/ 221 w 439"/>
              <a:gd name="T41" fmla="*/ 387 h 421"/>
              <a:gd name="T42" fmla="*/ 235 w 439"/>
              <a:gd name="T43" fmla="*/ 368 h 421"/>
              <a:gd name="T44" fmla="*/ 258 w 439"/>
              <a:gd name="T45" fmla="*/ 368 h 421"/>
              <a:gd name="T46" fmla="*/ 263 w 439"/>
              <a:gd name="T47" fmla="*/ 328 h 421"/>
              <a:gd name="T48" fmla="*/ 246 w 439"/>
              <a:gd name="T49" fmla="*/ 345 h 421"/>
              <a:gd name="T50" fmla="*/ 218 w 439"/>
              <a:gd name="T51" fmla="*/ 342 h 421"/>
              <a:gd name="T52" fmla="*/ 200 w 439"/>
              <a:gd name="T53" fmla="*/ 312 h 421"/>
              <a:gd name="T54" fmla="*/ 172 w 439"/>
              <a:gd name="T55" fmla="*/ 293 h 421"/>
              <a:gd name="T56" fmla="*/ 146 w 439"/>
              <a:gd name="T57" fmla="*/ 268 h 421"/>
              <a:gd name="T58" fmla="*/ 125 w 439"/>
              <a:gd name="T59" fmla="*/ 256 h 421"/>
              <a:gd name="T60" fmla="*/ 104 w 439"/>
              <a:gd name="T61" fmla="*/ 238 h 421"/>
              <a:gd name="T62" fmla="*/ 86 w 439"/>
              <a:gd name="T63" fmla="*/ 235 h 421"/>
              <a:gd name="T64" fmla="*/ 65 w 439"/>
              <a:gd name="T65" fmla="*/ 205 h 421"/>
              <a:gd name="T66" fmla="*/ 41 w 439"/>
              <a:gd name="T67" fmla="*/ 184 h 421"/>
              <a:gd name="T68" fmla="*/ 21 w 439"/>
              <a:gd name="T69" fmla="*/ 196 h 421"/>
              <a:gd name="T70" fmla="*/ 11 w 439"/>
              <a:gd name="T71" fmla="*/ 179 h 421"/>
              <a:gd name="T72" fmla="*/ 37 w 439"/>
              <a:gd name="T73" fmla="*/ 151 h 421"/>
              <a:gd name="T74" fmla="*/ 58 w 439"/>
              <a:gd name="T75" fmla="*/ 123 h 421"/>
              <a:gd name="T76" fmla="*/ 90 w 439"/>
              <a:gd name="T77" fmla="*/ 89 h 421"/>
              <a:gd name="T78" fmla="*/ 107 w 439"/>
              <a:gd name="T79" fmla="*/ 79 h 421"/>
              <a:gd name="T80" fmla="*/ 116 w 439"/>
              <a:gd name="T81" fmla="*/ 61 h 421"/>
              <a:gd name="T82" fmla="*/ 135 w 439"/>
              <a:gd name="T83" fmla="*/ 47 h 421"/>
              <a:gd name="T84" fmla="*/ 153 w 439"/>
              <a:gd name="T85" fmla="*/ 40 h 421"/>
              <a:gd name="T86" fmla="*/ 167 w 439"/>
              <a:gd name="T87" fmla="*/ 26 h 421"/>
              <a:gd name="T88" fmla="*/ 186 w 439"/>
              <a:gd name="T89" fmla="*/ 19 h 421"/>
              <a:gd name="T90" fmla="*/ 207 w 439"/>
              <a:gd name="T91" fmla="*/ 5 h 421"/>
              <a:gd name="T92" fmla="*/ 228 w 439"/>
              <a:gd name="T93" fmla="*/ 7 h 421"/>
              <a:gd name="T94" fmla="*/ 244 w 439"/>
              <a:gd name="T95" fmla="*/ 9 h 421"/>
              <a:gd name="T96" fmla="*/ 263 w 439"/>
              <a:gd name="T97" fmla="*/ 7 h 421"/>
              <a:gd name="T98" fmla="*/ 274 w 439"/>
              <a:gd name="T99" fmla="*/ 12 h 421"/>
              <a:gd name="T100" fmla="*/ 295 w 439"/>
              <a:gd name="T101" fmla="*/ 14 h 421"/>
              <a:gd name="T102" fmla="*/ 309 w 439"/>
              <a:gd name="T103" fmla="*/ 19 h 421"/>
              <a:gd name="T104" fmla="*/ 321 w 439"/>
              <a:gd name="T105" fmla="*/ 28 h 421"/>
              <a:gd name="T106" fmla="*/ 339 w 439"/>
              <a:gd name="T107" fmla="*/ 35 h 421"/>
              <a:gd name="T108" fmla="*/ 358 w 439"/>
              <a:gd name="T109" fmla="*/ 49 h 421"/>
              <a:gd name="T110" fmla="*/ 377 w 439"/>
              <a:gd name="T111" fmla="*/ 70 h 421"/>
              <a:gd name="T112" fmla="*/ 400 w 439"/>
              <a:gd name="T113" fmla="*/ 96 h 421"/>
              <a:gd name="T114" fmla="*/ 423 w 439"/>
              <a:gd name="T115" fmla="*/ 98 h 421"/>
              <a:gd name="T116" fmla="*/ 437 w 439"/>
              <a:gd name="T117" fmla="*/ 110 h 421"/>
              <a:gd name="T118" fmla="*/ 421 w 439"/>
              <a:gd name="T119" fmla="*/ 137 h 421"/>
              <a:gd name="T120" fmla="*/ 418 w 439"/>
              <a:gd name="T121" fmla="*/ 151 h 4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39" h="421">
                <a:moveTo>
                  <a:pt x="437" y="154"/>
                </a:moveTo>
                <a:lnTo>
                  <a:pt x="430" y="161"/>
                </a:lnTo>
                <a:lnTo>
                  <a:pt x="428" y="168"/>
                </a:lnTo>
                <a:lnTo>
                  <a:pt x="423" y="172"/>
                </a:lnTo>
                <a:lnTo>
                  <a:pt x="418" y="182"/>
                </a:lnTo>
                <a:lnTo>
                  <a:pt x="416" y="184"/>
                </a:lnTo>
                <a:lnTo>
                  <a:pt x="405" y="207"/>
                </a:lnTo>
                <a:lnTo>
                  <a:pt x="402" y="214"/>
                </a:lnTo>
                <a:lnTo>
                  <a:pt x="398" y="224"/>
                </a:lnTo>
                <a:lnTo>
                  <a:pt x="381" y="247"/>
                </a:lnTo>
                <a:lnTo>
                  <a:pt x="381" y="249"/>
                </a:lnTo>
                <a:lnTo>
                  <a:pt x="374" y="259"/>
                </a:lnTo>
                <a:lnTo>
                  <a:pt x="367" y="265"/>
                </a:lnTo>
                <a:lnTo>
                  <a:pt x="365" y="270"/>
                </a:lnTo>
                <a:lnTo>
                  <a:pt x="356" y="279"/>
                </a:lnTo>
                <a:lnTo>
                  <a:pt x="349" y="284"/>
                </a:lnTo>
                <a:lnTo>
                  <a:pt x="339" y="293"/>
                </a:lnTo>
                <a:lnTo>
                  <a:pt x="325" y="303"/>
                </a:lnTo>
                <a:lnTo>
                  <a:pt x="309" y="312"/>
                </a:lnTo>
                <a:lnTo>
                  <a:pt x="307" y="312"/>
                </a:lnTo>
                <a:lnTo>
                  <a:pt x="297" y="321"/>
                </a:lnTo>
                <a:lnTo>
                  <a:pt x="295" y="326"/>
                </a:lnTo>
                <a:lnTo>
                  <a:pt x="295" y="324"/>
                </a:lnTo>
                <a:lnTo>
                  <a:pt x="297" y="321"/>
                </a:lnTo>
                <a:lnTo>
                  <a:pt x="297" y="319"/>
                </a:lnTo>
                <a:lnTo>
                  <a:pt x="297" y="317"/>
                </a:lnTo>
                <a:lnTo>
                  <a:pt x="297" y="314"/>
                </a:lnTo>
                <a:lnTo>
                  <a:pt x="300" y="312"/>
                </a:lnTo>
                <a:lnTo>
                  <a:pt x="300" y="310"/>
                </a:lnTo>
                <a:lnTo>
                  <a:pt x="295" y="305"/>
                </a:lnTo>
                <a:lnTo>
                  <a:pt x="297" y="303"/>
                </a:lnTo>
                <a:lnTo>
                  <a:pt x="300" y="305"/>
                </a:lnTo>
                <a:lnTo>
                  <a:pt x="304" y="307"/>
                </a:lnTo>
                <a:lnTo>
                  <a:pt x="307" y="307"/>
                </a:lnTo>
                <a:lnTo>
                  <a:pt x="309" y="307"/>
                </a:lnTo>
                <a:lnTo>
                  <a:pt x="311" y="305"/>
                </a:lnTo>
                <a:lnTo>
                  <a:pt x="309" y="303"/>
                </a:lnTo>
                <a:lnTo>
                  <a:pt x="314" y="303"/>
                </a:lnTo>
                <a:lnTo>
                  <a:pt x="316" y="303"/>
                </a:lnTo>
                <a:lnTo>
                  <a:pt x="318" y="303"/>
                </a:lnTo>
                <a:lnTo>
                  <a:pt x="325" y="296"/>
                </a:lnTo>
                <a:lnTo>
                  <a:pt x="325" y="293"/>
                </a:lnTo>
                <a:lnTo>
                  <a:pt x="328" y="293"/>
                </a:lnTo>
                <a:lnTo>
                  <a:pt x="328" y="291"/>
                </a:lnTo>
                <a:lnTo>
                  <a:pt x="330" y="289"/>
                </a:lnTo>
                <a:lnTo>
                  <a:pt x="330" y="291"/>
                </a:lnTo>
                <a:lnTo>
                  <a:pt x="330" y="293"/>
                </a:lnTo>
                <a:lnTo>
                  <a:pt x="332" y="293"/>
                </a:lnTo>
                <a:lnTo>
                  <a:pt x="332" y="291"/>
                </a:lnTo>
                <a:lnTo>
                  <a:pt x="330" y="289"/>
                </a:lnTo>
                <a:lnTo>
                  <a:pt x="332" y="289"/>
                </a:lnTo>
                <a:lnTo>
                  <a:pt x="332" y="286"/>
                </a:lnTo>
                <a:lnTo>
                  <a:pt x="332" y="284"/>
                </a:lnTo>
                <a:lnTo>
                  <a:pt x="335" y="284"/>
                </a:lnTo>
                <a:lnTo>
                  <a:pt x="335" y="286"/>
                </a:lnTo>
                <a:lnTo>
                  <a:pt x="339" y="286"/>
                </a:lnTo>
                <a:lnTo>
                  <a:pt x="342" y="284"/>
                </a:lnTo>
                <a:lnTo>
                  <a:pt x="344" y="284"/>
                </a:lnTo>
                <a:lnTo>
                  <a:pt x="346" y="282"/>
                </a:lnTo>
                <a:lnTo>
                  <a:pt x="346" y="277"/>
                </a:lnTo>
                <a:lnTo>
                  <a:pt x="349" y="272"/>
                </a:lnTo>
                <a:lnTo>
                  <a:pt x="349" y="268"/>
                </a:lnTo>
                <a:lnTo>
                  <a:pt x="349" y="263"/>
                </a:lnTo>
                <a:lnTo>
                  <a:pt x="349" y="261"/>
                </a:lnTo>
                <a:lnTo>
                  <a:pt x="349" y="259"/>
                </a:lnTo>
                <a:lnTo>
                  <a:pt x="351" y="259"/>
                </a:lnTo>
                <a:lnTo>
                  <a:pt x="353" y="261"/>
                </a:lnTo>
                <a:lnTo>
                  <a:pt x="356" y="259"/>
                </a:lnTo>
                <a:lnTo>
                  <a:pt x="358" y="259"/>
                </a:lnTo>
                <a:lnTo>
                  <a:pt x="358" y="261"/>
                </a:lnTo>
                <a:lnTo>
                  <a:pt x="358" y="263"/>
                </a:lnTo>
                <a:lnTo>
                  <a:pt x="360" y="263"/>
                </a:lnTo>
                <a:lnTo>
                  <a:pt x="360" y="261"/>
                </a:lnTo>
                <a:lnTo>
                  <a:pt x="363" y="261"/>
                </a:lnTo>
                <a:lnTo>
                  <a:pt x="360" y="261"/>
                </a:lnTo>
                <a:lnTo>
                  <a:pt x="358" y="259"/>
                </a:lnTo>
                <a:lnTo>
                  <a:pt x="360" y="256"/>
                </a:lnTo>
                <a:lnTo>
                  <a:pt x="360" y="254"/>
                </a:lnTo>
                <a:lnTo>
                  <a:pt x="360" y="252"/>
                </a:lnTo>
                <a:lnTo>
                  <a:pt x="360" y="249"/>
                </a:lnTo>
                <a:lnTo>
                  <a:pt x="363" y="249"/>
                </a:lnTo>
                <a:lnTo>
                  <a:pt x="365" y="249"/>
                </a:lnTo>
                <a:lnTo>
                  <a:pt x="370" y="245"/>
                </a:lnTo>
                <a:lnTo>
                  <a:pt x="372" y="245"/>
                </a:lnTo>
                <a:lnTo>
                  <a:pt x="374" y="245"/>
                </a:lnTo>
                <a:lnTo>
                  <a:pt x="374" y="242"/>
                </a:lnTo>
                <a:lnTo>
                  <a:pt x="377" y="240"/>
                </a:lnTo>
                <a:lnTo>
                  <a:pt x="377" y="233"/>
                </a:lnTo>
                <a:lnTo>
                  <a:pt x="377" y="224"/>
                </a:lnTo>
                <a:lnTo>
                  <a:pt x="377" y="221"/>
                </a:lnTo>
                <a:lnTo>
                  <a:pt x="377" y="219"/>
                </a:lnTo>
                <a:lnTo>
                  <a:pt x="377" y="217"/>
                </a:lnTo>
                <a:lnTo>
                  <a:pt x="377" y="214"/>
                </a:lnTo>
                <a:lnTo>
                  <a:pt x="379" y="217"/>
                </a:lnTo>
                <a:lnTo>
                  <a:pt x="381" y="219"/>
                </a:lnTo>
                <a:lnTo>
                  <a:pt x="379" y="219"/>
                </a:lnTo>
                <a:lnTo>
                  <a:pt x="379" y="221"/>
                </a:lnTo>
                <a:lnTo>
                  <a:pt x="381" y="221"/>
                </a:lnTo>
                <a:lnTo>
                  <a:pt x="381" y="224"/>
                </a:lnTo>
                <a:lnTo>
                  <a:pt x="384" y="224"/>
                </a:lnTo>
                <a:lnTo>
                  <a:pt x="384" y="221"/>
                </a:lnTo>
                <a:lnTo>
                  <a:pt x="384" y="219"/>
                </a:lnTo>
                <a:lnTo>
                  <a:pt x="386" y="217"/>
                </a:lnTo>
                <a:lnTo>
                  <a:pt x="386" y="214"/>
                </a:lnTo>
                <a:lnTo>
                  <a:pt x="386" y="212"/>
                </a:lnTo>
                <a:lnTo>
                  <a:pt x="386" y="210"/>
                </a:lnTo>
                <a:lnTo>
                  <a:pt x="384" y="207"/>
                </a:lnTo>
                <a:lnTo>
                  <a:pt x="384" y="205"/>
                </a:lnTo>
                <a:lnTo>
                  <a:pt x="381" y="205"/>
                </a:lnTo>
                <a:lnTo>
                  <a:pt x="379" y="207"/>
                </a:lnTo>
                <a:lnTo>
                  <a:pt x="381" y="210"/>
                </a:lnTo>
                <a:lnTo>
                  <a:pt x="379" y="210"/>
                </a:lnTo>
                <a:lnTo>
                  <a:pt x="379" y="212"/>
                </a:lnTo>
                <a:lnTo>
                  <a:pt x="374" y="212"/>
                </a:lnTo>
                <a:lnTo>
                  <a:pt x="372" y="212"/>
                </a:lnTo>
                <a:lnTo>
                  <a:pt x="372" y="214"/>
                </a:lnTo>
                <a:lnTo>
                  <a:pt x="370" y="212"/>
                </a:lnTo>
                <a:lnTo>
                  <a:pt x="367" y="212"/>
                </a:lnTo>
                <a:lnTo>
                  <a:pt x="365" y="212"/>
                </a:lnTo>
                <a:lnTo>
                  <a:pt x="365" y="214"/>
                </a:lnTo>
                <a:lnTo>
                  <a:pt x="365" y="217"/>
                </a:lnTo>
                <a:lnTo>
                  <a:pt x="365" y="219"/>
                </a:lnTo>
                <a:lnTo>
                  <a:pt x="363" y="217"/>
                </a:lnTo>
                <a:lnTo>
                  <a:pt x="360" y="217"/>
                </a:lnTo>
                <a:lnTo>
                  <a:pt x="358" y="217"/>
                </a:lnTo>
                <a:lnTo>
                  <a:pt x="358" y="214"/>
                </a:lnTo>
                <a:lnTo>
                  <a:pt x="360" y="212"/>
                </a:lnTo>
                <a:lnTo>
                  <a:pt x="360" y="210"/>
                </a:lnTo>
                <a:lnTo>
                  <a:pt x="360" y="207"/>
                </a:lnTo>
                <a:lnTo>
                  <a:pt x="358" y="210"/>
                </a:lnTo>
                <a:lnTo>
                  <a:pt x="358" y="207"/>
                </a:lnTo>
                <a:lnTo>
                  <a:pt x="356" y="207"/>
                </a:lnTo>
                <a:lnTo>
                  <a:pt x="353" y="207"/>
                </a:lnTo>
                <a:lnTo>
                  <a:pt x="351" y="205"/>
                </a:lnTo>
                <a:lnTo>
                  <a:pt x="353" y="205"/>
                </a:lnTo>
                <a:lnTo>
                  <a:pt x="351" y="205"/>
                </a:lnTo>
                <a:lnTo>
                  <a:pt x="351" y="203"/>
                </a:lnTo>
                <a:lnTo>
                  <a:pt x="349" y="203"/>
                </a:lnTo>
                <a:lnTo>
                  <a:pt x="351" y="200"/>
                </a:lnTo>
                <a:lnTo>
                  <a:pt x="349" y="200"/>
                </a:lnTo>
                <a:lnTo>
                  <a:pt x="349" y="198"/>
                </a:lnTo>
                <a:lnTo>
                  <a:pt x="349" y="196"/>
                </a:lnTo>
                <a:lnTo>
                  <a:pt x="349" y="193"/>
                </a:lnTo>
                <a:lnTo>
                  <a:pt x="349" y="191"/>
                </a:lnTo>
                <a:lnTo>
                  <a:pt x="346" y="191"/>
                </a:lnTo>
                <a:lnTo>
                  <a:pt x="346" y="193"/>
                </a:lnTo>
                <a:lnTo>
                  <a:pt x="346" y="196"/>
                </a:lnTo>
                <a:lnTo>
                  <a:pt x="346" y="198"/>
                </a:lnTo>
                <a:lnTo>
                  <a:pt x="346" y="200"/>
                </a:lnTo>
                <a:lnTo>
                  <a:pt x="344" y="200"/>
                </a:lnTo>
                <a:lnTo>
                  <a:pt x="344" y="203"/>
                </a:lnTo>
                <a:lnTo>
                  <a:pt x="344" y="205"/>
                </a:lnTo>
                <a:lnTo>
                  <a:pt x="346" y="205"/>
                </a:lnTo>
                <a:lnTo>
                  <a:pt x="346" y="207"/>
                </a:lnTo>
                <a:lnTo>
                  <a:pt x="346" y="210"/>
                </a:lnTo>
                <a:lnTo>
                  <a:pt x="349" y="210"/>
                </a:lnTo>
                <a:lnTo>
                  <a:pt x="349" y="212"/>
                </a:lnTo>
                <a:lnTo>
                  <a:pt x="349" y="210"/>
                </a:lnTo>
                <a:lnTo>
                  <a:pt x="351" y="210"/>
                </a:lnTo>
                <a:lnTo>
                  <a:pt x="351" y="212"/>
                </a:lnTo>
                <a:lnTo>
                  <a:pt x="351" y="214"/>
                </a:lnTo>
                <a:lnTo>
                  <a:pt x="356" y="214"/>
                </a:lnTo>
                <a:lnTo>
                  <a:pt x="356" y="217"/>
                </a:lnTo>
                <a:lnTo>
                  <a:pt x="353" y="217"/>
                </a:lnTo>
                <a:lnTo>
                  <a:pt x="351" y="217"/>
                </a:lnTo>
                <a:lnTo>
                  <a:pt x="349" y="219"/>
                </a:lnTo>
                <a:lnTo>
                  <a:pt x="346" y="221"/>
                </a:lnTo>
                <a:lnTo>
                  <a:pt x="344" y="226"/>
                </a:lnTo>
                <a:lnTo>
                  <a:pt x="344" y="228"/>
                </a:lnTo>
                <a:lnTo>
                  <a:pt x="344" y="231"/>
                </a:lnTo>
                <a:lnTo>
                  <a:pt x="344" y="233"/>
                </a:lnTo>
                <a:lnTo>
                  <a:pt x="344" y="238"/>
                </a:lnTo>
                <a:lnTo>
                  <a:pt x="344" y="240"/>
                </a:lnTo>
                <a:lnTo>
                  <a:pt x="344" y="242"/>
                </a:lnTo>
                <a:lnTo>
                  <a:pt x="342" y="240"/>
                </a:lnTo>
                <a:lnTo>
                  <a:pt x="344" y="240"/>
                </a:lnTo>
                <a:lnTo>
                  <a:pt x="344" y="238"/>
                </a:lnTo>
                <a:lnTo>
                  <a:pt x="342" y="235"/>
                </a:lnTo>
                <a:lnTo>
                  <a:pt x="342" y="231"/>
                </a:lnTo>
                <a:lnTo>
                  <a:pt x="339" y="231"/>
                </a:lnTo>
                <a:lnTo>
                  <a:pt x="339" y="233"/>
                </a:lnTo>
                <a:lnTo>
                  <a:pt x="339" y="240"/>
                </a:lnTo>
                <a:lnTo>
                  <a:pt x="339" y="245"/>
                </a:lnTo>
                <a:lnTo>
                  <a:pt x="339" y="247"/>
                </a:lnTo>
                <a:lnTo>
                  <a:pt x="337" y="247"/>
                </a:lnTo>
                <a:lnTo>
                  <a:pt x="335" y="247"/>
                </a:lnTo>
                <a:lnTo>
                  <a:pt x="332" y="247"/>
                </a:lnTo>
                <a:lnTo>
                  <a:pt x="332" y="249"/>
                </a:lnTo>
                <a:lnTo>
                  <a:pt x="332" y="252"/>
                </a:lnTo>
                <a:lnTo>
                  <a:pt x="332" y="254"/>
                </a:lnTo>
                <a:lnTo>
                  <a:pt x="332" y="256"/>
                </a:lnTo>
                <a:lnTo>
                  <a:pt x="335" y="259"/>
                </a:lnTo>
                <a:lnTo>
                  <a:pt x="328" y="261"/>
                </a:lnTo>
                <a:lnTo>
                  <a:pt x="325" y="261"/>
                </a:lnTo>
                <a:lnTo>
                  <a:pt x="323" y="261"/>
                </a:lnTo>
                <a:lnTo>
                  <a:pt x="323" y="263"/>
                </a:lnTo>
                <a:lnTo>
                  <a:pt x="323" y="265"/>
                </a:lnTo>
                <a:lnTo>
                  <a:pt x="323" y="268"/>
                </a:lnTo>
                <a:lnTo>
                  <a:pt x="323" y="270"/>
                </a:lnTo>
                <a:lnTo>
                  <a:pt x="321" y="270"/>
                </a:lnTo>
                <a:lnTo>
                  <a:pt x="321" y="268"/>
                </a:lnTo>
                <a:lnTo>
                  <a:pt x="321" y="270"/>
                </a:lnTo>
                <a:lnTo>
                  <a:pt x="318" y="270"/>
                </a:lnTo>
                <a:lnTo>
                  <a:pt x="316" y="270"/>
                </a:lnTo>
                <a:lnTo>
                  <a:pt x="314" y="270"/>
                </a:lnTo>
                <a:lnTo>
                  <a:pt x="311" y="270"/>
                </a:lnTo>
                <a:lnTo>
                  <a:pt x="311" y="272"/>
                </a:lnTo>
                <a:lnTo>
                  <a:pt x="309" y="272"/>
                </a:lnTo>
                <a:lnTo>
                  <a:pt x="307" y="272"/>
                </a:lnTo>
                <a:lnTo>
                  <a:pt x="304" y="272"/>
                </a:lnTo>
                <a:lnTo>
                  <a:pt x="304" y="275"/>
                </a:lnTo>
                <a:lnTo>
                  <a:pt x="307" y="275"/>
                </a:lnTo>
                <a:lnTo>
                  <a:pt x="304" y="275"/>
                </a:lnTo>
                <a:lnTo>
                  <a:pt x="302" y="277"/>
                </a:lnTo>
                <a:lnTo>
                  <a:pt x="302" y="279"/>
                </a:lnTo>
                <a:lnTo>
                  <a:pt x="302" y="284"/>
                </a:lnTo>
                <a:lnTo>
                  <a:pt x="302" y="286"/>
                </a:lnTo>
                <a:lnTo>
                  <a:pt x="302" y="289"/>
                </a:lnTo>
                <a:lnTo>
                  <a:pt x="302" y="291"/>
                </a:lnTo>
                <a:lnTo>
                  <a:pt x="302" y="293"/>
                </a:lnTo>
                <a:lnTo>
                  <a:pt x="300" y="291"/>
                </a:lnTo>
                <a:lnTo>
                  <a:pt x="300" y="289"/>
                </a:lnTo>
                <a:lnTo>
                  <a:pt x="300" y="286"/>
                </a:lnTo>
                <a:lnTo>
                  <a:pt x="297" y="286"/>
                </a:lnTo>
                <a:lnTo>
                  <a:pt x="297" y="289"/>
                </a:lnTo>
                <a:lnTo>
                  <a:pt x="297" y="291"/>
                </a:lnTo>
                <a:lnTo>
                  <a:pt x="300" y="291"/>
                </a:lnTo>
                <a:lnTo>
                  <a:pt x="300" y="293"/>
                </a:lnTo>
                <a:lnTo>
                  <a:pt x="297" y="293"/>
                </a:lnTo>
                <a:lnTo>
                  <a:pt x="297" y="296"/>
                </a:lnTo>
                <a:lnTo>
                  <a:pt x="290" y="298"/>
                </a:lnTo>
                <a:lnTo>
                  <a:pt x="288" y="300"/>
                </a:lnTo>
                <a:lnTo>
                  <a:pt x="290" y="303"/>
                </a:lnTo>
                <a:lnTo>
                  <a:pt x="288" y="303"/>
                </a:lnTo>
                <a:lnTo>
                  <a:pt x="288" y="305"/>
                </a:lnTo>
                <a:lnTo>
                  <a:pt x="288" y="307"/>
                </a:lnTo>
                <a:lnTo>
                  <a:pt x="290" y="307"/>
                </a:lnTo>
                <a:lnTo>
                  <a:pt x="290" y="310"/>
                </a:lnTo>
                <a:lnTo>
                  <a:pt x="293" y="310"/>
                </a:lnTo>
                <a:lnTo>
                  <a:pt x="293" y="312"/>
                </a:lnTo>
                <a:lnTo>
                  <a:pt x="290" y="310"/>
                </a:lnTo>
                <a:lnTo>
                  <a:pt x="290" y="312"/>
                </a:lnTo>
                <a:lnTo>
                  <a:pt x="288" y="312"/>
                </a:lnTo>
                <a:lnTo>
                  <a:pt x="288" y="314"/>
                </a:lnTo>
                <a:lnTo>
                  <a:pt x="286" y="317"/>
                </a:lnTo>
                <a:lnTo>
                  <a:pt x="286" y="319"/>
                </a:lnTo>
                <a:lnTo>
                  <a:pt x="288" y="317"/>
                </a:lnTo>
                <a:lnTo>
                  <a:pt x="288" y="319"/>
                </a:lnTo>
                <a:lnTo>
                  <a:pt x="290" y="319"/>
                </a:lnTo>
                <a:lnTo>
                  <a:pt x="293" y="319"/>
                </a:lnTo>
                <a:lnTo>
                  <a:pt x="293" y="317"/>
                </a:lnTo>
                <a:lnTo>
                  <a:pt x="295" y="317"/>
                </a:lnTo>
                <a:lnTo>
                  <a:pt x="295" y="319"/>
                </a:lnTo>
                <a:lnTo>
                  <a:pt x="293" y="319"/>
                </a:lnTo>
                <a:lnTo>
                  <a:pt x="290" y="321"/>
                </a:lnTo>
                <a:lnTo>
                  <a:pt x="290" y="324"/>
                </a:lnTo>
                <a:lnTo>
                  <a:pt x="293" y="321"/>
                </a:lnTo>
                <a:lnTo>
                  <a:pt x="295" y="319"/>
                </a:lnTo>
                <a:lnTo>
                  <a:pt x="295" y="321"/>
                </a:lnTo>
                <a:lnTo>
                  <a:pt x="295" y="324"/>
                </a:lnTo>
                <a:lnTo>
                  <a:pt x="295" y="326"/>
                </a:lnTo>
                <a:lnTo>
                  <a:pt x="293" y="326"/>
                </a:lnTo>
                <a:lnTo>
                  <a:pt x="288" y="331"/>
                </a:lnTo>
                <a:lnTo>
                  <a:pt x="286" y="333"/>
                </a:lnTo>
                <a:lnTo>
                  <a:pt x="279" y="345"/>
                </a:lnTo>
                <a:lnTo>
                  <a:pt x="274" y="359"/>
                </a:lnTo>
                <a:lnTo>
                  <a:pt x="272" y="366"/>
                </a:lnTo>
                <a:lnTo>
                  <a:pt x="263" y="384"/>
                </a:lnTo>
                <a:lnTo>
                  <a:pt x="263" y="387"/>
                </a:lnTo>
                <a:lnTo>
                  <a:pt x="256" y="394"/>
                </a:lnTo>
                <a:lnTo>
                  <a:pt x="251" y="396"/>
                </a:lnTo>
                <a:lnTo>
                  <a:pt x="246" y="403"/>
                </a:lnTo>
                <a:lnTo>
                  <a:pt x="237" y="410"/>
                </a:lnTo>
                <a:lnTo>
                  <a:pt x="230" y="414"/>
                </a:lnTo>
                <a:lnTo>
                  <a:pt x="228" y="419"/>
                </a:lnTo>
                <a:lnTo>
                  <a:pt x="221" y="421"/>
                </a:lnTo>
                <a:lnTo>
                  <a:pt x="218" y="421"/>
                </a:lnTo>
                <a:lnTo>
                  <a:pt x="218" y="419"/>
                </a:lnTo>
                <a:lnTo>
                  <a:pt x="216" y="419"/>
                </a:lnTo>
                <a:lnTo>
                  <a:pt x="214" y="419"/>
                </a:lnTo>
                <a:lnTo>
                  <a:pt x="211" y="417"/>
                </a:lnTo>
                <a:lnTo>
                  <a:pt x="214" y="410"/>
                </a:lnTo>
                <a:lnTo>
                  <a:pt x="214" y="412"/>
                </a:lnTo>
                <a:lnTo>
                  <a:pt x="214" y="410"/>
                </a:lnTo>
                <a:lnTo>
                  <a:pt x="216" y="408"/>
                </a:lnTo>
                <a:lnTo>
                  <a:pt x="216" y="410"/>
                </a:lnTo>
                <a:lnTo>
                  <a:pt x="218" y="408"/>
                </a:lnTo>
                <a:lnTo>
                  <a:pt x="218" y="403"/>
                </a:lnTo>
                <a:lnTo>
                  <a:pt x="218" y="401"/>
                </a:lnTo>
                <a:lnTo>
                  <a:pt x="218" y="398"/>
                </a:lnTo>
                <a:lnTo>
                  <a:pt x="218" y="394"/>
                </a:lnTo>
                <a:lnTo>
                  <a:pt x="218" y="391"/>
                </a:lnTo>
                <a:lnTo>
                  <a:pt x="218" y="389"/>
                </a:lnTo>
                <a:lnTo>
                  <a:pt x="221" y="387"/>
                </a:lnTo>
                <a:lnTo>
                  <a:pt x="221" y="384"/>
                </a:lnTo>
                <a:lnTo>
                  <a:pt x="223" y="384"/>
                </a:lnTo>
                <a:lnTo>
                  <a:pt x="223" y="382"/>
                </a:lnTo>
                <a:lnTo>
                  <a:pt x="225" y="380"/>
                </a:lnTo>
                <a:lnTo>
                  <a:pt x="225" y="382"/>
                </a:lnTo>
                <a:lnTo>
                  <a:pt x="228" y="382"/>
                </a:lnTo>
                <a:lnTo>
                  <a:pt x="230" y="382"/>
                </a:lnTo>
                <a:lnTo>
                  <a:pt x="230" y="380"/>
                </a:lnTo>
                <a:lnTo>
                  <a:pt x="232" y="380"/>
                </a:lnTo>
                <a:lnTo>
                  <a:pt x="232" y="377"/>
                </a:lnTo>
                <a:lnTo>
                  <a:pt x="235" y="375"/>
                </a:lnTo>
                <a:lnTo>
                  <a:pt x="235" y="373"/>
                </a:lnTo>
                <a:lnTo>
                  <a:pt x="235" y="370"/>
                </a:lnTo>
                <a:lnTo>
                  <a:pt x="235" y="368"/>
                </a:lnTo>
                <a:lnTo>
                  <a:pt x="237" y="366"/>
                </a:lnTo>
                <a:lnTo>
                  <a:pt x="237" y="363"/>
                </a:lnTo>
                <a:lnTo>
                  <a:pt x="239" y="363"/>
                </a:lnTo>
                <a:lnTo>
                  <a:pt x="242" y="363"/>
                </a:lnTo>
                <a:lnTo>
                  <a:pt x="244" y="361"/>
                </a:lnTo>
                <a:lnTo>
                  <a:pt x="244" y="363"/>
                </a:lnTo>
                <a:lnTo>
                  <a:pt x="244" y="366"/>
                </a:lnTo>
                <a:lnTo>
                  <a:pt x="249" y="370"/>
                </a:lnTo>
                <a:lnTo>
                  <a:pt x="251" y="370"/>
                </a:lnTo>
                <a:lnTo>
                  <a:pt x="251" y="373"/>
                </a:lnTo>
                <a:lnTo>
                  <a:pt x="253" y="373"/>
                </a:lnTo>
                <a:lnTo>
                  <a:pt x="253" y="370"/>
                </a:lnTo>
                <a:lnTo>
                  <a:pt x="256" y="370"/>
                </a:lnTo>
                <a:lnTo>
                  <a:pt x="258" y="368"/>
                </a:lnTo>
                <a:lnTo>
                  <a:pt x="258" y="366"/>
                </a:lnTo>
                <a:lnTo>
                  <a:pt x="260" y="363"/>
                </a:lnTo>
                <a:lnTo>
                  <a:pt x="260" y="361"/>
                </a:lnTo>
                <a:lnTo>
                  <a:pt x="265" y="354"/>
                </a:lnTo>
                <a:lnTo>
                  <a:pt x="265" y="352"/>
                </a:lnTo>
                <a:lnTo>
                  <a:pt x="267" y="349"/>
                </a:lnTo>
                <a:lnTo>
                  <a:pt x="267" y="347"/>
                </a:lnTo>
                <a:lnTo>
                  <a:pt x="267" y="345"/>
                </a:lnTo>
                <a:lnTo>
                  <a:pt x="267" y="342"/>
                </a:lnTo>
                <a:lnTo>
                  <a:pt x="265" y="340"/>
                </a:lnTo>
                <a:lnTo>
                  <a:pt x="263" y="335"/>
                </a:lnTo>
                <a:lnTo>
                  <a:pt x="260" y="333"/>
                </a:lnTo>
                <a:lnTo>
                  <a:pt x="260" y="331"/>
                </a:lnTo>
                <a:lnTo>
                  <a:pt x="263" y="328"/>
                </a:lnTo>
                <a:lnTo>
                  <a:pt x="265" y="324"/>
                </a:lnTo>
                <a:lnTo>
                  <a:pt x="263" y="324"/>
                </a:lnTo>
                <a:lnTo>
                  <a:pt x="263" y="326"/>
                </a:lnTo>
                <a:lnTo>
                  <a:pt x="260" y="326"/>
                </a:lnTo>
                <a:lnTo>
                  <a:pt x="260" y="328"/>
                </a:lnTo>
                <a:lnTo>
                  <a:pt x="258" y="328"/>
                </a:lnTo>
                <a:lnTo>
                  <a:pt x="256" y="333"/>
                </a:lnTo>
                <a:lnTo>
                  <a:pt x="256" y="335"/>
                </a:lnTo>
                <a:lnTo>
                  <a:pt x="258" y="335"/>
                </a:lnTo>
                <a:lnTo>
                  <a:pt x="258" y="338"/>
                </a:lnTo>
                <a:lnTo>
                  <a:pt x="256" y="340"/>
                </a:lnTo>
                <a:lnTo>
                  <a:pt x="249" y="342"/>
                </a:lnTo>
                <a:lnTo>
                  <a:pt x="246" y="342"/>
                </a:lnTo>
                <a:lnTo>
                  <a:pt x="246" y="345"/>
                </a:lnTo>
                <a:lnTo>
                  <a:pt x="244" y="347"/>
                </a:lnTo>
                <a:lnTo>
                  <a:pt x="244" y="349"/>
                </a:lnTo>
                <a:lnTo>
                  <a:pt x="244" y="352"/>
                </a:lnTo>
                <a:lnTo>
                  <a:pt x="242" y="352"/>
                </a:lnTo>
                <a:lnTo>
                  <a:pt x="239" y="352"/>
                </a:lnTo>
                <a:lnTo>
                  <a:pt x="237" y="354"/>
                </a:lnTo>
                <a:lnTo>
                  <a:pt x="235" y="354"/>
                </a:lnTo>
                <a:lnTo>
                  <a:pt x="235" y="352"/>
                </a:lnTo>
                <a:lnTo>
                  <a:pt x="232" y="352"/>
                </a:lnTo>
                <a:lnTo>
                  <a:pt x="230" y="349"/>
                </a:lnTo>
                <a:lnTo>
                  <a:pt x="228" y="349"/>
                </a:lnTo>
                <a:lnTo>
                  <a:pt x="225" y="349"/>
                </a:lnTo>
                <a:lnTo>
                  <a:pt x="223" y="347"/>
                </a:lnTo>
                <a:lnTo>
                  <a:pt x="218" y="342"/>
                </a:lnTo>
                <a:lnTo>
                  <a:pt x="216" y="340"/>
                </a:lnTo>
                <a:lnTo>
                  <a:pt x="214" y="340"/>
                </a:lnTo>
                <a:lnTo>
                  <a:pt x="214" y="338"/>
                </a:lnTo>
                <a:lnTo>
                  <a:pt x="214" y="335"/>
                </a:lnTo>
                <a:lnTo>
                  <a:pt x="211" y="335"/>
                </a:lnTo>
                <a:lnTo>
                  <a:pt x="211" y="333"/>
                </a:lnTo>
                <a:lnTo>
                  <a:pt x="211" y="328"/>
                </a:lnTo>
                <a:lnTo>
                  <a:pt x="209" y="326"/>
                </a:lnTo>
                <a:lnTo>
                  <a:pt x="207" y="321"/>
                </a:lnTo>
                <a:lnTo>
                  <a:pt x="207" y="317"/>
                </a:lnTo>
                <a:lnTo>
                  <a:pt x="207" y="314"/>
                </a:lnTo>
                <a:lnTo>
                  <a:pt x="204" y="314"/>
                </a:lnTo>
                <a:lnTo>
                  <a:pt x="202" y="312"/>
                </a:lnTo>
                <a:lnTo>
                  <a:pt x="200" y="312"/>
                </a:lnTo>
                <a:lnTo>
                  <a:pt x="200" y="310"/>
                </a:lnTo>
                <a:lnTo>
                  <a:pt x="197" y="310"/>
                </a:lnTo>
                <a:lnTo>
                  <a:pt x="197" y="307"/>
                </a:lnTo>
                <a:lnTo>
                  <a:pt x="195" y="307"/>
                </a:lnTo>
                <a:lnTo>
                  <a:pt x="195" y="305"/>
                </a:lnTo>
                <a:lnTo>
                  <a:pt x="193" y="305"/>
                </a:lnTo>
                <a:lnTo>
                  <a:pt x="190" y="303"/>
                </a:lnTo>
                <a:lnTo>
                  <a:pt x="188" y="303"/>
                </a:lnTo>
                <a:lnTo>
                  <a:pt x="186" y="303"/>
                </a:lnTo>
                <a:lnTo>
                  <a:pt x="183" y="303"/>
                </a:lnTo>
                <a:lnTo>
                  <a:pt x="181" y="300"/>
                </a:lnTo>
                <a:lnTo>
                  <a:pt x="179" y="298"/>
                </a:lnTo>
                <a:lnTo>
                  <a:pt x="174" y="293"/>
                </a:lnTo>
                <a:lnTo>
                  <a:pt x="172" y="293"/>
                </a:lnTo>
                <a:lnTo>
                  <a:pt x="172" y="291"/>
                </a:lnTo>
                <a:lnTo>
                  <a:pt x="169" y="289"/>
                </a:lnTo>
                <a:lnTo>
                  <a:pt x="167" y="289"/>
                </a:lnTo>
                <a:lnTo>
                  <a:pt x="167" y="286"/>
                </a:lnTo>
                <a:lnTo>
                  <a:pt x="167" y="284"/>
                </a:lnTo>
                <a:lnTo>
                  <a:pt x="167" y="282"/>
                </a:lnTo>
                <a:lnTo>
                  <a:pt x="165" y="279"/>
                </a:lnTo>
                <a:lnTo>
                  <a:pt x="162" y="277"/>
                </a:lnTo>
                <a:lnTo>
                  <a:pt x="162" y="275"/>
                </a:lnTo>
                <a:lnTo>
                  <a:pt x="160" y="275"/>
                </a:lnTo>
                <a:lnTo>
                  <a:pt x="158" y="275"/>
                </a:lnTo>
                <a:lnTo>
                  <a:pt x="149" y="272"/>
                </a:lnTo>
                <a:lnTo>
                  <a:pt x="146" y="270"/>
                </a:lnTo>
                <a:lnTo>
                  <a:pt x="146" y="268"/>
                </a:lnTo>
                <a:lnTo>
                  <a:pt x="144" y="268"/>
                </a:lnTo>
                <a:lnTo>
                  <a:pt x="142" y="265"/>
                </a:lnTo>
                <a:lnTo>
                  <a:pt x="139" y="263"/>
                </a:lnTo>
                <a:lnTo>
                  <a:pt x="139" y="261"/>
                </a:lnTo>
                <a:lnTo>
                  <a:pt x="137" y="261"/>
                </a:lnTo>
                <a:lnTo>
                  <a:pt x="137" y="263"/>
                </a:lnTo>
                <a:lnTo>
                  <a:pt x="137" y="265"/>
                </a:lnTo>
                <a:lnTo>
                  <a:pt x="135" y="265"/>
                </a:lnTo>
                <a:lnTo>
                  <a:pt x="132" y="263"/>
                </a:lnTo>
                <a:lnTo>
                  <a:pt x="130" y="261"/>
                </a:lnTo>
                <a:lnTo>
                  <a:pt x="128" y="261"/>
                </a:lnTo>
                <a:lnTo>
                  <a:pt x="128" y="259"/>
                </a:lnTo>
                <a:lnTo>
                  <a:pt x="125" y="259"/>
                </a:lnTo>
                <a:lnTo>
                  <a:pt x="125" y="256"/>
                </a:lnTo>
                <a:lnTo>
                  <a:pt x="125" y="254"/>
                </a:lnTo>
                <a:lnTo>
                  <a:pt x="123" y="252"/>
                </a:lnTo>
                <a:lnTo>
                  <a:pt x="121" y="252"/>
                </a:lnTo>
                <a:lnTo>
                  <a:pt x="121" y="249"/>
                </a:lnTo>
                <a:lnTo>
                  <a:pt x="121" y="247"/>
                </a:lnTo>
                <a:lnTo>
                  <a:pt x="116" y="242"/>
                </a:lnTo>
                <a:lnTo>
                  <a:pt x="114" y="240"/>
                </a:lnTo>
                <a:lnTo>
                  <a:pt x="114" y="238"/>
                </a:lnTo>
                <a:lnTo>
                  <a:pt x="111" y="238"/>
                </a:lnTo>
                <a:lnTo>
                  <a:pt x="109" y="235"/>
                </a:lnTo>
                <a:lnTo>
                  <a:pt x="109" y="233"/>
                </a:lnTo>
                <a:lnTo>
                  <a:pt x="107" y="233"/>
                </a:lnTo>
                <a:lnTo>
                  <a:pt x="104" y="235"/>
                </a:lnTo>
                <a:lnTo>
                  <a:pt x="104" y="238"/>
                </a:lnTo>
                <a:lnTo>
                  <a:pt x="104" y="240"/>
                </a:lnTo>
                <a:lnTo>
                  <a:pt x="102" y="240"/>
                </a:lnTo>
                <a:lnTo>
                  <a:pt x="100" y="240"/>
                </a:lnTo>
                <a:lnTo>
                  <a:pt x="100" y="242"/>
                </a:lnTo>
                <a:lnTo>
                  <a:pt x="100" y="245"/>
                </a:lnTo>
                <a:lnTo>
                  <a:pt x="97" y="245"/>
                </a:lnTo>
                <a:lnTo>
                  <a:pt x="95" y="247"/>
                </a:lnTo>
                <a:lnTo>
                  <a:pt x="93" y="247"/>
                </a:lnTo>
                <a:lnTo>
                  <a:pt x="90" y="247"/>
                </a:lnTo>
                <a:lnTo>
                  <a:pt x="86" y="247"/>
                </a:lnTo>
                <a:lnTo>
                  <a:pt x="86" y="245"/>
                </a:lnTo>
                <a:lnTo>
                  <a:pt x="86" y="242"/>
                </a:lnTo>
                <a:lnTo>
                  <a:pt x="86" y="238"/>
                </a:lnTo>
                <a:lnTo>
                  <a:pt x="86" y="235"/>
                </a:lnTo>
                <a:lnTo>
                  <a:pt x="88" y="233"/>
                </a:lnTo>
                <a:lnTo>
                  <a:pt x="86" y="231"/>
                </a:lnTo>
                <a:lnTo>
                  <a:pt x="83" y="226"/>
                </a:lnTo>
                <a:lnTo>
                  <a:pt x="81" y="226"/>
                </a:lnTo>
                <a:lnTo>
                  <a:pt x="79" y="221"/>
                </a:lnTo>
                <a:lnTo>
                  <a:pt x="76" y="219"/>
                </a:lnTo>
                <a:lnTo>
                  <a:pt x="74" y="217"/>
                </a:lnTo>
                <a:lnTo>
                  <a:pt x="74" y="214"/>
                </a:lnTo>
                <a:lnTo>
                  <a:pt x="72" y="214"/>
                </a:lnTo>
                <a:lnTo>
                  <a:pt x="69" y="212"/>
                </a:lnTo>
                <a:lnTo>
                  <a:pt x="67" y="210"/>
                </a:lnTo>
                <a:lnTo>
                  <a:pt x="65" y="210"/>
                </a:lnTo>
                <a:lnTo>
                  <a:pt x="65" y="207"/>
                </a:lnTo>
                <a:lnTo>
                  <a:pt x="65" y="205"/>
                </a:lnTo>
                <a:lnTo>
                  <a:pt x="62" y="205"/>
                </a:lnTo>
                <a:lnTo>
                  <a:pt x="60" y="203"/>
                </a:lnTo>
                <a:lnTo>
                  <a:pt x="58" y="200"/>
                </a:lnTo>
                <a:lnTo>
                  <a:pt x="55" y="198"/>
                </a:lnTo>
                <a:lnTo>
                  <a:pt x="53" y="198"/>
                </a:lnTo>
                <a:lnTo>
                  <a:pt x="53" y="196"/>
                </a:lnTo>
                <a:lnTo>
                  <a:pt x="53" y="193"/>
                </a:lnTo>
                <a:lnTo>
                  <a:pt x="51" y="193"/>
                </a:lnTo>
                <a:lnTo>
                  <a:pt x="51" y="191"/>
                </a:lnTo>
                <a:lnTo>
                  <a:pt x="48" y="191"/>
                </a:lnTo>
                <a:lnTo>
                  <a:pt x="46" y="189"/>
                </a:lnTo>
                <a:lnTo>
                  <a:pt x="44" y="189"/>
                </a:lnTo>
                <a:lnTo>
                  <a:pt x="44" y="186"/>
                </a:lnTo>
                <a:lnTo>
                  <a:pt x="41" y="184"/>
                </a:lnTo>
                <a:lnTo>
                  <a:pt x="39" y="184"/>
                </a:lnTo>
                <a:lnTo>
                  <a:pt x="37" y="184"/>
                </a:lnTo>
                <a:lnTo>
                  <a:pt x="34" y="184"/>
                </a:lnTo>
                <a:lnTo>
                  <a:pt x="32" y="184"/>
                </a:lnTo>
                <a:lnTo>
                  <a:pt x="30" y="186"/>
                </a:lnTo>
                <a:lnTo>
                  <a:pt x="30" y="184"/>
                </a:lnTo>
                <a:lnTo>
                  <a:pt x="28" y="184"/>
                </a:lnTo>
                <a:lnTo>
                  <a:pt x="28" y="186"/>
                </a:lnTo>
                <a:lnTo>
                  <a:pt x="25" y="186"/>
                </a:lnTo>
                <a:lnTo>
                  <a:pt x="25" y="189"/>
                </a:lnTo>
                <a:lnTo>
                  <a:pt x="23" y="191"/>
                </a:lnTo>
                <a:lnTo>
                  <a:pt x="23" y="193"/>
                </a:lnTo>
                <a:lnTo>
                  <a:pt x="23" y="196"/>
                </a:lnTo>
                <a:lnTo>
                  <a:pt x="21" y="196"/>
                </a:lnTo>
                <a:lnTo>
                  <a:pt x="18" y="196"/>
                </a:lnTo>
                <a:lnTo>
                  <a:pt x="16" y="196"/>
                </a:lnTo>
                <a:lnTo>
                  <a:pt x="14" y="196"/>
                </a:lnTo>
                <a:lnTo>
                  <a:pt x="11" y="196"/>
                </a:lnTo>
                <a:lnTo>
                  <a:pt x="9" y="196"/>
                </a:lnTo>
                <a:lnTo>
                  <a:pt x="7" y="196"/>
                </a:lnTo>
                <a:lnTo>
                  <a:pt x="4" y="196"/>
                </a:lnTo>
                <a:lnTo>
                  <a:pt x="2" y="196"/>
                </a:lnTo>
                <a:lnTo>
                  <a:pt x="2" y="193"/>
                </a:lnTo>
                <a:lnTo>
                  <a:pt x="0" y="191"/>
                </a:lnTo>
                <a:lnTo>
                  <a:pt x="0" y="189"/>
                </a:lnTo>
                <a:lnTo>
                  <a:pt x="2" y="189"/>
                </a:lnTo>
                <a:lnTo>
                  <a:pt x="4" y="186"/>
                </a:lnTo>
                <a:lnTo>
                  <a:pt x="11" y="179"/>
                </a:lnTo>
                <a:lnTo>
                  <a:pt x="16" y="177"/>
                </a:lnTo>
                <a:lnTo>
                  <a:pt x="16" y="175"/>
                </a:lnTo>
                <a:lnTo>
                  <a:pt x="16" y="168"/>
                </a:lnTo>
                <a:lnTo>
                  <a:pt x="16" y="165"/>
                </a:lnTo>
                <a:lnTo>
                  <a:pt x="18" y="165"/>
                </a:lnTo>
                <a:lnTo>
                  <a:pt x="21" y="163"/>
                </a:lnTo>
                <a:lnTo>
                  <a:pt x="23" y="163"/>
                </a:lnTo>
                <a:lnTo>
                  <a:pt x="25" y="163"/>
                </a:lnTo>
                <a:lnTo>
                  <a:pt x="28" y="163"/>
                </a:lnTo>
                <a:lnTo>
                  <a:pt x="32" y="158"/>
                </a:lnTo>
                <a:lnTo>
                  <a:pt x="32" y="156"/>
                </a:lnTo>
                <a:lnTo>
                  <a:pt x="34" y="156"/>
                </a:lnTo>
                <a:lnTo>
                  <a:pt x="34" y="154"/>
                </a:lnTo>
                <a:lnTo>
                  <a:pt x="37" y="151"/>
                </a:lnTo>
                <a:lnTo>
                  <a:pt x="39" y="151"/>
                </a:lnTo>
                <a:lnTo>
                  <a:pt x="39" y="149"/>
                </a:lnTo>
                <a:lnTo>
                  <a:pt x="44" y="144"/>
                </a:lnTo>
                <a:lnTo>
                  <a:pt x="44" y="142"/>
                </a:lnTo>
                <a:lnTo>
                  <a:pt x="46" y="142"/>
                </a:lnTo>
                <a:lnTo>
                  <a:pt x="46" y="140"/>
                </a:lnTo>
                <a:lnTo>
                  <a:pt x="48" y="137"/>
                </a:lnTo>
                <a:lnTo>
                  <a:pt x="51" y="137"/>
                </a:lnTo>
                <a:lnTo>
                  <a:pt x="51" y="135"/>
                </a:lnTo>
                <a:lnTo>
                  <a:pt x="53" y="133"/>
                </a:lnTo>
                <a:lnTo>
                  <a:pt x="53" y="130"/>
                </a:lnTo>
                <a:lnTo>
                  <a:pt x="53" y="128"/>
                </a:lnTo>
                <a:lnTo>
                  <a:pt x="55" y="126"/>
                </a:lnTo>
                <a:lnTo>
                  <a:pt x="58" y="123"/>
                </a:lnTo>
                <a:lnTo>
                  <a:pt x="60" y="123"/>
                </a:lnTo>
                <a:lnTo>
                  <a:pt x="60" y="121"/>
                </a:lnTo>
                <a:lnTo>
                  <a:pt x="65" y="121"/>
                </a:lnTo>
                <a:lnTo>
                  <a:pt x="67" y="119"/>
                </a:lnTo>
                <a:lnTo>
                  <a:pt x="67" y="114"/>
                </a:lnTo>
                <a:lnTo>
                  <a:pt x="67" y="112"/>
                </a:lnTo>
                <a:lnTo>
                  <a:pt x="72" y="110"/>
                </a:lnTo>
                <a:lnTo>
                  <a:pt x="74" y="110"/>
                </a:lnTo>
                <a:lnTo>
                  <a:pt x="74" y="103"/>
                </a:lnTo>
                <a:lnTo>
                  <a:pt x="76" y="103"/>
                </a:lnTo>
                <a:lnTo>
                  <a:pt x="79" y="100"/>
                </a:lnTo>
                <a:lnTo>
                  <a:pt x="83" y="93"/>
                </a:lnTo>
                <a:lnTo>
                  <a:pt x="88" y="91"/>
                </a:lnTo>
                <a:lnTo>
                  <a:pt x="90" y="89"/>
                </a:lnTo>
                <a:lnTo>
                  <a:pt x="88" y="86"/>
                </a:lnTo>
                <a:lnTo>
                  <a:pt x="90" y="86"/>
                </a:lnTo>
                <a:lnTo>
                  <a:pt x="90" y="84"/>
                </a:lnTo>
                <a:lnTo>
                  <a:pt x="93" y="84"/>
                </a:lnTo>
                <a:lnTo>
                  <a:pt x="95" y="84"/>
                </a:lnTo>
                <a:lnTo>
                  <a:pt x="97" y="82"/>
                </a:lnTo>
                <a:lnTo>
                  <a:pt x="97" y="79"/>
                </a:lnTo>
                <a:lnTo>
                  <a:pt x="95" y="77"/>
                </a:lnTo>
                <a:lnTo>
                  <a:pt x="97" y="77"/>
                </a:lnTo>
                <a:lnTo>
                  <a:pt x="100" y="75"/>
                </a:lnTo>
                <a:lnTo>
                  <a:pt x="102" y="77"/>
                </a:lnTo>
                <a:lnTo>
                  <a:pt x="104" y="77"/>
                </a:lnTo>
                <a:lnTo>
                  <a:pt x="107" y="77"/>
                </a:lnTo>
                <a:lnTo>
                  <a:pt x="107" y="79"/>
                </a:lnTo>
                <a:lnTo>
                  <a:pt x="109" y="79"/>
                </a:lnTo>
                <a:lnTo>
                  <a:pt x="109" y="77"/>
                </a:lnTo>
                <a:lnTo>
                  <a:pt x="109" y="75"/>
                </a:lnTo>
                <a:lnTo>
                  <a:pt x="109" y="72"/>
                </a:lnTo>
                <a:lnTo>
                  <a:pt x="107" y="72"/>
                </a:lnTo>
                <a:lnTo>
                  <a:pt x="104" y="70"/>
                </a:lnTo>
                <a:lnTo>
                  <a:pt x="104" y="68"/>
                </a:lnTo>
                <a:lnTo>
                  <a:pt x="109" y="65"/>
                </a:lnTo>
                <a:lnTo>
                  <a:pt x="111" y="63"/>
                </a:lnTo>
                <a:lnTo>
                  <a:pt x="114" y="63"/>
                </a:lnTo>
                <a:lnTo>
                  <a:pt x="114" y="61"/>
                </a:lnTo>
                <a:lnTo>
                  <a:pt x="114" y="63"/>
                </a:lnTo>
                <a:lnTo>
                  <a:pt x="116" y="63"/>
                </a:lnTo>
                <a:lnTo>
                  <a:pt x="116" y="61"/>
                </a:lnTo>
                <a:lnTo>
                  <a:pt x="118" y="61"/>
                </a:lnTo>
                <a:lnTo>
                  <a:pt x="118" y="58"/>
                </a:lnTo>
                <a:lnTo>
                  <a:pt x="121" y="58"/>
                </a:lnTo>
                <a:lnTo>
                  <a:pt x="121" y="61"/>
                </a:lnTo>
                <a:lnTo>
                  <a:pt x="123" y="58"/>
                </a:lnTo>
                <a:lnTo>
                  <a:pt x="125" y="56"/>
                </a:lnTo>
                <a:lnTo>
                  <a:pt x="125" y="54"/>
                </a:lnTo>
                <a:lnTo>
                  <a:pt x="128" y="54"/>
                </a:lnTo>
                <a:lnTo>
                  <a:pt x="128" y="51"/>
                </a:lnTo>
                <a:lnTo>
                  <a:pt x="130" y="51"/>
                </a:lnTo>
                <a:lnTo>
                  <a:pt x="130" y="49"/>
                </a:lnTo>
                <a:lnTo>
                  <a:pt x="132" y="49"/>
                </a:lnTo>
                <a:lnTo>
                  <a:pt x="135" y="49"/>
                </a:lnTo>
                <a:lnTo>
                  <a:pt x="135" y="47"/>
                </a:lnTo>
                <a:lnTo>
                  <a:pt x="137" y="47"/>
                </a:lnTo>
                <a:lnTo>
                  <a:pt x="139" y="47"/>
                </a:lnTo>
                <a:lnTo>
                  <a:pt x="142" y="47"/>
                </a:lnTo>
                <a:lnTo>
                  <a:pt x="142" y="44"/>
                </a:lnTo>
                <a:lnTo>
                  <a:pt x="144" y="44"/>
                </a:lnTo>
                <a:lnTo>
                  <a:pt x="144" y="47"/>
                </a:lnTo>
                <a:lnTo>
                  <a:pt x="146" y="47"/>
                </a:lnTo>
                <a:lnTo>
                  <a:pt x="146" y="44"/>
                </a:lnTo>
                <a:lnTo>
                  <a:pt x="144" y="42"/>
                </a:lnTo>
                <a:lnTo>
                  <a:pt x="144" y="40"/>
                </a:lnTo>
                <a:lnTo>
                  <a:pt x="146" y="42"/>
                </a:lnTo>
                <a:lnTo>
                  <a:pt x="149" y="42"/>
                </a:lnTo>
                <a:lnTo>
                  <a:pt x="151" y="40"/>
                </a:lnTo>
                <a:lnTo>
                  <a:pt x="153" y="40"/>
                </a:lnTo>
                <a:lnTo>
                  <a:pt x="153" y="37"/>
                </a:lnTo>
                <a:lnTo>
                  <a:pt x="153" y="35"/>
                </a:lnTo>
                <a:lnTo>
                  <a:pt x="153" y="33"/>
                </a:lnTo>
                <a:lnTo>
                  <a:pt x="153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28"/>
                </a:lnTo>
                <a:lnTo>
                  <a:pt x="158" y="26"/>
                </a:lnTo>
                <a:lnTo>
                  <a:pt x="160" y="26"/>
                </a:lnTo>
                <a:lnTo>
                  <a:pt x="160" y="28"/>
                </a:lnTo>
                <a:lnTo>
                  <a:pt x="162" y="28"/>
                </a:lnTo>
                <a:lnTo>
                  <a:pt x="165" y="28"/>
                </a:lnTo>
                <a:lnTo>
                  <a:pt x="167" y="28"/>
                </a:lnTo>
                <a:lnTo>
                  <a:pt x="167" y="26"/>
                </a:lnTo>
                <a:lnTo>
                  <a:pt x="167" y="23"/>
                </a:lnTo>
                <a:lnTo>
                  <a:pt x="167" y="26"/>
                </a:lnTo>
                <a:lnTo>
                  <a:pt x="169" y="26"/>
                </a:lnTo>
                <a:lnTo>
                  <a:pt x="169" y="23"/>
                </a:lnTo>
                <a:lnTo>
                  <a:pt x="172" y="21"/>
                </a:lnTo>
                <a:lnTo>
                  <a:pt x="174" y="23"/>
                </a:lnTo>
                <a:lnTo>
                  <a:pt x="179" y="23"/>
                </a:lnTo>
                <a:lnTo>
                  <a:pt x="179" y="21"/>
                </a:lnTo>
                <a:lnTo>
                  <a:pt x="179" y="19"/>
                </a:lnTo>
                <a:lnTo>
                  <a:pt x="181" y="19"/>
                </a:lnTo>
                <a:lnTo>
                  <a:pt x="183" y="19"/>
                </a:lnTo>
                <a:lnTo>
                  <a:pt x="183" y="21"/>
                </a:lnTo>
                <a:lnTo>
                  <a:pt x="186" y="21"/>
                </a:lnTo>
                <a:lnTo>
                  <a:pt x="186" y="19"/>
                </a:lnTo>
                <a:lnTo>
                  <a:pt x="186" y="21"/>
                </a:lnTo>
                <a:lnTo>
                  <a:pt x="188" y="21"/>
                </a:lnTo>
                <a:lnTo>
                  <a:pt x="190" y="19"/>
                </a:lnTo>
                <a:lnTo>
                  <a:pt x="193" y="19"/>
                </a:lnTo>
                <a:lnTo>
                  <a:pt x="193" y="16"/>
                </a:lnTo>
                <a:lnTo>
                  <a:pt x="193" y="14"/>
                </a:lnTo>
                <a:lnTo>
                  <a:pt x="195" y="9"/>
                </a:lnTo>
                <a:lnTo>
                  <a:pt x="197" y="9"/>
                </a:lnTo>
                <a:lnTo>
                  <a:pt x="195" y="12"/>
                </a:lnTo>
                <a:lnTo>
                  <a:pt x="197" y="12"/>
                </a:lnTo>
                <a:lnTo>
                  <a:pt x="200" y="12"/>
                </a:lnTo>
                <a:lnTo>
                  <a:pt x="204" y="7"/>
                </a:lnTo>
                <a:lnTo>
                  <a:pt x="207" y="7"/>
                </a:lnTo>
                <a:lnTo>
                  <a:pt x="207" y="5"/>
                </a:lnTo>
                <a:lnTo>
                  <a:pt x="209" y="5"/>
                </a:lnTo>
                <a:lnTo>
                  <a:pt x="211" y="5"/>
                </a:lnTo>
                <a:lnTo>
                  <a:pt x="211" y="2"/>
                </a:lnTo>
                <a:lnTo>
                  <a:pt x="214" y="2"/>
                </a:lnTo>
                <a:lnTo>
                  <a:pt x="214" y="5"/>
                </a:lnTo>
                <a:lnTo>
                  <a:pt x="216" y="5"/>
                </a:lnTo>
                <a:lnTo>
                  <a:pt x="218" y="5"/>
                </a:lnTo>
                <a:lnTo>
                  <a:pt x="218" y="7"/>
                </a:lnTo>
                <a:lnTo>
                  <a:pt x="221" y="7"/>
                </a:lnTo>
                <a:lnTo>
                  <a:pt x="223" y="5"/>
                </a:lnTo>
                <a:lnTo>
                  <a:pt x="225" y="5"/>
                </a:lnTo>
                <a:lnTo>
                  <a:pt x="225" y="7"/>
                </a:lnTo>
                <a:lnTo>
                  <a:pt x="225" y="9"/>
                </a:lnTo>
                <a:lnTo>
                  <a:pt x="228" y="7"/>
                </a:lnTo>
                <a:lnTo>
                  <a:pt x="230" y="7"/>
                </a:lnTo>
                <a:lnTo>
                  <a:pt x="232" y="7"/>
                </a:lnTo>
                <a:lnTo>
                  <a:pt x="235" y="7"/>
                </a:lnTo>
                <a:lnTo>
                  <a:pt x="232" y="5"/>
                </a:lnTo>
                <a:lnTo>
                  <a:pt x="235" y="5"/>
                </a:lnTo>
                <a:lnTo>
                  <a:pt x="235" y="2"/>
                </a:lnTo>
                <a:lnTo>
                  <a:pt x="235" y="5"/>
                </a:lnTo>
                <a:lnTo>
                  <a:pt x="237" y="5"/>
                </a:lnTo>
                <a:lnTo>
                  <a:pt x="239" y="2"/>
                </a:lnTo>
                <a:lnTo>
                  <a:pt x="242" y="0"/>
                </a:lnTo>
                <a:lnTo>
                  <a:pt x="244" y="2"/>
                </a:lnTo>
                <a:lnTo>
                  <a:pt x="246" y="2"/>
                </a:lnTo>
                <a:lnTo>
                  <a:pt x="246" y="5"/>
                </a:lnTo>
                <a:lnTo>
                  <a:pt x="244" y="9"/>
                </a:lnTo>
                <a:lnTo>
                  <a:pt x="246" y="9"/>
                </a:lnTo>
                <a:lnTo>
                  <a:pt x="249" y="7"/>
                </a:lnTo>
                <a:lnTo>
                  <a:pt x="251" y="7"/>
                </a:lnTo>
                <a:lnTo>
                  <a:pt x="253" y="7"/>
                </a:lnTo>
                <a:lnTo>
                  <a:pt x="253" y="5"/>
                </a:lnTo>
                <a:lnTo>
                  <a:pt x="256" y="7"/>
                </a:lnTo>
                <a:lnTo>
                  <a:pt x="258" y="7"/>
                </a:lnTo>
                <a:lnTo>
                  <a:pt x="258" y="5"/>
                </a:lnTo>
                <a:lnTo>
                  <a:pt x="258" y="2"/>
                </a:lnTo>
                <a:lnTo>
                  <a:pt x="260" y="2"/>
                </a:lnTo>
                <a:lnTo>
                  <a:pt x="263" y="2"/>
                </a:lnTo>
                <a:lnTo>
                  <a:pt x="260" y="5"/>
                </a:lnTo>
                <a:lnTo>
                  <a:pt x="260" y="7"/>
                </a:lnTo>
                <a:lnTo>
                  <a:pt x="263" y="7"/>
                </a:lnTo>
                <a:lnTo>
                  <a:pt x="263" y="5"/>
                </a:lnTo>
                <a:lnTo>
                  <a:pt x="263" y="7"/>
                </a:lnTo>
                <a:lnTo>
                  <a:pt x="263" y="9"/>
                </a:lnTo>
                <a:lnTo>
                  <a:pt x="260" y="9"/>
                </a:lnTo>
                <a:lnTo>
                  <a:pt x="263" y="12"/>
                </a:lnTo>
                <a:lnTo>
                  <a:pt x="263" y="9"/>
                </a:lnTo>
                <a:lnTo>
                  <a:pt x="265" y="7"/>
                </a:lnTo>
                <a:lnTo>
                  <a:pt x="265" y="9"/>
                </a:lnTo>
                <a:lnTo>
                  <a:pt x="267" y="9"/>
                </a:lnTo>
                <a:lnTo>
                  <a:pt x="267" y="7"/>
                </a:lnTo>
                <a:lnTo>
                  <a:pt x="270" y="7"/>
                </a:lnTo>
                <a:lnTo>
                  <a:pt x="272" y="9"/>
                </a:lnTo>
                <a:lnTo>
                  <a:pt x="272" y="12"/>
                </a:lnTo>
                <a:lnTo>
                  <a:pt x="274" y="12"/>
                </a:lnTo>
                <a:lnTo>
                  <a:pt x="277" y="14"/>
                </a:lnTo>
                <a:lnTo>
                  <a:pt x="277" y="12"/>
                </a:lnTo>
                <a:lnTo>
                  <a:pt x="277" y="14"/>
                </a:lnTo>
                <a:lnTo>
                  <a:pt x="279" y="14"/>
                </a:lnTo>
                <a:lnTo>
                  <a:pt x="281" y="14"/>
                </a:lnTo>
                <a:lnTo>
                  <a:pt x="284" y="14"/>
                </a:lnTo>
                <a:lnTo>
                  <a:pt x="286" y="14"/>
                </a:lnTo>
                <a:lnTo>
                  <a:pt x="288" y="14"/>
                </a:lnTo>
                <a:lnTo>
                  <a:pt x="290" y="14"/>
                </a:lnTo>
                <a:lnTo>
                  <a:pt x="290" y="12"/>
                </a:lnTo>
                <a:lnTo>
                  <a:pt x="293" y="12"/>
                </a:lnTo>
                <a:lnTo>
                  <a:pt x="293" y="14"/>
                </a:lnTo>
                <a:lnTo>
                  <a:pt x="293" y="16"/>
                </a:lnTo>
                <a:lnTo>
                  <a:pt x="295" y="14"/>
                </a:lnTo>
                <a:lnTo>
                  <a:pt x="295" y="16"/>
                </a:lnTo>
                <a:lnTo>
                  <a:pt x="297" y="16"/>
                </a:lnTo>
                <a:lnTo>
                  <a:pt x="300" y="16"/>
                </a:lnTo>
                <a:lnTo>
                  <a:pt x="300" y="19"/>
                </a:lnTo>
                <a:lnTo>
                  <a:pt x="300" y="16"/>
                </a:lnTo>
                <a:lnTo>
                  <a:pt x="300" y="14"/>
                </a:lnTo>
                <a:lnTo>
                  <a:pt x="302" y="14"/>
                </a:lnTo>
                <a:lnTo>
                  <a:pt x="304" y="14"/>
                </a:lnTo>
                <a:lnTo>
                  <a:pt x="304" y="16"/>
                </a:lnTo>
                <a:lnTo>
                  <a:pt x="302" y="16"/>
                </a:lnTo>
                <a:lnTo>
                  <a:pt x="302" y="19"/>
                </a:lnTo>
                <a:lnTo>
                  <a:pt x="304" y="19"/>
                </a:lnTo>
                <a:lnTo>
                  <a:pt x="307" y="16"/>
                </a:lnTo>
                <a:lnTo>
                  <a:pt x="309" y="19"/>
                </a:lnTo>
                <a:lnTo>
                  <a:pt x="311" y="19"/>
                </a:lnTo>
                <a:lnTo>
                  <a:pt x="311" y="21"/>
                </a:lnTo>
                <a:lnTo>
                  <a:pt x="316" y="21"/>
                </a:lnTo>
                <a:lnTo>
                  <a:pt x="316" y="23"/>
                </a:lnTo>
                <a:lnTo>
                  <a:pt x="318" y="23"/>
                </a:lnTo>
                <a:lnTo>
                  <a:pt x="321" y="23"/>
                </a:lnTo>
                <a:lnTo>
                  <a:pt x="318" y="23"/>
                </a:lnTo>
                <a:lnTo>
                  <a:pt x="316" y="23"/>
                </a:lnTo>
                <a:lnTo>
                  <a:pt x="316" y="26"/>
                </a:lnTo>
                <a:lnTo>
                  <a:pt x="318" y="26"/>
                </a:lnTo>
                <a:lnTo>
                  <a:pt x="321" y="28"/>
                </a:lnTo>
                <a:lnTo>
                  <a:pt x="318" y="28"/>
                </a:lnTo>
                <a:lnTo>
                  <a:pt x="321" y="30"/>
                </a:lnTo>
                <a:lnTo>
                  <a:pt x="321" y="28"/>
                </a:lnTo>
                <a:lnTo>
                  <a:pt x="321" y="30"/>
                </a:lnTo>
                <a:lnTo>
                  <a:pt x="323" y="33"/>
                </a:lnTo>
                <a:lnTo>
                  <a:pt x="325" y="30"/>
                </a:lnTo>
                <a:lnTo>
                  <a:pt x="325" y="33"/>
                </a:lnTo>
                <a:lnTo>
                  <a:pt x="328" y="33"/>
                </a:lnTo>
                <a:lnTo>
                  <a:pt x="330" y="30"/>
                </a:lnTo>
                <a:lnTo>
                  <a:pt x="330" y="33"/>
                </a:lnTo>
                <a:lnTo>
                  <a:pt x="332" y="33"/>
                </a:lnTo>
                <a:lnTo>
                  <a:pt x="335" y="33"/>
                </a:lnTo>
                <a:lnTo>
                  <a:pt x="335" y="30"/>
                </a:lnTo>
                <a:lnTo>
                  <a:pt x="335" y="33"/>
                </a:lnTo>
                <a:lnTo>
                  <a:pt x="337" y="33"/>
                </a:lnTo>
                <a:lnTo>
                  <a:pt x="339" y="33"/>
                </a:lnTo>
                <a:lnTo>
                  <a:pt x="339" y="35"/>
                </a:lnTo>
                <a:lnTo>
                  <a:pt x="342" y="35"/>
                </a:lnTo>
                <a:lnTo>
                  <a:pt x="342" y="37"/>
                </a:lnTo>
                <a:lnTo>
                  <a:pt x="344" y="37"/>
                </a:lnTo>
                <a:lnTo>
                  <a:pt x="346" y="37"/>
                </a:lnTo>
                <a:lnTo>
                  <a:pt x="346" y="40"/>
                </a:lnTo>
                <a:lnTo>
                  <a:pt x="349" y="40"/>
                </a:lnTo>
                <a:lnTo>
                  <a:pt x="349" y="42"/>
                </a:lnTo>
                <a:lnTo>
                  <a:pt x="351" y="42"/>
                </a:lnTo>
                <a:lnTo>
                  <a:pt x="353" y="42"/>
                </a:lnTo>
                <a:lnTo>
                  <a:pt x="353" y="44"/>
                </a:lnTo>
                <a:lnTo>
                  <a:pt x="356" y="44"/>
                </a:lnTo>
                <a:lnTo>
                  <a:pt x="356" y="47"/>
                </a:lnTo>
                <a:lnTo>
                  <a:pt x="356" y="49"/>
                </a:lnTo>
                <a:lnTo>
                  <a:pt x="358" y="49"/>
                </a:lnTo>
                <a:lnTo>
                  <a:pt x="358" y="51"/>
                </a:lnTo>
                <a:lnTo>
                  <a:pt x="360" y="51"/>
                </a:lnTo>
                <a:lnTo>
                  <a:pt x="363" y="51"/>
                </a:lnTo>
                <a:lnTo>
                  <a:pt x="363" y="54"/>
                </a:lnTo>
                <a:lnTo>
                  <a:pt x="365" y="54"/>
                </a:lnTo>
                <a:lnTo>
                  <a:pt x="367" y="54"/>
                </a:lnTo>
                <a:lnTo>
                  <a:pt x="367" y="56"/>
                </a:lnTo>
                <a:lnTo>
                  <a:pt x="367" y="58"/>
                </a:lnTo>
                <a:lnTo>
                  <a:pt x="370" y="63"/>
                </a:lnTo>
                <a:lnTo>
                  <a:pt x="372" y="63"/>
                </a:lnTo>
                <a:lnTo>
                  <a:pt x="374" y="63"/>
                </a:lnTo>
                <a:lnTo>
                  <a:pt x="374" y="65"/>
                </a:lnTo>
                <a:lnTo>
                  <a:pt x="377" y="68"/>
                </a:lnTo>
                <a:lnTo>
                  <a:pt x="377" y="70"/>
                </a:lnTo>
                <a:lnTo>
                  <a:pt x="377" y="72"/>
                </a:lnTo>
                <a:lnTo>
                  <a:pt x="377" y="75"/>
                </a:lnTo>
                <a:lnTo>
                  <a:pt x="379" y="75"/>
                </a:lnTo>
                <a:lnTo>
                  <a:pt x="381" y="75"/>
                </a:lnTo>
                <a:lnTo>
                  <a:pt x="384" y="77"/>
                </a:lnTo>
                <a:lnTo>
                  <a:pt x="384" y="82"/>
                </a:lnTo>
                <a:lnTo>
                  <a:pt x="386" y="84"/>
                </a:lnTo>
                <a:lnTo>
                  <a:pt x="388" y="86"/>
                </a:lnTo>
                <a:lnTo>
                  <a:pt x="388" y="89"/>
                </a:lnTo>
                <a:lnTo>
                  <a:pt x="391" y="91"/>
                </a:lnTo>
                <a:lnTo>
                  <a:pt x="393" y="93"/>
                </a:lnTo>
                <a:lnTo>
                  <a:pt x="395" y="93"/>
                </a:lnTo>
                <a:lnTo>
                  <a:pt x="398" y="93"/>
                </a:lnTo>
                <a:lnTo>
                  <a:pt x="400" y="96"/>
                </a:lnTo>
                <a:lnTo>
                  <a:pt x="402" y="96"/>
                </a:lnTo>
                <a:lnTo>
                  <a:pt x="405" y="96"/>
                </a:lnTo>
                <a:lnTo>
                  <a:pt x="405" y="98"/>
                </a:lnTo>
                <a:lnTo>
                  <a:pt x="407" y="96"/>
                </a:lnTo>
                <a:lnTo>
                  <a:pt x="412" y="98"/>
                </a:lnTo>
                <a:lnTo>
                  <a:pt x="414" y="98"/>
                </a:lnTo>
                <a:lnTo>
                  <a:pt x="414" y="100"/>
                </a:lnTo>
                <a:lnTo>
                  <a:pt x="416" y="100"/>
                </a:lnTo>
                <a:lnTo>
                  <a:pt x="416" y="98"/>
                </a:lnTo>
                <a:lnTo>
                  <a:pt x="418" y="98"/>
                </a:lnTo>
                <a:lnTo>
                  <a:pt x="418" y="100"/>
                </a:lnTo>
                <a:lnTo>
                  <a:pt x="421" y="100"/>
                </a:lnTo>
                <a:lnTo>
                  <a:pt x="423" y="100"/>
                </a:lnTo>
                <a:lnTo>
                  <a:pt x="423" y="98"/>
                </a:lnTo>
                <a:lnTo>
                  <a:pt x="425" y="98"/>
                </a:lnTo>
                <a:lnTo>
                  <a:pt x="428" y="100"/>
                </a:lnTo>
                <a:lnTo>
                  <a:pt x="430" y="98"/>
                </a:lnTo>
                <a:lnTo>
                  <a:pt x="432" y="98"/>
                </a:lnTo>
                <a:lnTo>
                  <a:pt x="432" y="100"/>
                </a:lnTo>
                <a:lnTo>
                  <a:pt x="432" y="103"/>
                </a:lnTo>
                <a:lnTo>
                  <a:pt x="435" y="103"/>
                </a:lnTo>
                <a:lnTo>
                  <a:pt x="437" y="103"/>
                </a:lnTo>
                <a:lnTo>
                  <a:pt x="437" y="100"/>
                </a:lnTo>
                <a:lnTo>
                  <a:pt x="439" y="103"/>
                </a:lnTo>
                <a:lnTo>
                  <a:pt x="439" y="105"/>
                </a:lnTo>
                <a:lnTo>
                  <a:pt x="439" y="107"/>
                </a:lnTo>
                <a:lnTo>
                  <a:pt x="439" y="110"/>
                </a:lnTo>
                <a:lnTo>
                  <a:pt x="437" y="110"/>
                </a:lnTo>
                <a:lnTo>
                  <a:pt x="435" y="110"/>
                </a:lnTo>
                <a:lnTo>
                  <a:pt x="432" y="114"/>
                </a:lnTo>
                <a:lnTo>
                  <a:pt x="430" y="114"/>
                </a:lnTo>
                <a:lnTo>
                  <a:pt x="428" y="117"/>
                </a:lnTo>
                <a:lnTo>
                  <a:pt x="428" y="114"/>
                </a:lnTo>
                <a:lnTo>
                  <a:pt x="428" y="117"/>
                </a:lnTo>
                <a:lnTo>
                  <a:pt x="428" y="119"/>
                </a:lnTo>
                <a:lnTo>
                  <a:pt x="425" y="119"/>
                </a:lnTo>
                <a:lnTo>
                  <a:pt x="425" y="121"/>
                </a:lnTo>
                <a:lnTo>
                  <a:pt x="425" y="123"/>
                </a:lnTo>
                <a:lnTo>
                  <a:pt x="425" y="130"/>
                </a:lnTo>
                <a:lnTo>
                  <a:pt x="423" y="133"/>
                </a:lnTo>
                <a:lnTo>
                  <a:pt x="423" y="135"/>
                </a:lnTo>
                <a:lnTo>
                  <a:pt x="421" y="137"/>
                </a:lnTo>
                <a:lnTo>
                  <a:pt x="421" y="140"/>
                </a:lnTo>
                <a:lnTo>
                  <a:pt x="418" y="140"/>
                </a:lnTo>
                <a:lnTo>
                  <a:pt x="418" y="137"/>
                </a:lnTo>
                <a:lnTo>
                  <a:pt x="416" y="140"/>
                </a:lnTo>
                <a:lnTo>
                  <a:pt x="416" y="142"/>
                </a:lnTo>
                <a:lnTo>
                  <a:pt x="414" y="144"/>
                </a:lnTo>
                <a:lnTo>
                  <a:pt x="412" y="144"/>
                </a:lnTo>
                <a:lnTo>
                  <a:pt x="412" y="147"/>
                </a:lnTo>
                <a:lnTo>
                  <a:pt x="412" y="149"/>
                </a:lnTo>
                <a:lnTo>
                  <a:pt x="412" y="151"/>
                </a:lnTo>
                <a:lnTo>
                  <a:pt x="416" y="154"/>
                </a:lnTo>
                <a:lnTo>
                  <a:pt x="418" y="156"/>
                </a:lnTo>
                <a:lnTo>
                  <a:pt x="418" y="154"/>
                </a:lnTo>
                <a:lnTo>
                  <a:pt x="418" y="151"/>
                </a:lnTo>
                <a:lnTo>
                  <a:pt x="416" y="149"/>
                </a:lnTo>
                <a:lnTo>
                  <a:pt x="416" y="147"/>
                </a:lnTo>
                <a:lnTo>
                  <a:pt x="418" y="147"/>
                </a:lnTo>
                <a:lnTo>
                  <a:pt x="421" y="147"/>
                </a:lnTo>
                <a:lnTo>
                  <a:pt x="423" y="147"/>
                </a:lnTo>
                <a:lnTo>
                  <a:pt x="423" y="144"/>
                </a:lnTo>
                <a:lnTo>
                  <a:pt x="425" y="144"/>
                </a:lnTo>
                <a:lnTo>
                  <a:pt x="428" y="147"/>
                </a:lnTo>
                <a:lnTo>
                  <a:pt x="430" y="151"/>
                </a:lnTo>
                <a:lnTo>
                  <a:pt x="432" y="151"/>
                </a:lnTo>
                <a:lnTo>
                  <a:pt x="435" y="151"/>
                </a:lnTo>
                <a:lnTo>
                  <a:pt x="435" y="154"/>
                </a:lnTo>
                <a:lnTo>
                  <a:pt x="437" y="154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2" name="Freeform 19">
            <a:extLst>
              <a:ext uri="{FF2B5EF4-FFF2-40B4-BE49-F238E27FC236}">
                <a16:creationId xmlns:a16="http://schemas.microsoft.com/office/drawing/2014/main" id="{DA8B0520-4525-BB80-65DE-6166FAE6A295}"/>
              </a:ext>
            </a:extLst>
          </p:cNvPr>
          <p:cNvSpPr>
            <a:spLocks noEditPoints="1"/>
          </p:cNvSpPr>
          <p:nvPr/>
        </p:nvSpPr>
        <p:spPr bwMode="auto">
          <a:xfrm>
            <a:off x="2945816" y="4735377"/>
            <a:ext cx="444201" cy="299162"/>
          </a:xfrm>
          <a:custGeom>
            <a:avLst/>
            <a:gdLst>
              <a:gd name="T0" fmla="*/ 363 w 377"/>
              <a:gd name="T1" fmla="*/ 201 h 266"/>
              <a:gd name="T2" fmla="*/ 182 w 377"/>
              <a:gd name="T3" fmla="*/ 10 h 266"/>
              <a:gd name="T4" fmla="*/ 200 w 377"/>
              <a:gd name="T5" fmla="*/ 14 h 266"/>
              <a:gd name="T6" fmla="*/ 231 w 377"/>
              <a:gd name="T7" fmla="*/ 33 h 266"/>
              <a:gd name="T8" fmla="*/ 251 w 377"/>
              <a:gd name="T9" fmla="*/ 31 h 266"/>
              <a:gd name="T10" fmla="*/ 268 w 377"/>
              <a:gd name="T11" fmla="*/ 33 h 266"/>
              <a:gd name="T12" fmla="*/ 284 w 377"/>
              <a:gd name="T13" fmla="*/ 42 h 266"/>
              <a:gd name="T14" fmla="*/ 293 w 377"/>
              <a:gd name="T15" fmla="*/ 70 h 266"/>
              <a:gd name="T16" fmla="*/ 296 w 377"/>
              <a:gd name="T17" fmla="*/ 94 h 266"/>
              <a:gd name="T18" fmla="*/ 300 w 377"/>
              <a:gd name="T19" fmla="*/ 108 h 266"/>
              <a:gd name="T20" fmla="*/ 310 w 377"/>
              <a:gd name="T21" fmla="*/ 124 h 266"/>
              <a:gd name="T22" fmla="*/ 310 w 377"/>
              <a:gd name="T23" fmla="*/ 138 h 266"/>
              <a:gd name="T24" fmla="*/ 321 w 377"/>
              <a:gd name="T25" fmla="*/ 147 h 266"/>
              <a:gd name="T26" fmla="*/ 342 w 377"/>
              <a:gd name="T27" fmla="*/ 149 h 266"/>
              <a:gd name="T28" fmla="*/ 349 w 377"/>
              <a:gd name="T29" fmla="*/ 161 h 266"/>
              <a:gd name="T30" fmla="*/ 354 w 377"/>
              <a:gd name="T31" fmla="*/ 170 h 266"/>
              <a:gd name="T32" fmla="*/ 368 w 377"/>
              <a:gd name="T33" fmla="*/ 184 h 266"/>
              <a:gd name="T34" fmla="*/ 368 w 377"/>
              <a:gd name="T35" fmla="*/ 196 h 266"/>
              <a:gd name="T36" fmla="*/ 368 w 377"/>
              <a:gd name="T37" fmla="*/ 189 h 266"/>
              <a:gd name="T38" fmla="*/ 359 w 377"/>
              <a:gd name="T39" fmla="*/ 191 h 266"/>
              <a:gd name="T40" fmla="*/ 354 w 377"/>
              <a:gd name="T41" fmla="*/ 187 h 266"/>
              <a:gd name="T42" fmla="*/ 354 w 377"/>
              <a:gd name="T43" fmla="*/ 198 h 266"/>
              <a:gd name="T44" fmla="*/ 338 w 377"/>
              <a:gd name="T45" fmla="*/ 196 h 266"/>
              <a:gd name="T46" fmla="*/ 347 w 377"/>
              <a:gd name="T47" fmla="*/ 203 h 266"/>
              <a:gd name="T48" fmla="*/ 347 w 377"/>
              <a:gd name="T49" fmla="*/ 219 h 266"/>
              <a:gd name="T50" fmla="*/ 338 w 377"/>
              <a:gd name="T51" fmla="*/ 222 h 266"/>
              <a:gd name="T52" fmla="*/ 338 w 377"/>
              <a:gd name="T53" fmla="*/ 231 h 266"/>
              <a:gd name="T54" fmla="*/ 307 w 377"/>
              <a:gd name="T55" fmla="*/ 231 h 266"/>
              <a:gd name="T56" fmla="*/ 284 w 377"/>
              <a:gd name="T57" fmla="*/ 243 h 266"/>
              <a:gd name="T58" fmla="*/ 263 w 377"/>
              <a:gd name="T59" fmla="*/ 229 h 266"/>
              <a:gd name="T60" fmla="*/ 242 w 377"/>
              <a:gd name="T61" fmla="*/ 231 h 266"/>
              <a:gd name="T62" fmla="*/ 228 w 377"/>
              <a:gd name="T63" fmla="*/ 226 h 266"/>
              <a:gd name="T64" fmla="*/ 219 w 377"/>
              <a:gd name="T65" fmla="*/ 238 h 266"/>
              <a:gd name="T66" fmla="*/ 203 w 377"/>
              <a:gd name="T67" fmla="*/ 238 h 266"/>
              <a:gd name="T68" fmla="*/ 189 w 377"/>
              <a:gd name="T69" fmla="*/ 247 h 266"/>
              <a:gd name="T70" fmla="*/ 184 w 377"/>
              <a:gd name="T71" fmla="*/ 263 h 266"/>
              <a:gd name="T72" fmla="*/ 163 w 377"/>
              <a:gd name="T73" fmla="*/ 259 h 266"/>
              <a:gd name="T74" fmla="*/ 130 w 377"/>
              <a:gd name="T75" fmla="*/ 247 h 266"/>
              <a:gd name="T76" fmla="*/ 110 w 377"/>
              <a:gd name="T77" fmla="*/ 243 h 266"/>
              <a:gd name="T78" fmla="*/ 82 w 377"/>
              <a:gd name="T79" fmla="*/ 238 h 266"/>
              <a:gd name="T80" fmla="*/ 56 w 377"/>
              <a:gd name="T81" fmla="*/ 231 h 266"/>
              <a:gd name="T82" fmla="*/ 44 w 377"/>
              <a:gd name="T83" fmla="*/ 210 h 266"/>
              <a:gd name="T84" fmla="*/ 37 w 377"/>
              <a:gd name="T85" fmla="*/ 189 h 266"/>
              <a:gd name="T86" fmla="*/ 28 w 377"/>
              <a:gd name="T87" fmla="*/ 182 h 266"/>
              <a:gd name="T88" fmla="*/ 16 w 377"/>
              <a:gd name="T89" fmla="*/ 187 h 266"/>
              <a:gd name="T90" fmla="*/ 7 w 377"/>
              <a:gd name="T91" fmla="*/ 187 h 266"/>
              <a:gd name="T92" fmla="*/ 5 w 377"/>
              <a:gd name="T93" fmla="*/ 177 h 266"/>
              <a:gd name="T94" fmla="*/ 9 w 377"/>
              <a:gd name="T95" fmla="*/ 168 h 266"/>
              <a:gd name="T96" fmla="*/ 23 w 377"/>
              <a:gd name="T97" fmla="*/ 166 h 266"/>
              <a:gd name="T98" fmla="*/ 19 w 377"/>
              <a:gd name="T99" fmla="*/ 159 h 266"/>
              <a:gd name="T100" fmla="*/ 14 w 377"/>
              <a:gd name="T101" fmla="*/ 152 h 266"/>
              <a:gd name="T102" fmla="*/ 26 w 377"/>
              <a:gd name="T103" fmla="*/ 145 h 266"/>
              <a:gd name="T104" fmla="*/ 28 w 377"/>
              <a:gd name="T105" fmla="*/ 133 h 266"/>
              <a:gd name="T106" fmla="*/ 23 w 377"/>
              <a:gd name="T107" fmla="*/ 115 h 266"/>
              <a:gd name="T108" fmla="*/ 23 w 377"/>
              <a:gd name="T109" fmla="*/ 94 h 266"/>
              <a:gd name="T110" fmla="*/ 40 w 377"/>
              <a:gd name="T111" fmla="*/ 68 h 266"/>
              <a:gd name="T112" fmla="*/ 63 w 377"/>
              <a:gd name="T113" fmla="*/ 35 h 266"/>
              <a:gd name="T114" fmla="*/ 96 w 377"/>
              <a:gd name="T115" fmla="*/ 7 h 266"/>
              <a:gd name="T116" fmla="*/ 119 w 377"/>
              <a:gd name="T117" fmla="*/ 5 h 266"/>
              <a:gd name="T118" fmla="*/ 142 w 377"/>
              <a:gd name="T119" fmla="*/ 5 h 266"/>
              <a:gd name="T120" fmla="*/ 161 w 377"/>
              <a:gd name="T121" fmla="*/ 3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7" h="266">
                <a:moveTo>
                  <a:pt x="361" y="201"/>
                </a:moveTo>
                <a:lnTo>
                  <a:pt x="361" y="203"/>
                </a:lnTo>
                <a:lnTo>
                  <a:pt x="359" y="201"/>
                </a:lnTo>
                <a:lnTo>
                  <a:pt x="359" y="198"/>
                </a:lnTo>
                <a:lnTo>
                  <a:pt x="359" y="196"/>
                </a:lnTo>
                <a:lnTo>
                  <a:pt x="361" y="194"/>
                </a:lnTo>
                <a:lnTo>
                  <a:pt x="363" y="194"/>
                </a:lnTo>
                <a:lnTo>
                  <a:pt x="363" y="196"/>
                </a:lnTo>
                <a:lnTo>
                  <a:pt x="363" y="198"/>
                </a:lnTo>
                <a:lnTo>
                  <a:pt x="363" y="201"/>
                </a:lnTo>
                <a:lnTo>
                  <a:pt x="361" y="201"/>
                </a:lnTo>
                <a:close/>
                <a:moveTo>
                  <a:pt x="168" y="7"/>
                </a:moveTo>
                <a:lnTo>
                  <a:pt x="170" y="7"/>
                </a:lnTo>
                <a:lnTo>
                  <a:pt x="172" y="7"/>
                </a:lnTo>
                <a:lnTo>
                  <a:pt x="175" y="7"/>
                </a:lnTo>
                <a:lnTo>
                  <a:pt x="177" y="10"/>
                </a:lnTo>
                <a:lnTo>
                  <a:pt x="177" y="12"/>
                </a:lnTo>
                <a:lnTo>
                  <a:pt x="179" y="12"/>
                </a:lnTo>
                <a:lnTo>
                  <a:pt x="179" y="10"/>
                </a:lnTo>
                <a:lnTo>
                  <a:pt x="182" y="10"/>
                </a:lnTo>
                <a:lnTo>
                  <a:pt x="182" y="12"/>
                </a:lnTo>
                <a:lnTo>
                  <a:pt x="184" y="12"/>
                </a:lnTo>
                <a:lnTo>
                  <a:pt x="186" y="12"/>
                </a:lnTo>
                <a:lnTo>
                  <a:pt x="189" y="12"/>
                </a:lnTo>
                <a:lnTo>
                  <a:pt x="191" y="12"/>
                </a:lnTo>
                <a:lnTo>
                  <a:pt x="193" y="12"/>
                </a:lnTo>
                <a:lnTo>
                  <a:pt x="196" y="12"/>
                </a:lnTo>
                <a:lnTo>
                  <a:pt x="198" y="12"/>
                </a:lnTo>
                <a:lnTo>
                  <a:pt x="200" y="12"/>
                </a:lnTo>
                <a:lnTo>
                  <a:pt x="200" y="14"/>
                </a:lnTo>
                <a:lnTo>
                  <a:pt x="203" y="14"/>
                </a:lnTo>
                <a:lnTo>
                  <a:pt x="207" y="17"/>
                </a:lnTo>
                <a:lnTo>
                  <a:pt x="212" y="19"/>
                </a:lnTo>
                <a:lnTo>
                  <a:pt x="217" y="21"/>
                </a:lnTo>
                <a:lnTo>
                  <a:pt x="224" y="24"/>
                </a:lnTo>
                <a:lnTo>
                  <a:pt x="226" y="24"/>
                </a:lnTo>
                <a:lnTo>
                  <a:pt x="228" y="28"/>
                </a:lnTo>
                <a:lnTo>
                  <a:pt x="228" y="31"/>
                </a:lnTo>
                <a:lnTo>
                  <a:pt x="228" y="33"/>
                </a:lnTo>
                <a:lnTo>
                  <a:pt x="231" y="33"/>
                </a:lnTo>
                <a:lnTo>
                  <a:pt x="233" y="33"/>
                </a:lnTo>
                <a:lnTo>
                  <a:pt x="235" y="33"/>
                </a:lnTo>
                <a:lnTo>
                  <a:pt x="235" y="31"/>
                </a:lnTo>
                <a:lnTo>
                  <a:pt x="238" y="31"/>
                </a:lnTo>
                <a:lnTo>
                  <a:pt x="242" y="33"/>
                </a:lnTo>
                <a:lnTo>
                  <a:pt x="244" y="33"/>
                </a:lnTo>
                <a:lnTo>
                  <a:pt x="247" y="33"/>
                </a:lnTo>
                <a:lnTo>
                  <a:pt x="249" y="33"/>
                </a:lnTo>
                <a:lnTo>
                  <a:pt x="251" y="33"/>
                </a:lnTo>
                <a:lnTo>
                  <a:pt x="251" y="31"/>
                </a:lnTo>
                <a:lnTo>
                  <a:pt x="254" y="31"/>
                </a:lnTo>
                <a:lnTo>
                  <a:pt x="254" y="33"/>
                </a:lnTo>
                <a:lnTo>
                  <a:pt x="256" y="33"/>
                </a:lnTo>
                <a:lnTo>
                  <a:pt x="256" y="35"/>
                </a:lnTo>
                <a:lnTo>
                  <a:pt x="258" y="35"/>
                </a:lnTo>
                <a:lnTo>
                  <a:pt x="258" y="33"/>
                </a:lnTo>
                <a:lnTo>
                  <a:pt x="261" y="33"/>
                </a:lnTo>
                <a:lnTo>
                  <a:pt x="263" y="35"/>
                </a:lnTo>
                <a:lnTo>
                  <a:pt x="268" y="35"/>
                </a:lnTo>
                <a:lnTo>
                  <a:pt x="268" y="33"/>
                </a:lnTo>
                <a:lnTo>
                  <a:pt x="270" y="33"/>
                </a:lnTo>
                <a:lnTo>
                  <a:pt x="272" y="33"/>
                </a:lnTo>
                <a:lnTo>
                  <a:pt x="275" y="33"/>
                </a:lnTo>
                <a:lnTo>
                  <a:pt x="277" y="33"/>
                </a:lnTo>
                <a:lnTo>
                  <a:pt x="277" y="35"/>
                </a:lnTo>
                <a:lnTo>
                  <a:pt x="279" y="38"/>
                </a:lnTo>
                <a:lnTo>
                  <a:pt x="279" y="40"/>
                </a:lnTo>
                <a:lnTo>
                  <a:pt x="279" y="42"/>
                </a:lnTo>
                <a:lnTo>
                  <a:pt x="282" y="42"/>
                </a:lnTo>
                <a:lnTo>
                  <a:pt x="284" y="42"/>
                </a:lnTo>
                <a:lnTo>
                  <a:pt x="286" y="45"/>
                </a:lnTo>
                <a:lnTo>
                  <a:pt x="289" y="45"/>
                </a:lnTo>
                <a:lnTo>
                  <a:pt x="289" y="47"/>
                </a:lnTo>
                <a:lnTo>
                  <a:pt x="291" y="47"/>
                </a:lnTo>
                <a:lnTo>
                  <a:pt x="291" y="49"/>
                </a:lnTo>
                <a:lnTo>
                  <a:pt x="293" y="52"/>
                </a:lnTo>
                <a:lnTo>
                  <a:pt x="293" y="56"/>
                </a:lnTo>
                <a:lnTo>
                  <a:pt x="296" y="61"/>
                </a:lnTo>
                <a:lnTo>
                  <a:pt x="296" y="66"/>
                </a:lnTo>
                <a:lnTo>
                  <a:pt x="293" y="70"/>
                </a:lnTo>
                <a:lnTo>
                  <a:pt x="293" y="73"/>
                </a:lnTo>
                <a:lnTo>
                  <a:pt x="293" y="75"/>
                </a:lnTo>
                <a:lnTo>
                  <a:pt x="293" y="77"/>
                </a:lnTo>
                <a:lnTo>
                  <a:pt x="293" y="80"/>
                </a:lnTo>
                <a:lnTo>
                  <a:pt x="296" y="82"/>
                </a:lnTo>
                <a:lnTo>
                  <a:pt x="296" y="84"/>
                </a:lnTo>
                <a:lnTo>
                  <a:pt x="298" y="84"/>
                </a:lnTo>
                <a:lnTo>
                  <a:pt x="296" y="89"/>
                </a:lnTo>
                <a:lnTo>
                  <a:pt x="296" y="91"/>
                </a:lnTo>
                <a:lnTo>
                  <a:pt x="296" y="94"/>
                </a:lnTo>
                <a:lnTo>
                  <a:pt x="293" y="94"/>
                </a:lnTo>
                <a:lnTo>
                  <a:pt x="293" y="96"/>
                </a:lnTo>
                <a:lnTo>
                  <a:pt x="296" y="96"/>
                </a:lnTo>
                <a:lnTo>
                  <a:pt x="296" y="98"/>
                </a:lnTo>
                <a:lnTo>
                  <a:pt x="298" y="98"/>
                </a:lnTo>
                <a:lnTo>
                  <a:pt x="298" y="101"/>
                </a:lnTo>
                <a:lnTo>
                  <a:pt x="298" y="103"/>
                </a:lnTo>
                <a:lnTo>
                  <a:pt x="300" y="103"/>
                </a:lnTo>
                <a:lnTo>
                  <a:pt x="300" y="105"/>
                </a:lnTo>
                <a:lnTo>
                  <a:pt x="300" y="108"/>
                </a:lnTo>
                <a:lnTo>
                  <a:pt x="303" y="108"/>
                </a:lnTo>
                <a:lnTo>
                  <a:pt x="303" y="110"/>
                </a:lnTo>
                <a:lnTo>
                  <a:pt x="305" y="110"/>
                </a:lnTo>
                <a:lnTo>
                  <a:pt x="307" y="110"/>
                </a:lnTo>
                <a:lnTo>
                  <a:pt x="307" y="112"/>
                </a:lnTo>
                <a:lnTo>
                  <a:pt x="307" y="115"/>
                </a:lnTo>
                <a:lnTo>
                  <a:pt x="307" y="117"/>
                </a:lnTo>
                <a:lnTo>
                  <a:pt x="307" y="119"/>
                </a:lnTo>
                <a:lnTo>
                  <a:pt x="310" y="119"/>
                </a:lnTo>
                <a:lnTo>
                  <a:pt x="310" y="124"/>
                </a:lnTo>
                <a:lnTo>
                  <a:pt x="312" y="124"/>
                </a:lnTo>
                <a:lnTo>
                  <a:pt x="312" y="126"/>
                </a:lnTo>
                <a:lnTo>
                  <a:pt x="312" y="128"/>
                </a:lnTo>
                <a:lnTo>
                  <a:pt x="312" y="131"/>
                </a:lnTo>
                <a:lnTo>
                  <a:pt x="310" y="131"/>
                </a:lnTo>
                <a:lnTo>
                  <a:pt x="310" y="133"/>
                </a:lnTo>
                <a:lnTo>
                  <a:pt x="307" y="133"/>
                </a:lnTo>
                <a:lnTo>
                  <a:pt x="310" y="133"/>
                </a:lnTo>
                <a:lnTo>
                  <a:pt x="310" y="135"/>
                </a:lnTo>
                <a:lnTo>
                  <a:pt x="310" y="138"/>
                </a:lnTo>
                <a:lnTo>
                  <a:pt x="307" y="138"/>
                </a:lnTo>
                <a:lnTo>
                  <a:pt x="307" y="140"/>
                </a:lnTo>
                <a:lnTo>
                  <a:pt x="307" y="142"/>
                </a:lnTo>
                <a:lnTo>
                  <a:pt x="307" y="145"/>
                </a:lnTo>
                <a:lnTo>
                  <a:pt x="307" y="147"/>
                </a:lnTo>
                <a:lnTo>
                  <a:pt x="312" y="147"/>
                </a:lnTo>
                <a:lnTo>
                  <a:pt x="314" y="147"/>
                </a:lnTo>
                <a:lnTo>
                  <a:pt x="317" y="147"/>
                </a:lnTo>
                <a:lnTo>
                  <a:pt x="319" y="147"/>
                </a:lnTo>
                <a:lnTo>
                  <a:pt x="321" y="147"/>
                </a:lnTo>
                <a:lnTo>
                  <a:pt x="324" y="147"/>
                </a:lnTo>
                <a:lnTo>
                  <a:pt x="324" y="145"/>
                </a:lnTo>
                <a:lnTo>
                  <a:pt x="326" y="147"/>
                </a:lnTo>
                <a:lnTo>
                  <a:pt x="331" y="147"/>
                </a:lnTo>
                <a:lnTo>
                  <a:pt x="333" y="147"/>
                </a:lnTo>
                <a:lnTo>
                  <a:pt x="335" y="147"/>
                </a:lnTo>
                <a:lnTo>
                  <a:pt x="335" y="149"/>
                </a:lnTo>
                <a:lnTo>
                  <a:pt x="338" y="149"/>
                </a:lnTo>
                <a:lnTo>
                  <a:pt x="340" y="149"/>
                </a:lnTo>
                <a:lnTo>
                  <a:pt x="342" y="149"/>
                </a:lnTo>
                <a:lnTo>
                  <a:pt x="342" y="152"/>
                </a:lnTo>
                <a:lnTo>
                  <a:pt x="345" y="152"/>
                </a:lnTo>
                <a:lnTo>
                  <a:pt x="345" y="149"/>
                </a:lnTo>
                <a:lnTo>
                  <a:pt x="347" y="149"/>
                </a:lnTo>
                <a:lnTo>
                  <a:pt x="349" y="149"/>
                </a:lnTo>
                <a:lnTo>
                  <a:pt x="349" y="152"/>
                </a:lnTo>
                <a:lnTo>
                  <a:pt x="354" y="154"/>
                </a:lnTo>
                <a:lnTo>
                  <a:pt x="352" y="156"/>
                </a:lnTo>
                <a:lnTo>
                  <a:pt x="349" y="159"/>
                </a:lnTo>
                <a:lnTo>
                  <a:pt x="349" y="161"/>
                </a:lnTo>
                <a:lnTo>
                  <a:pt x="349" y="163"/>
                </a:lnTo>
                <a:lnTo>
                  <a:pt x="349" y="166"/>
                </a:lnTo>
                <a:lnTo>
                  <a:pt x="347" y="168"/>
                </a:lnTo>
                <a:lnTo>
                  <a:pt x="347" y="170"/>
                </a:lnTo>
                <a:lnTo>
                  <a:pt x="347" y="173"/>
                </a:lnTo>
                <a:lnTo>
                  <a:pt x="349" y="175"/>
                </a:lnTo>
                <a:lnTo>
                  <a:pt x="352" y="175"/>
                </a:lnTo>
                <a:lnTo>
                  <a:pt x="352" y="173"/>
                </a:lnTo>
                <a:lnTo>
                  <a:pt x="354" y="173"/>
                </a:lnTo>
                <a:lnTo>
                  <a:pt x="354" y="170"/>
                </a:lnTo>
                <a:lnTo>
                  <a:pt x="356" y="168"/>
                </a:lnTo>
                <a:lnTo>
                  <a:pt x="359" y="170"/>
                </a:lnTo>
                <a:lnTo>
                  <a:pt x="361" y="170"/>
                </a:lnTo>
                <a:lnTo>
                  <a:pt x="361" y="173"/>
                </a:lnTo>
                <a:lnTo>
                  <a:pt x="363" y="173"/>
                </a:lnTo>
                <a:lnTo>
                  <a:pt x="366" y="173"/>
                </a:lnTo>
                <a:lnTo>
                  <a:pt x="368" y="175"/>
                </a:lnTo>
                <a:lnTo>
                  <a:pt x="368" y="177"/>
                </a:lnTo>
                <a:lnTo>
                  <a:pt x="368" y="182"/>
                </a:lnTo>
                <a:lnTo>
                  <a:pt x="368" y="184"/>
                </a:lnTo>
                <a:lnTo>
                  <a:pt x="370" y="184"/>
                </a:lnTo>
                <a:lnTo>
                  <a:pt x="370" y="187"/>
                </a:lnTo>
                <a:lnTo>
                  <a:pt x="372" y="187"/>
                </a:lnTo>
                <a:lnTo>
                  <a:pt x="375" y="187"/>
                </a:lnTo>
                <a:lnTo>
                  <a:pt x="377" y="187"/>
                </a:lnTo>
                <a:lnTo>
                  <a:pt x="375" y="189"/>
                </a:lnTo>
                <a:lnTo>
                  <a:pt x="375" y="191"/>
                </a:lnTo>
                <a:lnTo>
                  <a:pt x="372" y="191"/>
                </a:lnTo>
                <a:lnTo>
                  <a:pt x="372" y="194"/>
                </a:lnTo>
                <a:lnTo>
                  <a:pt x="368" y="196"/>
                </a:lnTo>
                <a:lnTo>
                  <a:pt x="366" y="198"/>
                </a:lnTo>
                <a:lnTo>
                  <a:pt x="366" y="201"/>
                </a:lnTo>
                <a:lnTo>
                  <a:pt x="363" y="201"/>
                </a:lnTo>
                <a:lnTo>
                  <a:pt x="363" y="198"/>
                </a:lnTo>
                <a:lnTo>
                  <a:pt x="366" y="194"/>
                </a:lnTo>
                <a:lnTo>
                  <a:pt x="366" y="191"/>
                </a:lnTo>
                <a:lnTo>
                  <a:pt x="368" y="191"/>
                </a:lnTo>
                <a:lnTo>
                  <a:pt x="370" y="191"/>
                </a:lnTo>
                <a:lnTo>
                  <a:pt x="370" y="189"/>
                </a:lnTo>
                <a:lnTo>
                  <a:pt x="368" y="189"/>
                </a:lnTo>
                <a:lnTo>
                  <a:pt x="368" y="191"/>
                </a:lnTo>
                <a:lnTo>
                  <a:pt x="366" y="191"/>
                </a:lnTo>
                <a:lnTo>
                  <a:pt x="363" y="191"/>
                </a:lnTo>
                <a:lnTo>
                  <a:pt x="363" y="189"/>
                </a:lnTo>
                <a:lnTo>
                  <a:pt x="361" y="189"/>
                </a:lnTo>
                <a:lnTo>
                  <a:pt x="361" y="191"/>
                </a:lnTo>
                <a:lnTo>
                  <a:pt x="361" y="194"/>
                </a:lnTo>
                <a:lnTo>
                  <a:pt x="359" y="194"/>
                </a:lnTo>
                <a:lnTo>
                  <a:pt x="361" y="191"/>
                </a:lnTo>
                <a:lnTo>
                  <a:pt x="359" y="191"/>
                </a:lnTo>
                <a:lnTo>
                  <a:pt x="359" y="189"/>
                </a:lnTo>
                <a:lnTo>
                  <a:pt x="361" y="187"/>
                </a:lnTo>
                <a:lnTo>
                  <a:pt x="361" y="184"/>
                </a:lnTo>
                <a:lnTo>
                  <a:pt x="359" y="187"/>
                </a:lnTo>
                <a:lnTo>
                  <a:pt x="359" y="189"/>
                </a:lnTo>
                <a:lnTo>
                  <a:pt x="356" y="189"/>
                </a:lnTo>
                <a:lnTo>
                  <a:pt x="359" y="189"/>
                </a:lnTo>
                <a:lnTo>
                  <a:pt x="356" y="189"/>
                </a:lnTo>
                <a:lnTo>
                  <a:pt x="354" y="189"/>
                </a:lnTo>
                <a:lnTo>
                  <a:pt x="354" y="187"/>
                </a:lnTo>
                <a:lnTo>
                  <a:pt x="352" y="187"/>
                </a:lnTo>
                <a:lnTo>
                  <a:pt x="354" y="191"/>
                </a:lnTo>
                <a:lnTo>
                  <a:pt x="352" y="191"/>
                </a:lnTo>
                <a:lnTo>
                  <a:pt x="349" y="191"/>
                </a:lnTo>
                <a:lnTo>
                  <a:pt x="352" y="191"/>
                </a:lnTo>
                <a:lnTo>
                  <a:pt x="354" y="194"/>
                </a:lnTo>
                <a:lnTo>
                  <a:pt x="352" y="194"/>
                </a:lnTo>
                <a:lnTo>
                  <a:pt x="354" y="194"/>
                </a:lnTo>
                <a:lnTo>
                  <a:pt x="354" y="196"/>
                </a:lnTo>
                <a:lnTo>
                  <a:pt x="354" y="198"/>
                </a:lnTo>
                <a:lnTo>
                  <a:pt x="352" y="198"/>
                </a:lnTo>
                <a:lnTo>
                  <a:pt x="352" y="201"/>
                </a:lnTo>
                <a:lnTo>
                  <a:pt x="349" y="201"/>
                </a:lnTo>
                <a:lnTo>
                  <a:pt x="347" y="198"/>
                </a:lnTo>
                <a:lnTo>
                  <a:pt x="345" y="198"/>
                </a:lnTo>
                <a:lnTo>
                  <a:pt x="342" y="198"/>
                </a:lnTo>
                <a:lnTo>
                  <a:pt x="338" y="196"/>
                </a:lnTo>
                <a:lnTo>
                  <a:pt x="335" y="191"/>
                </a:lnTo>
                <a:lnTo>
                  <a:pt x="338" y="194"/>
                </a:lnTo>
                <a:lnTo>
                  <a:pt x="338" y="196"/>
                </a:lnTo>
                <a:lnTo>
                  <a:pt x="338" y="198"/>
                </a:lnTo>
                <a:lnTo>
                  <a:pt x="335" y="198"/>
                </a:lnTo>
                <a:lnTo>
                  <a:pt x="338" y="201"/>
                </a:lnTo>
                <a:lnTo>
                  <a:pt x="340" y="201"/>
                </a:lnTo>
                <a:lnTo>
                  <a:pt x="342" y="201"/>
                </a:lnTo>
                <a:lnTo>
                  <a:pt x="340" y="201"/>
                </a:lnTo>
                <a:lnTo>
                  <a:pt x="340" y="203"/>
                </a:lnTo>
                <a:lnTo>
                  <a:pt x="342" y="203"/>
                </a:lnTo>
                <a:lnTo>
                  <a:pt x="345" y="203"/>
                </a:lnTo>
                <a:lnTo>
                  <a:pt x="347" y="203"/>
                </a:lnTo>
                <a:lnTo>
                  <a:pt x="349" y="203"/>
                </a:lnTo>
                <a:lnTo>
                  <a:pt x="349" y="205"/>
                </a:lnTo>
                <a:lnTo>
                  <a:pt x="349" y="208"/>
                </a:lnTo>
                <a:lnTo>
                  <a:pt x="349" y="205"/>
                </a:lnTo>
                <a:lnTo>
                  <a:pt x="352" y="205"/>
                </a:lnTo>
                <a:lnTo>
                  <a:pt x="354" y="205"/>
                </a:lnTo>
                <a:lnTo>
                  <a:pt x="356" y="208"/>
                </a:lnTo>
                <a:lnTo>
                  <a:pt x="354" y="208"/>
                </a:lnTo>
                <a:lnTo>
                  <a:pt x="352" y="210"/>
                </a:lnTo>
                <a:lnTo>
                  <a:pt x="347" y="219"/>
                </a:lnTo>
                <a:lnTo>
                  <a:pt x="345" y="222"/>
                </a:lnTo>
                <a:lnTo>
                  <a:pt x="345" y="224"/>
                </a:lnTo>
                <a:lnTo>
                  <a:pt x="345" y="222"/>
                </a:lnTo>
                <a:lnTo>
                  <a:pt x="342" y="222"/>
                </a:lnTo>
                <a:lnTo>
                  <a:pt x="342" y="219"/>
                </a:lnTo>
                <a:lnTo>
                  <a:pt x="340" y="219"/>
                </a:lnTo>
                <a:lnTo>
                  <a:pt x="340" y="222"/>
                </a:lnTo>
                <a:lnTo>
                  <a:pt x="342" y="222"/>
                </a:lnTo>
                <a:lnTo>
                  <a:pt x="342" y="224"/>
                </a:lnTo>
                <a:lnTo>
                  <a:pt x="338" y="222"/>
                </a:lnTo>
                <a:lnTo>
                  <a:pt x="333" y="222"/>
                </a:lnTo>
                <a:lnTo>
                  <a:pt x="333" y="224"/>
                </a:lnTo>
                <a:lnTo>
                  <a:pt x="331" y="224"/>
                </a:lnTo>
                <a:lnTo>
                  <a:pt x="333" y="224"/>
                </a:lnTo>
                <a:lnTo>
                  <a:pt x="342" y="224"/>
                </a:lnTo>
                <a:lnTo>
                  <a:pt x="345" y="226"/>
                </a:lnTo>
                <a:lnTo>
                  <a:pt x="342" y="226"/>
                </a:lnTo>
                <a:lnTo>
                  <a:pt x="342" y="231"/>
                </a:lnTo>
                <a:lnTo>
                  <a:pt x="340" y="231"/>
                </a:lnTo>
                <a:lnTo>
                  <a:pt x="338" y="231"/>
                </a:lnTo>
                <a:lnTo>
                  <a:pt x="324" y="229"/>
                </a:lnTo>
                <a:lnTo>
                  <a:pt x="321" y="231"/>
                </a:lnTo>
                <a:lnTo>
                  <a:pt x="319" y="231"/>
                </a:lnTo>
                <a:lnTo>
                  <a:pt x="317" y="231"/>
                </a:lnTo>
                <a:lnTo>
                  <a:pt x="314" y="231"/>
                </a:lnTo>
                <a:lnTo>
                  <a:pt x="312" y="231"/>
                </a:lnTo>
                <a:lnTo>
                  <a:pt x="312" y="229"/>
                </a:lnTo>
                <a:lnTo>
                  <a:pt x="312" y="231"/>
                </a:lnTo>
                <a:lnTo>
                  <a:pt x="310" y="231"/>
                </a:lnTo>
                <a:lnTo>
                  <a:pt x="307" y="231"/>
                </a:lnTo>
                <a:lnTo>
                  <a:pt x="305" y="231"/>
                </a:lnTo>
                <a:lnTo>
                  <a:pt x="305" y="233"/>
                </a:lnTo>
                <a:lnTo>
                  <a:pt x="303" y="233"/>
                </a:lnTo>
                <a:lnTo>
                  <a:pt x="300" y="236"/>
                </a:lnTo>
                <a:lnTo>
                  <a:pt x="296" y="238"/>
                </a:lnTo>
                <a:lnTo>
                  <a:pt x="293" y="238"/>
                </a:lnTo>
                <a:lnTo>
                  <a:pt x="291" y="240"/>
                </a:lnTo>
                <a:lnTo>
                  <a:pt x="289" y="243"/>
                </a:lnTo>
                <a:lnTo>
                  <a:pt x="286" y="243"/>
                </a:lnTo>
                <a:lnTo>
                  <a:pt x="284" y="243"/>
                </a:lnTo>
                <a:lnTo>
                  <a:pt x="279" y="240"/>
                </a:lnTo>
                <a:lnTo>
                  <a:pt x="277" y="238"/>
                </a:lnTo>
                <a:lnTo>
                  <a:pt x="275" y="238"/>
                </a:lnTo>
                <a:lnTo>
                  <a:pt x="275" y="236"/>
                </a:lnTo>
                <a:lnTo>
                  <a:pt x="270" y="233"/>
                </a:lnTo>
                <a:lnTo>
                  <a:pt x="270" y="231"/>
                </a:lnTo>
                <a:lnTo>
                  <a:pt x="268" y="231"/>
                </a:lnTo>
                <a:lnTo>
                  <a:pt x="268" y="229"/>
                </a:lnTo>
                <a:lnTo>
                  <a:pt x="265" y="229"/>
                </a:lnTo>
                <a:lnTo>
                  <a:pt x="263" y="229"/>
                </a:lnTo>
                <a:lnTo>
                  <a:pt x="261" y="226"/>
                </a:lnTo>
                <a:lnTo>
                  <a:pt x="261" y="229"/>
                </a:lnTo>
                <a:lnTo>
                  <a:pt x="258" y="229"/>
                </a:lnTo>
                <a:lnTo>
                  <a:pt x="254" y="229"/>
                </a:lnTo>
                <a:lnTo>
                  <a:pt x="251" y="229"/>
                </a:lnTo>
                <a:lnTo>
                  <a:pt x="249" y="229"/>
                </a:lnTo>
                <a:lnTo>
                  <a:pt x="247" y="229"/>
                </a:lnTo>
                <a:lnTo>
                  <a:pt x="244" y="229"/>
                </a:lnTo>
                <a:lnTo>
                  <a:pt x="242" y="229"/>
                </a:lnTo>
                <a:lnTo>
                  <a:pt x="242" y="231"/>
                </a:lnTo>
                <a:lnTo>
                  <a:pt x="242" y="233"/>
                </a:lnTo>
                <a:lnTo>
                  <a:pt x="240" y="231"/>
                </a:lnTo>
                <a:lnTo>
                  <a:pt x="240" y="229"/>
                </a:lnTo>
                <a:lnTo>
                  <a:pt x="238" y="229"/>
                </a:lnTo>
                <a:lnTo>
                  <a:pt x="235" y="229"/>
                </a:lnTo>
                <a:lnTo>
                  <a:pt x="235" y="226"/>
                </a:lnTo>
                <a:lnTo>
                  <a:pt x="231" y="226"/>
                </a:lnTo>
                <a:lnTo>
                  <a:pt x="228" y="226"/>
                </a:lnTo>
                <a:lnTo>
                  <a:pt x="228" y="224"/>
                </a:lnTo>
                <a:lnTo>
                  <a:pt x="228" y="226"/>
                </a:lnTo>
                <a:lnTo>
                  <a:pt x="231" y="226"/>
                </a:lnTo>
                <a:lnTo>
                  <a:pt x="228" y="226"/>
                </a:lnTo>
                <a:lnTo>
                  <a:pt x="228" y="229"/>
                </a:lnTo>
                <a:lnTo>
                  <a:pt x="226" y="229"/>
                </a:lnTo>
                <a:lnTo>
                  <a:pt x="224" y="229"/>
                </a:lnTo>
                <a:lnTo>
                  <a:pt x="224" y="231"/>
                </a:lnTo>
                <a:lnTo>
                  <a:pt x="221" y="233"/>
                </a:lnTo>
                <a:lnTo>
                  <a:pt x="221" y="236"/>
                </a:lnTo>
                <a:lnTo>
                  <a:pt x="219" y="236"/>
                </a:lnTo>
                <a:lnTo>
                  <a:pt x="219" y="238"/>
                </a:lnTo>
                <a:lnTo>
                  <a:pt x="217" y="238"/>
                </a:lnTo>
                <a:lnTo>
                  <a:pt x="214" y="238"/>
                </a:lnTo>
                <a:lnTo>
                  <a:pt x="212" y="240"/>
                </a:lnTo>
                <a:lnTo>
                  <a:pt x="210" y="238"/>
                </a:lnTo>
                <a:lnTo>
                  <a:pt x="210" y="240"/>
                </a:lnTo>
                <a:lnTo>
                  <a:pt x="207" y="240"/>
                </a:lnTo>
                <a:lnTo>
                  <a:pt x="207" y="238"/>
                </a:lnTo>
                <a:lnTo>
                  <a:pt x="205" y="240"/>
                </a:lnTo>
                <a:lnTo>
                  <a:pt x="205" y="238"/>
                </a:lnTo>
                <a:lnTo>
                  <a:pt x="203" y="238"/>
                </a:lnTo>
                <a:lnTo>
                  <a:pt x="200" y="238"/>
                </a:lnTo>
                <a:lnTo>
                  <a:pt x="198" y="238"/>
                </a:lnTo>
                <a:lnTo>
                  <a:pt x="198" y="240"/>
                </a:lnTo>
                <a:lnTo>
                  <a:pt x="196" y="240"/>
                </a:lnTo>
                <a:lnTo>
                  <a:pt x="193" y="240"/>
                </a:lnTo>
                <a:lnTo>
                  <a:pt x="191" y="240"/>
                </a:lnTo>
                <a:lnTo>
                  <a:pt x="191" y="243"/>
                </a:lnTo>
                <a:lnTo>
                  <a:pt x="189" y="243"/>
                </a:lnTo>
                <a:lnTo>
                  <a:pt x="189" y="245"/>
                </a:lnTo>
                <a:lnTo>
                  <a:pt x="189" y="247"/>
                </a:lnTo>
                <a:lnTo>
                  <a:pt x="186" y="247"/>
                </a:lnTo>
                <a:lnTo>
                  <a:pt x="186" y="250"/>
                </a:lnTo>
                <a:lnTo>
                  <a:pt x="186" y="252"/>
                </a:lnTo>
                <a:lnTo>
                  <a:pt x="189" y="252"/>
                </a:lnTo>
                <a:lnTo>
                  <a:pt x="186" y="252"/>
                </a:lnTo>
                <a:lnTo>
                  <a:pt x="189" y="257"/>
                </a:lnTo>
                <a:lnTo>
                  <a:pt x="189" y="259"/>
                </a:lnTo>
                <a:lnTo>
                  <a:pt x="189" y="261"/>
                </a:lnTo>
                <a:lnTo>
                  <a:pt x="186" y="263"/>
                </a:lnTo>
                <a:lnTo>
                  <a:pt x="184" y="263"/>
                </a:lnTo>
                <a:lnTo>
                  <a:pt x="179" y="263"/>
                </a:lnTo>
                <a:lnTo>
                  <a:pt x="179" y="266"/>
                </a:lnTo>
                <a:lnTo>
                  <a:pt x="177" y="266"/>
                </a:lnTo>
                <a:lnTo>
                  <a:pt x="177" y="263"/>
                </a:lnTo>
                <a:lnTo>
                  <a:pt x="177" y="261"/>
                </a:lnTo>
                <a:lnTo>
                  <a:pt x="175" y="261"/>
                </a:lnTo>
                <a:lnTo>
                  <a:pt x="175" y="259"/>
                </a:lnTo>
                <a:lnTo>
                  <a:pt x="168" y="259"/>
                </a:lnTo>
                <a:lnTo>
                  <a:pt x="165" y="257"/>
                </a:lnTo>
                <a:lnTo>
                  <a:pt x="163" y="259"/>
                </a:lnTo>
                <a:lnTo>
                  <a:pt x="154" y="257"/>
                </a:lnTo>
                <a:lnTo>
                  <a:pt x="149" y="257"/>
                </a:lnTo>
                <a:lnTo>
                  <a:pt x="147" y="257"/>
                </a:lnTo>
                <a:lnTo>
                  <a:pt x="144" y="257"/>
                </a:lnTo>
                <a:lnTo>
                  <a:pt x="144" y="254"/>
                </a:lnTo>
                <a:lnTo>
                  <a:pt x="140" y="252"/>
                </a:lnTo>
                <a:lnTo>
                  <a:pt x="140" y="250"/>
                </a:lnTo>
                <a:lnTo>
                  <a:pt x="135" y="247"/>
                </a:lnTo>
                <a:lnTo>
                  <a:pt x="133" y="247"/>
                </a:lnTo>
                <a:lnTo>
                  <a:pt x="130" y="247"/>
                </a:lnTo>
                <a:lnTo>
                  <a:pt x="128" y="245"/>
                </a:lnTo>
                <a:lnTo>
                  <a:pt x="128" y="247"/>
                </a:lnTo>
                <a:lnTo>
                  <a:pt x="126" y="245"/>
                </a:lnTo>
                <a:lnTo>
                  <a:pt x="123" y="245"/>
                </a:lnTo>
                <a:lnTo>
                  <a:pt x="121" y="245"/>
                </a:lnTo>
                <a:lnTo>
                  <a:pt x="119" y="245"/>
                </a:lnTo>
                <a:lnTo>
                  <a:pt x="119" y="243"/>
                </a:lnTo>
                <a:lnTo>
                  <a:pt x="116" y="243"/>
                </a:lnTo>
                <a:lnTo>
                  <a:pt x="112" y="243"/>
                </a:lnTo>
                <a:lnTo>
                  <a:pt x="110" y="243"/>
                </a:lnTo>
                <a:lnTo>
                  <a:pt x="110" y="240"/>
                </a:lnTo>
                <a:lnTo>
                  <a:pt x="100" y="238"/>
                </a:lnTo>
                <a:lnTo>
                  <a:pt x="98" y="238"/>
                </a:lnTo>
                <a:lnTo>
                  <a:pt x="96" y="240"/>
                </a:lnTo>
                <a:lnTo>
                  <a:pt x="93" y="240"/>
                </a:lnTo>
                <a:lnTo>
                  <a:pt x="91" y="238"/>
                </a:lnTo>
                <a:lnTo>
                  <a:pt x="89" y="240"/>
                </a:lnTo>
                <a:lnTo>
                  <a:pt x="84" y="240"/>
                </a:lnTo>
                <a:lnTo>
                  <a:pt x="84" y="238"/>
                </a:lnTo>
                <a:lnTo>
                  <a:pt x="82" y="238"/>
                </a:lnTo>
                <a:lnTo>
                  <a:pt x="79" y="236"/>
                </a:lnTo>
                <a:lnTo>
                  <a:pt x="77" y="233"/>
                </a:lnTo>
                <a:lnTo>
                  <a:pt x="75" y="233"/>
                </a:lnTo>
                <a:lnTo>
                  <a:pt x="75" y="231"/>
                </a:lnTo>
                <a:lnTo>
                  <a:pt x="70" y="231"/>
                </a:lnTo>
                <a:lnTo>
                  <a:pt x="65" y="233"/>
                </a:lnTo>
                <a:lnTo>
                  <a:pt x="63" y="233"/>
                </a:lnTo>
                <a:lnTo>
                  <a:pt x="61" y="233"/>
                </a:lnTo>
                <a:lnTo>
                  <a:pt x="58" y="231"/>
                </a:lnTo>
                <a:lnTo>
                  <a:pt x="56" y="231"/>
                </a:lnTo>
                <a:lnTo>
                  <a:pt x="54" y="231"/>
                </a:lnTo>
                <a:lnTo>
                  <a:pt x="54" y="229"/>
                </a:lnTo>
                <a:lnTo>
                  <a:pt x="51" y="226"/>
                </a:lnTo>
                <a:lnTo>
                  <a:pt x="49" y="222"/>
                </a:lnTo>
                <a:lnTo>
                  <a:pt x="49" y="219"/>
                </a:lnTo>
                <a:lnTo>
                  <a:pt x="49" y="217"/>
                </a:lnTo>
                <a:lnTo>
                  <a:pt x="47" y="217"/>
                </a:lnTo>
                <a:lnTo>
                  <a:pt x="47" y="215"/>
                </a:lnTo>
                <a:lnTo>
                  <a:pt x="44" y="212"/>
                </a:lnTo>
                <a:lnTo>
                  <a:pt x="44" y="210"/>
                </a:lnTo>
                <a:lnTo>
                  <a:pt x="44" y="205"/>
                </a:lnTo>
                <a:lnTo>
                  <a:pt x="44" y="203"/>
                </a:lnTo>
                <a:lnTo>
                  <a:pt x="44" y="201"/>
                </a:lnTo>
                <a:lnTo>
                  <a:pt x="42" y="198"/>
                </a:lnTo>
                <a:lnTo>
                  <a:pt x="42" y="196"/>
                </a:lnTo>
                <a:lnTo>
                  <a:pt x="42" y="194"/>
                </a:lnTo>
                <a:lnTo>
                  <a:pt x="42" y="191"/>
                </a:lnTo>
                <a:lnTo>
                  <a:pt x="40" y="191"/>
                </a:lnTo>
                <a:lnTo>
                  <a:pt x="37" y="191"/>
                </a:lnTo>
                <a:lnTo>
                  <a:pt x="37" y="189"/>
                </a:lnTo>
                <a:lnTo>
                  <a:pt x="35" y="187"/>
                </a:lnTo>
                <a:lnTo>
                  <a:pt x="33" y="187"/>
                </a:lnTo>
                <a:lnTo>
                  <a:pt x="30" y="184"/>
                </a:lnTo>
                <a:lnTo>
                  <a:pt x="30" y="187"/>
                </a:lnTo>
                <a:lnTo>
                  <a:pt x="30" y="189"/>
                </a:lnTo>
                <a:lnTo>
                  <a:pt x="30" y="187"/>
                </a:lnTo>
                <a:lnTo>
                  <a:pt x="28" y="187"/>
                </a:lnTo>
                <a:lnTo>
                  <a:pt x="28" y="184"/>
                </a:lnTo>
                <a:lnTo>
                  <a:pt x="30" y="182"/>
                </a:lnTo>
                <a:lnTo>
                  <a:pt x="28" y="182"/>
                </a:lnTo>
                <a:lnTo>
                  <a:pt x="28" y="184"/>
                </a:lnTo>
                <a:lnTo>
                  <a:pt x="26" y="184"/>
                </a:lnTo>
                <a:lnTo>
                  <a:pt x="23" y="184"/>
                </a:lnTo>
                <a:lnTo>
                  <a:pt x="23" y="187"/>
                </a:lnTo>
                <a:lnTo>
                  <a:pt x="26" y="187"/>
                </a:lnTo>
                <a:lnTo>
                  <a:pt x="23" y="187"/>
                </a:lnTo>
                <a:lnTo>
                  <a:pt x="21" y="187"/>
                </a:lnTo>
                <a:lnTo>
                  <a:pt x="19" y="184"/>
                </a:lnTo>
                <a:lnTo>
                  <a:pt x="16" y="184"/>
                </a:lnTo>
                <a:lnTo>
                  <a:pt x="16" y="187"/>
                </a:lnTo>
                <a:lnTo>
                  <a:pt x="14" y="187"/>
                </a:lnTo>
                <a:lnTo>
                  <a:pt x="12" y="187"/>
                </a:lnTo>
                <a:lnTo>
                  <a:pt x="12" y="189"/>
                </a:lnTo>
                <a:lnTo>
                  <a:pt x="9" y="191"/>
                </a:lnTo>
                <a:lnTo>
                  <a:pt x="12" y="191"/>
                </a:lnTo>
                <a:lnTo>
                  <a:pt x="9" y="194"/>
                </a:lnTo>
                <a:lnTo>
                  <a:pt x="9" y="191"/>
                </a:lnTo>
                <a:lnTo>
                  <a:pt x="9" y="189"/>
                </a:lnTo>
                <a:lnTo>
                  <a:pt x="7" y="189"/>
                </a:lnTo>
                <a:lnTo>
                  <a:pt x="7" y="187"/>
                </a:lnTo>
                <a:lnTo>
                  <a:pt x="5" y="189"/>
                </a:lnTo>
                <a:lnTo>
                  <a:pt x="5" y="187"/>
                </a:lnTo>
                <a:lnTo>
                  <a:pt x="5" y="184"/>
                </a:lnTo>
                <a:lnTo>
                  <a:pt x="2" y="187"/>
                </a:lnTo>
                <a:lnTo>
                  <a:pt x="2" y="184"/>
                </a:lnTo>
                <a:lnTo>
                  <a:pt x="2" y="182"/>
                </a:lnTo>
                <a:lnTo>
                  <a:pt x="0" y="180"/>
                </a:lnTo>
                <a:lnTo>
                  <a:pt x="0" y="177"/>
                </a:lnTo>
                <a:lnTo>
                  <a:pt x="2" y="177"/>
                </a:lnTo>
                <a:lnTo>
                  <a:pt x="5" y="177"/>
                </a:lnTo>
                <a:lnTo>
                  <a:pt x="5" y="175"/>
                </a:lnTo>
                <a:lnTo>
                  <a:pt x="7" y="175"/>
                </a:lnTo>
                <a:lnTo>
                  <a:pt x="7" y="173"/>
                </a:lnTo>
                <a:lnTo>
                  <a:pt x="9" y="173"/>
                </a:lnTo>
                <a:lnTo>
                  <a:pt x="12" y="175"/>
                </a:lnTo>
                <a:lnTo>
                  <a:pt x="16" y="175"/>
                </a:lnTo>
                <a:lnTo>
                  <a:pt x="14" y="175"/>
                </a:lnTo>
                <a:lnTo>
                  <a:pt x="12" y="173"/>
                </a:lnTo>
                <a:lnTo>
                  <a:pt x="12" y="170"/>
                </a:lnTo>
                <a:lnTo>
                  <a:pt x="9" y="168"/>
                </a:lnTo>
                <a:lnTo>
                  <a:pt x="12" y="168"/>
                </a:lnTo>
                <a:lnTo>
                  <a:pt x="16" y="170"/>
                </a:lnTo>
                <a:lnTo>
                  <a:pt x="19" y="170"/>
                </a:lnTo>
                <a:lnTo>
                  <a:pt x="16" y="168"/>
                </a:lnTo>
                <a:lnTo>
                  <a:pt x="14" y="168"/>
                </a:lnTo>
                <a:lnTo>
                  <a:pt x="16" y="166"/>
                </a:lnTo>
                <a:lnTo>
                  <a:pt x="21" y="166"/>
                </a:lnTo>
                <a:lnTo>
                  <a:pt x="23" y="166"/>
                </a:lnTo>
                <a:lnTo>
                  <a:pt x="23" y="168"/>
                </a:lnTo>
                <a:lnTo>
                  <a:pt x="23" y="166"/>
                </a:lnTo>
                <a:lnTo>
                  <a:pt x="28" y="166"/>
                </a:lnTo>
                <a:lnTo>
                  <a:pt x="23" y="166"/>
                </a:lnTo>
                <a:lnTo>
                  <a:pt x="21" y="163"/>
                </a:lnTo>
                <a:lnTo>
                  <a:pt x="19" y="163"/>
                </a:lnTo>
                <a:lnTo>
                  <a:pt x="16" y="163"/>
                </a:lnTo>
                <a:lnTo>
                  <a:pt x="14" y="163"/>
                </a:lnTo>
                <a:lnTo>
                  <a:pt x="14" y="161"/>
                </a:lnTo>
                <a:lnTo>
                  <a:pt x="14" y="159"/>
                </a:lnTo>
                <a:lnTo>
                  <a:pt x="16" y="159"/>
                </a:lnTo>
                <a:lnTo>
                  <a:pt x="19" y="159"/>
                </a:lnTo>
                <a:lnTo>
                  <a:pt x="16" y="159"/>
                </a:lnTo>
                <a:lnTo>
                  <a:pt x="16" y="156"/>
                </a:lnTo>
                <a:lnTo>
                  <a:pt x="16" y="154"/>
                </a:lnTo>
                <a:lnTo>
                  <a:pt x="19" y="154"/>
                </a:lnTo>
                <a:lnTo>
                  <a:pt x="21" y="154"/>
                </a:lnTo>
                <a:lnTo>
                  <a:pt x="21" y="156"/>
                </a:lnTo>
                <a:lnTo>
                  <a:pt x="21" y="154"/>
                </a:lnTo>
                <a:lnTo>
                  <a:pt x="19" y="152"/>
                </a:lnTo>
                <a:lnTo>
                  <a:pt x="16" y="152"/>
                </a:lnTo>
                <a:lnTo>
                  <a:pt x="14" y="152"/>
                </a:lnTo>
                <a:lnTo>
                  <a:pt x="14" y="149"/>
                </a:lnTo>
                <a:lnTo>
                  <a:pt x="14" y="147"/>
                </a:lnTo>
                <a:lnTo>
                  <a:pt x="14" y="145"/>
                </a:lnTo>
                <a:lnTo>
                  <a:pt x="16" y="145"/>
                </a:lnTo>
                <a:lnTo>
                  <a:pt x="16" y="142"/>
                </a:lnTo>
                <a:lnTo>
                  <a:pt x="16" y="140"/>
                </a:lnTo>
                <a:lnTo>
                  <a:pt x="19" y="142"/>
                </a:lnTo>
                <a:lnTo>
                  <a:pt x="21" y="145"/>
                </a:lnTo>
                <a:lnTo>
                  <a:pt x="23" y="145"/>
                </a:lnTo>
                <a:lnTo>
                  <a:pt x="26" y="145"/>
                </a:lnTo>
                <a:lnTo>
                  <a:pt x="23" y="145"/>
                </a:lnTo>
                <a:lnTo>
                  <a:pt x="23" y="142"/>
                </a:lnTo>
                <a:lnTo>
                  <a:pt x="21" y="142"/>
                </a:lnTo>
                <a:lnTo>
                  <a:pt x="21" y="140"/>
                </a:lnTo>
                <a:lnTo>
                  <a:pt x="19" y="138"/>
                </a:lnTo>
                <a:lnTo>
                  <a:pt x="19" y="135"/>
                </a:lnTo>
                <a:lnTo>
                  <a:pt x="21" y="133"/>
                </a:lnTo>
                <a:lnTo>
                  <a:pt x="23" y="133"/>
                </a:lnTo>
                <a:lnTo>
                  <a:pt x="26" y="133"/>
                </a:lnTo>
                <a:lnTo>
                  <a:pt x="28" y="133"/>
                </a:lnTo>
                <a:lnTo>
                  <a:pt x="30" y="133"/>
                </a:lnTo>
                <a:lnTo>
                  <a:pt x="28" y="133"/>
                </a:lnTo>
                <a:lnTo>
                  <a:pt x="26" y="131"/>
                </a:lnTo>
                <a:lnTo>
                  <a:pt x="23" y="131"/>
                </a:lnTo>
                <a:lnTo>
                  <a:pt x="23" y="128"/>
                </a:lnTo>
                <a:lnTo>
                  <a:pt x="23" y="126"/>
                </a:lnTo>
                <a:lnTo>
                  <a:pt x="21" y="124"/>
                </a:lnTo>
                <a:lnTo>
                  <a:pt x="23" y="119"/>
                </a:lnTo>
                <a:lnTo>
                  <a:pt x="23" y="117"/>
                </a:lnTo>
                <a:lnTo>
                  <a:pt x="23" y="115"/>
                </a:lnTo>
                <a:lnTo>
                  <a:pt x="23" y="112"/>
                </a:lnTo>
                <a:lnTo>
                  <a:pt x="26" y="112"/>
                </a:lnTo>
                <a:lnTo>
                  <a:pt x="26" y="110"/>
                </a:lnTo>
                <a:lnTo>
                  <a:pt x="26" y="108"/>
                </a:lnTo>
                <a:lnTo>
                  <a:pt x="26" y="105"/>
                </a:lnTo>
                <a:lnTo>
                  <a:pt x="23" y="103"/>
                </a:lnTo>
                <a:lnTo>
                  <a:pt x="23" y="101"/>
                </a:lnTo>
                <a:lnTo>
                  <a:pt x="21" y="98"/>
                </a:lnTo>
                <a:lnTo>
                  <a:pt x="23" y="98"/>
                </a:lnTo>
                <a:lnTo>
                  <a:pt x="23" y="94"/>
                </a:lnTo>
                <a:lnTo>
                  <a:pt x="23" y="91"/>
                </a:lnTo>
                <a:lnTo>
                  <a:pt x="26" y="91"/>
                </a:lnTo>
                <a:lnTo>
                  <a:pt x="28" y="89"/>
                </a:lnTo>
                <a:lnTo>
                  <a:pt x="30" y="89"/>
                </a:lnTo>
                <a:lnTo>
                  <a:pt x="35" y="87"/>
                </a:lnTo>
                <a:lnTo>
                  <a:pt x="35" y="84"/>
                </a:lnTo>
                <a:lnTo>
                  <a:pt x="35" y="82"/>
                </a:lnTo>
                <a:lnTo>
                  <a:pt x="37" y="77"/>
                </a:lnTo>
                <a:lnTo>
                  <a:pt x="37" y="75"/>
                </a:lnTo>
                <a:lnTo>
                  <a:pt x="40" y="68"/>
                </a:lnTo>
                <a:lnTo>
                  <a:pt x="40" y="66"/>
                </a:lnTo>
                <a:lnTo>
                  <a:pt x="42" y="56"/>
                </a:lnTo>
                <a:lnTo>
                  <a:pt x="42" y="54"/>
                </a:lnTo>
                <a:lnTo>
                  <a:pt x="44" y="52"/>
                </a:lnTo>
                <a:lnTo>
                  <a:pt x="49" y="49"/>
                </a:lnTo>
                <a:lnTo>
                  <a:pt x="56" y="47"/>
                </a:lnTo>
                <a:lnTo>
                  <a:pt x="58" y="45"/>
                </a:lnTo>
                <a:lnTo>
                  <a:pt x="58" y="42"/>
                </a:lnTo>
                <a:lnTo>
                  <a:pt x="61" y="38"/>
                </a:lnTo>
                <a:lnTo>
                  <a:pt x="63" y="35"/>
                </a:lnTo>
                <a:lnTo>
                  <a:pt x="63" y="33"/>
                </a:lnTo>
                <a:lnTo>
                  <a:pt x="63" y="28"/>
                </a:lnTo>
                <a:lnTo>
                  <a:pt x="65" y="26"/>
                </a:lnTo>
                <a:lnTo>
                  <a:pt x="65" y="21"/>
                </a:lnTo>
                <a:lnTo>
                  <a:pt x="68" y="21"/>
                </a:lnTo>
                <a:lnTo>
                  <a:pt x="70" y="19"/>
                </a:lnTo>
                <a:lnTo>
                  <a:pt x="72" y="17"/>
                </a:lnTo>
                <a:lnTo>
                  <a:pt x="91" y="10"/>
                </a:lnTo>
                <a:lnTo>
                  <a:pt x="93" y="10"/>
                </a:lnTo>
                <a:lnTo>
                  <a:pt x="96" y="7"/>
                </a:lnTo>
                <a:lnTo>
                  <a:pt x="98" y="5"/>
                </a:lnTo>
                <a:lnTo>
                  <a:pt x="100" y="3"/>
                </a:lnTo>
                <a:lnTo>
                  <a:pt x="103" y="3"/>
                </a:lnTo>
                <a:lnTo>
                  <a:pt x="105" y="0"/>
                </a:lnTo>
                <a:lnTo>
                  <a:pt x="107" y="0"/>
                </a:lnTo>
                <a:lnTo>
                  <a:pt x="110" y="0"/>
                </a:lnTo>
                <a:lnTo>
                  <a:pt x="110" y="3"/>
                </a:lnTo>
                <a:lnTo>
                  <a:pt x="112" y="3"/>
                </a:lnTo>
                <a:lnTo>
                  <a:pt x="114" y="3"/>
                </a:lnTo>
                <a:lnTo>
                  <a:pt x="119" y="5"/>
                </a:lnTo>
                <a:lnTo>
                  <a:pt x="121" y="3"/>
                </a:lnTo>
                <a:lnTo>
                  <a:pt x="123" y="3"/>
                </a:lnTo>
                <a:lnTo>
                  <a:pt x="126" y="3"/>
                </a:lnTo>
                <a:lnTo>
                  <a:pt x="128" y="5"/>
                </a:lnTo>
                <a:lnTo>
                  <a:pt x="130" y="5"/>
                </a:lnTo>
                <a:lnTo>
                  <a:pt x="133" y="5"/>
                </a:lnTo>
                <a:lnTo>
                  <a:pt x="135" y="5"/>
                </a:lnTo>
                <a:lnTo>
                  <a:pt x="137" y="5"/>
                </a:lnTo>
                <a:lnTo>
                  <a:pt x="140" y="5"/>
                </a:lnTo>
                <a:lnTo>
                  <a:pt x="142" y="5"/>
                </a:lnTo>
                <a:lnTo>
                  <a:pt x="144" y="5"/>
                </a:lnTo>
                <a:lnTo>
                  <a:pt x="147" y="5"/>
                </a:lnTo>
                <a:lnTo>
                  <a:pt x="147" y="7"/>
                </a:lnTo>
                <a:lnTo>
                  <a:pt x="149" y="7"/>
                </a:lnTo>
                <a:lnTo>
                  <a:pt x="151" y="5"/>
                </a:lnTo>
                <a:lnTo>
                  <a:pt x="151" y="3"/>
                </a:lnTo>
                <a:lnTo>
                  <a:pt x="154" y="0"/>
                </a:lnTo>
                <a:lnTo>
                  <a:pt x="156" y="0"/>
                </a:lnTo>
                <a:lnTo>
                  <a:pt x="158" y="3"/>
                </a:lnTo>
                <a:lnTo>
                  <a:pt x="161" y="3"/>
                </a:lnTo>
                <a:lnTo>
                  <a:pt x="168" y="7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3" name="Freeform 20">
            <a:extLst>
              <a:ext uri="{FF2B5EF4-FFF2-40B4-BE49-F238E27FC236}">
                <a16:creationId xmlns:a16="http://schemas.microsoft.com/office/drawing/2014/main" id="{B375DDA5-143E-E767-E4C5-49D71B8BFD17}"/>
              </a:ext>
            </a:extLst>
          </p:cNvPr>
          <p:cNvSpPr>
            <a:spLocks noEditPoints="1"/>
          </p:cNvSpPr>
          <p:nvPr/>
        </p:nvSpPr>
        <p:spPr bwMode="auto">
          <a:xfrm>
            <a:off x="2992945" y="4987303"/>
            <a:ext cx="359367" cy="240678"/>
          </a:xfrm>
          <a:custGeom>
            <a:avLst/>
            <a:gdLst>
              <a:gd name="T0" fmla="*/ 298 w 305"/>
              <a:gd name="T1" fmla="*/ 107 h 214"/>
              <a:gd name="T2" fmla="*/ 305 w 305"/>
              <a:gd name="T3" fmla="*/ 100 h 214"/>
              <a:gd name="T4" fmla="*/ 298 w 305"/>
              <a:gd name="T5" fmla="*/ 121 h 214"/>
              <a:gd name="T6" fmla="*/ 298 w 305"/>
              <a:gd name="T7" fmla="*/ 26 h 214"/>
              <a:gd name="T8" fmla="*/ 302 w 305"/>
              <a:gd name="T9" fmla="*/ 28 h 214"/>
              <a:gd name="T10" fmla="*/ 300 w 305"/>
              <a:gd name="T11" fmla="*/ 14 h 214"/>
              <a:gd name="T12" fmla="*/ 291 w 305"/>
              <a:gd name="T13" fmla="*/ 14 h 214"/>
              <a:gd name="T14" fmla="*/ 288 w 305"/>
              <a:gd name="T15" fmla="*/ 23 h 214"/>
              <a:gd name="T16" fmla="*/ 298 w 305"/>
              <a:gd name="T17" fmla="*/ 37 h 214"/>
              <a:gd name="T18" fmla="*/ 295 w 305"/>
              <a:gd name="T19" fmla="*/ 63 h 214"/>
              <a:gd name="T20" fmla="*/ 295 w 305"/>
              <a:gd name="T21" fmla="*/ 81 h 214"/>
              <a:gd name="T22" fmla="*/ 298 w 305"/>
              <a:gd name="T23" fmla="*/ 86 h 214"/>
              <a:gd name="T24" fmla="*/ 295 w 305"/>
              <a:gd name="T25" fmla="*/ 93 h 214"/>
              <a:gd name="T26" fmla="*/ 291 w 305"/>
              <a:gd name="T27" fmla="*/ 112 h 214"/>
              <a:gd name="T28" fmla="*/ 291 w 305"/>
              <a:gd name="T29" fmla="*/ 126 h 214"/>
              <a:gd name="T30" fmla="*/ 288 w 305"/>
              <a:gd name="T31" fmla="*/ 142 h 214"/>
              <a:gd name="T32" fmla="*/ 281 w 305"/>
              <a:gd name="T33" fmla="*/ 161 h 214"/>
              <a:gd name="T34" fmla="*/ 274 w 305"/>
              <a:gd name="T35" fmla="*/ 156 h 214"/>
              <a:gd name="T36" fmla="*/ 274 w 305"/>
              <a:gd name="T37" fmla="*/ 172 h 214"/>
              <a:gd name="T38" fmla="*/ 223 w 305"/>
              <a:gd name="T39" fmla="*/ 212 h 214"/>
              <a:gd name="T40" fmla="*/ 207 w 305"/>
              <a:gd name="T41" fmla="*/ 205 h 214"/>
              <a:gd name="T42" fmla="*/ 198 w 305"/>
              <a:gd name="T43" fmla="*/ 207 h 214"/>
              <a:gd name="T44" fmla="*/ 207 w 305"/>
              <a:gd name="T45" fmla="*/ 195 h 214"/>
              <a:gd name="T46" fmla="*/ 214 w 305"/>
              <a:gd name="T47" fmla="*/ 172 h 214"/>
              <a:gd name="T48" fmla="*/ 225 w 305"/>
              <a:gd name="T49" fmla="*/ 161 h 214"/>
              <a:gd name="T50" fmla="*/ 211 w 305"/>
              <a:gd name="T51" fmla="*/ 156 h 214"/>
              <a:gd name="T52" fmla="*/ 200 w 305"/>
              <a:gd name="T53" fmla="*/ 156 h 214"/>
              <a:gd name="T54" fmla="*/ 179 w 305"/>
              <a:gd name="T55" fmla="*/ 151 h 214"/>
              <a:gd name="T56" fmla="*/ 163 w 305"/>
              <a:gd name="T57" fmla="*/ 133 h 214"/>
              <a:gd name="T58" fmla="*/ 153 w 305"/>
              <a:gd name="T59" fmla="*/ 114 h 214"/>
              <a:gd name="T60" fmla="*/ 142 w 305"/>
              <a:gd name="T61" fmla="*/ 105 h 214"/>
              <a:gd name="T62" fmla="*/ 130 w 305"/>
              <a:gd name="T63" fmla="*/ 95 h 214"/>
              <a:gd name="T64" fmla="*/ 118 w 305"/>
              <a:gd name="T65" fmla="*/ 91 h 214"/>
              <a:gd name="T66" fmla="*/ 107 w 305"/>
              <a:gd name="T67" fmla="*/ 88 h 214"/>
              <a:gd name="T68" fmla="*/ 102 w 305"/>
              <a:gd name="T69" fmla="*/ 81 h 214"/>
              <a:gd name="T70" fmla="*/ 90 w 305"/>
              <a:gd name="T71" fmla="*/ 74 h 214"/>
              <a:gd name="T72" fmla="*/ 81 w 305"/>
              <a:gd name="T73" fmla="*/ 72 h 214"/>
              <a:gd name="T74" fmla="*/ 67 w 305"/>
              <a:gd name="T75" fmla="*/ 72 h 214"/>
              <a:gd name="T76" fmla="*/ 53 w 305"/>
              <a:gd name="T77" fmla="*/ 65 h 214"/>
              <a:gd name="T78" fmla="*/ 49 w 305"/>
              <a:gd name="T79" fmla="*/ 63 h 214"/>
              <a:gd name="T80" fmla="*/ 42 w 305"/>
              <a:gd name="T81" fmla="*/ 65 h 214"/>
              <a:gd name="T82" fmla="*/ 30 w 305"/>
              <a:gd name="T83" fmla="*/ 60 h 214"/>
              <a:gd name="T84" fmla="*/ 18 w 305"/>
              <a:gd name="T85" fmla="*/ 65 h 214"/>
              <a:gd name="T86" fmla="*/ 4 w 305"/>
              <a:gd name="T87" fmla="*/ 63 h 214"/>
              <a:gd name="T88" fmla="*/ 7 w 305"/>
              <a:gd name="T89" fmla="*/ 49 h 214"/>
              <a:gd name="T90" fmla="*/ 7 w 305"/>
              <a:gd name="T91" fmla="*/ 30 h 214"/>
              <a:gd name="T92" fmla="*/ 16 w 305"/>
              <a:gd name="T93" fmla="*/ 7 h 214"/>
              <a:gd name="T94" fmla="*/ 39 w 305"/>
              <a:gd name="T95" fmla="*/ 12 h 214"/>
              <a:gd name="T96" fmla="*/ 60 w 305"/>
              <a:gd name="T97" fmla="*/ 14 h 214"/>
              <a:gd name="T98" fmla="*/ 86 w 305"/>
              <a:gd name="T99" fmla="*/ 21 h 214"/>
              <a:gd name="T100" fmla="*/ 104 w 305"/>
              <a:gd name="T101" fmla="*/ 33 h 214"/>
              <a:gd name="T102" fmla="*/ 137 w 305"/>
              <a:gd name="T103" fmla="*/ 37 h 214"/>
              <a:gd name="T104" fmla="*/ 149 w 305"/>
              <a:gd name="T105" fmla="*/ 33 h 214"/>
              <a:gd name="T106" fmla="*/ 151 w 305"/>
              <a:gd name="T107" fmla="*/ 19 h 214"/>
              <a:gd name="T108" fmla="*/ 165 w 305"/>
              <a:gd name="T109" fmla="*/ 16 h 214"/>
              <a:gd name="T110" fmla="*/ 179 w 305"/>
              <a:gd name="T111" fmla="*/ 12 h 214"/>
              <a:gd name="T112" fmla="*/ 188 w 305"/>
              <a:gd name="T113" fmla="*/ 2 h 214"/>
              <a:gd name="T114" fmla="*/ 202 w 305"/>
              <a:gd name="T115" fmla="*/ 9 h 214"/>
              <a:gd name="T116" fmla="*/ 221 w 305"/>
              <a:gd name="T117" fmla="*/ 5 h 214"/>
              <a:gd name="T118" fmla="*/ 235 w 305"/>
              <a:gd name="T119" fmla="*/ 14 h 214"/>
              <a:gd name="T120" fmla="*/ 260 w 305"/>
              <a:gd name="T121" fmla="*/ 12 h 214"/>
              <a:gd name="T122" fmla="*/ 274 w 305"/>
              <a:gd name="T123" fmla="*/ 7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5" h="214">
                <a:moveTo>
                  <a:pt x="295" y="123"/>
                </a:moveTo>
                <a:lnTo>
                  <a:pt x="293" y="123"/>
                </a:lnTo>
                <a:lnTo>
                  <a:pt x="293" y="119"/>
                </a:lnTo>
                <a:lnTo>
                  <a:pt x="295" y="116"/>
                </a:lnTo>
                <a:lnTo>
                  <a:pt x="295" y="114"/>
                </a:lnTo>
                <a:lnTo>
                  <a:pt x="295" y="112"/>
                </a:lnTo>
                <a:lnTo>
                  <a:pt x="295" y="109"/>
                </a:lnTo>
                <a:lnTo>
                  <a:pt x="295" y="107"/>
                </a:lnTo>
                <a:lnTo>
                  <a:pt x="298" y="107"/>
                </a:lnTo>
                <a:lnTo>
                  <a:pt x="298" y="105"/>
                </a:lnTo>
                <a:lnTo>
                  <a:pt x="298" y="102"/>
                </a:lnTo>
                <a:lnTo>
                  <a:pt x="298" y="100"/>
                </a:lnTo>
                <a:lnTo>
                  <a:pt x="298" y="98"/>
                </a:lnTo>
                <a:lnTo>
                  <a:pt x="300" y="98"/>
                </a:lnTo>
                <a:lnTo>
                  <a:pt x="302" y="98"/>
                </a:lnTo>
                <a:lnTo>
                  <a:pt x="302" y="95"/>
                </a:lnTo>
                <a:lnTo>
                  <a:pt x="305" y="98"/>
                </a:lnTo>
                <a:lnTo>
                  <a:pt x="305" y="100"/>
                </a:lnTo>
                <a:lnTo>
                  <a:pt x="305" y="102"/>
                </a:lnTo>
                <a:lnTo>
                  <a:pt x="305" y="105"/>
                </a:lnTo>
                <a:lnTo>
                  <a:pt x="302" y="105"/>
                </a:lnTo>
                <a:lnTo>
                  <a:pt x="302" y="107"/>
                </a:lnTo>
                <a:lnTo>
                  <a:pt x="302" y="109"/>
                </a:lnTo>
                <a:lnTo>
                  <a:pt x="300" y="112"/>
                </a:lnTo>
                <a:lnTo>
                  <a:pt x="298" y="116"/>
                </a:lnTo>
                <a:lnTo>
                  <a:pt x="298" y="119"/>
                </a:lnTo>
                <a:lnTo>
                  <a:pt x="298" y="121"/>
                </a:lnTo>
                <a:lnTo>
                  <a:pt x="295" y="121"/>
                </a:lnTo>
                <a:lnTo>
                  <a:pt x="295" y="123"/>
                </a:lnTo>
                <a:close/>
                <a:moveTo>
                  <a:pt x="300" y="35"/>
                </a:moveTo>
                <a:lnTo>
                  <a:pt x="298" y="35"/>
                </a:lnTo>
                <a:lnTo>
                  <a:pt x="298" y="33"/>
                </a:lnTo>
                <a:lnTo>
                  <a:pt x="295" y="30"/>
                </a:lnTo>
                <a:lnTo>
                  <a:pt x="293" y="28"/>
                </a:lnTo>
                <a:lnTo>
                  <a:pt x="295" y="26"/>
                </a:lnTo>
                <a:lnTo>
                  <a:pt x="298" y="26"/>
                </a:lnTo>
                <a:lnTo>
                  <a:pt x="298" y="23"/>
                </a:lnTo>
                <a:lnTo>
                  <a:pt x="300" y="23"/>
                </a:lnTo>
                <a:lnTo>
                  <a:pt x="302" y="21"/>
                </a:lnTo>
                <a:lnTo>
                  <a:pt x="302" y="19"/>
                </a:lnTo>
                <a:lnTo>
                  <a:pt x="305" y="19"/>
                </a:lnTo>
                <a:lnTo>
                  <a:pt x="305" y="21"/>
                </a:lnTo>
                <a:lnTo>
                  <a:pt x="305" y="23"/>
                </a:lnTo>
                <a:lnTo>
                  <a:pt x="305" y="26"/>
                </a:lnTo>
                <a:lnTo>
                  <a:pt x="302" y="28"/>
                </a:lnTo>
                <a:lnTo>
                  <a:pt x="302" y="30"/>
                </a:lnTo>
                <a:lnTo>
                  <a:pt x="300" y="33"/>
                </a:lnTo>
                <a:lnTo>
                  <a:pt x="300" y="35"/>
                </a:lnTo>
                <a:close/>
                <a:moveTo>
                  <a:pt x="300" y="7"/>
                </a:moveTo>
                <a:lnTo>
                  <a:pt x="302" y="7"/>
                </a:lnTo>
                <a:lnTo>
                  <a:pt x="302" y="9"/>
                </a:lnTo>
                <a:lnTo>
                  <a:pt x="300" y="9"/>
                </a:lnTo>
                <a:lnTo>
                  <a:pt x="300" y="12"/>
                </a:lnTo>
                <a:lnTo>
                  <a:pt x="300" y="14"/>
                </a:lnTo>
                <a:lnTo>
                  <a:pt x="300" y="19"/>
                </a:lnTo>
                <a:lnTo>
                  <a:pt x="300" y="21"/>
                </a:lnTo>
                <a:lnTo>
                  <a:pt x="298" y="21"/>
                </a:lnTo>
                <a:lnTo>
                  <a:pt x="295" y="23"/>
                </a:lnTo>
                <a:lnTo>
                  <a:pt x="293" y="23"/>
                </a:lnTo>
                <a:lnTo>
                  <a:pt x="291" y="21"/>
                </a:lnTo>
                <a:lnTo>
                  <a:pt x="291" y="19"/>
                </a:lnTo>
                <a:lnTo>
                  <a:pt x="291" y="16"/>
                </a:lnTo>
                <a:lnTo>
                  <a:pt x="291" y="14"/>
                </a:lnTo>
                <a:lnTo>
                  <a:pt x="291" y="12"/>
                </a:lnTo>
                <a:lnTo>
                  <a:pt x="288" y="12"/>
                </a:lnTo>
                <a:lnTo>
                  <a:pt x="288" y="14"/>
                </a:lnTo>
                <a:lnTo>
                  <a:pt x="291" y="14"/>
                </a:lnTo>
                <a:lnTo>
                  <a:pt x="288" y="16"/>
                </a:lnTo>
                <a:lnTo>
                  <a:pt x="291" y="19"/>
                </a:lnTo>
                <a:lnTo>
                  <a:pt x="291" y="21"/>
                </a:lnTo>
                <a:lnTo>
                  <a:pt x="291" y="23"/>
                </a:lnTo>
                <a:lnTo>
                  <a:pt x="288" y="23"/>
                </a:lnTo>
                <a:lnTo>
                  <a:pt x="291" y="26"/>
                </a:lnTo>
                <a:lnTo>
                  <a:pt x="288" y="26"/>
                </a:lnTo>
                <a:lnTo>
                  <a:pt x="288" y="28"/>
                </a:lnTo>
                <a:lnTo>
                  <a:pt x="291" y="28"/>
                </a:lnTo>
                <a:lnTo>
                  <a:pt x="293" y="30"/>
                </a:lnTo>
                <a:lnTo>
                  <a:pt x="295" y="33"/>
                </a:lnTo>
                <a:lnTo>
                  <a:pt x="295" y="35"/>
                </a:lnTo>
                <a:lnTo>
                  <a:pt x="298" y="35"/>
                </a:lnTo>
                <a:lnTo>
                  <a:pt x="298" y="37"/>
                </a:lnTo>
                <a:lnTo>
                  <a:pt x="293" y="44"/>
                </a:lnTo>
                <a:lnTo>
                  <a:pt x="293" y="46"/>
                </a:lnTo>
                <a:lnTo>
                  <a:pt x="293" y="49"/>
                </a:lnTo>
                <a:lnTo>
                  <a:pt x="293" y="53"/>
                </a:lnTo>
                <a:lnTo>
                  <a:pt x="295" y="56"/>
                </a:lnTo>
                <a:lnTo>
                  <a:pt x="298" y="56"/>
                </a:lnTo>
                <a:lnTo>
                  <a:pt x="298" y="58"/>
                </a:lnTo>
                <a:lnTo>
                  <a:pt x="295" y="60"/>
                </a:lnTo>
                <a:lnTo>
                  <a:pt x="295" y="63"/>
                </a:lnTo>
                <a:lnTo>
                  <a:pt x="295" y="65"/>
                </a:lnTo>
                <a:lnTo>
                  <a:pt x="295" y="67"/>
                </a:lnTo>
                <a:lnTo>
                  <a:pt x="295" y="70"/>
                </a:lnTo>
                <a:lnTo>
                  <a:pt x="295" y="72"/>
                </a:lnTo>
                <a:lnTo>
                  <a:pt x="298" y="72"/>
                </a:lnTo>
                <a:lnTo>
                  <a:pt x="298" y="74"/>
                </a:lnTo>
                <a:lnTo>
                  <a:pt x="295" y="74"/>
                </a:lnTo>
                <a:lnTo>
                  <a:pt x="295" y="77"/>
                </a:lnTo>
                <a:lnTo>
                  <a:pt x="295" y="81"/>
                </a:lnTo>
                <a:lnTo>
                  <a:pt x="298" y="81"/>
                </a:lnTo>
                <a:lnTo>
                  <a:pt x="298" y="79"/>
                </a:lnTo>
                <a:lnTo>
                  <a:pt x="300" y="79"/>
                </a:lnTo>
                <a:lnTo>
                  <a:pt x="300" y="81"/>
                </a:lnTo>
                <a:lnTo>
                  <a:pt x="302" y="81"/>
                </a:lnTo>
                <a:lnTo>
                  <a:pt x="300" y="81"/>
                </a:lnTo>
                <a:lnTo>
                  <a:pt x="300" y="84"/>
                </a:lnTo>
                <a:lnTo>
                  <a:pt x="300" y="86"/>
                </a:lnTo>
                <a:lnTo>
                  <a:pt x="298" y="86"/>
                </a:lnTo>
                <a:lnTo>
                  <a:pt x="298" y="84"/>
                </a:lnTo>
                <a:lnTo>
                  <a:pt x="300" y="84"/>
                </a:lnTo>
                <a:lnTo>
                  <a:pt x="298" y="84"/>
                </a:lnTo>
                <a:lnTo>
                  <a:pt x="295" y="84"/>
                </a:lnTo>
                <a:lnTo>
                  <a:pt x="293" y="86"/>
                </a:lnTo>
                <a:lnTo>
                  <a:pt x="293" y="88"/>
                </a:lnTo>
                <a:lnTo>
                  <a:pt x="293" y="91"/>
                </a:lnTo>
                <a:lnTo>
                  <a:pt x="295" y="91"/>
                </a:lnTo>
                <a:lnTo>
                  <a:pt x="295" y="93"/>
                </a:lnTo>
                <a:lnTo>
                  <a:pt x="295" y="95"/>
                </a:lnTo>
                <a:lnTo>
                  <a:pt x="295" y="98"/>
                </a:lnTo>
                <a:lnTo>
                  <a:pt x="293" y="98"/>
                </a:lnTo>
                <a:lnTo>
                  <a:pt x="291" y="98"/>
                </a:lnTo>
                <a:lnTo>
                  <a:pt x="291" y="100"/>
                </a:lnTo>
                <a:lnTo>
                  <a:pt x="293" y="107"/>
                </a:lnTo>
                <a:lnTo>
                  <a:pt x="293" y="109"/>
                </a:lnTo>
                <a:lnTo>
                  <a:pt x="291" y="109"/>
                </a:lnTo>
                <a:lnTo>
                  <a:pt x="291" y="112"/>
                </a:lnTo>
                <a:lnTo>
                  <a:pt x="288" y="112"/>
                </a:lnTo>
                <a:lnTo>
                  <a:pt x="291" y="112"/>
                </a:lnTo>
                <a:lnTo>
                  <a:pt x="291" y="114"/>
                </a:lnTo>
                <a:lnTo>
                  <a:pt x="291" y="116"/>
                </a:lnTo>
                <a:lnTo>
                  <a:pt x="291" y="119"/>
                </a:lnTo>
                <a:lnTo>
                  <a:pt x="291" y="121"/>
                </a:lnTo>
                <a:lnTo>
                  <a:pt x="293" y="123"/>
                </a:lnTo>
                <a:lnTo>
                  <a:pt x="291" y="123"/>
                </a:lnTo>
                <a:lnTo>
                  <a:pt x="291" y="126"/>
                </a:lnTo>
                <a:lnTo>
                  <a:pt x="293" y="126"/>
                </a:lnTo>
                <a:lnTo>
                  <a:pt x="291" y="128"/>
                </a:lnTo>
                <a:lnTo>
                  <a:pt x="291" y="130"/>
                </a:lnTo>
                <a:lnTo>
                  <a:pt x="288" y="133"/>
                </a:lnTo>
                <a:lnTo>
                  <a:pt x="291" y="135"/>
                </a:lnTo>
                <a:lnTo>
                  <a:pt x="291" y="137"/>
                </a:lnTo>
                <a:lnTo>
                  <a:pt x="288" y="137"/>
                </a:lnTo>
                <a:lnTo>
                  <a:pt x="288" y="140"/>
                </a:lnTo>
                <a:lnTo>
                  <a:pt x="288" y="142"/>
                </a:lnTo>
                <a:lnTo>
                  <a:pt x="286" y="147"/>
                </a:lnTo>
                <a:lnTo>
                  <a:pt x="288" y="149"/>
                </a:lnTo>
                <a:lnTo>
                  <a:pt x="286" y="149"/>
                </a:lnTo>
                <a:lnTo>
                  <a:pt x="284" y="151"/>
                </a:lnTo>
                <a:lnTo>
                  <a:pt x="284" y="154"/>
                </a:lnTo>
                <a:lnTo>
                  <a:pt x="284" y="156"/>
                </a:lnTo>
                <a:lnTo>
                  <a:pt x="281" y="156"/>
                </a:lnTo>
                <a:lnTo>
                  <a:pt x="281" y="158"/>
                </a:lnTo>
                <a:lnTo>
                  <a:pt x="281" y="161"/>
                </a:lnTo>
                <a:lnTo>
                  <a:pt x="279" y="161"/>
                </a:lnTo>
                <a:lnTo>
                  <a:pt x="279" y="163"/>
                </a:lnTo>
                <a:lnTo>
                  <a:pt x="277" y="163"/>
                </a:lnTo>
                <a:lnTo>
                  <a:pt x="277" y="161"/>
                </a:lnTo>
                <a:lnTo>
                  <a:pt x="277" y="158"/>
                </a:lnTo>
                <a:lnTo>
                  <a:pt x="277" y="156"/>
                </a:lnTo>
                <a:lnTo>
                  <a:pt x="277" y="154"/>
                </a:lnTo>
                <a:lnTo>
                  <a:pt x="274" y="154"/>
                </a:lnTo>
                <a:lnTo>
                  <a:pt x="274" y="156"/>
                </a:lnTo>
                <a:lnTo>
                  <a:pt x="274" y="158"/>
                </a:lnTo>
                <a:lnTo>
                  <a:pt x="272" y="158"/>
                </a:lnTo>
                <a:lnTo>
                  <a:pt x="274" y="161"/>
                </a:lnTo>
                <a:lnTo>
                  <a:pt x="274" y="163"/>
                </a:lnTo>
                <a:lnTo>
                  <a:pt x="277" y="165"/>
                </a:lnTo>
                <a:lnTo>
                  <a:pt x="279" y="165"/>
                </a:lnTo>
                <a:lnTo>
                  <a:pt x="279" y="168"/>
                </a:lnTo>
                <a:lnTo>
                  <a:pt x="277" y="170"/>
                </a:lnTo>
                <a:lnTo>
                  <a:pt x="274" y="172"/>
                </a:lnTo>
                <a:lnTo>
                  <a:pt x="272" y="172"/>
                </a:lnTo>
                <a:lnTo>
                  <a:pt x="270" y="172"/>
                </a:lnTo>
                <a:lnTo>
                  <a:pt x="267" y="172"/>
                </a:lnTo>
                <a:lnTo>
                  <a:pt x="267" y="175"/>
                </a:lnTo>
                <a:lnTo>
                  <a:pt x="265" y="175"/>
                </a:lnTo>
                <a:lnTo>
                  <a:pt x="260" y="177"/>
                </a:lnTo>
                <a:lnTo>
                  <a:pt x="244" y="188"/>
                </a:lnTo>
                <a:lnTo>
                  <a:pt x="232" y="200"/>
                </a:lnTo>
                <a:lnTo>
                  <a:pt x="223" y="212"/>
                </a:lnTo>
                <a:lnTo>
                  <a:pt x="221" y="212"/>
                </a:lnTo>
                <a:lnTo>
                  <a:pt x="221" y="209"/>
                </a:lnTo>
                <a:lnTo>
                  <a:pt x="218" y="209"/>
                </a:lnTo>
                <a:lnTo>
                  <a:pt x="216" y="209"/>
                </a:lnTo>
                <a:lnTo>
                  <a:pt x="214" y="205"/>
                </a:lnTo>
                <a:lnTo>
                  <a:pt x="211" y="202"/>
                </a:lnTo>
                <a:lnTo>
                  <a:pt x="209" y="202"/>
                </a:lnTo>
                <a:lnTo>
                  <a:pt x="209" y="205"/>
                </a:lnTo>
                <a:lnTo>
                  <a:pt x="207" y="205"/>
                </a:lnTo>
                <a:lnTo>
                  <a:pt x="204" y="205"/>
                </a:lnTo>
                <a:lnTo>
                  <a:pt x="202" y="205"/>
                </a:lnTo>
                <a:lnTo>
                  <a:pt x="202" y="207"/>
                </a:lnTo>
                <a:lnTo>
                  <a:pt x="204" y="209"/>
                </a:lnTo>
                <a:lnTo>
                  <a:pt x="204" y="212"/>
                </a:lnTo>
                <a:lnTo>
                  <a:pt x="204" y="214"/>
                </a:lnTo>
                <a:lnTo>
                  <a:pt x="202" y="212"/>
                </a:lnTo>
                <a:lnTo>
                  <a:pt x="198" y="209"/>
                </a:lnTo>
                <a:lnTo>
                  <a:pt x="198" y="207"/>
                </a:lnTo>
                <a:lnTo>
                  <a:pt x="198" y="205"/>
                </a:lnTo>
                <a:lnTo>
                  <a:pt x="198" y="202"/>
                </a:lnTo>
                <a:lnTo>
                  <a:pt x="200" y="202"/>
                </a:lnTo>
                <a:lnTo>
                  <a:pt x="202" y="200"/>
                </a:lnTo>
                <a:lnTo>
                  <a:pt x="202" y="198"/>
                </a:lnTo>
                <a:lnTo>
                  <a:pt x="204" y="195"/>
                </a:lnTo>
                <a:lnTo>
                  <a:pt x="204" y="198"/>
                </a:lnTo>
                <a:lnTo>
                  <a:pt x="207" y="198"/>
                </a:lnTo>
                <a:lnTo>
                  <a:pt x="207" y="195"/>
                </a:lnTo>
                <a:lnTo>
                  <a:pt x="209" y="193"/>
                </a:lnTo>
                <a:lnTo>
                  <a:pt x="209" y="191"/>
                </a:lnTo>
                <a:lnTo>
                  <a:pt x="211" y="188"/>
                </a:lnTo>
                <a:lnTo>
                  <a:pt x="211" y="181"/>
                </a:lnTo>
                <a:lnTo>
                  <a:pt x="211" y="179"/>
                </a:lnTo>
                <a:lnTo>
                  <a:pt x="211" y="177"/>
                </a:lnTo>
                <a:lnTo>
                  <a:pt x="214" y="177"/>
                </a:lnTo>
                <a:lnTo>
                  <a:pt x="214" y="175"/>
                </a:lnTo>
                <a:lnTo>
                  <a:pt x="214" y="172"/>
                </a:lnTo>
                <a:lnTo>
                  <a:pt x="214" y="175"/>
                </a:lnTo>
                <a:lnTo>
                  <a:pt x="216" y="172"/>
                </a:lnTo>
                <a:lnTo>
                  <a:pt x="218" y="172"/>
                </a:lnTo>
                <a:lnTo>
                  <a:pt x="221" y="168"/>
                </a:lnTo>
                <a:lnTo>
                  <a:pt x="223" y="168"/>
                </a:lnTo>
                <a:lnTo>
                  <a:pt x="225" y="168"/>
                </a:lnTo>
                <a:lnTo>
                  <a:pt x="225" y="165"/>
                </a:lnTo>
                <a:lnTo>
                  <a:pt x="225" y="163"/>
                </a:lnTo>
                <a:lnTo>
                  <a:pt x="225" y="161"/>
                </a:lnTo>
                <a:lnTo>
                  <a:pt x="223" y="158"/>
                </a:lnTo>
                <a:lnTo>
                  <a:pt x="223" y="161"/>
                </a:lnTo>
                <a:lnTo>
                  <a:pt x="221" y="161"/>
                </a:lnTo>
                <a:lnTo>
                  <a:pt x="218" y="161"/>
                </a:lnTo>
                <a:lnTo>
                  <a:pt x="218" y="158"/>
                </a:lnTo>
                <a:lnTo>
                  <a:pt x="218" y="156"/>
                </a:lnTo>
                <a:lnTo>
                  <a:pt x="216" y="156"/>
                </a:lnTo>
                <a:lnTo>
                  <a:pt x="214" y="158"/>
                </a:lnTo>
                <a:lnTo>
                  <a:pt x="211" y="156"/>
                </a:lnTo>
                <a:lnTo>
                  <a:pt x="209" y="156"/>
                </a:lnTo>
                <a:lnTo>
                  <a:pt x="209" y="158"/>
                </a:lnTo>
                <a:lnTo>
                  <a:pt x="207" y="158"/>
                </a:lnTo>
                <a:lnTo>
                  <a:pt x="204" y="158"/>
                </a:lnTo>
                <a:lnTo>
                  <a:pt x="204" y="156"/>
                </a:lnTo>
                <a:lnTo>
                  <a:pt x="202" y="156"/>
                </a:lnTo>
                <a:lnTo>
                  <a:pt x="202" y="158"/>
                </a:lnTo>
                <a:lnTo>
                  <a:pt x="200" y="158"/>
                </a:lnTo>
                <a:lnTo>
                  <a:pt x="200" y="156"/>
                </a:lnTo>
                <a:lnTo>
                  <a:pt x="198" y="156"/>
                </a:lnTo>
                <a:lnTo>
                  <a:pt x="193" y="154"/>
                </a:lnTo>
                <a:lnTo>
                  <a:pt x="191" y="156"/>
                </a:lnTo>
                <a:lnTo>
                  <a:pt x="191" y="154"/>
                </a:lnTo>
                <a:lnTo>
                  <a:pt x="188" y="154"/>
                </a:lnTo>
                <a:lnTo>
                  <a:pt x="186" y="154"/>
                </a:lnTo>
                <a:lnTo>
                  <a:pt x="184" y="151"/>
                </a:lnTo>
                <a:lnTo>
                  <a:pt x="181" y="151"/>
                </a:lnTo>
                <a:lnTo>
                  <a:pt x="179" y="151"/>
                </a:lnTo>
                <a:lnTo>
                  <a:pt x="177" y="149"/>
                </a:lnTo>
                <a:lnTo>
                  <a:pt x="174" y="147"/>
                </a:lnTo>
                <a:lnTo>
                  <a:pt x="174" y="144"/>
                </a:lnTo>
                <a:lnTo>
                  <a:pt x="172" y="142"/>
                </a:lnTo>
                <a:lnTo>
                  <a:pt x="170" y="140"/>
                </a:lnTo>
                <a:lnTo>
                  <a:pt x="170" y="135"/>
                </a:lnTo>
                <a:lnTo>
                  <a:pt x="167" y="133"/>
                </a:lnTo>
                <a:lnTo>
                  <a:pt x="165" y="133"/>
                </a:lnTo>
                <a:lnTo>
                  <a:pt x="163" y="133"/>
                </a:lnTo>
                <a:lnTo>
                  <a:pt x="163" y="130"/>
                </a:lnTo>
                <a:lnTo>
                  <a:pt x="163" y="128"/>
                </a:lnTo>
                <a:lnTo>
                  <a:pt x="163" y="126"/>
                </a:lnTo>
                <a:lnTo>
                  <a:pt x="160" y="123"/>
                </a:lnTo>
                <a:lnTo>
                  <a:pt x="160" y="121"/>
                </a:lnTo>
                <a:lnTo>
                  <a:pt x="158" y="121"/>
                </a:lnTo>
                <a:lnTo>
                  <a:pt x="156" y="121"/>
                </a:lnTo>
                <a:lnTo>
                  <a:pt x="153" y="116"/>
                </a:lnTo>
                <a:lnTo>
                  <a:pt x="153" y="114"/>
                </a:lnTo>
                <a:lnTo>
                  <a:pt x="153" y="112"/>
                </a:lnTo>
                <a:lnTo>
                  <a:pt x="151" y="112"/>
                </a:lnTo>
                <a:lnTo>
                  <a:pt x="149" y="112"/>
                </a:lnTo>
                <a:lnTo>
                  <a:pt x="149" y="109"/>
                </a:lnTo>
                <a:lnTo>
                  <a:pt x="146" y="109"/>
                </a:lnTo>
                <a:lnTo>
                  <a:pt x="144" y="109"/>
                </a:lnTo>
                <a:lnTo>
                  <a:pt x="144" y="107"/>
                </a:lnTo>
                <a:lnTo>
                  <a:pt x="142" y="107"/>
                </a:lnTo>
                <a:lnTo>
                  <a:pt x="142" y="105"/>
                </a:lnTo>
                <a:lnTo>
                  <a:pt x="142" y="102"/>
                </a:lnTo>
                <a:lnTo>
                  <a:pt x="139" y="102"/>
                </a:lnTo>
                <a:lnTo>
                  <a:pt x="139" y="100"/>
                </a:lnTo>
                <a:lnTo>
                  <a:pt x="137" y="100"/>
                </a:lnTo>
                <a:lnTo>
                  <a:pt x="135" y="100"/>
                </a:lnTo>
                <a:lnTo>
                  <a:pt x="135" y="98"/>
                </a:lnTo>
                <a:lnTo>
                  <a:pt x="132" y="98"/>
                </a:lnTo>
                <a:lnTo>
                  <a:pt x="132" y="95"/>
                </a:lnTo>
                <a:lnTo>
                  <a:pt x="130" y="95"/>
                </a:lnTo>
                <a:lnTo>
                  <a:pt x="128" y="95"/>
                </a:lnTo>
                <a:lnTo>
                  <a:pt x="128" y="93"/>
                </a:lnTo>
                <a:lnTo>
                  <a:pt x="125" y="93"/>
                </a:lnTo>
                <a:lnTo>
                  <a:pt x="125" y="91"/>
                </a:lnTo>
                <a:lnTo>
                  <a:pt x="123" y="91"/>
                </a:lnTo>
                <a:lnTo>
                  <a:pt x="121" y="91"/>
                </a:lnTo>
                <a:lnTo>
                  <a:pt x="121" y="88"/>
                </a:lnTo>
                <a:lnTo>
                  <a:pt x="121" y="91"/>
                </a:lnTo>
                <a:lnTo>
                  <a:pt x="118" y="91"/>
                </a:lnTo>
                <a:lnTo>
                  <a:pt x="116" y="91"/>
                </a:lnTo>
                <a:lnTo>
                  <a:pt x="116" y="88"/>
                </a:lnTo>
                <a:lnTo>
                  <a:pt x="114" y="91"/>
                </a:lnTo>
                <a:lnTo>
                  <a:pt x="111" y="91"/>
                </a:lnTo>
                <a:lnTo>
                  <a:pt x="111" y="88"/>
                </a:lnTo>
                <a:lnTo>
                  <a:pt x="109" y="91"/>
                </a:lnTo>
                <a:lnTo>
                  <a:pt x="107" y="88"/>
                </a:lnTo>
                <a:lnTo>
                  <a:pt x="107" y="86"/>
                </a:lnTo>
                <a:lnTo>
                  <a:pt x="107" y="88"/>
                </a:lnTo>
                <a:lnTo>
                  <a:pt x="104" y="86"/>
                </a:lnTo>
                <a:lnTo>
                  <a:pt x="107" y="86"/>
                </a:lnTo>
                <a:lnTo>
                  <a:pt x="104" y="84"/>
                </a:lnTo>
                <a:lnTo>
                  <a:pt x="102" y="84"/>
                </a:lnTo>
                <a:lnTo>
                  <a:pt x="102" y="81"/>
                </a:lnTo>
                <a:lnTo>
                  <a:pt x="104" y="81"/>
                </a:lnTo>
                <a:lnTo>
                  <a:pt x="107" y="81"/>
                </a:lnTo>
                <a:lnTo>
                  <a:pt x="104" y="81"/>
                </a:lnTo>
                <a:lnTo>
                  <a:pt x="102" y="81"/>
                </a:lnTo>
                <a:lnTo>
                  <a:pt x="102" y="79"/>
                </a:lnTo>
                <a:lnTo>
                  <a:pt x="97" y="79"/>
                </a:lnTo>
                <a:lnTo>
                  <a:pt x="97" y="77"/>
                </a:lnTo>
                <a:lnTo>
                  <a:pt x="95" y="77"/>
                </a:lnTo>
                <a:lnTo>
                  <a:pt x="93" y="74"/>
                </a:lnTo>
                <a:lnTo>
                  <a:pt x="90" y="77"/>
                </a:lnTo>
                <a:lnTo>
                  <a:pt x="88" y="77"/>
                </a:lnTo>
                <a:lnTo>
                  <a:pt x="88" y="74"/>
                </a:lnTo>
                <a:lnTo>
                  <a:pt x="90" y="74"/>
                </a:lnTo>
                <a:lnTo>
                  <a:pt x="90" y="72"/>
                </a:lnTo>
                <a:lnTo>
                  <a:pt x="88" y="72"/>
                </a:lnTo>
                <a:lnTo>
                  <a:pt x="86" y="72"/>
                </a:lnTo>
                <a:lnTo>
                  <a:pt x="86" y="74"/>
                </a:lnTo>
                <a:lnTo>
                  <a:pt x="86" y="77"/>
                </a:lnTo>
                <a:lnTo>
                  <a:pt x="86" y="74"/>
                </a:lnTo>
                <a:lnTo>
                  <a:pt x="83" y="74"/>
                </a:lnTo>
                <a:lnTo>
                  <a:pt x="81" y="74"/>
                </a:lnTo>
                <a:lnTo>
                  <a:pt x="81" y="72"/>
                </a:lnTo>
                <a:lnTo>
                  <a:pt x="79" y="74"/>
                </a:lnTo>
                <a:lnTo>
                  <a:pt x="79" y="72"/>
                </a:lnTo>
                <a:lnTo>
                  <a:pt x="79" y="70"/>
                </a:lnTo>
                <a:lnTo>
                  <a:pt x="76" y="70"/>
                </a:lnTo>
                <a:lnTo>
                  <a:pt x="76" y="72"/>
                </a:lnTo>
                <a:lnTo>
                  <a:pt x="74" y="72"/>
                </a:lnTo>
                <a:lnTo>
                  <a:pt x="72" y="72"/>
                </a:lnTo>
                <a:lnTo>
                  <a:pt x="70" y="72"/>
                </a:lnTo>
                <a:lnTo>
                  <a:pt x="67" y="72"/>
                </a:lnTo>
                <a:lnTo>
                  <a:pt x="65" y="72"/>
                </a:lnTo>
                <a:lnTo>
                  <a:pt x="63" y="72"/>
                </a:lnTo>
                <a:lnTo>
                  <a:pt x="63" y="70"/>
                </a:lnTo>
                <a:lnTo>
                  <a:pt x="63" y="72"/>
                </a:lnTo>
                <a:lnTo>
                  <a:pt x="60" y="70"/>
                </a:lnTo>
                <a:lnTo>
                  <a:pt x="58" y="70"/>
                </a:lnTo>
                <a:lnTo>
                  <a:pt x="58" y="67"/>
                </a:lnTo>
                <a:lnTo>
                  <a:pt x="56" y="65"/>
                </a:lnTo>
                <a:lnTo>
                  <a:pt x="53" y="65"/>
                </a:lnTo>
                <a:lnTo>
                  <a:pt x="53" y="67"/>
                </a:lnTo>
                <a:lnTo>
                  <a:pt x="51" y="67"/>
                </a:lnTo>
                <a:lnTo>
                  <a:pt x="51" y="65"/>
                </a:lnTo>
                <a:lnTo>
                  <a:pt x="49" y="67"/>
                </a:lnTo>
                <a:lnTo>
                  <a:pt x="49" y="70"/>
                </a:lnTo>
                <a:lnTo>
                  <a:pt x="46" y="67"/>
                </a:lnTo>
                <a:lnTo>
                  <a:pt x="49" y="67"/>
                </a:lnTo>
                <a:lnTo>
                  <a:pt x="49" y="65"/>
                </a:lnTo>
                <a:lnTo>
                  <a:pt x="49" y="63"/>
                </a:lnTo>
                <a:lnTo>
                  <a:pt x="49" y="65"/>
                </a:lnTo>
                <a:lnTo>
                  <a:pt x="46" y="65"/>
                </a:lnTo>
                <a:lnTo>
                  <a:pt x="46" y="63"/>
                </a:lnTo>
                <a:lnTo>
                  <a:pt x="49" y="60"/>
                </a:lnTo>
                <a:lnTo>
                  <a:pt x="46" y="60"/>
                </a:lnTo>
                <a:lnTo>
                  <a:pt x="44" y="60"/>
                </a:lnTo>
                <a:lnTo>
                  <a:pt x="44" y="63"/>
                </a:lnTo>
                <a:lnTo>
                  <a:pt x="44" y="65"/>
                </a:lnTo>
                <a:lnTo>
                  <a:pt x="42" y="65"/>
                </a:lnTo>
                <a:lnTo>
                  <a:pt x="39" y="63"/>
                </a:lnTo>
                <a:lnTo>
                  <a:pt x="39" y="65"/>
                </a:lnTo>
                <a:lnTo>
                  <a:pt x="37" y="65"/>
                </a:lnTo>
                <a:lnTo>
                  <a:pt x="35" y="65"/>
                </a:lnTo>
                <a:lnTo>
                  <a:pt x="32" y="67"/>
                </a:lnTo>
                <a:lnTo>
                  <a:pt x="30" y="67"/>
                </a:lnTo>
                <a:lnTo>
                  <a:pt x="32" y="63"/>
                </a:lnTo>
                <a:lnTo>
                  <a:pt x="32" y="60"/>
                </a:lnTo>
                <a:lnTo>
                  <a:pt x="30" y="60"/>
                </a:lnTo>
                <a:lnTo>
                  <a:pt x="28" y="58"/>
                </a:lnTo>
                <a:lnTo>
                  <a:pt x="25" y="60"/>
                </a:lnTo>
                <a:lnTo>
                  <a:pt x="23" y="63"/>
                </a:lnTo>
                <a:lnTo>
                  <a:pt x="21" y="63"/>
                </a:lnTo>
                <a:lnTo>
                  <a:pt x="21" y="60"/>
                </a:lnTo>
                <a:lnTo>
                  <a:pt x="21" y="63"/>
                </a:lnTo>
                <a:lnTo>
                  <a:pt x="18" y="63"/>
                </a:lnTo>
                <a:lnTo>
                  <a:pt x="21" y="65"/>
                </a:lnTo>
                <a:lnTo>
                  <a:pt x="18" y="65"/>
                </a:lnTo>
                <a:lnTo>
                  <a:pt x="16" y="65"/>
                </a:lnTo>
                <a:lnTo>
                  <a:pt x="14" y="65"/>
                </a:lnTo>
                <a:lnTo>
                  <a:pt x="11" y="67"/>
                </a:lnTo>
                <a:lnTo>
                  <a:pt x="11" y="65"/>
                </a:lnTo>
                <a:lnTo>
                  <a:pt x="11" y="63"/>
                </a:lnTo>
                <a:lnTo>
                  <a:pt x="9" y="63"/>
                </a:lnTo>
                <a:lnTo>
                  <a:pt x="7" y="65"/>
                </a:lnTo>
                <a:lnTo>
                  <a:pt x="4" y="65"/>
                </a:lnTo>
                <a:lnTo>
                  <a:pt x="4" y="63"/>
                </a:lnTo>
                <a:lnTo>
                  <a:pt x="2" y="63"/>
                </a:lnTo>
                <a:lnTo>
                  <a:pt x="0" y="63"/>
                </a:lnTo>
                <a:lnTo>
                  <a:pt x="2" y="63"/>
                </a:lnTo>
                <a:lnTo>
                  <a:pt x="2" y="60"/>
                </a:lnTo>
                <a:lnTo>
                  <a:pt x="2" y="58"/>
                </a:lnTo>
                <a:lnTo>
                  <a:pt x="2" y="56"/>
                </a:lnTo>
                <a:lnTo>
                  <a:pt x="4" y="56"/>
                </a:lnTo>
                <a:lnTo>
                  <a:pt x="4" y="53"/>
                </a:lnTo>
                <a:lnTo>
                  <a:pt x="7" y="49"/>
                </a:lnTo>
                <a:lnTo>
                  <a:pt x="9" y="46"/>
                </a:lnTo>
                <a:lnTo>
                  <a:pt x="9" y="44"/>
                </a:lnTo>
                <a:lnTo>
                  <a:pt x="9" y="42"/>
                </a:lnTo>
                <a:lnTo>
                  <a:pt x="7" y="39"/>
                </a:lnTo>
                <a:lnTo>
                  <a:pt x="7" y="37"/>
                </a:lnTo>
                <a:lnTo>
                  <a:pt x="4" y="35"/>
                </a:lnTo>
                <a:lnTo>
                  <a:pt x="7" y="35"/>
                </a:lnTo>
                <a:lnTo>
                  <a:pt x="7" y="33"/>
                </a:lnTo>
                <a:lnTo>
                  <a:pt x="7" y="30"/>
                </a:lnTo>
                <a:lnTo>
                  <a:pt x="7" y="28"/>
                </a:lnTo>
                <a:lnTo>
                  <a:pt x="9" y="26"/>
                </a:lnTo>
                <a:lnTo>
                  <a:pt x="9" y="23"/>
                </a:lnTo>
                <a:lnTo>
                  <a:pt x="9" y="21"/>
                </a:lnTo>
                <a:lnTo>
                  <a:pt x="9" y="14"/>
                </a:lnTo>
                <a:lnTo>
                  <a:pt x="9" y="12"/>
                </a:lnTo>
                <a:lnTo>
                  <a:pt x="11" y="9"/>
                </a:lnTo>
                <a:lnTo>
                  <a:pt x="14" y="7"/>
                </a:lnTo>
                <a:lnTo>
                  <a:pt x="16" y="7"/>
                </a:lnTo>
                <a:lnTo>
                  <a:pt x="18" y="7"/>
                </a:lnTo>
                <a:lnTo>
                  <a:pt x="21" y="9"/>
                </a:lnTo>
                <a:lnTo>
                  <a:pt x="23" y="9"/>
                </a:lnTo>
                <a:lnTo>
                  <a:pt x="25" y="9"/>
                </a:lnTo>
                <a:lnTo>
                  <a:pt x="30" y="7"/>
                </a:lnTo>
                <a:lnTo>
                  <a:pt x="35" y="7"/>
                </a:lnTo>
                <a:lnTo>
                  <a:pt x="35" y="9"/>
                </a:lnTo>
                <a:lnTo>
                  <a:pt x="37" y="9"/>
                </a:lnTo>
                <a:lnTo>
                  <a:pt x="39" y="12"/>
                </a:lnTo>
                <a:lnTo>
                  <a:pt x="42" y="14"/>
                </a:lnTo>
                <a:lnTo>
                  <a:pt x="44" y="14"/>
                </a:lnTo>
                <a:lnTo>
                  <a:pt x="44" y="16"/>
                </a:lnTo>
                <a:lnTo>
                  <a:pt x="49" y="16"/>
                </a:lnTo>
                <a:lnTo>
                  <a:pt x="51" y="14"/>
                </a:lnTo>
                <a:lnTo>
                  <a:pt x="53" y="16"/>
                </a:lnTo>
                <a:lnTo>
                  <a:pt x="56" y="16"/>
                </a:lnTo>
                <a:lnTo>
                  <a:pt x="58" y="14"/>
                </a:lnTo>
                <a:lnTo>
                  <a:pt x="60" y="14"/>
                </a:lnTo>
                <a:lnTo>
                  <a:pt x="70" y="16"/>
                </a:lnTo>
                <a:lnTo>
                  <a:pt x="70" y="19"/>
                </a:lnTo>
                <a:lnTo>
                  <a:pt x="72" y="19"/>
                </a:lnTo>
                <a:lnTo>
                  <a:pt x="76" y="19"/>
                </a:lnTo>
                <a:lnTo>
                  <a:pt x="79" y="19"/>
                </a:lnTo>
                <a:lnTo>
                  <a:pt x="79" y="21"/>
                </a:lnTo>
                <a:lnTo>
                  <a:pt x="81" y="21"/>
                </a:lnTo>
                <a:lnTo>
                  <a:pt x="83" y="21"/>
                </a:lnTo>
                <a:lnTo>
                  <a:pt x="86" y="21"/>
                </a:lnTo>
                <a:lnTo>
                  <a:pt x="88" y="23"/>
                </a:lnTo>
                <a:lnTo>
                  <a:pt x="88" y="21"/>
                </a:lnTo>
                <a:lnTo>
                  <a:pt x="90" y="23"/>
                </a:lnTo>
                <a:lnTo>
                  <a:pt x="93" y="23"/>
                </a:lnTo>
                <a:lnTo>
                  <a:pt x="95" y="23"/>
                </a:lnTo>
                <a:lnTo>
                  <a:pt x="100" y="26"/>
                </a:lnTo>
                <a:lnTo>
                  <a:pt x="100" y="28"/>
                </a:lnTo>
                <a:lnTo>
                  <a:pt x="104" y="30"/>
                </a:lnTo>
                <a:lnTo>
                  <a:pt x="104" y="33"/>
                </a:lnTo>
                <a:lnTo>
                  <a:pt x="107" y="33"/>
                </a:lnTo>
                <a:lnTo>
                  <a:pt x="109" y="33"/>
                </a:lnTo>
                <a:lnTo>
                  <a:pt x="114" y="33"/>
                </a:lnTo>
                <a:lnTo>
                  <a:pt x="123" y="35"/>
                </a:lnTo>
                <a:lnTo>
                  <a:pt x="125" y="33"/>
                </a:lnTo>
                <a:lnTo>
                  <a:pt x="128" y="35"/>
                </a:lnTo>
                <a:lnTo>
                  <a:pt x="135" y="35"/>
                </a:lnTo>
                <a:lnTo>
                  <a:pt x="135" y="37"/>
                </a:lnTo>
                <a:lnTo>
                  <a:pt x="137" y="37"/>
                </a:lnTo>
                <a:lnTo>
                  <a:pt x="137" y="39"/>
                </a:lnTo>
                <a:lnTo>
                  <a:pt x="137" y="42"/>
                </a:lnTo>
                <a:lnTo>
                  <a:pt x="139" y="42"/>
                </a:lnTo>
                <a:lnTo>
                  <a:pt x="139" y="39"/>
                </a:lnTo>
                <a:lnTo>
                  <a:pt x="144" y="39"/>
                </a:lnTo>
                <a:lnTo>
                  <a:pt x="146" y="39"/>
                </a:lnTo>
                <a:lnTo>
                  <a:pt x="149" y="37"/>
                </a:lnTo>
                <a:lnTo>
                  <a:pt x="149" y="35"/>
                </a:lnTo>
                <a:lnTo>
                  <a:pt x="149" y="33"/>
                </a:lnTo>
                <a:lnTo>
                  <a:pt x="146" y="28"/>
                </a:lnTo>
                <a:lnTo>
                  <a:pt x="149" y="28"/>
                </a:lnTo>
                <a:lnTo>
                  <a:pt x="146" y="28"/>
                </a:lnTo>
                <a:lnTo>
                  <a:pt x="146" y="26"/>
                </a:lnTo>
                <a:lnTo>
                  <a:pt x="146" y="23"/>
                </a:lnTo>
                <a:lnTo>
                  <a:pt x="149" y="23"/>
                </a:lnTo>
                <a:lnTo>
                  <a:pt x="149" y="21"/>
                </a:lnTo>
                <a:lnTo>
                  <a:pt x="149" y="19"/>
                </a:lnTo>
                <a:lnTo>
                  <a:pt x="151" y="19"/>
                </a:lnTo>
                <a:lnTo>
                  <a:pt x="151" y="16"/>
                </a:lnTo>
                <a:lnTo>
                  <a:pt x="153" y="16"/>
                </a:lnTo>
                <a:lnTo>
                  <a:pt x="156" y="16"/>
                </a:lnTo>
                <a:lnTo>
                  <a:pt x="158" y="16"/>
                </a:lnTo>
                <a:lnTo>
                  <a:pt x="158" y="14"/>
                </a:lnTo>
                <a:lnTo>
                  <a:pt x="160" y="14"/>
                </a:lnTo>
                <a:lnTo>
                  <a:pt x="163" y="14"/>
                </a:lnTo>
                <a:lnTo>
                  <a:pt x="165" y="14"/>
                </a:lnTo>
                <a:lnTo>
                  <a:pt x="165" y="16"/>
                </a:lnTo>
                <a:lnTo>
                  <a:pt x="167" y="14"/>
                </a:lnTo>
                <a:lnTo>
                  <a:pt x="167" y="16"/>
                </a:lnTo>
                <a:lnTo>
                  <a:pt x="170" y="16"/>
                </a:lnTo>
                <a:lnTo>
                  <a:pt x="170" y="14"/>
                </a:lnTo>
                <a:lnTo>
                  <a:pt x="172" y="16"/>
                </a:lnTo>
                <a:lnTo>
                  <a:pt x="174" y="14"/>
                </a:lnTo>
                <a:lnTo>
                  <a:pt x="177" y="14"/>
                </a:lnTo>
                <a:lnTo>
                  <a:pt x="179" y="14"/>
                </a:lnTo>
                <a:lnTo>
                  <a:pt x="179" y="12"/>
                </a:lnTo>
                <a:lnTo>
                  <a:pt x="181" y="12"/>
                </a:lnTo>
                <a:lnTo>
                  <a:pt x="181" y="9"/>
                </a:lnTo>
                <a:lnTo>
                  <a:pt x="184" y="7"/>
                </a:lnTo>
                <a:lnTo>
                  <a:pt x="184" y="5"/>
                </a:lnTo>
                <a:lnTo>
                  <a:pt x="186" y="5"/>
                </a:lnTo>
                <a:lnTo>
                  <a:pt x="188" y="5"/>
                </a:lnTo>
                <a:lnTo>
                  <a:pt x="188" y="2"/>
                </a:lnTo>
                <a:lnTo>
                  <a:pt x="191" y="2"/>
                </a:lnTo>
                <a:lnTo>
                  <a:pt x="188" y="2"/>
                </a:lnTo>
                <a:lnTo>
                  <a:pt x="188" y="0"/>
                </a:lnTo>
                <a:lnTo>
                  <a:pt x="188" y="2"/>
                </a:lnTo>
                <a:lnTo>
                  <a:pt x="191" y="2"/>
                </a:lnTo>
                <a:lnTo>
                  <a:pt x="195" y="2"/>
                </a:lnTo>
                <a:lnTo>
                  <a:pt x="195" y="5"/>
                </a:lnTo>
                <a:lnTo>
                  <a:pt x="198" y="5"/>
                </a:lnTo>
                <a:lnTo>
                  <a:pt x="200" y="5"/>
                </a:lnTo>
                <a:lnTo>
                  <a:pt x="200" y="7"/>
                </a:lnTo>
                <a:lnTo>
                  <a:pt x="202" y="9"/>
                </a:lnTo>
                <a:lnTo>
                  <a:pt x="202" y="7"/>
                </a:lnTo>
                <a:lnTo>
                  <a:pt x="202" y="5"/>
                </a:lnTo>
                <a:lnTo>
                  <a:pt x="204" y="5"/>
                </a:lnTo>
                <a:lnTo>
                  <a:pt x="207" y="5"/>
                </a:lnTo>
                <a:lnTo>
                  <a:pt x="209" y="5"/>
                </a:lnTo>
                <a:lnTo>
                  <a:pt x="211" y="5"/>
                </a:lnTo>
                <a:lnTo>
                  <a:pt x="214" y="5"/>
                </a:lnTo>
                <a:lnTo>
                  <a:pt x="218" y="5"/>
                </a:lnTo>
                <a:lnTo>
                  <a:pt x="221" y="5"/>
                </a:lnTo>
                <a:lnTo>
                  <a:pt x="221" y="2"/>
                </a:lnTo>
                <a:lnTo>
                  <a:pt x="223" y="5"/>
                </a:lnTo>
                <a:lnTo>
                  <a:pt x="225" y="5"/>
                </a:lnTo>
                <a:lnTo>
                  <a:pt x="228" y="5"/>
                </a:lnTo>
                <a:lnTo>
                  <a:pt x="228" y="7"/>
                </a:lnTo>
                <a:lnTo>
                  <a:pt x="230" y="7"/>
                </a:lnTo>
                <a:lnTo>
                  <a:pt x="230" y="9"/>
                </a:lnTo>
                <a:lnTo>
                  <a:pt x="235" y="12"/>
                </a:lnTo>
                <a:lnTo>
                  <a:pt x="235" y="14"/>
                </a:lnTo>
                <a:lnTo>
                  <a:pt x="237" y="14"/>
                </a:lnTo>
                <a:lnTo>
                  <a:pt x="239" y="16"/>
                </a:lnTo>
                <a:lnTo>
                  <a:pt x="244" y="19"/>
                </a:lnTo>
                <a:lnTo>
                  <a:pt x="246" y="19"/>
                </a:lnTo>
                <a:lnTo>
                  <a:pt x="249" y="19"/>
                </a:lnTo>
                <a:lnTo>
                  <a:pt x="251" y="16"/>
                </a:lnTo>
                <a:lnTo>
                  <a:pt x="253" y="14"/>
                </a:lnTo>
                <a:lnTo>
                  <a:pt x="256" y="14"/>
                </a:lnTo>
                <a:lnTo>
                  <a:pt x="260" y="12"/>
                </a:lnTo>
                <a:lnTo>
                  <a:pt x="263" y="9"/>
                </a:lnTo>
                <a:lnTo>
                  <a:pt x="265" y="9"/>
                </a:lnTo>
                <a:lnTo>
                  <a:pt x="265" y="7"/>
                </a:lnTo>
                <a:lnTo>
                  <a:pt x="267" y="7"/>
                </a:lnTo>
                <a:lnTo>
                  <a:pt x="270" y="7"/>
                </a:lnTo>
                <a:lnTo>
                  <a:pt x="272" y="7"/>
                </a:lnTo>
                <a:lnTo>
                  <a:pt x="272" y="5"/>
                </a:lnTo>
                <a:lnTo>
                  <a:pt x="272" y="7"/>
                </a:lnTo>
                <a:lnTo>
                  <a:pt x="274" y="7"/>
                </a:lnTo>
                <a:lnTo>
                  <a:pt x="277" y="7"/>
                </a:lnTo>
                <a:lnTo>
                  <a:pt x="279" y="7"/>
                </a:lnTo>
                <a:lnTo>
                  <a:pt x="281" y="7"/>
                </a:lnTo>
                <a:lnTo>
                  <a:pt x="284" y="5"/>
                </a:lnTo>
                <a:lnTo>
                  <a:pt x="298" y="7"/>
                </a:lnTo>
                <a:lnTo>
                  <a:pt x="300" y="7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4" name="Freeform 21">
            <a:extLst>
              <a:ext uri="{FF2B5EF4-FFF2-40B4-BE49-F238E27FC236}">
                <a16:creationId xmlns:a16="http://schemas.microsoft.com/office/drawing/2014/main" id="{D97CE823-367D-EC26-BCD0-28EA9ED8BC61}"/>
              </a:ext>
            </a:extLst>
          </p:cNvPr>
          <p:cNvSpPr>
            <a:spLocks/>
          </p:cNvSpPr>
          <p:nvPr/>
        </p:nvSpPr>
        <p:spPr bwMode="auto">
          <a:xfrm>
            <a:off x="4045123" y="3398148"/>
            <a:ext cx="313415" cy="386886"/>
          </a:xfrm>
          <a:custGeom>
            <a:avLst/>
            <a:gdLst>
              <a:gd name="T0" fmla="*/ 224 w 266"/>
              <a:gd name="T1" fmla="*/ 186 h 344"/>
              <a:gd name="T2" fmla="*/ 201 w 266"/>
              <a:gd name="T3" fmla="*/ 214 h 344"/>
              <a:gd name="T4" fmla="*/ 194 w 266"/>
              <a:gd name="T5" fmla="*/ 226 h 344"/>
              <a:gd name="T6" fmla="*/ 177 w 266"/>
              <a:gd name="T7" fmla="*/ 237 h 344"/>
              <a:gd name="T8" fmla="*/ 168 w 266"/>
              <a:gd name="T9" fmla="*/ 242 h 344"/>
              <a:gd name="T10" fmla="*/ 161 w 266"/>
              <a:gd name="T11" fmla="*/ 249 h 344"/>
              <a:gd name="T12" fmla="*/ 163 w 266"/>
              <a:gd name="T13" fmla="*/ 256 h 344"/>
              <a:gd name="T14" fmla="*/ 154 w 266"/>
              <a:gd name="T15" fmla="*/ 272 h 344"/>
              <a:gd name="T16" fmla="*/ 149 w 266"/>
              <a:gd name="T17" fmla="*/ 284 h 344"/>
              <a:gd name="T18" fmla="*/ 145 w 266"/>
              <a:gd name="T19" fmla="*/ 293 h 344"/>
              <a:gd name="T20" fmla="*/ 147 w 266"/>
              <a:gd name="T21" fmla="*/ 305 h 344"/>
              <a:gd name="T22" fmla="*/ 154 w 266"/>
              <a:gd name="T23" fmla="*/ 312 h 344"/>
              <a:gd name="T24" fmla="*/ 149 w 266"/>
              <a:gd name="T25" fmla="*/ 323 h 344"/>
              <a:gd name="T26" fmla="*/ 142 w 266"/>
              <a:gd name="T27" fmla="*/ 330 h 344"/>
              <a:gd name="T28" fmla="*/ 138 w 266"/>
              <a:gd name="T29" fmla="*/ 335 h 344"/>
              <a:gd name="T30" fmla="*/ 124 w 266"/>
              <a:gd name="T31" fmla="*/ 342 h 344"/>
              <a:gd name="T32" fmla="*/ 117 w 266"/>
              <a:gd name="T33" fmla="*/ 344 h 344"/>
              <a:gd name="T34" fmla="*/ 110 w 266"/>
              <a:gd name="T35" fmla="*/ 335 h 344"/>
              <a:gd name="T36" fmla="*/ 100 w 266"/>
              <a:gd name="T37" fmla="*/ 321 h 344"/>
              <a:gd name="T38" fmla="*/ 89 w 266"/>
              <a:gd name="T39" fmla="*/ 316 h 344"/>
              <a:gd name="T40" fmla="*/ 66 w 266"/>
              <a:gd name="T41" fmla="*/ 305 h 344"/>
              <a:gd name="T42" fmla="*/ 49 w 266"/>
              <a:gd name="T43" fmla="*/ 305 h 344"/>
              <a:gd name="T44" fmla="*/ 26 w 266"/>
              <a:gd name="T45" fmla="*/ 293 h 344"/>
              <a:gd name="T46" fmla="*/ 35 w 266"/>
              <a:gd name="T47" fmla="*/ 270 h 344"/>
              <a:gd name="T48" fmla="*/ 35 w 266"/>
              <a:gd name="T49" fmla="*/ 258 h 344"/>
              <a:gd name="T50" fmla="*/ 21 w 266"/>
              <a:gd name="T51" fmla="*/ 247 h 344"/>
              <a:gd name="T52" fmla="*/ 19 w 266"/>
              <a:gd name="T53" fmla="*/ 228 h 344"/>
              <a:gd name="T54" fmla="*/ 17 w 266"/>
              <a:gd name="T55" fmla="*/ 205 h 344"/>
              <a:gd name="T56" fmla="*/ 17 w 266"/>
              <a:gd name="T57" fmla="*/ 174 h 344"/>
              <a:gd name="T58" fmla="*/ 10 w 266"/>
              <a:gd name="T59" fmla="*/ 160 h 344"/>
              <a:gd name="T60" fmla="*/ 10 w 266"/>
              <a:gd name="T61" fmla="*/ 147 h 344"/>
              <a:gd name="T62" fmla="*/ 5 w 266"/>
              <a:gd name="T63" fmla="*/ 133 h 344"/>
              <a:gd name="T64" fmla="*/ 5 w 266"/>
              <a:gd name="T65" fmla="*/ 116 h 344"/>
              <a:gd name="T66" fmla="*/ 7 w 266"/>
              <a:gd name="T67" fmla="*/ 105 h 344"/>
              <a:gd name="T68" fmla="*/ 17 w 266"/>
              <a:gd name="T69" fmla="*/ 91 h 344"/>
              <a:gd name="T70" fmla="*/ 10 w 266"/>
              <a:gd name="T71" fmla="*/ 77 h 344"/>
              <a:gd name="T72" fmla="*/ 7 w 266"/>
              <a:gd name="T73" fmla="*/ 58 h 344"/>
              <a:gd name="T74" fmla="*/ 3 w 266"/>
              <a:gd name="T75" fmla="*/ 39 h 344"/>
              <a:gd name="T76" fmla="*/ 5 w 266"/>
              <a:gd name="T77" fmla="*/ 25 h 344"/>
              <a:gd name="T78" fmla="*/ 19 w 266"/>
              <a:gd name="T79" fmla="*/ 7 h 344"/>
              <a:gd name="T80" fmla="*/ 17 w 266"/>
              <a:gd name="T81" fmla="*/ 0 h 344"/>
              <a:gd name="T82" fmla="*/ 28 w 266"/>
              <a:gd name="T83" fmla="*/ 0 h 344"/>
              <a:gd name="T84" fmla="*/ 52 w 266"/>
              <a:gd name="T85" fmla="*/ 2 h 344"/>
              <a:gd name="T86" fmla="*/ 89 w 266"/>
              <a:gd name="T87" fmla="*/ 5 h 344"/>
              <a:gd name="T88" fmla="*/ 98 w 266"/>
              <a:gd name="T89" fmla="*/ 9 h 344"/>
              <a:gd name="T90" fmla="*/ 119 w 266"/>
              <a:gd name="T91" fmla="*/ 23 h 344"/>
              <a:gd name="T92" fmla="*/ 140 w 266"/>
              <a:gd name="T93" fmla="*/ 37 h 344"/>
              <a:gd name="T94" fmla="*/ 154 w 266"/>
              <a:gd name="T95" fmla="*/ 49 h 344"/>
              <a:gd name="T96" fmla="*/ 166 w 266"/>
              <a:gd name="T97" fmla="*/ 56 h 344"/>
              <a:gd name="T98" fmla="*/ 177 w 266"/>
              <a:gd name="T99" fmla="*/ 70 h 344"/>
              <a:gd name="T100" fmla="*/ 194 w 266"/>
              <a:gd name="T101" fmla="*/ 81 h 344"/>
              <a:gd name="T102" fmla="*/ 198 w 266"/>
              <a:gd name="T103" fmla="*/ 91 h 344"/>
              <a:gd name="T104" fmla="*/ 210 w 266"/>
              <a:gd name="T105" fmla="*/ 107 h 344"/>
              <a:gd name="T106" fmla="*/ 231 w 266"/>
              <a:gd name="T107" fmla="*/ 130 h 344"/>
              <a:gd name="T108" fmla="*/ 240 w 266"/>
              <a:gd name="T109" fmla="*/ 147 h 344"/>
              <a:gd name="T110" fmla="*/ 261 w 266"/>
              <a:gd name="T111" fmla="*/ 158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66" h="344">
                <a:moveTo>
                  <a:pt x="266" y="167"/>
                </a:moveTo>
                <a:lnTo>
                  <a:pt x="245" y="170"/>
                </a:lnTo>
                <a:lnTo>
                  <a:pt x="240" y="170"/>
                </a:lnTo>
                <a:lnTo>
                  <a:pt x="240" y="172"/>
                </a:lnTo>
                <a:lnTo>
                  <a:pt x="231" y="177"/>
                </a:lnTo>
                <a:lnTo>
                  <a:pt x="224" y="186"/>
                </a:lnTo>
                <a:lnTo>
                  <a:pt x="214" y="200"/>
                </a:lnTo>
                <a:lnTo>
                  <a:pt x="212" y="202"/>
                </a:lnTo>
                <a:lnTo>
                  <a:pt x="208" y="207"/>
                </a:lnTo>
                <a:lnTo>
                  <a:pt x="205" y="207"/>
                </a:lnTo>
                <a:lnTo>
                  <a:pt x="203" y="209"/>
                </a:lnTo>
                <a:lnTo>
                  <a:pt x="201" y="214"/>
                </a:lnTo>
                <a:lnTo>
                  <a:pt x="201" y="216"/>
                </a:lnTo>
                <a:lnTo>
                  <a:pt x="201" y="219"/>
                </a:lnTo>
                <a:lnTo>
                  <a:pt x="198" y="221"/>
                </a:lnTo>
                <a:lnTo>
                  <a:pt x="196" y="223"/>
                </a:lnTo>
                <a:lnTo>
                  <a:pt x="196" y="226"/>
                </a:lnTo>
                <a:lnTo>
                  <a:pt x="194" y="226"/>
                </a:lnTo>
                <a:lnTo>
                  <a:pt x="187" y="233"/>
                </a:lnTo>
                <a:lnTo>
                  <a:pt x="184" y="235"/>
                </a:lnTo>
                <a:lnTo>
                  <a:pt x="184" y="237"/>
                </a:lnTo>
                <a:lnTo>
                  <a:pt x="182" y="237"/>
                </a:lnTo>
                <a:lnTo>
                  <a:pt x="180" y="237"/>
                </a:lnTo>
                <a:lnTo>
                  <a:pt x="177" y="237"/>
                </a:lnTo>
                <a:lnTo>
                  <a:pt x="177" y="235"/>
                </a:lnTo>
                <a:lnTo>
                  <a:pt x="175" y="235"/>
                </a:lnTo>
                <a:lnTo>
                  <a:pt x="173" y="235"/>
                </a:lnTo>
                <a:lnTo>
                  <a:pt x="170" y="237"/>
                </a:lnTo>
                <a:lnTo>
                  <a:pt x="168" y="240"/>
                </a:lnTo>
                <a:lnTo>
                  <a:pt x="168" y="242"/>
                </a:lnTo>
                <a:lnTo>
                  <a:pt x="166" y="242"/>
                </a:lnTo>
                <a:lnTo>
                  <a:pt x="166" y="244"/>
                </a:lnTo>
                <a:lnTo>
                  <a:pt x="163" y="244"/>
                </a:lnTo>
                <a:lnTo>
                  <a:pt x="163" y="247"/>
                </a:lnTo>
                <a:lnTo>
                  <a:pt x="161" y="247"/>
                </a:lnTo>
                <a:lnTo>
                  <a:pt x="161" y="249"/>
                </a:lnTo>
                <a:lnTo>
                  <a:pt x="161" y="251"/>
                </a:lnTo>
                <a:lnTo>
                  <a:pt x="161" y="254"/>
                </a:lnTo>
                <a:lnTo>
                  <a:pt x="159" y="254"/>
                </a:lnTo>
                <a:lnTo>
                  <a:pt x="159" y="256"/>
                </a:lnTo>
                <a:lnTo>
                  <a:pt x="161" y="256"/>
                </a:lnTo>
                <a:lnTo>
                  <a:pt x="163" y="256"/>
                </a:lnTo>
                <a:lnTo>
                  <a:pt x="166" y="254"/>
                </a:lnTo>
                <a:lnTo>
                  <a:pt x="163" y="256"/>
                </a:lnTo>
                <a:lnTo>
                  <a:pt x="163" y="258"/>
                </a:lnTo>
                <a:lnTo>
                  <a:pt x="161" y="258"/>
                </a:lnTo>
                <a:lnTo>
                  <a:pt x="161" y="261"/>
                </a:lnTo>
                <a:lnTo>
                  <a:pt x="154" y="272"/>
                </a:lnTo>
                <a:lnTo>
                  <a:pt x="154" y="275"/>
                </a:lnTo>
                <a:lnTo>
                  <a:pt x="154" y="277"/>
                </a:lnTo>
                <a:lnTo>
                  <a:pt x="154" y="279"/>
                </a:lnTo>
                <a:lnTo>
                  <a:pt x="152" y="282"/>
                </a:lnTo>
                <a:lnTo>
                  <a:pt x="152" y="284"/>
                </a:lnTo>
                <a:lnTo>
                  <a:pt x="149" y="284"/>
                </a:lnTo>
                <a:lnTo>
                  <a:pt x="147" y="284"/>
                </a:lnTo>
                <a:lnTo>
                  <a:pt x="147" y="286"/>
                </a:lnTo>
                <a:lnTo>
                  <a:pt x="145" y="286"/>
                </a:lnTo>
                <a:lnTo>
                  <a:pt x="145" y="289"/>
                </a:lnTo>
                <a:lnTo>
                  <a:pt x="145" y="291"/>
                </a:lnTo>
                <a:lnTo>
                  <a:pt x="145" y="293"/>
                </a:lnTo>
                <a:lnTo>
                  <a:pt x="147" y="293"/>
                </a:lnTo>
                <a:lnTo>
                  <a:pt x="147" y="296"/>
                </a:lnTo>
                <a:lnTo>
                  <a:pt x="149" y="298"/>
                </a:lnTo>
                <a:lnTo>
                  <a:pt x="149" y="300"/>
                </a:lnTo>
                <a:lnTo>
                  <a:pt x="147" y="302"/>
                </a:lnTo>
                <a:lnTo>
                  <a:pt x="147" y="305"/>
                </a:lnTo>
                <a:lnTo>
                  <a:pt x="149" y="305"/>
                </a:lnTo>
                <a:lnTo>
                  <a:pt x="152" y="305"/>
                </a:lnTo>
                <a:lnTo>
                  <a:pt x="152" y="307"/>
                </a:lnTo>
                <a:lnTo>
                  <a:pt x="152" y="309"/>
                </a:lnTo>
                <a:lnTo>
                  <a:pt x="154" y="309"/>
                </a:lnTo>
                <a:lnTo>
                  <a:pt x="154" y="312"/>
                </a:lnTo>
                <a:lnTo>
                  <a:pt x="156" y="314"/>
                </a:lnTo>
                <a:lnTo>
                  <a:pt x="154" y="314"/>
                </a:lnTo>
                <a:lnTo>
                  <a:pt x="154" y="316"/>
                </a:lnTo>
                <a:lnTo>
                  <a:pt x="152" y="319"/>
                </a:lnTo>
                <a:lnTo>
                  <a:pt x="152" y="321"/>
                </a:lnTo>
                <a:lnTo>
                  <a:pt x="149" y="323"/>
                </a:lnTo>
                <a:lnTo>
                  <a:pt x="147" y="323"/>
                </a:lnTo>
                <a:lnTo>
                  <a:pt x="147" y="326"/>
                </a:lnTo>
                <a:lnTo>
                  <a:pt x="147" y="328"/>
                </a:lnTo>
                <a:lnTo>
                  <a:pt x="145" y="328"/>
                </a:lnTo>
                <a:lnTo>
                  <a:pt x="145" y="330"/>
                </a:lnTo>
                <a:lnTo>
                  <a:pt x="142" y="330"/>
                </a:lnTo>
                <a:lnTo>
                  <a:pt x="140" y="330"/>
                </a:lnTo>
                <a:lnTo>
                  <a:pt x="140" y="333"/>
                </a:lnTo>
                <a:lnTo>
                  <a:pt x="142" y="333"/>
                </a:lnTo>
                <a:lnTo>
                  <a:pt x="140" y="333"/>
                </a:lnTo>
                <a:lnTo>
                  <a:pt x="138" y="333"/>
                </a:lnTo>
                <a:lnTo>
                  <a:pt x="138" y="335"/>
                </a:lnTo>
                <a:lnTo>
                  <a:pt x="135" y="335"/>
                </a:lnTo>
                <a:lnTo>
                  <a:pt x="133" y="335"/>
                </a:lnTo>
                <a:lnTo>
                  <a:pt x="131" y="337"/>
                </a:lnTo>
                <a:lnTo>
                  <a:pt x="128" y="337"/>
                </a:lnTo>
                <a:lnTo>
                  <a:pt x="126" y="340"/>
                </a:lnTo>
                <a:lnTo>
                  <a:pt x="124" y="342"/>
                </a:lnTo>
                <a:lnTo>
                  <a:pt x="124" y="344"/>
                </a:lnTo>
                <a:lnTo>
                  <a:pt x="121" y="344"/>
                </a:lnTo>
                <a:lnTo>
                  <a:pt x="121" y="342"/>
                </a:lnTo>
                <a:lnTo>
                  <a:pt x="119" y="342"/>
                </a:lnTo>
                <a:lnTo>
                  <a:pt x="119" y="344"/>
                </a:lnTo>
                <a:lnTo>
                  <a:pt x="117" y="344"/>
                </a:lnTo>
                <a:lnTo>
                  <a:pt x="114" y="344"/>
                </a:lnTo>
                <a:lnTo>
                  <a:pt x="114" y="342"/>
                </a:lnTo>
                <a:lnTo>
                  <a:pt x="114" y="337"/>
                </a:lnTo>
                <a:lnTo>
                  <a:pt x="112" y="337"/>
                </a:lnTo>
                <a:lnTo>
                  <a:pt x="112" y="335"/>
                </a:lnTo>
                <a:lnTo>
                  <a:pt x="110" y="335"/>
                </a:lnTo>
                <a:lnTo>
                  <a:pt x="110" y="333"/>
                </a:lnTo>
                <a:lnTo>
                  <a:pt x="105" y="330"/>
                </a:lnTo>
                <a:lnTo>
                  <a:pt x="103" y="328"/>
                </a:lnTo>
                <a:lnTo>
                  <a:pt x="103" y="326"/>
                </a:lnTo>
                <a:lnTo>
                  <a:pt x="100" y="323"/>
                </a:lnTo>
                <a:lnTo>
                  <a:pt x="100" y="321"/>
                </a:lnTo>
                <a:lnTo>
                  <a:pt x="98" y="321"/>
                </a:lnTo>
                <a:lnTo>
                  <a:pt x="96" y="319"/>
                </a:lnTo>
                <a:lnTo>
                  <a:pt x="93" y="319"/>
                </a:lnTo>
                <a:lnTo>
                  <a:pt x="93" y="316"/>
                </a:lnTo>
                <a:lnTo>
                  <a:pt x="91" y="316"/>
                </a:lnTo>
                <a:lnTo>
                  <a:pt x="89" y="316"/>
                </a:lnTo>
                <a:lnTo>
                  <a:pt x="89" y="314"/>
                </a:lnTo>
                <a:lnTo>
                  <a:pt x="86" y="312"/>
                </a:lnTo>
                <a:lnTo>
                  <a:pt x="84" y="309"/>
                </a:lnTo>
                <a:lnTo>
                  <a:pt x="82" y="307"/>
                </a:lnTo>
                <a:lnTo>
                  <a:pt x="70" y="305"/>
                </a:lnTo>
                <a:lnTo>
                  <a:pt x="66" y="305"/>
                </a:lnTo>
                <a:lnTo>
                  <a:pt x="63" y="305"/>
                </a:lnTo>
                <a:lnTo>
                  <a:pt x="59" y="305"/>
                </a:lnTo>
                <a:lnTo>
                  <a:pt x="56" y="305"/>
                </a:lnTo>
                <a:lnTo>
                  <a:pt x="56" y="307"/>
                </a:lnTo>
                <a:lnTo>
                  <a:pt x="49" y="307"/>
                </a:lnTo>
                <a:lnTo>
                  <a:pt x="49" y="305"/>
                </a:lnTo>
                <a:lnTo>
                  <a:pt x="42" y="302"/>
                </a:lnTo>
                <a:lnTo>
                  <a:pt x="40" y="302"/>
                </a:lnTo>
                <a:lnTo>
                  <a:pt x="26" y="300"/>
                </a:lnTo>
                <a:lnTo>
                  <a:pt x="26" y="298"/>
                </a:lnTo>
                <a:lnTo>
                  <a:pt x="26" y="296"/>
                </a:lnTo>
                <a:lnTo>
                  <a:pt x="26" y="293"/>
                </a:lnTo>
                <a:lnTo>
                  <a:pt x="24" y="293"/>
                </a:lnTo>
                <a:lnTo>
                  <a:pt x="24" y="291"/>
                </a:lnTo>
                <a:lnTo>
                  <a:pt x="24" y="289"/>
                </a:lnTo>
                <a:lnTo>
                  <a:pt x="31" y="277"/>
                </a:lnTo>
                <a:lnTo>
                  <a:pt x="31" y="275"/>
                </a:lnTo>
                <a:lnTo>
                  <a:pt x="35" y="270"/>
                </a:lnTo>
                <a:lnTo>
                  <a:pt x="38" y="268"/>
                </a:lnTo>
                <a:lnTo>
                  <a:pt x="38" y="265"/>
                </a:lnTo>
                <a:lnTo>
                  <a:pt x="38" y="263"/>
                </a:lnTo>
                <a:lnTo>
                  <a:pt x="35" y="263"/>
                </a:lnTo>
                <a:lnTo>
                  <a:pt x="35" y="261"/>
                </a:lnTo>
                <a:lnTo>
                  <a:pt x="35" y="258"/>
                </a:lnTo>
                <a:lnTo>
                  <a:pt x="26" y="256"/>
                </a:lnTo>
                <a:lnTo>
                  <a:pt x="24" y="254"/>
                </a:lnTo>
                <a:lnTo>
                  <a:pt x="21" y="254"/>
                </a:lnTo>
                <a:lnTo>
                  <a:pt x="21" y="251"/>
                </a:lnTo>
                <a:lnTo>
                  <a:pt x="19" y="251"/>
                </a:lnTo>
                <a:lnTo>
                  <a:pt x="21" y="247"/>
                </a:lnTo>
                <a:lnTo>
                  <a:pt x="19" y="244"/>
                </a:lnTo>
                <a:lnTo>
                  <a:pt x="17" y="240"/>
                </a:lnTo>
                <a:lnTo>
                  <a:pt x="17" y="235"/>
                </a:lnTo>
                <a:lnTo>
                  <a:pt x="17" y="233"/>
                </a:lnTo>
                <a:lnTo>
                  <a:pt x="19" y="230"/>
                </a:lnTo>
                <a:lnTo>
                  <a:pt x="19" y="228"/>
                </a:lnTo>
                <a:lnTo>
                  <a:pt x="19" y="226"/>
                </a:lnTo>
                <a:lnTo>
                  <a:pt x="17" y="226"/>
                </a:lnTo>
                <a:lnTo>
                  <a:pt x="14" y="212"/>
                </a:lnTo>
                <a:lnTo>
                  <a:pt x="14" y="207"/>
                </a:lnTo>
                <a:lnTo>
                  <a:pt x="14" y="205"/>
                </a:lnTo>
                <a:lnTo>
                  <a:pt x="17" y="205"/>
                </a:lnTo>
                <a:lnTo>
                  <a:pt x="14" y="200"/>
                </a:lnTo>
                <a:lnTo>
                  <a:pt x="14" y="193"/>
                </a:lnTo>
                <a:lnTo>
                  <a:pt x="14" y="188"/>
                </a:lnTo>
                <a:lnTo>
                  <a:pt x="14" y="186"/>
                </a:lnTo>
                <a:lnTo>
                  <a:pt x="17" y="181"/>
                </a:lnTo>
                <a:lnTo>
                  <a:pt x="17" y="174"/>
                </a:lnTo>
                <a:lnTo>
                  <a:pt x="17" y="172"/>
                </a:lnTo>
                <a:lnTo>
                  <a:pt x="17" y="170"/>
                </a:lnTo>
                <a:lnTo>
                  <a:pt x="14" y="167"/>
                </a:lnTo>
                <a:lnTo>
                  <a:pt x="12" y="165"/>
                </a:lnTo>
                <a:lnTo>
                  <a:pt x="10" y="163"/>
                </a:lnTo>
                <a:lnTo>
                  <a:pt x="10" y="160"/>
                </a:lnTo>
                <a:lnTo>
                  <a:pt x="10" y="158"/>
                </a:lnTo>
                <a:lnTo>
                  <a:pt x="10" y="156"/>
                </a:lnTo>
                <a:lnTo>
                  <a:pt x="10" y="154"/>
                </a:lnTo>
                <a:lnTo>
                  <a:pt x="10" y="151"/>
                </a:lnTo>
                <a:lnTo>
                  <a:pt x="10" y="149"/>
                </a:lnTo>
                <a:lnTo>
                  <a:pt x="10" y="147"/>
                </a:lnTo>
                <a:lnTo>
                  <a:pt x="7" y="144"/>
                </a:lnTo>
                <a:lnTo>
                  <a:pt x="7" y="142"/>
                </a:lnTo>
                <a:lnTo>
                  <a:pt x="7" y="140"/>
                </a:lnTo>
                <a:lnTo>
                  <a:pt x="5" y="137"/>
                </a:lnTo>
                <a:lnTo>
                  <a:pt x="5" y="135"/>
                </a:lnTo>
                <a:lnTo>
                  <a:pt x="5" y="133"/>
                </a:lnTo>
                <a:lnTo>
                  <a:pt x="5" y="128"/>
                </a:lnTo>
                <a:lnTo>
                  <a:pt x="5" y="126"/>
                </a:lnTo>
                <a:lnTo>
                  <a:pt x="5" y="123"/>
                </a:lnTo>
                <a:lnTo>
                  <a:pt x="3" y="121"/>
                </a:lnTo>
                <a:lnTo>
                  <a:pt x="3" y="119"/>
                </a:lnTo>
                <a:lnTo>
                  <a:pt x="5" y="116"/>
                </a:lnTo>
                <a:lnTo>
                  <a:pt x="5" y="114"/>
                </a:lnTo>
                <a:lnTo>
                  <a:pt x="3" y="114"/>
                </a:lnTo>
                <a:lnTo>
                  <a:pt x="5" y="112"/>
                </a:lnTo>
                <a:lnTo>
                  <a:pt x="5" y="109"/>
                </a:lnTo>
                <a:lnTo>
                  <a:pt x="5" y="107"/>
                </a:lnTo>
                <a:lnTo>
                  <a:pt x="7" y="105"/>
                </a:lnTo>
                <a:lnTo>
                  <a:pt x="10" y="105"/>
                </a:lnTo>
                <a:lnTo>
                  <a:pt x="12" y="102"/>
                </a:lnTo>
                <a:lnTo>
                  <a:pt x="14" y="100"/>
                </a:lnTo>
                <a:lnTo>
                  <a:pt x="17" y="98"/>
                </a:lnTo>
                <a:lnTo>
                  <a:pt x="17" y="95"/>
                </a:lnTo>
                <a:lnTo>
                  <a:pt x="17" y="91"/>
                </a:lnTo>
                <a:lnTo>
                  <a:pt x="17" y="86"/>
                </a:lnTo>
                <a:lnTo>
                  <a:pt x="14" y="86"/>
                </a:lnTo>
                <a:lnTo>
                  <a:pt x="14" y="84"/>
                </a:lnTo>
                <a:lnTo>
                  <a:pt x="12" y="81"/>
                </a:lnTo>
                <a:lnTo>
                  <a:pt x="12" y="79"/>
                </a:lnTo>
                <a:lnTo>
                  <a:pt x="10" y="77"/>
                </a:lnTo>
                <a:lnTo>
                  <a:pt x="10" y="72"/>
                </a:lnTo>
                <a:lnTo>
                  <a:pt x="10" y="70"/>
                </a:lnTo>
                <a:lnTo>
                  <a:pt x="7" y="65"/>
                </a:lnTo>
                <a:lnTo>
                  <a:pt x="7" y="63"/>
                </a:lnTo>
                <a:lnTo>
                  <a:pt x="7" y="60"/>
                </a:lnTo>
                <a:lnTo>
                  <a:pt x="7" y="58"/>
                </a:lnTo>
                <a:lnTo>
                  <a:pt x="5" y="56"/>
                </a:lnTo>
                <a:lnTo>
                  <a:pt x="5" y="53"/>
                </a:lnTo>
                <a:lnTo>
                  <a:pt x="3" y="51"/>
                </a:lnTo>
                <a:lnTo>
                  <a:pt x="3" y="49"/>
                </a:lnTo>
                <a:lnTo>
                  <a:pt x="3" y="44"/>
                </a:lnTo>
                <a:lnTo>
                  <a:pt x="3" y="39"/>
                </a:lnTo>
                <a:lnTo>
                  <a:pt x="0" y="37"/>
                </a:lnTo>
                <a:lnTo>
                  <a:pt x="0" y="35"/>
                </a:lnTo>
                <a:lnTo>
                  <a:pt x="0" y="32"/>
                </a:lnTo>
                <a:lnTo>
                  <a:pt x="0" y="30"/>
                </a:lnTo>
                <a:lnTo>
                  <a:pt x="3" y="28"/>
                </a:lnTo>
                <a:lnTo>
                  <a:pt x="5" y="25"/>
                </a:lnTo>
                <a:lnTo>
                  <a:pt x="7" y="23"/>
                </a:lnTo>
                <a:lnTo>
                  <a:pt x="17" y="11"/>
                </a:lnTo>
                <a:lnTo>
                  <a:pt x="17" y="9"/>
                </a:lnTo>
                <a:lnTo>
                  <a:pt x="17" y="7"/>
                </a:lnTo>
                <a:lnTo>
                  <a:pt x="17" y="9"/>
                </a:lnTo>
                <a:lnTo>
                  <a:pt x="19" y="7"/>
                </a:lnTo>
                <a:lnTo>
                  <a:pt x="19" y="5"/>
                </a:lnTo>
                <a:lnTo>
                  <a:pt x="17" y="5"/>
                </a:lnTo>
                <a:lnTo>
                  <a:pt x="17" y="2"/>
                </a:lnTo>
                <a:lnTo>
                  <a:pt x="17" y="0"/>
                </a:lnTo>
                <a:lnTo>
                  <a:pt x="14" y="0"/>
                </a:lnTo>
                <a:lnTo>
                  <a:pt x="17" y="0"/>
                </a:lnTo>
                <a:lnTo>
                  <a:pt x="19" y="0"/>
                </a:lnTo>
                <a:lnTo>
                  <a:pt x="21" y="0"/>
                </a:lnTo>
                <a:lnTo>
                  <a:pt x="24" y="0"/>
                </a:lnTo>
                <a:lnTo>
                  <a:pt x="26" y="0"/>
                </a:lnTo>
                <a:lnTo>
                  <a:pt x="28" y="2"/>
                </a:lnTo>
                <a:lnTo>
                  <a:pt x="28" y="0"/>
                </a:lnTo>
                <a:lnTo>
                  <a:pt x="31" y="0"/>
                </a:lnTo>
                <a:lnTo>
                  <a:pt x="40" y="2"/>
                </a:lnTo>
                <a:lnTo>
                  <a:pt x="42" y="2"/>
                </a:lnTo>
                <a:lnTo>
                  <a:pt x="45" y="2"/>
                </a:lnTo>
                <a:lnTo>
                  <a:pt x="47" y="2"/>
                </a:lnTo>
                <a:lnTo>
                  <a:pt x="52" y="2"/>
                </a:lnTo>
                <a:lnTo>
                  <a:pt x="63" y="2"/>
                </a:lnTo>
                <a:lnTo>
                  <a:pt x="68" y="0"/>
                </a:lnTo>
                <a:lnTo>
                  <a:pt x="70" y="0"/>
                </a:lnTo>
                <a:lnTo>
                  <a:pt x="75" y="2"/>
                </a:lnTo>
                <a:lnTo>
                  <a:pt x="84" y="2"/>
                </a:lnTo>
                <a:lnTo>
                  <a:pt x="89" y="5"/>
                </a:lnTo>
                <a:lnTo>
                  <a:pt x="91" y="5"/>
                </a:lnTo>
                <a:lnTo>
                  <a:pt x="91" y="7"/>
                </a:lnTo>
                <a:lnTo>
                  <a:pt x="93" y="7"/>
                </a:lnTo>
                <a:lnTo>
                  <a:pt x="96" y="7"/>
                </a:lnTo>
                <a:lnTo>
                  <a:pt x="98" y="7"/>
                </a:lnTo>
                <a:lnTo>
                  <a:pt x="98" y="9"/>
                </a:lnTo>
                <a:lnTo>
                  <a:pt x="103" y="9"/>
                </a:lnTo>
                <a:lnTo>
                  <a:pt x="107" y="14"/>
                </a:lnTo>
                <a:lnTo>
                  <a:pt x="110" y="14"/>
                </a:lnTo>
                <a:lnTo>
                  <a:pt x="114" y="18"/>
                </a:lnTo>
                <a:lnTo>
                  <a:pt x="117" y="21"/>
                </a:lnTo>
                <a:lnTo>
                  <a:pt x="119" y="23"/>
                </a:lnTo>
                <a:lnTo>
                  <a:pt x="121" y="23"/>
                </a:lnTo>
                <a:lnTo>
                  <a:pt x="124" y="25"/>
                </a:lnTo>
                <a:lnTo>
                  <a:pt x="126" y="25"/>
                </a:lnTo>
                <a:lnTo>
                  <a:pt x="128" y="28"/>
                </a:lnTo>
                <a:lnTo>
                  <a:pt x="133" y="32"/>
                </a:lnTo>
                <a:lnTo>
                  <a:pt x="140" y="37"/>
                </a:lnTo>
                <a:lnTo>
                  <a:pt x="142" y="37"/>
                </a:lnTo>
                <a:lnTo>
                  <a:pt x="145" y="39"/>
                </a:lnTo>
                <a:lnTo>
                  <a:pt x="145" y="42"/>
                </a:lnTo>
                <a:lnTo>
                  <a:pt x="147" y="42"/>
                </a:lnTo>
                <a:lnTo>
                  <a:pt x="152" y="46"/>
                </a:lnTo>
                <a:lnTo>
                  <a:pt x="154" y="49"/>
                </a:lnTo>
                <a:lnTo>
                  <a:pt x="156" y="49"/>
                </a:lnTo>
                <a:lnTo>
                  <a:pt x="156" y="51"/>
                </a:lnTo>
                <a:lnTo>
                  <a:pt x="159" y="53"/>
                </a:lnTo>
                <a:lnTo>
                  <a:pt x="163" y="53"/>
                </a:lnTo>
                <a:lnTo>
                  <a:pt x="163" y="56"/>
                </a:lnTo>
                <a:lnTo>
                  <a:pt x="166" y="56"/>
                </a:lnTo>
                <a:lnTo>
                  <a:pt x="166" y="58"/>
                </a:lnTo>
                <a:lnTo>
                  <a:pt x="168" y="63"/>
                </a:lnTo>
                <a:lnTo>
                  <a:pt x="170" y="63"/>
                </a:lnTo>
                <a:lnTo>
                  <a:pt x="170" y="65"/>
                </a:lnTo>
                <a:lnTo>
                  <a:pt x="175" y="67"/>
                </a:lnTo>
                <a:lnTo>
                  <a:pt x="177" y="70"/>
                </a:lnTo>
                <a:lnTo>
                  <a:pt x="180" y="72"/>
                </a:lnTo>
                <a:lnTo>
                  <a:pt x="182" y="74"/>
                </a:lnTo>
                <a:lnTo>
                  <a:pt x="182" y="77"/>
                </a:lnTo>
                <a:lnTo>
                  <a:pt x="187" y="79"/>
                </a:lnTo>
                <a:lnTo>
                  <a:pt x="191" y="81"/>
                </a:lnTo>
                <a:lnTo>
                  <a:pt x="194" y="81"/>
                </a:lnTo>
                <a:lnTo>
                  <a:pt x="196" y="79"/>
                </a:lnTo>
                <a:lnTo>
                  <a:pt x="196" y="81"/>
                </a:lnTo>
                <a:lnTo>
                  <a:pt x="196" y="84"/>
                </a:lnTo>
                <a:lnTo>
                  <a:pt x="198" y="86"/>
                </a:lnTo>
                <a:lnTo>
                  <a:pt x="198" y="88"/>
                </a:lnTo>
                <a:lnTo>
                  <a:pt x="198" y="91"/>
                </a:lnTo>
                <a:lnTo>
                  <a:pt x="201" y="93"/>
                </a:lnTo>
                <a:lnTo>
                  <a:pt x="203" y="95"/>
                </a:lnTo>
                <a:lnTo>
                  <a:pt x="203" y="98"/>
                </a:lnTo>
                <a:lnTo>
                  <a:pt x="205" y="98"/>
                </a:lnTo>
                <a:lnTo>
                  <a:pt x="208" y="100"/>
                </a:lnTo>
                <a:lnTo>
                  <a:pt x="210" y="107"/>
                </a:lnTo>
                <a:lnTo>
                  <a:pt x="214" y="114"/>
                </a:lnTo>
                <a:lnTo>
                  <a:pt x="219" y="119"/>
                </a:lnTo>
                <a:lnTo>
                  <a:pt x="224" y="126"/>
                </a:lnTo>
                <a:lnTo>
                  <a:pt x="226" y="126"/>
                </a:lnTo>
                <a:lnTo>
                  <a:pt x="228" y="130"/>
                </a:lnTo>
                <a:lnTo>
                  <a:pt x="231" y="130"/>
                </a:lnTo>
                <a:lnTo>
                  <a:pt x="231" y="133"/>
                </a:lnTo>
                <a:lnTo>
                  <a:pt x="233" y="133"/>
                </a:lnTo>
                <a:lnTo>
                  <a:pt x="235" y="133"/>
                </a:lnTo>
                <a:lnTo>
                  <a:pt x="238" y="142"/>
                </a:lnTo>
                <a:lnTo>
                  <a:pt x="238" y="144"/>
                </a:lnTo>
                <a:lnTo>
                  <a:pt x="240" y="147"/>
                </a:lnTo>
                <a:lnTo>
                  <a:pt x="242" y="149"/>
                </a:lnTo>
                <a:lnTo>
                  <a:pt x="245" y="151"/>
                </a:lnTo>
                <a:lnTo>
                  <a:pt x="247" y="151"/>
                </a:lnTo>
                <a:lnTo>
                  <a:pt x="249" y="151"/>
                </a:lnTo>
                <a:lnTo>
                  <a:pt x="254" y="154"/>
                </a:lnTo>
                <a:lnTo>
                  <a:pt x="261" y="158"/>
                </a:lnTo>
                <a:lnTo>
                  <a:pt x="263" y="160"/>
                </a:lnTo>
                <a:lnTo>
                  <a:pt x="266" y="167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5" name="Freeform 22">
            <a:extLst>
              <a:ext uri="{FF2B5EF4-FFF2-40B4-BE49-F238E27FC236}">
                <a16:creationId xmlns:a16="http://schemas.microsoft.com/office/drawing/2014/main" id="{AD8D6CB5-E3E2-9E05-A3BF-80C4A2C4E2CA}"/>
              </a:ext>
            </a:extLst>
          </p:cNvPr>
          <p:cNvSpPr>
            <a:spLocks/>
          </p:cNvSpPr>
          <p:nvPr/>
        </p:nvSpPr>
        <p:spPr bwMode="auto">
          <a:xfrm>
            <a:off x="3639804" y="3382402"/>
            <a:ext cx="450092" cy="567957"/>
          </a:xfrm>
          <a:custGeom>
            <a:avLst/>
            <a:gdLst>
              <a:gd name="T0" fmla="*/ 347 w 382"/>
              <a:gd name="T1" fmla="*/ 53 h 505"/>
              <a:gd name="T2" fmla="*/ 354 w 382"/>
              <a:gd name="T3" fmla="*/ 86 h 505"/>
              <a:gd name="T4" fmla="*/ 356 w 382"/>
              <a:gd name="T5" fmla="*/ 116 h 505"/>
              <a:gd name="T6" fmla="*/ 349 w 382"/>
              <a:gd name="T7" fmla="*/ 137 h 505"/>
              <a:gd name="T8" fmla="*/ 354 w 382"/>
              <a:gd name="T9" fmla="*/ 165 h 505"/>
              <a:gd name="T10" fmla="*/ 361 w 382"/>
              <a:gd name="T11" fmla="*/ 195 h 505"/>
              <a:gd name="T12" fmla="*/ 363 w 382"/>
              <a:gd name="T13" fmla="*/ 242 h 505"/>
              <a:gd name="T14" fmla="*/ 370 w 382"/>
              <a:gd name="T15" fmla="*/ 270 h 505"/>
              <a:gd name="T16" fmla="*/ 368 w 382"/>
              <a:gd name="T17" fmla="*/ 305 h 505"/>
              <a:gd name="T18" fmla="*/ 361 w 382"/>
              <a:gd name="T19" fmla="*/ 326 h 505"/>
              <a:gd name="T20" fmla="*/ 363 w 382"/>
              <a:gd name="T21" fmla="*/ 354 h 505"/>
              <a:gd name="T22" fmla="*/ 344 w 382"/>
              <a:gd name="T23" fmla="*/ 372 h 505"/>
              <a:gd name="T24" fmla="*/ 328 w 382"/>
              <a:gd name="T25" fmla="*/ 377 h 505"/>
              <a:gd name="T26" fmla="*/ 314 w 382"/>
              <a:gd name="T27" fmla="*/ 389 h 505"/>
              <a:gd name="T28" fmla="*/ 291 w 382"/>
              <a:gd name="T29" fmla="*/ 407 h 505"/>
              <a:gd name="T30" fmla="*/ 272 w 382"/>
              <a:gd name="T31" fmla="*/ 419 h 505"/>
              <a:gd name="T32" fmla="*/ 258 w 382"/>
              <a:gd name="T33" fmla="*/ 419 h 505"/>
              <a:gd name="T34" fmla="*/ 235 w 382"/>
              <a:gd name="T35" fmla="*/ 428 h 505"/>
              <a:gd name="T36" fmla="*/ 219 w 382"/>
              <a:gd name="T37" fmla="*/ 435 h 505"/>
              <a:gd name="T38" fmla="*/ 198 w 382"/>
              <a:gd name="T39" fmla="*/ 433 h 505"/>
              <a:gd name="T40" fmla="*/ 181 w 382"/>
              <a:gd name="T41" fmla="*/ 424 h 505"/>
              <a:gd name="T42" fmla="*/ 163 w 382"/>
              <a:gd name="T43" fmla="*/ 417 h 505"/>
              <a:gd name="T44" fmla="*/ 144 w 382"/>
              <a:gd name="T45" fmla="*/ 419 h 505"/>
              <a:gd name="T46" fmla="*/ 147 w 382"/>
              <a:gd name="T47" fmla="*/ 445 h 505"/>
              <a:gd name="T48" fmla="*/ 140 w 382"/>
              <a:gd name="T49" fmla="*/ 468 h 505"/>
              <a:gd name="T50" fmla="*/ 126 w 382"/>
              <a:gd name="T51" fmla="*/ 484 h 505"/>
              <a:gd name="T52" fmla="*/ 88 w 382"/>
              <a:gd name="T53" fmla="*/ 491 h 505"/>
              <a:gd name="T54" fmla="*/ 70 w 382"/>
              <a:gd name="T55" fmla="*/ 505 h 505"/>
              <a:gd name="T56" fmla="*/ 44 w 382"/>
              <a:gd name="T57" fmla="*/ 498 h 505"/>
              <a:gd name="T58" fmla="*/ 28 w 382"/>
              <a:gd name="T59" fmla="*/ 475 h 505"/>
              <a:gd name="T60" fmla="*/ 0 w 382"/>
              <a:gd name="T61" fmla="*/ 452 h 505"/>
              <a:gd name="T62" fmla="*/ 12 w 382"/>
              <a:gd name="T63" fmla="*/ 421 h 505"/>
              <a:gd name="T64" fmla="*/ 9 w 382"/>
              <a:gd name="T65" fmla="*/ 398 h 505"/>
              <a:gd name="T66" fmla="*/ 9 w 382"/>
              <a:gd name="T67" fmla="*/ 368 h 505"/>
              <a:gd name="T68" fmla="*/ 23 w 382"/>
              <a:gd name="T69" fmla="*/ 349 h 505"/>
              <a:gd name="T70" fmla="*/ 40 w 382"/>
              <a:gd name="T71" fmla="*/ 319 h 505"/>
              <a:gd name="T72" fmla="*/ 44 w 382"/>
              <a:gd name="T73" fmla="*/ 305 h 505"/>
              <a:gd name="T74" fmla="*/ 84 w 382"/>
              <a:gd name="T75" fmla="*/ 284 h 505"/>
              <a:gd name="T76" fmla="*/ 105 w 382"/>
              <a:gd name="T77" fmla="*/ 277 h 505"/>
              <a:gd name="T78" fmla="*/ 128 w 382"/>
              <a:gd name="T79" fmla="*/ 265 h 505"/>
              <a:gd name="T80" fmla="*/ 142 w 382"/>
              <a:gd name="T81" fmla="*/ 249 h 505"/>
              <a:gd name="T82" fmla="*/ 161 w 382"/>
              <a:gd name="T83" fmla="*/ 244 h 505"/>
              <a:gd name="T84" fmla="*/ 184 w 382"/>
              <a:gd name="T85" fmla="*/ 256 h 505"/>
              <a:gd name="T86" fmla="*/ 207 w 382"/>
              <a:gd name="T87" fmla="*/ 254 h 505"/>
              <a:gd name="T88" fmla="*/ 226 w 382"/>
              <a:gd name="T89" fmla="*/ 233 h 505"/>
              <a:gd name="T90" fmla="*/ 219 w 382"/>
              <a:gd name="T91" fmla="*/ 212 h 505"/>
              <a:gd name="T92" fmla="*/ 216 w 382"/>
              <a:gd name="T93" fmla="*/ 186 h 505"/>
              <a:gd name="T94" fmla="*/ 228 w 382"/>
              <a:gd name="T95" fmla="*/ 168 h 505"/>
              <a:gd name="T96" fmla="*/ 240 w 382"/>
              <a:gd name="T97" fmla="*/ 140 h 505"/>
              <a:gd name="T98" fmla="*/ 235 w 382"/>
              <a:gd name="T99" fmla="*/ 123 h 505"/>
              <a:gd name="T100" fmla="*/ 240 w 382"/>
              <a:gd name="T101" fmla="*/ 98 h 505"/>
              <a:gd name="T102" fmla="*/ 247 w 382"/>
              <a:gd name="T103" fmla="*/ 79 h 505"/>
              <a:gd name="T104" fmla="*/ 261 w 382"/>
              <a:gd name="T105" fmla="*/ 60 h 505"/>
              <a:gd name="T106" fmla="*/ 279 w 382"/>
              <a:gd name="T107" fmla="*/ 42 h 505"/>
              <a:gd name="T108" fmla="*/ 302 w 382"/>
              <a:gd name="T109" fmla="*/ 30 h 505"/>
              <a:gd name="T110" fmla="*/ 323 w 382"/>
              <a:gd name="T111" fmla="*/ 14 h 505"/>
              <a:gd name="T112" fmla="*/ 335 w 382"/>
              <a:gd name="T113" fmla="*/ 7 h 505"/>
              <a:gd name="T114" fmla="*/ 340 w 382"/>
              <a:gd name="T115" fmla="*/ 12 h 505"/>
              <a:gd name="T116" fmla="*/ 358 w 382"/>
              <a:gd name="T117" fmla="*/ 19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82" h="505">
                <a:moveTo>
                  <a:pt x="361" y="21"/>
                </a:moveTo>
                <a:lnTo>
                  <a:pt x="361" y="23"/>
                </a:lnTo>
                <a:lnTo>
                  <a:pt x="361" y="25"/>
                </a:lnTo>
                <a:lnTo>
                  <a:pt x="351" y="37"/>
                </a:lnTo>
                <a:lnTo>
                  <a:pt x="349" y="39"/>
                </a:lnTo>
                <a:lnTo>
                  <a:pt x="347" y="42"/>
                </a:lnTo>
                <a:lnTo>
                  <a:pt x="344" y="44"/>
                </a:lnTo>
                <a:lnTo>
                  <a:pt x="344" y="46"/>
                </a:lnTo>
                <a:lnTo>
                  <a:pt x="344" y="49"/>
                </a:lnTo>
                <a:lnTo>
                  <a:pt x="344" y="51"/>
                </a:lnTo>
                <a:lnTo>
                  <a:pt x="347" y="53"/>
                </a:lnTo>
                <a:lnTo>
                  <a:pt x="347" y="58"/>
                </a:lnTo>
                <a:lnTo>
                  <a:pt x="347" y="63"/>
                </a:lnTo>
                <a:lnTo>
                  <a:pt x="347" y="65"/>
                </a:lnTo>
                <a:lnTo>
                  <a:pt x="349" y="67"/>
                </a:lnTo>
                <a:lnTo>
                  <a:pt x="349" y="70"/>
                </a:lnTo>
                <a:lnTo>
                  <a:pt x="351" y="72"/>
                </a:lnTo>
                <a:lnTo>
                  <a:pt x="351" y="74"/>
                </a:lnTo>
                <a:lnTo>
                  <a:pt x="351" y="77"/>
                </a:lnTo>
                <a:lnTo>
                  <a:pt x="351" y="79"/>
                </a:lnTo>
                <a:lnTo>
                  <a:pt x="354" y="84"/>
                </a:lnTo>
                <a:lnTo>
                  <a:pt x="354" y="86"/>
                </a:lnTo>
                <a:lnTo>
                  <a:pt x="354" y="91"/>
                </a:lnTo>
                <a:lnTo>
                  <a:pt x="356" y="93"/>
                </a:lnTo>
                <a:lnTo>
                  <a:pt x="356" y="95"/>
                </a:lnTo>
                <a:lnTo>
                  <a:pt x="358" y="98"/>
                </a:lnTo>
                <a:lnTo>
                  <a:pt x="358" y="100"/>
                </a:lnTo>
                <a:lnTo>
                  <a:pt x="361" y="100"/>
                </a:lnTo>
                <a:lnTo>
                  <a:pt x="361" y="105"/>
                </a:lnTo>
                <a:lnTo>
                  <a:pt x="361" y="109"/>
                </a:lnTo>
                <a:lnTo>
                  <a:pt x="361" y="112"/>
                </a:lnTo>
                <a:lnTo>
                  <a:pt x="358" y="114"/>
                </a:lnTo>
                <a:lnTo>
                  <a:pt x="356" y="116"/>
                </a:lnTo>
                <a:lnTo>
                  <a:pt x="354" y="119"/>
                </a:lnTo>
                <a:lnTo>
                  <a:pt x="351" y="119"/>
                </a:lnTo>
                <a:lnTo>
                  <a:pt x="349" y="121"/>
                </a:lnTo>
                <a:lnTo>
                  <a:pt x="349" y="123"/>
                </a:lnTo>
                <a:lnTo>
                  <a:pt x="349" y="126"/>
                </a:lnTo>
                <a:lnTo>
                  <a:pt x="347" y="128"/>
                </a:lnTo>
                <a:lnTo>
                  <a:pt x="349" y="128"/>
                </a:lnTo>
                <a:lnTo>
                  <a:pt x="349" y="130"/>
                </a:lnTo>
                <a:lnTo>
                  <a:pt x="347" y="133"/>
                </a:lnTo>
                <a:lnTo>
                  <a:pt x="347" y="135"/>
                </a:lnTo>
                <a:lnTo>
                  <a:pt x="349" y="137"/>
                </a:lnTo>
                <a:lnTo>
                  <a:pt x="349" y="140"/>
                </a:lnTo>
                <a:lnTo>
                  <a:pt x="349" y="142"/>
                </a:lnTo>
                <a:lnTo>
                  <a:pt x="349" y="147"/>
                </a:lnTo>
                <a:lnTo>
                  <a:pt x="349" y="149"/>
                </a:lnTo>
                <a:lnTo>
                  <a:pt x="349" y="151"/>
                </a:lnTo>
                <a:lnTo>
                  <a:pt x="351" y="154"/>
                </a:lnTo>
                <a:lnTo>
                  <a:pt x="351" y="156"/>
                </a:lnTo>
                <a:lnTo>
                  <a:pt x="351" y="158"/>
                </a:lnTo>
                <a:lnTo>
                  <a:pt x="354" y="161"/>
                </a:lnTo>
                <a:lnTo>
                  <a:pt x="354" y="163"/>
                </a:lnTo>
                <a:lnTo>
                  <a:pt x="354" y="165"/>
                </a:lnTo>
                <a:lnTo>
                  <a:pt x="354" y="168"/>
                </a:lnTo>
                <a:lnTo>
                  <a:pt x="354" y="170"/>
                </a:lnTo>
                <a:lnTo>
                  <a:pt x="354" y="172"/>
                </a:lnTo>
                <a:lnTo>
                  <a:pt x="354" y="174"/>
                </a:lnTo>
                <a:lnTo>
                  <a:pt x="354" y="177"/>
                </a:lnTo>
                <a:lnTo>
                  <a:pt x="356" y="179"/>
                </a:lnTo>
                <a:lnTo>
                  <a:pt x="358" y="181"/>
                </a:lnTo>
                <a:lnTo>
                  <a:pt x="361" y="184"/>
                </a:lnTo>
                <a:lnTo>
                  <a:pt x="361" y="186"/>
                </a:lnTo>
                <a:lnTo>
                  <a:pt x="361" y="188"/>
                </a:lnTo>
                <a:lnTo>
                  <a:pt x="361" y="195"/>
                </a:lnTo>
                <a:lnTo>
                  <a:pt x="358" y="200"/>
                </a:lnTo>
                <a:lnTo>
                  <a:pt x="358" y="202"/>
                </a:lnTo>
                <a:lnTo>
                  <a:pt x="358" y="207"/>
                </a:lnTo>
                <a:lnTo>
                  <a:pt x="358" y="214"/>
                </a:lnTo>
                <a:lnTo>
                  <a:pt x="361" y="219"/>
                </a:lnTo>
                <a:lnTo>
                  <a:pt x="358" y="219"/>
                </a:lnTo>
                <a:lnTo>
                  <a:pt x="358" y="221"/>
                </a:lnTo>
                <a:lnTo>
                  <a:pt x="358" y="226"/>
                </a:lnTo>
                <a:lnTo>
                  <a:pt x="361" y="240"/>
                </a:lnTo>
                <a:lnTo>
                  <a:pt x="363" y="240"/>
                </a:lnTo>
                <a:lnTo>
                  <a:pt x="363" y="242"/>
                </a:lnTo>
                <a:lnTo>
                  <a:pt x="363" y="244"/>
                </a:lnTo>
                <a:lnTo>
                  <a:pt x="361" y="247"/>
                </a:lnTo>
                <a:lnTo>
                  <a:pt x="361" y="249"/>
                </a:lnTo>
                <a:lnTo>
                  <a:pt x="361" y="254"/>
                </a:lnTo>
                <a:lnTo>
                  <a:pt x="363" y="258"/>
                </a:lnTo>
                <a:lnTo>
                  <a:pt x="365" y="261"/>
                </a:lnTo>
                <a:lnTo>
                  <a:pt x="363" y="265"/>
                </a:lnTo>
                <a:lnTo>
                  <a:pt x="365" y="265"/>
                </a:lnTo>
                <a:lnTo>
                  <a:pt x="365" y="268"/>
                </a:lnTo>
                <a:lnTo>
                  <a:pt x="368" y="268"/>
                </a:lnTo>
                <a:lnTo>
                  <a:pt x="370" y="270"/>
                </a:lnTo>
                <a:lnTo>
                  <a:pt x="379" y="272"/>
                </a:lnTo>
                <a:lnTo>
                  <a:pt x="379" y="275"/>
                </a:lnTo>
                <a:lnTo>
                  <a:pt x="379" y="277"/>
                </a:lnTo>
                <a:lnTo>
                  <a:pt x="382" y="277"/>
                </a:lnTo>
                <a:lnTo>
                  <a:pt x="382" y="279"/>
                </a:lnTo>
                <a:lnTo>
                  <a:pt x="382" y="282"/>
                </a:lnTo>
                <a:lnTo>
                  <a:pt x="379" y="284"/>
                </a:lnTo>
                <a:lnTo>
                  <a:pt x="375" y="289"/>
                </a:lnTo>
                <a:lnTo>
                  <a:pt x="375" y="291"/>
                </a:lnTo>
                <a:lnTo>
                  <a:pt x="368" y="303"/>
                </a:lnTo>
                <a:lnTo>
                  <a:pt x="368" y="305"/>
                </a:lnTo>
                <a:lnTo>
                  <a:pt x="368" y="307"/>
                </a:lnTo>
                <a:lnTo>
                  <a:pt x="370" y="307"/>
                </a:lnTo>
                <a:lnTo>
                  <a:pt x="370" y="310"/>
                </a:lnTo>
                <a:lnTo>
                  <a:pt x="370" y="312"/>
                </a:lnTo>
                <a:lnTo>
                  <a:pt x="370" y="314"/>
                </a:lnTo>
                <a:lnTo>
                  <a:pt x="361" y="314"/>
                </a:lnTo>
                <a:lnTo>
                  <a:pt x="358" y="314"/>
                </a:lnTo>
                <a:lnTo>
                  <a:pt x="358" y="316"/>
                </a:lnTo>
                <a:lnTo>
                  <a:pt x="358" y="319"/>
                </a:lnTo>
                <a:lnTo>
                  <a:pt x="358" y="321"/>
                </a:lnTo>
                <a:lnTo>
                  <a:pt x="361" y="326"/>
                </a:lnTo>
                <a:lnTo>
                  <a:pt x="361" y="328"/>
                </a:lnTo>
                <a:lnTo>
                  <a:pt x="361" y="330"/>
                </a:lnTo>
                <a:lnTo>
                  <a:pt x="361" y="333"/>
                </a:lnTo>
                <a:lnTo>
                  <a:pt x="358" y="335"/>
                </a:lnTo>
                <a:lnTo>
                  <a:pt x="358" y="337"/>
                </a:lnTo>
                <a:lnTo>
                  <a:pt x="363" y="340"/>
                </a:lnTo>
                <a:lnTo>
                  <a:pt x="363" y="342"/>
                </a:lnTo>
                <a:lnTo>
                  <a:pt x="365" y="342"/>
                </a:lnTo>
                <a:lnTo>
                  <a:pt x="365" y="344"/>
                </a:lnTo>
                <a:lnTo>
                  <a:pt x="365" y="349"/>
                </a:lnTo>
                <a:lnTo>
                  <a:pt x="363" y="354"/>
                </a:lnTo>
                <a:lnTo>
                  <a:pt x="363" y="356"/>
                </a:lnTo>
                <a:lnTo>
                  <a:pt x="361" y="361"/>
                </a:lnTo>
                <a:lnTo>
                  <a:pt x="358" y="361"/>
                </a:lnTo>
                <a:lnTo>
                  <a:pt x="358" y="363"/>
                </a:lnTo>
                <a:lnTo>
                  <a:pt x="356" y="363"/>
                </a:lnTo>
                <a:lnTo>
                  <a:pt x="354" y="365"/>
                </a:lnTo>
                <a:lnTo>
                  <a:pt x="351" y="365"/>
                </a:lnTo>
                <a:lnTo>
                  <a:pt x="347" y="368"/>
                </a:lnTo>
                <a:lnTo>
                  <a:pt x="347" y="370"/>
                </a:lnTo>
                <a:lnTo>
                  <a:pt x="347" y="372"/>
                </a:lnTo>
                <a:lnTo>
                  <a:pt x="344" y="372"/>
                </a:lnTo>
                <a:lnTo>
                  <a:pt x="342" y="372"/>
                </a:lnTo>
                <a:lnTo>
                  <a:pt x="342" y="375"/>
                </a:lnTo>
                <a:lnTo>
                  <a:pt x="340" y="375"/>
                </a:lnTo>
                <a:lnTo>
                  <a:pt x="340" y="372"/>
                </a:lnTo>
                <a:lnTo>
                  <a:pt x="337" y="372"/>
                </a:lnTo>
                <a:lnTo>
                  <a:pt x="337" y="375"/>
                </a:lnTo>
                <a:lnTo>
                  <a:pt x="337" y="377"/>
                </a:lnTo>
                <a:lnTo>
                  <a:pt x="335" y="379"/>
                </a:lnTo>
                <a:lnTo>
                  <a:pt x="333" y="377"/>
                </a:lnTo>
                <a:lnTo>
                  <a:pt x="330" y="377"/>
                </a:lnTo>
                <a:lnTo>
                  <a:pt x="328" y="377"/>
                </a:lnTo>
                <a:lnTo>
                  <a:pt x="328" y="379"/>
                </a:lnTo>
                <a:lnTo>
                  <a:pt x="326" y="379"/>
                </a:lnTo>
                <a:lnTo>
                  <a:pt x="326" y="382"/>
                </a:lnTo>
                <a:lnTo>
                  <a:pt x="323" y="382"/>
                </a:lnTo>
                <a:lnTo>
                  <a:pt x="323" y="384"/>
                </a:lnTo>
                <a:lnTo>
                  <a:pt x="321" y="384"/>
                </a:lnTo>
                <a:lnTo>
                  <a:pt x="319" y="384"/>
                </a:lnTo>
                <a:lnTo>
                  <a:pt x="319" y="386"/>
                </a:lnTo>
                <a:lnTo>
                  <a:pt x="316" y="386"/>
                </a:lnTo>
                <a:lnTo>
                  <a:pt x="316" y="389"/>
                </a:lnTo>
                <a:lnTo>
                  <a:pt x="314" y="389"/>
                </a:lnTo>
                <a:lnTo>
                  <a:pt x="309" y="391"/>
                </a:lnTo>
                <a:lnTo>
                  <a:pt x="305" y="393"/>
                </a:lnTo>
                <a:lnTo>
                  <a:pt x="302" y="393"/>
                </a:lnTo>
                <a:lnTo>
                  <a:pt x="302" y="398"/>
                </a:lnTo>
                <a:lnTo>
                  <a:pt x="300" y="398"/>
                </a:lnTo>
                <a:lnTo>
                  <a:pt x="300" y="400"/>
                </a:lnTo>
                <a:lnTo>
                  <a:pt x="298" y="400"/>
                </a:lnTo>
                <a:lnTo>
                  <a:pt x="296" y="403"/>
                </a:lnTo>
                <a:lnTo>
                  <a:pt x="296" y="405"/>
                </a:lnTo>
                <a:lnTo>
                  <a:pt x="293" y="405"/>
                </a:lnTo>
                <a:lnTo>
                  <a:pt x="291" y="407"/>
                </a:lnTo>
                <a:lnTo>
                  <a:pt x="289" y="407"/>
                </a:lnTo>
                <a:lnTo>
                  <a:pt x="286" y="407"/>
                </a:lnTo>
                <a:lnTo>
                  <a:pt x="284" y="407"/>
                </a:lnTo>
                <a:lnTo>
                  <a:pt x="282" y="407"/>
                </a:lnTo>
                <a:lnTo>
                  <a:pt x="279" y="407"/>
                </a:lnTo>
                <a:lnTo>
                  <a:pt x="277" y="407"/>
                </a:lnTo>
                <a:lnTo>
                  <a:pt x="277" y="412"/>
                </a:lnTo>
                <a:lnTo>
                  <a:pt x="277" y="414"/>
                </a:lnTo>
                <a:lnTo>
                  <a:pt x="277" y="417"/>
                </a:lnTo>
                <a:lnTo>
                  <a:pt x="277" y="419"/>
                </a:lnTo>
                <a:lnTo>
                  <a:pt x="272" y="419"/>
                </a:lnTo>
                <a:lnTo>
                  <a:pt x="270" y="421"/>
                </a:lnTo>
                <a:lnTo>
                  <a:pt x="270" y="424"/>
                </a:lnTo>
                <a:lnTo>
                  <a:pt x="268" y="424"/>
                </a:lnTo>
                <a:lnTo>
                  <a:pt x="268" y="421"/>
                </a:lnTo>
                <a:lnTo>
                  <a:pt x="265" y="421"/>
                </a:lnTo>
                <a:lnTo>
                  <a:pt x="263" y="421"/>
                </a:lnTo>
                <a:lnTo>
                  <a:pt x="261" y="421"/>
                </a:lnTo>
                <a:lnTo>
                  <a:pt x="261" y="419"/>
                </a:lnTo>
                <a:lnTo>
                  <a:pt x="258" y="419"/>
                </a:lnTo>
                <a:lnTo>
                  <a:pt x="258" y="421"/>
                </a:lnTo>
                <a:lnTo>
                  <a:pt x="258" y="419"/>
                </a:lnTo>
                <a:lnTo>
                  <a:pt x="256" y="419"/>
                </a:lnTo>
                <a:lnTo>
                  <a:pt x="254" y="421"/>
                </a:lnTo>
                <a:lnTo>
                  <a:pt x="254" y="424"/>
                </a:lnTo>
                <a:lnTo>
                  <a:pt x="251" y="424"/>
                </a:lnTo>
                <a:lnTo>
                  <a:pt x="249" y="424"/>
                </a:lnTo>
                <a:lnTo>
                  <a:pt x="242" y="424"/>
                </a:lnTo>
                <a:lnTo>
                  <a:pt x="240" y="424"/>
                </a:lnTo>
                <a:lnTo>
                  <a:pt x="237" y="424"/>
                </a:lnTo>
                <a:lnTo>
                  <a:pt x="237" y="426"/>
                </a:lnTo>
                <a:lnTo>
                  <a:pt x="235" y="426"/>
                </a:lnTo>
                <a:lnTo>
                  <a:pt x="235" y="428"/>
                </a:lnTo>
                <a:lnTo>
                  <a:pt x="233" y="428"/>
                </a:lnTo>
                <a:lnTo>
                  <a:pt x="230" y="428"/>
                </a:lnTo>
                <a:lnTo>
                  <a:pt x="230" y="431"/>
                </a:lnTo>
                <a:lnTo>
                  <a:pt x="228" y="431"/>
                </a:lnTo>
                <a:lnTo>
                  <a:pt x="228" y="433"/>
                </a:lnTo>
                <a:lnTo>
                  <a:pt x="226" y="433"/>
                </a:lnTo>
                <a:lnTo>
                  <a:pt x="226" y="435"/>
                </a:lnTo>
                <a:lnTo>
                  <a:pt x="226" y="433"/>
                </a:lnTo>
                <a:lnTo>
                  <a:pt x="221" y="433"/>
                </a:lnTo>
                <a:lnTo>
                  <a:pt x="219" y="433"/>
                </a:lnTo>
                <a:lnTo>
                  <a:pt x="219" y="435"/>
                </a:lnTo>
                <a:lnTo>
                  <a:pt x="219" y="438"/>
                </a:lnTo>
                <a:lnTo>
                  <a:pt x="216" y="438"/>
                </a:lnTo>
                <a:lnTo>
                  <a:pt x="214" y="435"/>
                </a:lnTo>
                <a:lnTo>
                  <a:pt x="212" y="433"/>
                </a:lnTo>
                <a:lnTo>
                  <a:pt x="209" y="433"/>
                </a:lnTo>
                <a:lnTo>
                  <a:pt x="207" y="433"/>
                </a:lnTo>
                <a:lnTo>
                  <a:pt x="205" y="433"/>
                </a:lnTo>
                <a:lnTo>
                  <a:pt x="205" y="435"/>
                </a:lnTo>
                <a:lnTo>
                  <a:pt x="202" y="435"/>
                </a:lnTo>
                <a:lnTo>
                  <a:pt x="200" y="433"/>
                </a:lnTo>
                <a:lnTo>
                  <a:pt x="198" y="433"/>
                </a:lnTo>
                <a:lnTo>
                  <a:pt x="198" y="431"/>
                </a:lnTo>
                <a:lnTo>
                  <a:pt x="198" y="428"/>
                </a:lnTo>
                <a:lnTo>
                  <a:pt x="195" y="426"/>
                </a:lnTo>
                <a:lnTo>
                  <a:pt x="193" y="426"/>
                </a:lnTo>
                <a:lnTo>
                  <a:pt x="191" y="426"/>
                </a:lnTo>
                <a:lnTo>
                  <a:pt x="191" y="424"/>
                </a:lnTo>
                <a:lnTo>
                  <a:pt x="188" y="421"/>
                </a:lnTo>
                <a:lnTo>
                  <a:pt x="186" y="421"/>
                </a:lnTo>
                <a:lnTo>
                  <a:pt x="184" y="421"/>
                </a:lnTo>
                <a:lnTo>
                  <a:pt x="184" y="424"/>
                </a:lnTo>
                <a:lnTo>
                  <a:pt x="181" y="424"/>
                </a:lnTo>
                <a:lnTo>
                  <a:pt x="179" y="421"/>
                </a:lnTo>
                <a:lnTo>
                  <a:pt x="177" y="421"/>
                </a:lnTo>
                <a:lnTo>
                  <a:pt x="174" y="421"/>
                </a:lnTo>
                <a:lnTo>
                  <a:pt x="172" y="424"/>
                </a:lnTo>
                <a:lnTo>
                  <a:pt x="170" y="424"/>
                </a:lnTo>
                <a:lnTo>
                  <a:pt x="170" y="421"/>
                </a:lnTo>
                <a:lnTo>
                  <a:pt x="170" y="417"/>
                </a:lnTo>
                <a:lnTo>
                  <a:pt x="168" y="417"/>
                </a:lnTo>
                <a:lnTo>
                  <a:pt x="165" y="414"/>
                </a:lnTo>
                <a:lnTo>
                  <a:pt x="163" y="414"/>
                </a:lnTo>
                <a:lnTo>
                  <a:pt x="163" y="417"/>
                </a:lnTo>
                <a:lnTo>
                  <a:pt x="161" y="417"/>
                </a:lnTo>
                <a:lnTo>
                  <a:pt x="158" y="417"/>
                </a:lnTo>
                <a:lnTo>
                  <a:pt x="156" y="414"/>
                </a:lnTo>
                <a:lnTo>
                  <a:pt x="154" y="414"/>
                </a:lnTo>
                <a:lnTo>
                  <a:pt x="154" y="417"/>
                </a:lnTo>
                <a:lnTo>
                  <a:pt x="151" y="417"/>
                </a:lnTo>
                <a:lnTo>
                  <a:pt x="151" y="419"/>
                </a:lnTo>
                <a:lnTo>
                  <a:pt x="151" y="421"/>
                </a:lnTo>
                <a:lnTo>
                  <a:pt x="149" y="421"/>
                </a:lnTo>
                <a:lnTo>
                  <a:pt x="147" y="421"/>
                </a:lnTo>
                <a:lnTo>
                  <a:pt x="144" y="419"/>
                </a:lnTo>
                <a:lnTo>
                  <a:pt x="142" y="419"/>
                </a:lnTo>
                <a:lnTo>
                  <a:pt x="142" y="421"/>
                </a:lnTo>
                <a:lnTo>
                  <a:pt x="140" y="424"/>
                </a:lnTo>
                <a:lnTo>
                  <a:pt x="142" y="426"/>
                </a:lnTo>
                <a:lnTo>
                  <a:pt x="142" y="428"/>
                </a:lnTo>
                <a:lnTo>
                  <a:pt x="144" y="428"/>
                </a:lnTo>
                <a:lnTo>
                  <a:pt x="144" y="435"/>
                </a:lnTo>
                <a:lnTo>
                  <a:pt x="144" y="438"/>
                </a:lnTo>
                <a:lnTo>
                  <a:pt x="144" y="440"/>
                </a:lnTo>
                <a:lnTo>
                  <a:pt x="147" y="442"/>
                </a:lnTo>
                <a:lnTo>
                  <a:pt x="147" y="445"/>
                </a:lnTo>
                <a:lnTo>
                  <a:pt x="147" y="447"/>
                </a:lnTo>
                <a:lnTo>
                  <a:pt x="147" y="449"/>
                </a:lnTo>
                <a:lnTo>
                  <a:pt x="144" y="452"/>
                </a:lnTo>
                <a:lnTo>
                  <a:pt x="144" y="454"/>
                </a:lnTo>
                <a:lnTo>
                  <a:pt x="144" y="456"/>
                </a:lnTo>
                <a:lnTo>
                  <a:pt x="144" y="458"/>
                </a:lnTo>
                <a:lnTo>
                  <a:pt x="144" y="461"/>
                </a:lnTo>
                <a:lnTo>
                  <a:pt x="142" y="463"/>
                </a:lnTo>
                <a:lnTo>
                  <a:pt x="140" y="463"/>
                </a:lnTo>
                <a:lnTo>
                  <a:pt x="140" y="465"/>
                </a:lnTo>
                <a:lnTo>
                  <a:pt x="140" y="468"/>
                </a:lnTo>
                <a:lnTo>
                  <a:pt x="137" y="468"/>
                </a:lnTo>
                <a:lnTo>
                  <a:pt x="137" y="470"/>
                </a:lnTo>
                <a:lnTo>
                  <a:pt x="137" y="472"/>
                </a:lnTo>
                <a:lnTo>
                  <a:pt x="133" y="475"/>
                </a:lnTo>
                <a:lnTo>
                  <a:pt x="133" y="477"/>
                </a:lnTo>
                <a:lnTo>
                  <a:pt x="133" y="479"/>
                </a:lnTo>
                <a:lnTo>
                  <a:pt x="130" y="479"/>
                </a:lnTo>
                <a:lnTo>
                  <a:pt x="128" y="479"/>
                </a:lnTo>
                <a:lnTo>
                  <a:pt x="128" y="482"/>
                </a:lnTo>
                <a:lnTo>
                  <a:pt x="128" y="484"/>
                </a:lnTo>
                <a:lnTo>
                  <a:pt x="126" y="484"/>
                </a:lnTo>
                <a:lnTo>
                  <a:pt x="123" y="484"/>
                </a:lnTo>
                <a:lnTo>
                  <a:pt x="116" y="491"/>
                </a:lnTo>
                <a:lnTo>
                  <a:pt x="114" y="491"/>
                </a:lnTo>
                <a:lnTo>
                  <a:pt x="114" y="493"/>
                </a:lnTo>
                <a:lnTo>
                  <a:pt x="112" y="493"/>
                </a:lnTo>
                <a:lnTo>
                  <a:pt x="107" y="493"/>
                </a:lnTo>
                <a:lnTo>
                  <a:pt x="102" y="491"/>
                </a:lnTo>
                <a:lnTo>
                  <a:pt x="95" y="489"/>
                </a:lnTo>
                <a:lnTo>
                  <a:pt x="93" y="491"/>
                </a:lnTo>
                <a:lnTo>
                  <a:pt x="91" y="491"/>
                </a:lnTo>
                <a:lnTo>
                  <a:pt x="88" y="491"/>
                </a:lnTo>
                <a:lnTo>
                  <a:pt x="86" y="491"/>
                </a:lnTo>
                <a:lnTo>
                  <a:pt x="86" y="493"/>
                </a:lnTo>
                <a:lnTo>
                  <a:pt x="84" y="493"/>
                </a:lnTo>
                <a:lnTo>
                  <a:pt x="81" y="493"/>
                </a:lnTo>
                <a:lnTo>
                  <a:pt x="81" y="496"/>
                </a:lnTo>
                <a:lnTo>
                  <a:pt x="79" y="496"/>
                </a:lnTo>
                <a:lnTo>
                  <a:pt x="79" y="498"/>
                </a:lnTo>
                <a:lnTo>
                  <a:pt x="77" y="498"/>
                </a:lnTo>
                <a:lnTo>
                  <a:pt x="74" y="498"/>
                </a:lnTo>
                <a:lnTo>
                  <a:pt x="72" y="500"/>
                </a:lnTo>
                <a:lnTo>
                  <a:pt x="70" y="505"/>
                </a:lnTo>
                <a:lnTo>
                  <a:pt x="67" y="505"/>
                </a:lnTo>
                <a:lnTo>
                  <a:pt x="65" y="505"/>
                </a:lnTo>
                <a:lnTo>
                  <a:pt x="60" y="503"/>
                </a:lnTo>
                <a:lnTo>
                  <a:pt x="58" y="503"/>
                </a:lnTo>
                <a:lnTo>
                  <a:pt x="56" y="505"/>
                </a:lnTo>
                <a:lnTo>
                  <a:pt x="53" y="505"/>
                </a:lnTo>
                <a:lnTo>
                  <a:pt x="51" y="505"/>
                </a:lnTo>
                <a:lnTo>
                  <a:pt x="49" y="503"/>
                </a:lnTo>
                <a:lnTo>
                  <a:pt x="46" y="503"/>
                </a:lnTo>
                <a:lnTo>
                  <a:pt x="44" y="500"/>
                </a:lnTo>
                <a:lnTo>
                  <a:pt x="44" y="498"/>
                </a:lnTo>
                <a:lnTo>
                  <a:pt x="42" y="498"/>
                </a:lnTo>
                <a:lnTo>
                  <a:pt x="40" y="496"/>
                </a:lnTo>
                <a:lnTo>
                  <a:pt x="37" y="496"/>
                </a:lnTo>
                <a:lnTo>
                  <a:pt x="35" y="493"/>
                </a:lnTo>
                <a:lnTo>
                  <a:pt x="35" y="489"/>
                </a:lnTo>
                <a:lnTo>
                  <a:pt x="30" y="484"/>
                </a:lnTo>
                <a:lnTo>
                  <a:pt x="30" y="482"/>
                </a:lnTo>
                <a:lnTo>
                  <a:pt x="30" y="479"/>
                </a:lnTo>
                <a:lnTo>
                  <a:pt x="30" y="477"/>
                </a:lnTo>
                <a:lnTo>
                  <a:pt x="30" y="475"/>
                </a:lnTo>
                <a:lnTo>
                  <a:pt x="28" y="475"/>
                </a:lnTo>
                <a:lnTo>
                  <a:pt x="28" y="470"/>
                </a:lnTo>
                <a:lnTo>
                  <a:pt x="23" y="465"/>
                </a:lnTo>
                <a:lnTo>
                  <a:pt x="21" y="465"/>
                </a:lnTo>
                <a:lnTo>
                  <a:pt x="12" y="463"/>
                </a:lnTo>
                <a:lnTo>
                  <a:pt x="7" y="463"/>
                </a:lnTo>
                <a:lnTo>
                  <a:pt x="0" y="461"/>
                </a:lnTo>
                <a:lnTo>
                  <a:pt x="0" y="458"/>
                </a:lnTo>
                <a:lnTo>
                  <a:pt x="2" y="456"/>
                </a:lnTo>
                <a:lnTo>
                  <a:pt x="2" y="454"/>
                </a:lnTo>
                <a:lnTo>
                  <a:pt x="0" y="454"/>
                </a:lnTo>
                <a:lnTo>
                  <a:pt x="0" y="452"/>
                </a:lnTo>
                <a:lnTo>
                  <a:pt x="5" y="447"/>
                </a:lnTo>
                <a:lnTo>
                  <a:pt x="5" y="445"/>
                </a:lnTo>
                <a:lnTo>
                  <a:pt x="5" y="442"/>
                </a:lnTo>
                <a:lnTo>
                  <a:pt x="7" y="442"/>
                </a:lnTo>
                <a:lnTo>
                  <a:pt x="9" y="440"/>
                </a:lnTo>
                <a:lnTo>
                  <a:pt x="7" y="435"/>
                </a:lnTo>
                <a:lnTo>
                  <a:pt x="9" y="431"/>
                </a:lnTo>
                <a:lnTo>
                  <a:pt x="9" y="428"/>
                </a:lnTo>
                <a:lnTo>
                  <a:pt x="12" y="428"/>
                </a:lnTo>
                <a:lnTo>
                  <a:pt x="9" y="426"/>
                </a:lnTo>
                <a:lnTo>
                  <a:pt x="12" y="421"/>
                </a:lnTo>
                <a:lnTo>
                  <a:pt x="12" y="417"/>
                </a:lnTo>
                <a:lnTo>
                  <a:pt x="12" y="414"/>
                </a:lnTo>
                <a:lnTo>
                  <a:pt x="12" y="412"/>
                </a:lnTo>
                <a:lnTo>
                  <a:pt x="14" y="412"/>
                </a:lnTo>
                <a:lnTo>
                  <a:pt x="14" y="410"/>
                </a:lnTo>
                <a:lnTo>
                  <a:pt x="16" y="407"/>
                </a:lnTo>
                <a:lnTo>
                  <a:pt x="16" y="405"/>
                </a:lnTo>
                <a:lnTo>
                  <a:pt x="14" y="405"/>
                </a:lnTo>
                <a:lnTo>
                  <a:pt x="14" y="403"/>
                </a:lnTo>
                <a:lnTo>
                  <a:pt x="12" y="400"/>
                </a:lnTo>
                <a:lnTo>
                  <a:pt x="9" y="398"/>
                </a:lnTo>
                <a:lnTo>
                  <a:pt x="9" y="396"/>
                </a:lnTo>
                <a:lnTo>
                  <a:pt x="9" y="391"/>
                </a:lnTo>
                <a:lnTo>
                  <a:pt x="9" y="389"/>
                </a:lnTo>
                <a:lnTo>
                  <a:pt x="9" y="386"/>
                </a:lnTo>
                <a:lnTo>
                  <a:pt x="9" y="384"/>
                </a:lnTo>
                <a:lnTo>
                  <a:pt x="9" y="379"/>
                </a:lnTo>
                <a:lnTo>
                  <a:pt x="9" y="377"/>
                </a:lnTo>
                <a:lnTo>
                  <a:pt x="7" y="375"/>
                </a:lnTo>
                <a:lnTo>
                  <a:pt x="7" y="372"/>
                </a:lnTo>
                <a:lnTo>
                  <a:pt x="7" y="370"/>
                </a:lnTo>
                <a:lnTo>
                  <a:pt x="9" y="368"/>
                </a:lnTo>
                <a:lnTo>
                  <a:pt x="9" y="365"/>
                </a:lnTo>
                <a:lnTo>
                  <a:pt x="12" y="363"/>
                </a:lnTo>
                <a:lnTo>
                  <a:pt x="14" y="363"/>
                </a:lnTo>
                <a:lnTo>
                  <a:pt x="14" y="361"/>
                </a:lnTo>
                <a:lnTo>
                  <a:pt x="16" y="361"/>
                </a:lnTo>
                <a:lnTo>
                  <a:pt x="19" y="358"/>
                </a:lnTo>
                <a:lnTo>
                  <a:pt x="21" y="354"/>
                </a:lnTo>
                <a:lnTo>
                  <a:pt x="23" y="354"/>
                </a:lnTo>
                <a:lnTo>
                  <a:pt x="23" y="351"/>
                </a:lnTo>
                <a:lnTo>
                  <a:pt x="21" y="351"/>
                </a:lnTo>
                <a:lnTo>
                  <a:pt x="23" y="349"/>
                </a:lnTo>
                <a:lnTo>
                  <a:pt x="26" y="347"/>
                </a:lnTo>
                <a:lnTo>
                  <a:pt x="26" y="342"/>
                </a:lnTo>
                <a:lnTo>
                  <a:pt x="28" y="340"/>
                </a:lnTo>
                <a:lnTo>
                  <a:pt x="30" y="337"/>
                </a:lnTo>
                <a:lnTo>
                  <a:pt x="33" y="335"/>
                </a:lnTo>
                <a:lnTo>
                  <a:pt x="33" y="333"/>
                </a:lnTo>
                <a:lnTo>
                  <a:pt x="33" y="330"/>
                </a:lnTo>
                <a:lnTo>
                  <a:pt x="35" y="330"/>
                </a:lnTo>
                <a:lnTo>
                  <a:pt x="35" y="328"/>
                </a:lnTo>
                <a:lnTo>
                  <a:pt x="37" y="326"/>
                </a:lnTo>
                <a:lnTo>
                  <a:pt x="40" y="319"/>
                </a:lnTo>
                <a:lnTo>
                  <a:pt x="40" y="316"/>
                </a:lnTo>
                <a:lnTo>
                  <a:pt x="42" y="316"/>
                </a:lnTo>
                <a:lnTo>
                  <a:pt x="42" y="314"/>
                </a:lnTo>
                <a:lnTo>
                  <a:pt x="40" y="314"/>
                </a:lnTo>
                <a:lnTo>
                  <a:pt x="42" y="314"/>
                </a:lnTo>
                <a:lnTo>
                  <a:pt x="40" y="312"/>
                </a:lnTo>
                <a:lnTo>
                  <a:pt x="42" y="312"/>
                </a:lnTo>
                <a:lnTo>
                  <a:pt x="42" y="310"/>
                </a:lnTo>
                <a:lnTo>
                  <a:pt x="42" y="307"/>
                </a:lnTo>
                <a:lnTo>
                  <a:pt x="42" y="305"/>
                </a:lnTo>
                <a:lnTo>
                  <a:pt x="44" y="305"/>
                </a:lnTo>
                <a:lnTo>
                  <a:pt x="44" y="303"/>
                </a:lnTo>
                <a:lnTo>
                  <a:pt x="46" y="298"/>
                </a:lnTo>
                <a:lnTo>
                  <a:pt x="49" y="296"/>
                </a:lnTo>
                <a:lnTo>
                  <a:pt x="51" y="293"/>
                </a:lnTo>
                <a:lnTo>
                  <a:pt x="56" y="291"/>
                </a:lnTo>
                <a:lnTo>
                  <a:pt x="60" y="289"/>
                </a:lnTo>
                <a:lnTo>
                  <a:pt x="65" y="289"/>
                </a:lnTo>
                <a:lnTo>
                  <a:pt x="67" y="289"/>
                </a:lnTo>
                <a:lnTo>
                  <a:pt x="72" y="286"/>
                </a:lnTo>
                <a:lnTo>
                  <a:pt x="79" y="286"/>
                </a:lnTo>
                <a:lnTo>
                  <a:pt x="84" y="284"/>
                </a:lnTo>
                <a:lnTo>
                  <a:pt x="86" y="284"/>
                </a:lnTo>
                <a:lnTo>
                  <a:pt x="86" y="282"/>
                </a:lnTo>
                <a:lnTo>
                  <a:pt x="88" y="282"/>
                </a:lnTo>
                <a:lnTo>
                  <a:pt x="93" y="279"/>
                </a:lnTo>
                <a:lnTo>
                  <a:pt x="95" y="279"/>
                </a:lnTo>
                <a:lnTo>
                  <a:pt x="98" y="279"/>
                </a:lnTo>
                <a:lnTo>
                  <a:pt x="98" y="282"/>
                </a:lnTo>
                <a:lnTo>
                  <a:pt x="100" y="282"/>
                </a:lnTo>
                <a:lnTo>
                  <a:pt x="102" y="279"/>
                </a:lnTo>
                <a:lnTo>
                  <a:pt x="102" y="277"/>
                </a:lnTo>
                <a:lnTo>
                  <a:pt x="105" y="277"/>
                </a:lnTo>
                <a:lnTo>
                  <a:pt x="107" y="277"/>
                </a:lnTo>
                <a:lnTo>
                  <a:pt x="109" y="272"/>
                </a:lnTo>
                <a:lnTo>
                  <a:pt x="112" y="272"/>
                </a:lnTo>
                <a:lnTo>
                  <a:pt x="112" y="270"/>
                </a:lnTo>
                <a:lnTo>
                  <a:pt x="114" y="270"/>
                </a:lnTo>
                <a:lnTo>
                  <a:pt x="119" y="268"/>
                </a:lnTo>
                <a:lnTo>
                  <a:pt x="121" y="265"/>
                </a:lnTo>
                <a:lnTo>
                  <a:pt x="123" y="268"/>
                </a:lnTo>
                <a:lnTo>
                  <a:pt x="123" y="265"/>
                </a:lnTo>
                <a:lnTo>
                  <a:pt x="126" y="265"/>
                </a:lnTo>
                <a:lnTo>
                  <a:pt x="128" y="265"/>
                </a:lnTo>
                <a:lnTo>
                  <a:pt x="130" y="261"/>
                </a:lnTo>
                <a:lnTo>
                  <a:pt x="133" y="261"/>
                </a:lnTo>
                <a:lnTo>
                  <a:pt x="133" y="258"/>
                </a:lnTo>
                <a:lnTo>
                  <a:pt x="135" y="258"/>
                </a:lnTo>
                <a:lnTo>
                  <a:pt x="137" y="256"/>
                </a:lnTo>
                <a:lnTo>
                  <a:pt x="137" y="254"/>
                </a:lnTo>
                <a:lnTo>
                  <a:pt x="140" y="251"/>
                </a:lnTo>
                <a:lnTo>
                  <a:pt x="142" y="251"/>
                </a:lnTo>
                <a:lnTo>
                  <a:pt x="144" y="251"/>
                </a:lnTo>
                <a:lnTo>
                  <a:pt x="142" y="251"/>
                </a:lnTo>
                <a:lnTo>
                  <a:pt x="142" y="249"/>
                </a:lnTo>
                <a:lnTo>
                  <a:pt x="144" y="249"/>
                </a:lnTo>
                <a:lnTo>
                  <a:pt x="147" y="249"/>
                </a:lnTo>
                <a:lnTo>
                  <a:pt x="147" y="247"/>
                </a:lnTo>
                <a:lnTo>
                  <a:pt x="149" y="247"/>
                </a:lnTo>
                <a:lnTo>
                  <a:pt x="151" y="247"/>
                </a:lnTo>
                <a:lnTo>
                  <a:pt x="151" y="244"/>
                </a:lnTo>
                <a:lnTo>
                  <a:pt x="154" y="244"/>
                </a:lnTo>
                <a:lnTo>
                  <a:pt x="154" y="247"/>
                </a:lnTo>
                <a:lnTo>
                  <a:pt x="156" y="247"/>
                </a:lnTo>
                <a:lnTo>
                  <a:pt x="158" y="244"/>
                </a:lnTo>
                <a:lnTo>
                  <a:pt x="161" y="244"/>
                </a:lnTo>
                <a:lnTo>
                  <a:pt x="163" y="244"/>
                </a:lnTo>
                <a:lnTo>
                  <a:pt x="170" y="244"/>
                </a:lnTo>
                <a:lnTo>
                  <a:pt x="172" y="244"/>
                </a:lnTo>
                <a:lnTo>
                  <a:pt x="177" y="247"/>
                </a:lnTo>
                <a:lnTo>
                  <a:pt x="177" y="249"/>
                </a:lnTo>
                <a:lnTo>
                  <a:pt x="179" y="249"/>
                </a:lnTo>
                <a:lnTo>
                  <a:pt x="179" y="251"/>
                </a:lnTo>
                <a:lnTo>
                  <a:pt x="181" y="251"/>
                </a:lnTo>
                <a:lnTo>
                  <a:pt x="181" y="254"/>
                </a:lnTo>
                <a:lnTo>
                  <a:pt x="184" y="254"/>
                </a:lnTo>
                <a:lnTo>
                  <a:pt x="184" y="256"/>
                </a:lnTo>
                <a:lnTo>
                  <a:pt x="186" y="256"/>
                </a:lnTo>
                <a:lnTo>
                  <a:pt x="188" y="256"/>
                </a:lnTo>
                <a:lnTo>
                  <a:pt x="188" y="254"/>
                </a:lnTo>
                <a:lnTo>
                  <a:pt x="191" y="254"/>
                </a:lnTo>
                <a:lnTo>
                  <a:pt x="193" y="254"/>
                </a:lnTo>
                <a:lnTo>
                  <a:pt x="195" y="254"/>
                </a:lnTo>
                <a:lnTo>
                  <a:pt x="198" y="254"/>
                </a:lnTo>
                <a:lnTo>
                  <a:pt x="200" y="251"/>
                </a:lnTo>
                <a:lnTo>
                  <a:pt x="202" y="251"/>
                </a:lnTo>
                <a:lnTo>
                  <a:pt x="205" y="254"/>
                </a:lnTo>
                <a:lnTo>
                  <a:pt x="207" y="254"/>
                </a:lnTo>
                <a:lnTo>
                  <a:pt x="209" y="254"/>
                </a:lnTo>
                <a:lnTo>
                  <a:pt x="212" y="254"/>
                </a:lnTo>
                <a:lnTo>
                  <a:pt x="214" y="254"/>
                </a:lnTo>
                <a:lnTo>
                  <a:pt x="216" y="251"/>
                </a:lnTo>
                <a:lnTo>
                  <a:pt x="221" y="249"/>
                </a:lnTo>
                <a:lnTo>
                  <a:pt x="221" y="247"/>
                </a:lnTo>
                <a:lnTo>
                  <a:pt x="221" y="244"/>
                </a:lnTo>
                <a:lnTo>
                  <a:pt x="223" y="242"/>
                </a:lnTo>
                <a:lnTo>
                  <a:pt x="226" y="237"/>
                </a:lnTo>
                <a:lnTo>
                  <a:pt x="226" y="235"/>
                </a:lnTo>
                <a:lnTo>
                  <a:pt x="226" y="233"/>
                </a:lnTo>
                <a:lnTo>
                  <a:pt x="228" y="230"/>
                </a:lnTo>
                <a:lnTo>
                  <a:pt x="228" y="228"/>
                </a:lnTo>
                <a:lnTo>
                  <a:pt x="228" y="226"/>
                </a:lnTo>
                <a:lnTo>
                  <a:pt x="228" y="221"/>
                </a:lnTo>
                <a:lnTo>
                  <a:pt x="226" y="219"/>
                </a:lnTo>
                <a:lnTo>
                  <a:pt x="223" y="219"/>
                </a:lnTo>
                <a:lnTo>
                  <a:pt x="223" y="216"/>
                </a:lnTo>
                <a:lnTo>
                  <a:pt x="221" y="216"/>
                </a:lnTo>
                <a:lnTo>
                  <a:pt x="221" y="214"/>
                </a:lnTo>
                <a:lnTo>
                  <a:pt x="221" y="212"/>
                </a:lnTo>
                <a:lnTo>
                  <a:pt x="219" y="212"/>
                </a:lnTo>
                <a:lnTo>
                  <a:pt x="216" y="209"/>
                </a:lnTo>
                <a:lnTo>
                  <a:pt x="216" y="207"/>
                </a:lnTo>
                <a:lnTo>
                  <a:pt x="216" y="205"/>
                </a:lnTo>
                <a:lnTo>
                  <a:pt x="216" y="202"/>
                </a:lnTo>
                <a:lnTo>
                  <a:pt x="214" y="200"/>
                </a:lnTo>
                <a:lnTo>
                  <a:pt x="214" y="198"/>
                </a:lnTo>
                <a:lnTo>
                  <a:pt x="214" y="195"/>
                </a:lnTo>
                <a:lnTo>
                  <a:pt x="216" y="195"/>
                </a:lnTo>
                <a:lnTo>
                  <a:pt x="216" y="193"/>
                </a:lnTo>
                <a:lnTo>
                  <a:pt x="216" y="188"/>
                </a:lnTo>
                <a:lnTo>
                  <a:pt x="216" y="186"/>
                </a:lnTo>
                <a:lnTo>
                  <a:pt x="219" y="184"/>
                </a:lnTo>
                <a:lnTo>
                  <a:pt x="216" y="184"/>
                </a:lnTo>
                <a:lnTo>
                  <a:pt x="216" y="181"/>
                </a:lnTo>
                <a:lnTo>
                  <a:pt x="219" y="181"/>
                </a:lnTo>
                <a:lnTo>
                  <a:pt x="216" y="179"/>
                </a:lnTo>
                <a:lnTo>
                  <a:pt x="219" y="177"/>
                </a:lnTo>
                <a:lnTo>
                  <a:pt x="221" y="177"/>
                </a:lnTo>
                <a:lnTo>
                  <a:pt x="221" y="174"/>
                </a:lnTo>
                <a:lnTo>
                  <a:pt x="223" y="174"/>
                </a:lnTo>
                <a:lnTo>
                  <a:pt x="226" y="170"/>
                </a:lnTo>
                <a:lnTo>
                  <a:pt x="228" y="168"/>
                </a:lnTo>
                <a:lnTo>
                  <a:pt x="230" y="165"/>
                </a:lnTo>
                <a:lnTo>
                  <a:pt x="235" y="163"/>
                </a:lnTo>
                <a:lnTo>
                  <a:pt x="237" y="161"/>
                </a:lnTo>
                <a:lnTo>
                  <a:pt x="237" y="158"/>
                </a:lnTo>
                <a:lnTo>
                  <a:pt x="237" y="156"/>
                </a:lnTo>
                <a:lnTo>
                  <a:pt x="237" y="154"/>
                </a:lnTo>
                <a:lnTo>
                  <a:pt x="240" y="154"/>
                </a:lnTo>
                <a:lnTo>
                  <a:pt x="240" y="151"/>
                </a:lnTo>
                <a:lnTo>
                  <a:pt x="240" y="147"/>
                </a:lnTo>
                <a:lnTo>
                  <a:pt x="240" y="142"/>
                </a:lnTo>
                <a:lnTo>
                  <a:pt x="240" y="140"/>
                </a:lnTo>
                <a:lnTo>
                  <a:pt x="240" y="137"/>
                </a:lnTo>
                <a:lnTo>
                  <a:pt x="237" y="137"/>
                </a:lnTo>
                <a:lnTo>
                  <a:pt x="240" y="137"/>
                </a:lnTo>
                <a:lnTo>
                  <a:pt x="240" y="135"/>
                </a:lnTo>
                <a:lnTo>
                  <a:pt x="237" y="135"/>
                </a:lnTo>
                <a:lnTo>
                  <a:pt x="237" y="133"/>
                </a:lnTo>
                <a:lnTo>
                  <a:pt x="237" y="130"/>
                </a:lnTo>
                <a:lnTo>
                  <a:pt x="237" y="128"/>
                </a:lnTo>
                <a:lnTo>
                  <a:pt x="235" y="126"/>
                </a:lnTo>
                <a:lnTo>
                  <a:pt x="233" y="123"/>
                </a:lnTo>
                <a:lnTo>
                  <a:pt x="235" y="123"/>
                </a:lnTo>
                <a:lnTo>
                  <a:pt x="235" y="121"/>
                </a:lnTo>
                <a:lnTo>
                  <a:pt x="235" y="119"/>
                </a:lnTo>
                <a:lnTo>
                  <a:pt x="235" y="116"/>
                </a:lnTo>
                <a:lnTo>
                  <a:pt x="237" y="116"/>
                </a:lnTo>
                <a:lnTo>
                  <a:pt x="237" y="114"/>
                </a:lnTo>
                <a:lnTo>
                  <a:pt x="240" y="114"/>
                </a:lnTo>
                <a:lnTo>
                  <a:pt x="240" y="112"/>
                </a:lnTo>
                <a:lnTo>
                  <a:pt x="242" y="107"/>
                </a:lnTo>
                <a:lnTo>
                  <a:pt x="242" y="105"/>
                </a:lnTo>
                <a:lnTo>
                  <a:pt x="240" y="100"/>
                </a:lnTo>
                <a:lnTo>
                  <a:pt x="240" y="98"/>
                </a:lnTo>
                <a:lnTo>
                  <a:pt x="237" y="98"/>
                </a:lnTo>
                <a:lnTo>
                  <a:pt x="235" y="98"/>
                </a:lnTo>
                <a:lnTo>
                  <a:pt x="235" y="93"/>
                </a:lnTo>
                <a:lnTo>
                  <a:pt x="235" y="91"/>
                </a:lnTo>
                <a:lnTo>
                  <a:pt x="235" y="88"/>
                </a:lnTo>
                <a:lnTo>
                  <a:pt x="235" y="86"/>
                </a:lnTo>
                <a:lnTo>
                  <a:pt x="240" y="84"/>
                </a:lnTo>
                <a:lnTo>
                  <a:pt x="242" y="84"/>
                </a:lnTo>
                <a:lnTo>
                  <a:pt x="244" y="81"/>
                </a:lnTo>
                <a:lnTo>
                  <a:pt x="244" y="79"/>
                </a:lnTo>
                <a:lnTo>
                  <a:pt x="247" y="79"/>
                </a:lnTo>
                <a:lnTo>
                  <a:pt x="247" y="77"/>
                </a:lnTo>
                <a:lnTo>
                  <a:pt x="247" y="74"/>
                </a:lnTo>
                <a:lnTo>
                  <a:pt x="251" y="72"/>
                </a:lnTo>
                <a:lnTo>
                  <a:pt x="251" y="70"/>
                </a:lnTo>
                <a:lnTo>
                  <a:pt x="254" y="70"/>
                </a:lnTo>
                <a:lnTo>
                  <a:pt x="256" y="70"/>
                </a:lnTo>
                <a:lnTo>
                  <a:pt x="256" y="67"/>
                </a:lnTo>
                <a:lnTo>
                  <a:pt x="258" y="65"/>
                </a:lnTo>
                <a:lnTo>
                  <a:pt x="258" y="63"/>
                </a:lnTo>
                <a:lnTo>
                  <a:pt x="261" y="63"/>
                </a:lnTo>
                <a:lnTo>
                  <a:pt x="261" y="60"/>
                </a:lnTo>
                <a:lnTo>
                  <a:pt x="261" y="56"/>
                </a:lnTo>
                <a:lnTo>
                  <a:pt x="261" y="53"/>
                </a:lnTo>
                <a:lnTo>
                  <a:pt x="265" y="51"/>
                </a:lnTo>
                <a:lnTo>
                  <a:pt x="268" y="46"/>
                </a:lnTo>
                <a:lnTo>
                  <a:pt x="270" y="46"/>
                </a:lnTo>
                <a:lnTo>
                  <a:pt x="272" y="44"/>
                </a:lnTo>
                <a:lnTo>
                  <a:pt x="272" y="42"/>
                </a:lnTo>
                <a:lnTo>
                  <a:pt x="275" y="39"/>
                </a:lnTo>
                <a:lnTo>
                  <a:pt x="275" y="42"/>
                </a:lnTo>
                <a:lnTo>
                  <a:pt x="277" y="42"/>
                </a:lnTo>
                <a:lnTo>
                  <a:pt x="279" y="42"/>
                </a:lnTo>
                <a:lnTo>
                  <a:pt x="282" y="42"/>
                </a:lnTo>
                <a:lnTo>
                  <a:pt x="284" y="42"/>
                </a:lnTo>
                <a:lnTo>
                  <a:pt x="286" y="42"/>
                </a:lnTo>
                <a:lnTo>
                  <a:pt x="289" y="42"/>
                </a:lnTo>
                <a:lnTo>
                  <a:pt x="291" y="42"/>
                </a:lnTo>
                <a:lnTo>
                  <a:pt x="293" y="42"/>
                </a:lnTo>
                <a:lnTo>
                  <a:pt x="296" y="39"/>
                </a:lnTo>
                <a:lnTo>
                  <a:pt x="302" y="35"/>
                </a:lnTo>
                <a:lnTo>
                  <a:pt x="302" y="32"/>
                </a:lnTo>
                <a:lnTo>
                  <a:pt x="300" y="32"/>
                </a:lnTo>
                <a:lnTo>
                  <a:pt x="302" y="30"/>
                </a:lnTo>
                <a:lnTo>
                  <a:pt x="309" y="30"/>
                </a:lnTo>
                <a:lnTo>
                  <a:pt x="309" y="28"/>
                </a:lnTo>
                <a:lnTo>
                  <a:pt x="312" y="28"/>
                </a:lnTo>
                <a:lnTo>
                  <a:pt x="314" y="28"/>
                </a:lnTo>
                <a:lnTo>
                  <a:pt x="314" y="25"/>
                </a:lnTo>
                <a:lnTo>
                  <a:pt x="314" y="23"/>
                </a:lnTo>
                <a:lnTo>
                  <a:pt x="316" y="23"/>
                </a:lnTo>
                <a:lnTo>
                  <a:pt x="319" y="21"/>
                </a:lnTo>
                <a:lnTo>
                  <a:pt x="321" y="19"/>
                </a:lnTo>
                <a:lnTo>
                  <a:pt x="323" y="16"/>
                </a:lnTo>
                <a:lnTo>
                  <a:pt x="323" y="14"/>
                </a:lnTo>
                <a:lnTo>
                  <a:pt x="323" y="12"/>
                </a:lnTo>
                <a:lnTo>
                  <a:pt x="321" y="9"/>
                </a:lnTo>
                <a:lnTo>
                  <a:pt x="321" y="7"/>
                </a:lnTo>
                <a:lnTo>
                  <a:pt x="321" y="5"/>
                </a:lnTo>
                <a:lnTo>
                  <a:pt x="323" y="5"/>
                </a:lnTo>
                <a:lnTo>
                  <a:pt x="323" y="2"/>
                </a:lnTo>
                <a:lnTo>
                  <a:pt x="323" y="0"/>
                </a:lnTo>
                <a:lnTo>
                  <a:pt x="326" y="0"/>
                </a:lnTo>
                <a:lnTo>
                  <a:pt x="328" y="2"/>
                </a:lnTo>
                <a:lnTo>
                  <a:pt x="333" y="7"/>
                </a:lnTo>
                <a:lnTo>
                  <a:pt x="335" y="7"/>
                </a:lnTo>
                <a:lnTo>
                  <a:pt x="335" y="9"/>
                </a:lnTo>
                <a:lnTo>
                  <a:pt x="335" y="7"/>
                </a:lnTo>
                <a:lnTo>
                  <a:pt x="333" y="7"/>
                </a:lnTo>
                <a:lnTo>
                  <a:pt x="335" y="9"/>
                </a:lnTo>
                <a:lnTo>
                  <a:pt x="333" y="9"/>
                </a:lnTo>
                <a:lnTo>
                  <a:pt x="333" y="7"/>
                </a:lnTo>
                <a:lnTo>
                  <a:pt x="333" y="9"/>
                </a:lnTo>
                <a:lnTo>
                  <a:pt x="335" y="9"/>
                </a:lnTo>
                <a:lnTo>
                  <a:pt x="337" y="9"/>
                </a:lnTo>
                <a:lnTo>
                  <a:pt x="337" y="12"/>
                </a:lnTo>
                <a:lnTo>
                  <a:pt x="340" y="12"/>
                </a:lnTo>
                <a:lnTo>
                  <a:pt x="344" y="12"/>
                </a:lnTo>
                <a:lnTo>
                  <a:pt x="347" y="12"/>
                </a:lnTo>
                <a:lnTo>
                  <a:pt x="349" y="12"/>
                </a:lnTo>
                <a:lnTo>
                  <a:pt x="349" y="14"/>
                </a:lnTo>
                <a:lnTo>
                  <a:pt x="349" y="16"/>
                </a:lnTo>
                <a:lnTo>
                  <a:pt x="349" y="14"/>
                </a:lnTo>
                <a:lnTo>
                  <a:pt x="351" y="14"/>
                </a:lnTo>
                <a:lnTo>
                  <a:pt x="356" y="14"/>
                </a:lnTo>
                <a:lnTo>
                  <a:pt x="356" y="16"/>
                </a:lnTo>
                <a:lnTo>
                  <a:pt x="356" y="19"/>
                </a:lnTo>
                <a:lnTo>
                  <a:pt x="358" y="19"/>
                </a:lnTo>
                <a:lnTo>
                  <a:pt x="361" y="19"/>
                </a:lnTo>
                <a:lnTo>
                  <a:pt x="361" y="21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6" name="Freeform 23">
            <a:extLst>
              <a:ext uri="{FF2B5EF4-FFF2-40B4-BE49-F238E27FC236}">
                <a16:creationId xmlns:a16="http://schemas.microsoft.com/office/drawing/2014/main" id="{5860050A-B291-C11E-7412-C1EAD433667B}"/>
              </a:ext>
            </a:extLst>
          </p:cNvPr>
          <p:cNvSpPr>
            <a:spLocks/>
          </p:cNvSpPr>
          <p:nvPr/>
        </p:nvSpPr>
        <p:spPr bwMode="auto">
          <a:xfrm>
            <a:off x="4226573" y="3871633"/>
            <a:ext cx="235650" cy="133835"/>
          </a:xfrm>
          <a:custGeom>
            <a:avLst/>
            <a:gdLst>
              <a:gd name="T0" fmla="*/ 188 w 200"/>
              <a:gd name="T1" fmla="*/ 47 h 119"/>
              <a:gd name="T2" fmla="*/ 177 w 200"/>
              <a:gd name="T3" fmla="*/ 56 h 119"/>
              <a:gd name="T4" fmla="*/ 168 w 200"/>
              <a:gd name="T5" fmla="*/ 65 h 119"/>
              <a:gd name="T6" fmla="*/ 158 w 200"/>
              <a:gd name="T7" fmla="*/ 75 h 119"/>
              <a:gd name="T8" fmla="*/ 154 w 200"/>
              <a:gd name="T9" fmla="*/ 75 h 119"/>
              <a:gd name="T10" fmla="*/ 154 w 200"/>
              <a:gd name="T11" fmla="*/ 70 h 119"/>
              <a:gd name="T12" fmla="*/ 151 w 200"/>
              <a:gd name="T13" fmla="*/ 70 h 119"/>
              <a:gd name="T14" fmla="*/ 151 w 200"/>
              <a:gd name="T15" fmla="*/ 75 h 119"/>
              <a:gd name="T16" fmla="*/ 147 w 200"/>
              <a:gd name="T17" fmla="*/ 75 h 119"/>
              <a:gd name="T18" fmla="*/ 142 w 200"/>
              <a:gd name="T19" fmla="*/ 68 h 119"/>
              <a:gd name="T20" fmla="*/ 144 w 200"/>
              <a:gd name="T21" fmla="*/ 72 h 119"/>
              <a:gd name="T22" fmla="*/ 147 w 200"/>
              <a:gd name="T23" fmla="*/ 77 h 119"/>
              <a:gd name="T24" fmla="*/ 149 w 200"/>
              <a:gd name="T25" fmla="*/ 77 h 119"/>
              <a:gd name="T26" fmla="*/ 137 w 200"/>
              <a:gd name="T27" fmla="*/ 91 h 119"/>
              <a:gd name="T28" fmla="*/ 130 w 200"/>
              <a:gd name="T29" fmla="*/ 96 h 119"/>
              <a:gd name="T30" fmla="*/ 114 w 200"/>
              <a:gd name="T31" fmla="*/ 107 h 119"/>
              <a:gd name="T32" fmla="*/ 112 w 200"/>
              <a:gd name="T33" fmla="*/ 112 h 119"/>
              <a:gd name="T34" fmla="*/ 102 w 200"/>
              <a:gd name="T35" fmla="*/ 114 h 119"/>
              <a:gd name="T36" fmla="*/ 95 w 200"/>
              <a:gd name="T37" fmla="*/ 110 h 119"/>
              <a:gd name="T38" fmla="*/ 93 w 200"/>
              <a:gd name="T39" fmla="*/ 103 h 119"/>
              <a:gd name="T40" fmla="*/ 88 w 200"/>
              <a:gd name="T41" fmla="*/ 103 h 119"/>
              <a:gd name="T42" fmla="*/ 79 w 200"/>
              <a:gd name="T43" fmla="*/ 98 h 119"/>
              <a:gd name="T44" fmla="*/ 77 w 200"/>
              <a:gd name="T45" fmla="*/ 91 h 119"/>
              <a:gd name="T46" fmla="*/ 74 w 200"/>
              <a:gd name="T47" fmla="*/ 82 h 119"/>
              <a:gd name="T48" fmla="*/ 70 w 200"/>
              <a:gd name="T49" fmla="*/ 79 h 119"/>
              <a:gd name="T50" fmla="*/ 60 w 200"/>
              <a:gd name="T51" fmla="*/ 72 h 119"/>
              <a:gd name="T52" fmla="*/ 58 w 200"/>
              <a:gd name="T53" fmla="*/ 70 h 119"/>
              <a:gd name="T54" fmla="*/ 47 w 200"/>
              <a:gd name="T55" fmla="*/ 61 h 119"/>
              <a:gd name="T56" fmla="*/ 40 w 200"/>
              <a:gd name="T57" fmla="*/ 58 h 119"/>
              <a:gd name="T58" fmla="*/ 26 w 200"/>
              <a:gd name="T59" fmla="*/ 49 h 119"/>
              <a:gd name="T60" fmla="*/ 21 w 200"/>
              <a:gd name="T61" fmla="*/ 44 h 119"/>
              <a:gd name="T62" fmla="*/ 12 w 200"/>
              <a:gd name="T63" fmla="*/ 40 h 119"/>
              <a:gd name="T64" fmla="*/ 7 w 200"/>
              <a:gd name="T65" fmla="*/ 35 h 119"/>
              <a:gd name="T66" fmla="*/ 2 w 200"/>
              <a:gd name="T67" fmla="*/ 33 h 119"/>
              <a:gd name="T68" fmla="*/ 0 w 200"/>
              <a:gd name="T69" fmla="*/ 26 h 119"/>
              <a:gd name="T70" fmla="*/ 9 w 200"/>
              <a:gd name="T71" fmla="*/ 19 h 119"/>
              <a:gd name="T72" fmla="*/ 21 w 200"/>
              <a:gd name="T73" fmla="*/ 14 h 119"/>
              <a:gd name="T74" fmla="*/ 30 w 200"/>
              <a:gd name="T75" fmla="*/ 7 h 119"/>
              <a:gd name="T76" fmla="*/ 30 w 200"/>
              <a:gd name="T77" fmla="*/ 3 h 119"/>
              <a:gd name="T78" fmla="*/ 35 w 200"/>
              <a:gd name="T79" fmla="*/ 0 h 119"/>
              <a:gd name="T80" fmla="*/ 37 w 200"/>
              <a:gd name="T81" fmla="*/ 5 h 119"/>
              <a:gd name="T82" fmla="*/ 40 w 200"/>
              <a:gd name="T83" fmla="*/ 10 h 119"/>
              <a:gd name="T84" fmla="*/ 44 w 200"/>
              <a:gd name="T85" fmla="*/ 10 h 119"/>
              <a:gd name="T86" fmla="*/ 51 w 200"/>
              <a:gd name="T87" fmla="*/ 10 h 119"/>
              <a:gd name="T88" fmla="*/ 54 w 200"/>
              <a:gd name="T89" fmla="*/ 14 h 119"/>
              <a:gd name="T90" fmla="*/ 74 w 200"/>
              <a:gd name="T91" fmla="*/ 35 h 119"/>
              <a:gd name="T92" fmla="*/ 81 w 200"/>
              <a:gd name="T93" fmla="*/ 42 h 119"/>
              <a:gd name="T94" fmla="*/ 100 w 200"/>
              <a:gd name="T95" fmla="*/ 40 h 119"/>
              <a:gd name="T96" fmla="*/ 105 w 200"/>
              <a:gd name="T97" fmla="*/ 40 h 119"/>
              <a:gd name="T98" fmla="*/ 114 w 200"/>
              <a:gd name="T99" fmla="*/ 37 h 119"/>
              <a:gd name="T100" fmla="*/ 128 w 200"/>
              <a:gd name="T101" fmla="*/ 33 h 119"/>
              <a:gd name="T102" fmla="*/ 137 w 200"/>
              <a:gd name="T103" fmla="*/ 28 h 119"/>
              <a:gd name="T104" fmla="*/ 137 w 200"/>
              <a:gd name="T105" fmla="*/ 26 h 119"/>
              <a:gd name="T106" fmla="*/ 147 w 200"/>
              <a:gd name="T107" fmla="*/ 21 h 119"/>
              <a:gd name="T108" fmla="*/ 149 w 200"/>
              <a:gd name="T109" fmla="*/ 23 h 119"/>
              <a:gd name="T110" fmla="*/ 161 w 200"/>
              <a:gd name="T111" fmla="*/ 21 h 119"/>
              <a:gd name="T112" fmla="*/ 161 w 200"/>
              <a:gd name="T113" fmla="*/ 26 h 119"/>
              <a:gd name="T114" fmla="*/ 170 w 200"/>
              <a:gd name="T115" fmla="*/ 23 h 119"/>
              <a:gd name="T116" fmla="*/ 182 w 200"/>
              <a:gd name="T117" fmla="*/ 23 h 119"/>
              <a:gd name="T118" fmla="*/ 184 w 200"/>
              <a:gd name="T119" fmla="*/ 26 h 119"/>
              <a:gd name="T120" fmla="*/ 200 w 200"/>
              <a:gd name="T121" fmla="*/ 30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0" h="119">
                <a:moveTo>
                  <a:pt x="200" y="33"/>
                </a:moveTo>
                <a:lnTo>
                  <a:pt x="198" y="37"/>
                </a:lnTo>
                <a:lnTo>
                  <a:pt x="193" y="40"/>
                </a:lnTo>
                <a:lnTo>
                  <a:pt x="191" y="44"/>
                </a:lnTo>
                <a:lnTo>
                  <a:pt x="188" y="47"/>
                </a:lnTo>
                <a:lnTo>
                  <a:pt x="186" y="49"/>
                </a:lnTo>
                <a:lnTo>
                  <a:pt x="182" y="54"/>
                </a:lnTo>
                <a:lnTo>
                  <a:pt x="179" y="56"/>
                </a:lnTo>
                <a:lnTo>
                  <a:pt x="179" y="56"/>
                </a:lnTo>
                <a:lnTo>
                  <a:pt x="177" y="56"/>
                </a:lnTo>
                <a:lnTo>
                  <a:pt x="175" y="56"/>
                </a:lnTo>
                <a:lnTo>
                  <a:pt x="175" y="58"/>
                </a:lnTo>
                <a:lnTo>
                  <a:pt x="175" y="58"/>
                </a:lnTo>
                <a:lnTo>
                  <a:pt x="172" y="61"/>
                </a:lnTo>
                <a:lnTo>
                  <a:pt x="168" y="65"/>
                </a:lnTo>
                <a:lnTo>
                  <a:pt x="165" y="68"/>
                </a:lnTo>
                <a:lnTo>
                  <a:pt x="163" y="68"/>
                </a:lnTo>
                <a:lnTo>
                  <a:pt x="161" y="70"/>
                </a:lnTo>
                <a:lnTo>
                  <a:pt x="158" y="70"/>
                </a:lnTo>
                <a:lnTo>
                  <a:pt x="158" y="75"/>
                </a:lnTo>
                <a:lnTo>
                  <a:pt x="156" y="75"/>
                </a:lnTo>
                <a:lnTo>
                  <a:pt x="156" y="75"/>
                </a:lnTo>
                <a:lnTo>
                  <a:pt x="154" y="75"/>
                </a:lnTo>
                <a:lnTo>
                  <a:pt x="154" y="75"/>
                </a:lnTo>
                <a:lnTo>
                  <a:pt x="154" y="75"/>
                </a:lnTo>
                <a:lnTo>
                  <a:pt x="151" y="75"/>
                </a:lnTo>
                <a:lnTo>
                  <a:pt x="154" y="75"/>
                </a:lnTo>
                <a:lnTo>
                  <a:pt x="154" y="72"/>
                </a:lnTo>
                <a:lnTo>
                  <a:pt x="154" y="72"/>
                </a:lnTo>
                <a:lnTo>
                  <a:pt x="154" y="70"/>
                </a:lnTo>
                <a:lnTo>
                  <a:pt x="154" y="70"/>
                </a:lnTo>
                <a:lnTo>
                  <a:pt x="154" y="68"/>
                </a:lnTo>
                <a:lnTo>
                  <a:pt x="151" y="68"/>
                </a:lnTo>
                <a:lnTo>
                  <a:pt x="151" y="68"/>
                </a:lnTo>
                <a:lnTo>
                  <a:pt x="151" y="70"/>
                </a:lnTo>
                <a:lnTo>
                  <a:pt x="151" y="70"/>
                </a:lnTo>
                <a:lnTo>
                  <a:pt x="151" y="72"/>
                </a:lnTo>
                <a:lnTo>
                  <a:pt x="151" y="72"/>
                </a:lnTo>
                <a:lnTo>
                  <a:pt x="151" y="75"/>
                </a:lnTo>
                <a:lnTo>
                  <a:pt x="151" y="75"/>
                </a:lnTo>
                <a:lnTo>
                  <a:pt x="149" y="75"/>
                </a:lnTo>
                <a:lnTo>
                  <a:pt x="147" y="77"/>
                </a:lnTo>
                <a:lnTo>
                  <a:pt x="147" y="77"/>
                </a:lnTo>
                <a:lnTo>
                  <a:pt x="147" y="75"/>
                </a:lnTo>
                <a:lnTo>
                  <a:pt x="147" y="75"/>
                </a:lnTo>
                <a:lnTo>
                  <a:pt x="147" y="72"/>
                </a:lnTo>
                <a:lnTo>
                  <a:pt x="144" y="70"/>
                </a:lnTo>
                <a:lnTo>
                  <a:pt x="144" y="70"/>
                </a:lnTo>
                <a:lnTo>
                  <a:pt x="144" y="68"/>
                </a:lnTo>
                <a:lnTo>
                  <a:pt x="142" y="68"/>
                </a:lnTo>
                <a:lnTo>
                  <a:pt x="142" y="68"/>
                </a:lnTo>
                <a:lnTo>
                  <a:pt x="142" y="70"/>
                </a:lnTo>
                <a:lnTo>
                  <a:pt x="144" y="70"/>
                </a:lnTo>
                <a:lnTo>
                  <a:pt x="144" y="72"/>
                </a:lnTo>
                <a:lnTo>
                  <a:pt x="144" y="72"/>
                </a:lnTo>
                <a:lnTo>
                  <a:pt x="144" y="77"/>
                </a:lnTo>
                <a:lnTo>
                  <a:pt x="144" y="77"/>
                </a:lnTo>
                <a:lnTo>
                  <a:pt x="147" y="79"/>
                </a:lnTo>
                <a:lnTo>
                  <a:pt x="147" y="77"/>
                </a:lnTo>
                <a:lnTo>
                  <a:pt x="147" y="77"/>
                </a:lnTo>
                <a:lnTo>
                  <a:pt x="147" y="77"/>
                </a:lnTo>
                <a:lnTo>
                  <a:pt x="149" y="77"/>
                </a:lnTo>
                <a:lnTo>
                  <a:pt x="149" y="77"/>
                </a:lnTo>
                <a:lnTo>
                  <a:pt x="151" y="77"/>
                </a:lnTo>
                <a:lnTo>
                  <a:pt x="149" y="77"/>
                </a:lnTo>
                <a:lnTo>
                  <a:pt x="144" y="79"/>
                </a:lnTo>
                <a:lnTo>
                  <a:pt x="144" y="84"/>
                </a:lnTo>
                <a:lnTo>
                  <a:pt x="142" y="86"/>
                </a:lnTo>
                <a:lnTo>
                  <a:pt x="140" y="86"/>
                </a:lnTo>
                <a:lnTo>
                  <a:pt x="137" y="91"/>
                </a:lnTo>
                <a:lnTo>
                  <a:pt x="135" y="91"/>
                </a:lnTo>
                <a:lnTo>
                  <a:pt x="135" y="91"/>
                </a:lnTo>
                <a:lnTo>
                  <a:pt x="135" y="91"/>
                </a:lnTo>
                <a:lnTo>
                  <a:pt x="130" y="96"/>
                </a:lnTo>
                <a:lnTo>
                  <a:pt x="130" y="96"/>
                </a:lnTo>
                <a:lnTo>
                  <a:pt x="128" y="98"/>
                </a:lnTo>
                <a:lnTo>
                  <a:pt x="123" y="100"/>
                </a:lnTo>
                <a:lnTo>
                  <a:pt x="116" y="105"/>
                </a:lnTo>
                <a:lnTo>
                  <a:pt x="114" y="107"/>
                </a:lnTo>
                <a:lnTo>
                  <a:pt x="114" y="107"/>
                </a:lnTo>
                <a:lnTo>
                  <a:pt x="112" y="110"/>
                </a:lnTo>
                <a:lnTo>
                  <a:pt x="112" y="110"/>
                </a:lnTo>
                <a:lnTo>
                  <a:pt x="112" y="110"/>
                </a:lnTo>
                <a:lnTo>
                  <a:pt x="112" y="112"/>
                </a:lnTo>
                <a:lnTo>
                  <a:pt x="112" y="112"/>
                </a:lnTo>
                <a:lnTo>
                  <a:pt x="102" y="119"/>
                </a:lnTo>
                <a:lnTo>
                  <a:pt x="102" y="119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0" y="112"/>
                </a:lnTo>
                <a:lnTo>
                  <a:pt x="98" y="114"/>
                </a:lnTo>
                <a:lnTo>
                  <a:pt x="95" y="112"/>
                </a:lnTo>
                <a:lnTo>
                  <a:pt x="95" y="112"/>
                </a:lnTo>
                <a:lnTo>
                  <a:pt x="95" y="110"/>
                </a:lnTo>
                <a:lnTo>
                  <a:pt x="95" y="110"/>
                </a:lnTo>
                <a:lnTo>
                  <a:pt x="95" y="107"/>
                </a:lnTo>
                <a:lnTo>
                  <a:pt x="95" y="105"/>
                </a:lnTo>
                <a:lnTo>
                  <a:pt x="95" y="105"/>
                </a:lnTo>
                <a:lnTo>
                  <a:pt x="93" y="103"/>
                </a:lnTo>
                <a:lnTo>
                  <a:pt x="91" y="100"/>
                </a:lnTo>
                <a:lnTo>
                  <a:pt x="91" y="100"/>
                </a:lnTo>
                <a:lnTo>
                  <a:pt x="88" y="103"/>
                </a:lnTo>
                <a:lnTo>
                  <a:pt x="88" y="103"/>
                </a:lnTo>
                <a:lnTo>
                  <a:pt x="88" y="103"/>
                </a:lnTo>
                <a:lnTo>
                  <a:pt x="86" y="100"/>
                </a:lnTo>
                <a:lnTo>
                  <a:pt x="84" y="98"/>
                </a:lnTo>
                <a:lnTo>
                  <a:pt x="84" y="98"/>
                </a:lnTo>
                <a:lnTo>
                  <a:pt x="81" y="98"/>
                </a:lnTo>
                <a:lnTo>
                  <a:pt x="79" y="98"/>
                </a:lnTo>
                <a:lnTo>
                  <a:pt x="79" y="96"/>
                </a:lnTo>
                <a:lnTo>
                  <a:pt x="79" y="96"/>
                </a:lnTo>
                <a:lnTo>
                  <a:pt x="79" y="93"/>
                </a:lnTo>
                <a:lnTo>
                  <a:pt x="79" y="93"/>
                </a:lnTo>
                <a:lnTo>
                  <a:pt x="77" y="91"/>
                </a:lnTo>
                <a:lnTo>
                  <a:pt x="74" y="91"/>
                </a:lnTo>
                <a:lnTo>
                  <a:pt x="74" y="89"/>
                </a:lnTo>
                <a:lnTo>
                  <a:pt x="74" y="89"/>
                </a:lnTo>
                <a:lnTo>
                  <a:pt x="74" y="84"/>
                </a:lnTo>
                <a:lnTo>
                  <a:pt x="74" y="82"/>
                </a:lnTo>
                <a:lnTo>
                  <a:pt x="74" y="79"/>
                </a:lnTo>
                <a:lnTo>
                  <a:pt x="72" y="79"/>
                </a:lnTo>
                <a:lnTo>
                  <a:pt x="72" y="79"/>
                </a:lnTo>
                <a:lnTo>
                  <a:pt x="70" y="79"/>
                </a:lnTo>
                <a:lnTo>
                  <a:pt x="70" y="79"/>
                </a:lnTo>
                <a:lnTo>
                  <a:pt x="67" y="79"/>
                </a:lnTo>
                <a:lnTo>
                  <a:pt x="65" y="75"/>
                </a:lnTo>
                <a:lnTo>
                  <a:pt x="63" y="75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8" y="72"/>
                </a:lnTo>
                <a:lnTo>
                  <a:pt x="58" y="72"/>
                </a:lnTo>
                <a:lnTo>
                  <a:pt x="58" y="72"/>
                </a:lnTo>
                <a:lnTo>
                  <a:pt x="58" y="70"/>
                </a:lnTo>
                <a:lnTo>
                  <a:pt x="58" y="70"/>
                </a:lnTo>
                <a:lnTo>
                  <a:pt x="54" y="65"/>
                </a:lnTo>
                <a:lnTo>
                  <a:pt x="54" y="65"/>
                </a:lnTo>
                <a:lnTo>
                  <a:pt x="51" y="63"/>
                </a:lnTo>
                <a:lnTo>
                  <a:pt x="47" y="61"/>
                </a:lnTo>
                <a:lnTo>
                  <a:pt x="44" y="61"/>
                </a:lnTo>
                <a:lnTo>
                  <a:pt x="42" y="61"/>
                </a:lnTo>
                <a:lnTo>
                  <a:pt x="42" y="61"/>
                </a:lnTo>
                <a:lnTo>
                  <a:pt x="40" y="58"/>
                </a:lnTo>
                <a:lnTo>
                  <a:pt x="40" y="58"/>
                </a:lnTo>
                <a:lnTo>
                  <a:pt x="35" y="56"/>
                </a:lnTo>
                <a:lnTo>
                  <a:pt x="33" y="54"/>
                </a:lnTo>
                <a:lnTo>
                  <a:pt x="33" y="51"/>
                </a:lnTo>
                <a:lnTo>
                  <a:pt x="30" y="51"/>
                </a:lnTo>
                <a:lnTo>
                  <a:pt x="26" y="49"/>
                </a:lnTo>
                <a:lnTo>
                  <a:pt x="26" y="51"/>
                </a:lnTo>
                <a:lnTo>
                  <a:pt x="26" y="49"/>
                </a:lnTo>
                <a:lnTo>
                  <a:pt x="23" y="47"/>
                </a:lnTo>
                <a:lnTo>
                  <a:pt x="21" y="47"/>
                </a:lnTo>
                <a:lnTo>
                  <a:pt x="21" y="44"/>
                </a:lnTo>
                <a:lnTo>
                  <a:pt x="19" y="44"/>
                </a:lnTo>
                <a:lnTo>
                  <a:pt x="14" y="42"/>
                </a:lnTo>
                <a:lnTo>
                  <a:pt x="14" y="42"/>
                </a:lnTo>
                <a:lnTo>
                  <a:pt x="12" y="40"/>
                </a:lnTo>
                <a:lnTo>
                  <a:pt x="12" y="40"/>
                </a:lnTo>
                <a:lnTo>
                  <a:pt x="12" y="37"/>
                </a:lnTo>
                <a:lnTo>
                  <a:pt x="12" y="37"/>
                </a:lnTo>
                <a:lnTo>
                  <a:pt x="9" y="35"/>
                </a:lnTo>
                <a:lnTo>
                  <a:pt x="9" y="35"/>
                </a:lnTo>
                <a:lnTo>
                  <a:pt x="7" y="35"/>
                </a:lnTo>
                <a:lnTo>
                  <a:pt x="7" y="35"/>
                </a:lnTo>
                <a:lnTo>
                  <a:pt x="5" y="33"/>
                </a:lnTo>
                <a:lnTo>
                  <a:pt x="2" y="33"/>
                </a:lnTo>
                <a:lnTo>
                  <a:pt x="2" y="33"/>
                </a:lnTo>
                <a:lnTo>
                  <a:pt x="2" y="33"/>
                </a:lnTo>
                <a:lnTo>
                  <a:pt x="2" y="33"/>
                </a:lnTo>
                <a:lnTo>
                  <a:pt x="2" y="30"/>
                </a:lnTo>
                <a:lnTo>
                  <a:pt x="2" y="30"/>
                </a:lnTo>
                <a:lnTo>
                  <a:pt x="2" y="30"/>
                </a:lnTo>
                <a:lnTo>
                  <a:pt x="0" y="26"/>
                </a:lnTo>
                <a:lnTo>
                  <a:pt x="2" y="26"/>
                </a:lnTo>
                <a:lnTo>
                  <a:pt x="7" y="23"/>
                </a:lnTo>
                <a:lnTo>
                  <a:pt x="7" y="21"/>
                </a:lnTo>
                <a:lnTo>
                  <a:pt x="9" y="19"/>
                </a:lnTo>
                <a:lnTo>
                  <a:pt x="9" y="19"/>
                </a:lnTo>
                <a:lnTo>
                  <a:pt x="12" y="19"/>
                </a:lnTo>
                <a:lnTo>
                  <a:pt x="14" y="19"/>
                </a:lnTo>
                <a:lnTo>
                  <a:pt x="16" y="17"/>
                </a:lnTo>
                <a:lnTo>
                  <a:pt x="19" y="17"/>
                </a:lnTo>
                <a:lnTo>
                  <a:pt x="21" y="14"/>
                </a:lnTo>
                <a:lnTo>
                  <a:pt x="23" y="12"/>
                </a:lnTo>
                <a:lnTo>
                  <a:pt x="28" y="12"/>
                </a:lnTo>
                <a:lnTo>
                  <a:pt x="28" y="10"/>
                </a:lnTo>
                <a:lnTo>
                  <a:pt x="30" y="10"/>
                </a:lnTo>
                <a:lnTo>
                  <a:pt x="30" y="7"/>
                </a:lnTo>
                <a:lnTo>
                  <a:pt x="30" y="7"/>
                </a:lnTo>
                <a:lnTo>
                  <a:pt x="30" y="7"/>
                </a:lnTo>
                <a:lnTo>
                  <a:pt x="30" y="5"/>
                </a:lnTo>
                <a:lnTo>
                  <a:pt x="30" y="5"/>
                </a:lnTo>
                <a:lnTo>
                  <a:pt x="30" y="3"/>
                </a:lnTo>
                <a:lnTo>
                  <a:pt x="33" y="3"/>
                </a:lnTo>
                <a:lnTo>
                  <a:pt x="33" y="3"/>
                </a:lnTo>
                <a:lnTo>
                  <a:pt x="35" y="0"/>
                </a:lnTo>
                <a:lnTo>
                  <a:pt x="35" y="0"/>
                </a:lnTo>
                <a:lnTo>
                  <a:pt x="35" y="0"/>
                </a:lnTo>
                <a:lnTo>
                  <a:pt x="37" y="3"/>
                </a:lnTo>
                <a:lnTo>
                  <a:pt x="37" y="3"/>
                </a:lnTo>
                <a:lnTo>
                  <a:pt x="37" y="3"/>
                </a:lnTo>
                <a:lnTo>
                  <a:pt x="37" y="5"/>
                </a:lnTo>
                <a:lnTo>
                  <a:pt x="37" y="5"/>
                </a:lnTo>
                <a:lnTo>
                  <a:pt x="37" y="7"/>
                </a:lnTo>
                <a:lnTo>
                  <a:pt x="37" y="7"/>
                </a:lnTo>
                <a:lnTo>
                  <a:pt x="37" y="7"/>
                </a:lnTo>
                <a:lnTo>
                  <a:pt x="40" y="10"/>
                </a:lnTo>
                <a:lnTo>
                  <a:pt x="40" y="10"/>
                </a:lnTo>
                <a:lnTo>
                  <a:pt x="40" y="10"/>
                </a:lnTo>
                <a:lnTo>
                  <a:pt x="40" y="10"/>
                </a:lnTo>
                <a:lnTo>
                  <a:pt x="42" y="10"/>
                </a:lnTo>
                <a:lnTo>
                  <a:pt x="42" y="10"/>
                </a:lnTo>
                <a:lnTo>
                  <a:pt x="44" y="10"/>
                </a:lnTo>
                <a:lnTo>
                  <a:pt x="47" y="7"/>
                </a:lnTo>
                <a:lnTo>
                  <a:pt x="47" y="7"/>
                </a:lnTo>
                <a:lnTo>
                  <a:pt x="49" y="7"/>
                </a:lnTo>
                <a:lnTo>
                  <a:pt x="49" y="10"/>
                </a:lnTo>
                <a:lnTo>
                  <a:pt x="51" y="10"/>
                </a:lnTo>
                <a:lnTo>
                  <a:pt x="51" y="12"/>
                </a:lnTo>
                <a:lnTo>
                  <a:pt x="51" y="12"/>
                </a:lnTo>
                <a:lnTo>
                  <a:pt x="51" y="14"/>
                </a:lnTo>
                <a:lnTo>
                  <a:pt x="54" y="14"/>
                </a:lnTo>
                <a:lnTo>
                  <a:pt x="54" y="14"/>
                </a:lnTo>
                <a:lnTo>
                  <a:pt x="56" y="17"/>
                </a:lnTo>
                <a:lnTo>
                  <a:pt x="67" y="30"/>
                </a:lnTo>
                <a:lnTo>
                  <a:pt x="72" y="33"/>
                </a:lnTo>
                <a:lnTo>
                  <a:pt x="72" y="35"/>
                </a:lnTo>
                <a:lnTo>
                  <a:pt x="74" y="35"/>
                </a:lnTo>
                <a:lnTo>
                  <a:pt x="77" y="35"/>
                </a:lnTo>
                <a:lnTo>
                  <a:pt x="79" y="37"/>
                </a:lnTo>
                <a:lnTo>
                  <a:pt x="81" y="40"/>
                </a:lnTo>
                <a:lnTo>
                  <a:pt x="81" y="40"/>
                </a:lnTo>
                <a:lnTo>
                  <a:pt x="81" y="42"/>
                </a:lnTo>
                <a:lnTo>
                  <a:pt x="86" y="37"/>
                </a:lnTo>
                <a:lnTo>
                  <a:pt x="86" y="35"/>
                </a:lnTo>
                <a:lnTo>
                  <a:pt x="88" y="35"/>
                </a:lnTo>
                <a:lnTo>
                  <a:pt x="91" y="35"/>
                </a:lnTo>
                <a:lnTo>
                  <a:pt x="100" y="40"/>
                </a:lnTo>
                <a:lnTo>
                  <a:pt x="102" y="40"/>
                </a:lnTo>
                <a:lnTo>
                  <a:pt x="102" y="40"/>
                </a:lnTo>
                <a:lnTo>
                  <a:pt x="105" y="40"/>
                </a:lnTo>
                <a:lnTo>
                  <a:pt x="105" y="40"/>
                </a:lnTo>
                <a:lnTo>
                  <a:pt x="105" y="40"/>
                </a:lnTo>
                <a:lnTo>
                  <a:pt x="107" y="40"/>
                </a:lnTo>
                <a:lnTo>
                  <a:pt x="107" y="40"/>
                </a:lnTo>
                <a:lnTo>
                  <a:pt x="109" y="40"/>
                </a:lnTo>
                <a:lnTo>
                  <a:pt x="112" y="37"/>
                </a:lnTo>
                <a:lnTo>
                  <a:pt x="114" y="37"/>
                </a:lnTo>
                <a:lnTo>
                  <a:pt x="114" y="37"/>
                </a:lnTo>
                <a:lnTo>
                  <a:pt x="116" y="37"/>
                </a:lnTo>
                <a:lnTo>
                  <a:pt x="121" y="37"/>
                </a:lnTo>
                <a:lnTo>
                  <a:pt x="128" y="35"/>
                </a:lnTo>
                <a:lnTo>
                  <a:pt x="128" y="33"/>
                </a:lnTo>
                <a:lnTo>
                  <a:pt x="128" y="33"/>
                </a:lnTo>
                <a:lnTo>
                  <a:pt x="128" y="33"/>
                </a:lnTo>
                <a:lnTo>
                  <a:pt x="130" y="30"/>
                </a:lnTo>
                <a:lnTo>
                  <a:pt x="137" y="28"/>
                </a:lnTo>
                <a:lnTo>
                  <a:pt x="137" y="28"/>
                </a:lnTo>
                <a:lnTo>
                  <a:pt x="137" y="28"/>
                </a:lnTo>
                <a:lnTo>
                  <a:pt x="137" y="26"/>
                </a:lnTo>
                <a:lnTo>
                  <a:pt x="137" y="26"/>
                </a:lnTo>
                <a:lnTo>
                  <a:pt x="137" y="26"/>
                </a:lnTo>
                <a:lnTo>
                  <a:pt x="137" y="26"/>
                </a:lnTo>
                <a:lnTo>
                  <a:pt x="137" y="26"/>
                </a:lnTo>
                <a:lnTo>
                  <a:pt x="140" y="26"/>
                </a:lnTo>
                <a:lnTo>
                  <a:pt x="140" y="23"/>
                </a:lnTo>
                <a:lnTo>
                  <a:pt x="142" y="23"/>
                </a:lnTo>
                <a:lnTo>
                  <a:pt x="147" y="21"/>
                </a:lnTo>
                <a:lnTo>
                  <a:pt x="147" y="21"/>
                </a:lnTo>
                <a:lnTo>
                  <a:pt x="147" y="21"/>
                </a:lnTo>
                <a:lnTo>
                  <a:pt x="147" y="23"/>
                </a:lnTo>
                <a:lnTo>
                  <a:pt x="149" y="23"/>
                </a:lnTo>
                <a:lnTo>
                  <a:pt x="149" y="23"/>
                </a:lnTo>
                <a:lnTo>
                  <a:pt x="151" y="21"/>
                </a:lnTo>
                <a:lnTo>
                  <a:pt x="154" y="21"/>
                </a:lnTo>
                <a:lnTo>
                  <a:pt x="158" y="21"/>
                </a:lnTo>
                <a:lnTo>
                  <a:pt x="158" y="21"/>
                </a:lnTo>
                <a:lnTo>
                  <a:pt x="161" y="21"/>
                </a:lnTo>
                <a:lnTo>
                  <a:pt x="161" y="23"/>
                </a:lnTo>
                <a:lnTo>
                  <a:pt x="161" y="23"/>
                </a:lnTo>
                <a:lnTo>
                  <a:pt x="161" y="23"/>
                </a:lnTo>
                <a:lnTo>
                  <a:pt x="161" y="23"/>
                </a:lnTo>
                <a:lnTo>
                  <a:pt x="161" y="26"/>
                </a:lnTo>
                <a:lnTo>
                  <a:pt x="163" y="26"/>
                </a:lnTo>
                <a:lnTo>
                  <a:pt x="163" y="26"/>
                </a:lnTo>
                <a:lnTo>
                  <a:pt x="165" y="26"/>
                </a:lnTo>
                <a:lnTo>
                  <a:pt x="165" y="26"/>
                </a:lnTo>
                <a:lnTo>
                  <a:pt x="170" y="23"/>
                </a:lnTo>
                <a:lnTo>
                  <a:pt x="172" y="23"/>
                </a:lnTo>
                <a:lnTo>
                  <a:pt x="179" y="23"/>
                </a:lnTo>
                <a:lnTo>
                  <a:pt x="179" y="23"/>
                </a:lnTo>
                <a:lnTo>
                  <a:pt x="182" y="23"/>
                </a:lnTo>
                <a:lnTo>
                  <a:pt x="182" y="23"/>
                </a:lnTo>
                <a:lnTo>
                  <a:pt x="182" y="23"/>
                </a:lnTo>
                <a:lnTo>
                  <a:pt x="182" y="26"/>
                </a:lnTo>
                <a:lnTo>
                  <a:pt x="182" y="26"/>
                </a:lnTo>
                <a:lnTo>
                  <a:pt x="182" y="26"/>
                </a:lnTo>
                <a:lnTo>
                  <a:pt x="184" y="26"/>
                </a:lnTo>
                <a:lnTo>
                  <a:pt x="186" y="28"/>
                </a:lnTo>
                <a:lnTo>
                  <a:pt x="191" y="28"/>
                </a:lnTo>
                <a:lnTo>
                  <a:pt x="198" y="30"/>
                </a:lnTo>
                <a:lnTo>
                  <a:pt x="198" y="30"/>
                </a:lnTo>
                <a:lnTo>
                  <a:pt x="200" y="30"/>
                </a:lnTo>
                <a:lnTo>
                  <a:pt x="200" y="33"/>
                </a:lnTo>
                <a:lnTo>
                  <a:pt x="200" y="33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7" name="Freeform 24">
            <a:extLst>
              <a:ext uri="{FF2B5EF4-FFF2-40B4-BE49-F238E27FC236}">
                <a16:creationId xmlns:a16="http://schemas.microsoft.com/office/drawing/2014/main" id="{8BCAE05B-8227-EFE0-27D4-E4A037D9EAB1}"/>
              </a:ext>
            </a:extLst>
          </p:cNvPr>
          <p:cNvSpPr>
            <a:spLocks noEditPoints="1"/>
          </p:cNvSpPr>
          <p:nvPr/>
        </p:nvSpPr>
        <p:spPr bwMode="auto">
          <a:xfrm>
            <a:off x="3584427" y="3824397"/>
            <a:ext cx="681029" cy="699543"/>
          </a:xfrm>
          <a:custGeom>
            <a:avLst/>
            <a:gdLst>
              <a:gd name="T0" fmla="*/ 454 w 578"/>
              <a:gd name="T1" fmla="*/ 319 h 622"/>
              <a:gd name="T2" fmla="*/ 477 w 578"/>
              <a:gd name="T3" fmla="*/ 298 h 622"/>
              <a:gd name="T4" fmla="*/ 508 w 578"/>
              <a:gd name="T5" fmla="*/ 26 h 622"/>
              <a:gd name="T6" fmla="*/ 533 w 578"/>
              <a:gd name="T7" fmla="*/ 35 h 622"/>
              <a:gd name="T8" fmla="*/ 543 w 578"/>
              <a:gd name="T9" fmla="*/ 56 h 622"/>
              <a:gd name="T10" fmla="*/ 557 w 578"/>
              <a:gd name="T11" fmla="*/ 93 h 622"/>
              <a:gd name="T12" fmla="*/ 564 w 578"/>
              <a:gd name="T13" fmla="*/ 135 h 622"/>
              <a:gd name="T14" fmla="*/ 540 w 578"/>
              <a:gd name="T15" fmla="*/ 159 h 622"/>
              <a:gd name="T16" fmla="*/ 538 w 578"/>
              <a:gd name="T17" fmla="*/ 189 h 622"/>
              <a:gd name="T18" fmla="*/ 554 w 578"/>
              <a:gd name="T19" fmla="*/ 214 h 622"/>
              <a:gd name="T20" fmla="*/ 557 w 578"/>
              <a:gd name="T21" fmla="*/ 245 h 622"/>
              <a:gd name="T22" fmla="*/ 494 w 578"/>
              <a:gd name="T23" fmla="*/ 298 h 622"/>
              <a:gd name="T24" fmla="*/ 487 w 578"/>
              <a:gd name="T25" fmla="*/ 277 h 622"/>
              <a:gd name="T26" fmla="*/ 473 w 578"/>
              <a:gd name="T27" fmla="*/ 273 h 622"/>
              <a:gd name="T28" fmla="*/ 477 w 578"/>
              <a:gd name="T29" fmla="*/ 291 h 622"/>
              <a:gd name="T30" fmla="*/ 461 w 578"/>
              <a:gd name="T31" fmla="*/ 315 h 622"/>
              <a:gd name="T32" fmla="*/ 457 w 578"/>
              <a:gd name="T33" fmla="*/ 329 h 622"/>
              <a:gd name="T34" fmla="*/ 447 w 578"/>
              <a:gd name="T35" fmla="*/ 340 h 622"/>
              <a:gd name="T36" fmla="*/ 447 w 578"/>
              <a:gd name="T37" fmla="*/ 361 h 622"/>
              <a:gd name="T38" fmla="*/ 454 w 578"/>
              <a:gd name="T39" fmla="*/ 363 h 622"/>
              <a:gd name="T40" fmla="*/ 443 w 578"/>
              <a:gd name="T41" fmla="*/ 408 h 622"/>
              <a:gd name="T42" fmla="*/ 438 w 578"/>
              <a:gd name="T43" fmla="*/ 485 h 622"/>
              <a:gd name="T44" fmla="*/ 412 w 578"/>
              <a:gd name="T45" fmla="*/ 547 h 622"/>
              <a:gd name="T46" fmla="*/ 389 w 578"/>
              <a:gd name="T47" fmla="*/ 599 h 622"/>
              <a:gd name="T48" fmla="*/ 338 w 578"/>
              <a:gd name="T49" fmla="*/ 575 h 622"/>
              <a:gd name="T50" fmla="*/ 324 w 578"/>
              <a:gd name="T51" fmla="*/ 550 h 622"/>
              <a:gd name="T52" fmla="*/ 349 w 578"/>
              <a:gd name="T53" fmla="*/ 524 h 622"/>
              <a:gd name="T54" fmla="*/ 375 w 578"/>
              <a:gd name="T55" fmla="*/ 492 h 622"/>
              <a:gd name="T56" fmla="*/ 366 w 578"/>
              <a:gd name="T57" fmla="*/ 466 h 622"/>
              <a:gd name="T58" fmla="*/ 331 w 578"/>
              <a:gd name="T59" fmla="*/ 450 h 622"/>
              <a:gd name="T60" fmla="*/ 298 w 578"/>
              <a:gd name="T61" fmla="*/ 447 h 622"/>
              <a:gd name="T62" fmla="*/ 249 w 578"/>
              <a:gd name="T63" fmla="*/ 401 h 622"/>
              <a:gd name="T64" fmla="*/ 215 w 578"/>
              <a:gd name="T65" fmla="*/ 380 h 622"/>
              <a:gd name="T66" fmla="*/ 177 w 578"/>
              <a:gd name="T67" fmla="*/ 366 h 622"/>
              <a:gd name="T68" fmla="*/ 152 w 578"/>
              <a:gd name="T69" fmla="*/ 345 h 622"/>
              <a:gd name="T70" fmla="*/ 128 w 578"/>
              <a:gd name="T71" fmla="*/ 331 h 622"/>
              <a:gd name="T72" fmla="*/ 89 w 578"/>
              <a:gd name="T73" fmla="*/ 345 h 622"/>
              <a:gd name="T74" fmla="*/ 45 w 578"/>
              <a:gd name="T75" fmla="*/ 366 h 622"/>
              <a:gd name="T76" fmla="*/ 14 w 578"/>
              <a:gd name="T77" fmla="*/ 377 h 622"/>
              <a:gd name="T78" fmla="*/ 17 w 578"/>
              <a:gd name="T79" fmla="*/ 354 h 622"/>
              <a:gd name="T80" fmla="*/ 10 w 578"/>
              <a:gd name="T81" fmla="*/ 308 h 622"/>
              <a:gd name="T82" fmla="*/ 21 w 578"/>
              <a:gd name="T83" fmla="*/ 256 h 622"/>
              <a:gd name="T84" fmla="*/ 19 w 578"/>
              <a:gd name="T85" fmla="*/ 214 h 622"/>
              <a:gd name="T86" fmla="*/ 26 w 578"/>
              <a:gd name="T87" fmla="*/ 173 h 622"/>
              <a:gd name="T88" fmla="*/ 31 w 578"/>
              <a:gd name="T89" fmla="*/ 149 h 622"/>
              <a:gd name="T90" fmla="*/ 7 w 578"/>
              <a:gd name="T91" fmla="*/ 121 h 622"/>
              <a:gd name="T92" fmla="*/ 31 w 578"/>
              <a:gd name="T93" fmla="*/ 89 h 622"/>
              <a:gd name="T94" fmla="*/ 59 w 578"/>
              <a:gd name="T95" fmla="*/ 70 h 622"/>
              <a:gd name="T96" fmla="*/ 93 w 578"/>
              <a:gd name="T97" fmla="*/ 110 h 622"/>
              <a:gd name="T98" fmla="*/ 131 w 578"/>
              <a:gd name="T99" fmla="*/ 100 h 622"/>
              <a:gd name="T100" fmla="*/ 175 w 578"/>
              <a:gd name="T101" fmla="*/ 86 h 622"/>
              <a:gd name="T102" fmla="*/ 194 w 578"/>
              <a:gd name="T103" fmla="*/ 56 h 622"/>
              <a:gd name="T104" fmla="*/ 198 w 578"/>
              <a:gd name="T105" fmla="*/ 26 h 622"/>
              <a:gd name="T106" fmla="*/ 226 w 578"/>
              <a:gd name="T107" fmla="*/ 28 h 622"/>
              <a:gd name="T108" fmla="*/ 254 w 578"/>
              <a:gd name="T109" fmla="*/ 40 h 622"/>
              <a:gd name="T110" fmla="*/ 282 w 578"/>
              <a:gd name="T111" fmla="*/ 35 h 622"/>
              <a:gd name="T112" fmla="*/ 312 w 578"/>
              <a:gd name="T113" fmla="*/ 28 h 622"/>
              <a:gd name="T114" fmla="*/ 340 w 578"/>
              <a:gd name="T115" fmla="*/ 12 h 622"/>
              <a:gd name="T116" fmla="*/ 368 w 578"/>
              <a:gd name="T117" fmla="*/ 5 h 622"/>
              <a:gd name="T118" fmla="*/ 380 w 578"/>
              <a:gd name="T119" fmla="*/ 33 h 622"/>
              <a:gd name="T120" fmla="*/ 396 w 578"/>
              <a:gd name="T121" fmla="*/ 56 h 622"/>
              <a:gd name="T122" fmla="*/ 429 w 578"/>
              <a:gd name="T123" fmla="*/ 35 h 622"/>
              <a:gd name="T124" fmla="*/ 459 w 578"/>
              <a:gd name="T125" fmla="*/ 17 h 6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78" h="622">
                <a:moveTo>
                  <a:pt x="464" y="319"/>
                </a:moveTo>
                <a:lnTo>
                  <a:pt x="464" y="324"/>
                </a:lnTo>
                <a:lnTo>
                  <a:pt x="461" y="326"/>
                </a:lnTo>
                <a:lnTo>
                  <a:pt x="461" y="329"/>
                </a:lnTo>
                <a:lnTo>
                  <a:pt x="461" y="331"/>
                </a:lnTo>
                <a:lnTo>
                  <a:pt x="461" y="333"/>
                </a:lnTo>
                <a:lnTo>
                  <a:pt x="461" y="336"/>
                </a:lnTo>
                <a:lnTo>
                  <a:pt x="461" y="338"/>
                </a:lnTo>
                <a:lnTo>
                  <a:pt x="461" y="336"/>
                </a:lnTo>
                <a:lnTo>
                  <a:pt x="459" y="336"/>
                </a:lnTo>
                <a:lnTo>
                  <a:pt x="459" y="333"/>
                </a:lnTo>
                <a:lnTo>
                  <a:pt x="457" y="331"/>
                </a:lnTo>
                <a:lnTo>
                  <a:pt x="457" y="329"/>
                </a:lnTo>
                <a:lnTo>
                  <a:pt x="459" y="326"/>
                </a:lnTo>
                <a:lnTo>
                  <a:pt x="454" y="324"/>
                </a:lnTo>
                <a:lnTo>
                  <a:pt x="454" y="322"/>
                </a:lnTo>
                <a:lnTo>
                  <a:pt x="454" y="319"/>
                </a:lnTo>
                <a:lnTo>
                  <a:pt x="457" y="319"/>
                </a:lnTo>
                <a:lnTo>
                  <a:pt x="459" y="319"/>
                </a:lnTo>
                <a:lnTo>
                  <a:pt x="461" y="319"/>
                </a:lnTo>
                <a:lnTo>
                  <a:pt x="464" y="319"/>
                </a:lnTo>
                <a:close/>
                <a:moveTo>
                  <a:pt x="487" y="294"/>
                </a:moveTo>
                <a:lnTo>
                  <a:pt x="487" y="296"/>
                </a:lnTo>
                <a:lnTo>
                  <a:pt x="487" y="298"/>
                </a:lnTo>
                <a:lnTo>
                  <a:pt x="484" y="298"/>
                </a:lnTo>
                <a:lnTo>
                  <a:pt x="482" y="301"/>
                </a:lnTo>
                <a:lnTo>
                  <a:pt x="477" y="301"/>
                </a:lnTo>
                <a:lnTo>
                  <a:pt x="477" y="303"/>
                </a:lnTo>
                <a:lnTo>
                  <a:pt x="475" y="303"/>
                </a:lnTo>
                <a:lnTo>
                  <a:pt x="473" y="305"/>
                </a:lnTo>
                <a:lnTo>
                  <a:pt x="473" y="303"/>
                </a:lnTo>
                <a:lnTo>
                  <a:pt x="473" y="301"/>
                </a:lnTo>
                <a:lnTo>
                  <a:pt x="475" y="298"/>
                </a:lnTo>
                <a:lnTo>
                  <a:pt x="477" y="298"/>
                </a:lnTo>
                <a:lnTo>
                  <a:pt x="482" y="294"/>
                </a:lnTo>
                <a:lnTo>
                  <a:pt x="482" y="291"/>
                </a:lnTo>
                <a:lnTo>
                  <a:pt x="482" y="289"/>
                </a:lnTo>
                <a:lnTo>
                  <a:pt x="484" y="291"/>
                </a:lnTo>
                <a:lnTo>
                  <a:pt x="487" y="291"/>
                </a:lnTo>
                <a:lnTo>
                  <a:pt x="487" y="294"/>
                </a:lnTo>
                <a:close/>
                <a:moveTo>
                  <a:pt x="489" y="17"/>
                </a:moveTo>
                <a:lnTo>
                  <a:pt x="491" y="17"/>
                </a:lnTo>
                <a:lnTo>
                  <a:pt x="491" y="19"/>
                </a:lnTo>
                <a:lnTo>
                  <a:pt x="494" y="19"/>
                </a:lnTo>
                <a:lnTo>
                  <a:pt x="496" y="19"/>
                </a:lnTo>
                <a:lnTo>
                  <a:pt x="501" y="21"/>
                </a:lnTo>
                <a:lnTo>
                  <a:pt x="501" y="24"/>
                </a:lnTo>
                <a:lnTo>
                  <a:pt x="503" y="24"/>
                </a:lnTo>
                <a:lnTo>
                  <a:pt x="503" y="26"/>
                </a:lnTo>
                <a:lnTo>
                  <a:pt x="505" y="26"/>
                </a:lnTo>
                <a:lnTo>
                  <a:pt x="508" y="26"/>
                </a:lnTo>
                <a:lnTo>
                  <a:pt x="510" y="26"/>
                </a:lnTo>
                <a:lnTo>
                  <a:pt x="512" y="26"/>
                </a:lnTo>
                <a:lnTo>
                  <a:pt x="512" y="28"/>
                </a:lnTo>
                <a:lnTo>
                  <a:pt x="515" y="28"/>
                </a:lnTo>
                <a:lnTo>
                  <a:pt x="517" y="31"/>
                </a:lnTo>
                <a:lnTo>
                  <a:pt x="519" y="31"/>
                </a:lnTo>
                <a:lnTo>
                  <a:pt x="519" y="33"/>
                </a:lnTo>
                <a:lnTo>
                  <a:pt x="519" y="35"/>
                </a:lnTo>
                <a:lnTo>
                  <a:pt x="522" y="40"/>
                </a:lnTo>
                <a:lnTo>
                  <a:pt x="522" y="42"/>
                </a:lnTo>
                <a:lnTo>
                  <a:pt x="524" y="42"/>
                </a:lnTo>
                <a:lnTo>
                  <a:pt x="526" y="40"/>
                </a:lnTo>
                <a:lnTo>
                  <a:pt x="526" y="38"/>
                </a:lnTo>
                <a:lnTo>
                  <a:pt x="526" y="35"/>
                </a:lnTo>
                <a:lnTo>
                  <a:pt x="529" y="33"/>
                </a:lnTo>
                <a:lnTo>
                  <a:pt x="531" y="33"/>
                </a:lnTo>
                <a:lnTo>
                  <a:pt x="533" y="35"/>
                </a:lnTo>
                <a:lnTo>
                  <a:pt x="536" y="35"/>
                </a:lnTo>
                <a:lnTo>
                  <a:pt x="533" y="38"/>
                </a:lnTo>
                <a:lnTo>
                  <a:pt x="531" y="40"/>
                </a:lnTo>
                <a:lnTo>
                  <a:pt x="531" y="42"/>
                </a:lnTo>
                <a:lnTo>
                  <a:pt x="533" y="45"/>
                </a:lnTo>
                <a:lnTo>
                  <a:pt x="536" y="47"/>
                </a:lnTo>
                <a:lnTo>
                  <a:pt x="538" y="47"/>
                </a:lnTo>
                <a:lnTo>
                  <a:pt x="540" y="47"/>
                </a:lnTo>
                <a:lnTo>
                  <a:pt x="543" y="47"/>
                </a:lnTo>
                <a:lnTo>
                  <a:pt x="543" y="45"/>
                </a:lnTo>
                <a:lnTo>
                  <a:pt x="543" y="47"/>
                </a:lnTo>
                <a:lnTo>
                  <a:pt x="545" y="47"/>
                </a:lnTo>
                <a:lnTo>
                  <a:pt x="545" y="49"/>
                </a:lnTo>
                <a:lnTo>
                  <a:pt x="543" y="49"/>
                </a:lnTo>
                <a:lnTo>
                  <a:pt x="543" y="52"/>
                </a:lnTo>
                <a:lnTo>
                  <a:pt x="543" y="54"/>
                </a:lnTo>
                <a:lnTo>
                  <a:pt x="543" y="56"/>
                </a:lnTo>
                <a:lnTo>
                  <a:pt x="543" y="59"/>
                </a:lnTo>
                <a:lnTo>
                  <a:pt x="545" y="65"/>
                </a:lnTo>
                <a:lnTo>
                  <a:pt x="545" y="68"/>
                </a:lnTo>
                <a:lnTo>
                  <a:pt x="547" y="72"/>
                </a:lnTo>
                <a:lnTo>
                  <a:pt x="547" y="75"/>
                </a:lnTo>
                <a:lnTo>
                  <a:pt x="550" y="75"/>
                </a:lnTo>
                <a:lnTo>
                  <a:pt x="552" y="77"/>
                </a:lnTo>
                <a:lnTo>
                  <a:pt x="554" y="77"/>
                </a:lnTo>
                <a:lnTo>
                  <a:pt x="557" y="79"/>
                </a:lnTo>
                <a:lnTo>
                  <a:pt x="557" y="82"/>
                </a:lnTo>
                <a:lnTo>
                  <a:pt x="559" y="84"/>
                </a:lnTo>
                <a:lnTo>
                  <a:pt x="557" y="84"/>
                </a:lnTo>
                <a:lnTo>
                  <a:pt x="557" y="86"/>
                </a:lnTo>
                <a:lnTo>
                  <a:pt x="554" y="86"/>
                </a:lnTo>
                <a:lnTo>
                  <a:pt x="554" y="89"/>
                </a:lnTo>
                <a:lnTo>
                  <a:pt x="557" y="91"/>
                </a:lnTo>
                <a:lnTo>
                  <a:pt x="557" y="93"/>
                </a:lnTo>
                <a:lnTo>
                  <a:pt x="554" y="93"/>
                </a:lnTo>
                <a:lnTo>
                  <a:pt x="554" y="96"/>
                </a:lnTo>
                <a:lnTo>
                  <a:pt x="554" y="98"/>
                </a:lnTo>
                <a:lnTo>
                  <a:pt x="554" y="100"/>
                </a:lnTo>
                <a:lnTo>
                  <a:pt x="557" y="105"/>
                </a:lnTo>
                <a:lnTo>
                  <a:pt x="557" y="107"/>
                </a:lnTo>
                <a:lnTo>
                  <a:pt x="559" y="107"/>
                </a:lnTo>
                <a:lnTo>
                  <a:pt x="561" y="110"/>
                </a:lnTo>
                <a:lnTo>
                  <a:pt x="559" y="110"/>
                </a:lnTo>
                <a:lnTo>
                  <a:pt x="559" y="112"/>
                </a:lnTo>
                <a:lnTo>
                  <a:pt x="564" y="114"/>
                </a:lnTo>
                <a:lnTo>
                  <a:pt x="564" y="117"/>
                </a:lnTo>
                <a:lnTo>
                  <a:pt x="566" y="121"/>
                </a:lnTo>
                <a:lnTo>
                  <a:pt x="566" y="124"/>
                </a:lnTo>
                <a:lnTo>
                  <a:pt x="566" y="126"/>
                </a:lnTo>
                <a:lnTo>
                  <a:pt x="566" y="128"/>
                </a:lnTo>
                <a:lnTo>
                  <a:pt x="564" y="135"/>
                </a:lnTo>
                <a:lnTo>
                  <a:pt x="564" y="138"/>
                </a:lnTo>
                <a:lnTo>
                  <a:pt x="561" y="138"/>
                </a:lnTo>
                <a:lnTo>
                  <a:pt x="561" y="140"/>
                </a:lnTo>
                <a:lnTo>
                  <a:pt x="559" y="140"/>
                </a:lnTo>
                <a:lnTo>
                  <a:pt x="559" y="142"/>
                </a:lnTo>
                <a:lnTo>
                  <a:pt x="559" y="147"/>
                </a:lnTo>
                <a:lnTo>
                  <a:pt x="559" y="149"/>
                </a:lnTo>
                <a:lnTo>
                  <a:pt x="559" y="152"/>
                </a:lnTo>
                <a:lnTo>
                  <a:pt x="561" y="154"/>
                </a:lnTo>
                <a:lnTo>
                  <a:pt x="561" y="156"/>
                </a:lnTo>
                <a:lnTo>
                  <a:pt x="559" y="156"/>
                </a:lnTo>
                <a:lnTo>
                  <a:pt x="559" y="159"/>
                </a:lnTo>
                <a:lnTo>
                  <a:pt x="554" y="161"/>
                </a:lnTo>
                <a:lnTo>
                  <a:pt x="547" y="161"/>
                </a:lnTo>
                <a:lnTo>
                  <a:pt x="545" y="161"/>
                </a:lnTo>
                <a:lnTo>
                  <a:pt x="543" y="159"/>
                </a:lnTo>
                <a:lnTo>
                  <a:pt x="540" y="159"/>
                </a:lnTo>
                <a:lnTo>
                  <a:pt x="540" y="156"/>
                </a:lnTo>
                <a:lnTo>
                  <a:pt x="536" y="156"/>
                </a:lnTo>
                <a:lnTo>
                  <a:pt x="533" y="156"/>
                </a:lnTo>
                <a:lnTo>
                  <a:pt x="533" y="159"/>
                </a:lnTo>
                <a:lnTo>
                  <a:pt x="531" y="161"/>
                </a:lnTo>
                <a:lnTo>
                  <a:pt x="529" y="163"/>
                </a:lnTo>
                <a:lnTo>
                  <a:pt x="529" y="166"/>
                </a:lnTo>
                <a:lnTo>
                  <a:pt x="529" y="168"/>
                </a:lnTo>
                <a:lnTo>
                  <a:pt x="531" y="170"/>
                </a:lnTo>
                <a:lnTo>
                  <a:pt x="531" y="173"/>
                </a:lnTo>
                <a:lnTo>
                  <a:pt x="533" y="175"/>
                </a:lnTo>
                <a:lnTo>
                  <a:pt x="536" y="177"/>
                </a:lnTo>
                <a:lnTo>
                  <a:pt x="536" y="180"/>
                </a:lnTo>
                <a:lnTo>
                  <a:pt x="536" y="182"/>
                </a:lnTo>
                <a:lnTo>
                  <a:pt x="538" y="184"/>
                </a:lnTo>
                <a:lnTo>
                  <a:pt x="538" y="187"/>
                </a:lnTo>
                <a:lnTo>
                  <a:pt x="538" y="189"/>
                </a:lnTo>
                <a:lnTo>
                  <a:pt x="540" y="189"/>
                </a:lnTo>
                <a:lnTo>
                  <a:pt x="543" y="191"/>
                </a:lnTo>
                <a:lnTo>
                  <a:pt x="543" y="194"/>
                </a:lnTo>
                <a:lnTo>
                  <a:pt x="540" y="196"/>
                </a:lnTo>
                <a:lnTo>
                  <a:pt x="540" y="198"/>
                </a:lnTo>
                <a:lnTo>
                  <a:pt x="540" y="201"/>
                </a:lnTo>
                <a:lnTo>
                  <a:pt x="540" y="203"/>
                </a:lnTo>
                <a:lnTo>
                  <a:pt x="543" y="203"/>
                </a:lnTo>
                <a:lnTo>
                  <a:pt x="545" y="205"/>
                </a:lnTo>
                <a:lnTo>
                  <a:pt x="545" y="203"/>
                </a:lnTo>
                <a:lnTo>
                  <a:pt x="547" y="205"/>
                </a:lnTo>
                <a:lnTo>
                  <a:pt x="547" y="207"/>
                </a:lnTo>
                <a:lnTo>
                  <a:pt x="550" y="207"/>
                </a:lnTo>
                <a:lnTo>
                  <a:pt x="550" y="210"/>
                </a:lnTo>
                <a:lnTo>
                  <a:pt x="550" y="212"/>
                </a:lnTo>
                <a:lnTo>
                  <a:pt x="552" y="214"/>
                </a:lnTo>
                <a:lnTo>
                  <a:pt x="554" y="214"/>
                </a:lnTo>
                <a:lnTo>
                  <a:pt x="557" y="214"/>
                </a:lnTo>
                <a:lnTo>
                  <a:pt x="557" y="217"/>
                </a:lnTo>
                <a:lnTo>
                  <a:pt x="559" y="217"/>
                </a:lnTo>
                <a:lnTo>
                  <a:pt x="559" y="214"/>
                </a:lnTo>
                <a:lnTo>
                  <a:pt x="561" y="214"/>
                </a:lnTo>
                <a:lnTo>
                  <a:pt x="564" y="214"/>
                </a:lnTo>
                <a:lnTo>
                  <a:pt x="566" y="217"/>
                </a:lnTo>
                <a:lnTo>
                  <a:pt x="571" y="214"/>
                </a:lnTo>
                <a:lnTo>
                  <a:pt x="573" y="214"/>
                </a:lnTo>
                <a:lnTo>
                  <a:pt x="575" y="214"/>
                </a:lnTo>
                <a:lnTo>
                  <a:pt x="578" y="212"/>
                </a:lnTo>
                <a:lnTo>
                  <a:pt x="573" y="219"/>
                </a:lnTo>
                <a:lnTo>
                  <a:pt x="566" y="228"/>
                </a:lnTo>
                <a:lnTo>
                  <a:pt x="566" y="231"/>
                </a:lnTo>
                <a:lnTo>
                  <a:pt x="564" y="233"/>
                </a:lnTo>
                <a:lnTo>
                  <a:pt x="559" y="240"/>
                </a:lnTo>
                <a:lnTo>
                  <a:pt x="557" y="245"/>
                </a:lnTo>
                <a:lnTo>
                  <a:pt x="554" y="247"/>
                </a:lnTo>
                <a:lnTo>
                  <a:pt x="550" y="252"/>
                </a:lnTo>
                <a:lnTo>
                  <a:pt x="545" y="259"/>
                </a:lnTo>
                <a:lnTo>
                  <a:pt x="538" y="266"/>
                </a:lnTo>
                <a:lnTo>
                  <a:pt x="533" y="270"/>
                </a:lnTo>
                <a:lnTo>
                  <a:pt x="529" y="275"/>
                </a:lnTo>
                <a:lnTo>
                  <a:pt x="524" y="280"/>
                </a:lnTo>
                <a:lnTo>
                  <a:pt x="522" y="280"/>
                </a:lnTo>
                <a:lnTo>
                  <a:pt x="522" y="282"/>
                </a:lnTo>
                <a:lnTo>
                  <a:pt x="517" y="284"/>
                </a:lnTo>
                <a:lnTo>
                  <a:pt x="512" y="289"/>
                </a:lnTo>
                <a:lnTo>
                  <a:pt x="505" y="294"/>
                </a:lnTo>
                <a:lnTo>
                  <a:pt x="503" y="296"/>
                </a:lnTo>
                <a:lnTo>
                  <a:pt x="501" y="298"/>
                </a:lnTo>
                <a:lnTo>
                  <a:pt x="498" y="298"/>
                </a:lnTo>
                <a:lnTo>
                  <a:pt x="496" y="298"/>
                </a:lnTo>
                <a:lnTo>
                  <a:pt x="494" y="298"/>
                </a:lnTo>
                <a:lnTo>
                  <a:pt x="494" y="301"/>
                </a:lnTo>
                <a:lnTo>
                  <a:pt x="491" y="301"/>
                </a:lnTo>
                <a:lnTo>
                  <a:pt x="489" y="298"/>
                </a:lnTo>
                <a:lnTo>
                  <a:pt x="491" y="296"/>
                </a:lnTo>
                <a:lnTo>
                  <a:pt x="491" y="294"/>
                </a:lnTo>
                <a:lnTo>
                  <a:pt x="494" y="294"/>
                </a:lnTo>
                <a:lnTo>
                  <a:pt x="494" y="296"/>
                </a:lnTo>
                <a:lnTo>
                  <a:pt x="494" y="294"/>
                </a:lnTo>
                <a:lnTo>
                  <a:pt x="494" y="291"/>
                </a:lnTo>
                <a:lnTo>
                  <a:pt x="496" y="289"/>
                </a:lnTo>
                <a:lnTo>
                  <a:pt x="494" y="289"/>
                </a:lnTo>
                <a:lnTo>
                  <a:pt x="494" y="287"/>
                </a:lnTo>
                <a:lnTo>
                  <a:pt x="494" y="282"/>
                </a:lnTo>
                <a:lnTo>
                  <a:pt x="491" y="280"/>
                </a:lnTo>
                <a:lnTo>
                  <a:pt x="489" y="280"/>
                </a:lnTo>
                <a:lnTo>
                  <a:pt x="487" y="280"/>
                </a:lnTo>
                <a:lnTo>
                  <a:pt x="487" y="277"/>
                </a:lnTo>
                <a:lnTo>
                  <a:pt x="487" y="275"/>
                </a:lnTo>
                <a:lnTo>
                  <a:pt x="484" y="275"/>
                </a:lnTo>
                <a:lnTo>
                  <a:pt x="484" y="273"/>
                </a:lnTo>
                <a:lnTo>
                  <a:pt x="484" y="270"/>
                </a:lnTo>
                <a:lnTo>
                  <a:pt x="482" y="273"/>
                </a:lnTo>
                <a:lnTo>
                  <a:pt x="482" y="275"/>
                </a:lnTo>
                <a:lnTo>
                  <a:pt x="482" y="277"/>
                </a:lnTo>
                <a:lnTo>
                  <a:pt x="480" y="277"/>
                </a:lnTo>
                <a:lnTo>
                  <a:pt x="480" y="280"/>
                </a:lnTo>
                <a:lnTo>
                  <a:pt x="477" y="284"/>
                </a:lnTo>
                <a:lnTo>
                  <a:pt x="475" y="284"/>
                </a:lnTo>
                <a:lnTo>
                  <a:pt x="475" y="287"/>
                </a:lnTo>
                <a:lnTo>
                  <a:pt x="473" y="284"/>
                </a:lnTo>
                <a:lnTo>
                  <a:pt x="473" y="282"/>
                </a:lnTo>
                <a:lnTo>
                  <a:pt x="471" y="277"/>
                </a:lnTo>
                <a:lnTo>
                  <a:pt x="473" y="275"/>
                </a:lnTo>
                <a:lnTo>
                  <a:pt x="473" y="273"/>
                </a:lnTo>
                <a:lnTo>
                  <a:pt x="473" y="275"/>
                </a:lnTo>
                <a:lnTo>
                  <a:pt x="471" y="275"/>
                </a:lnTo>
                <a:lnTo>
                  <a:pt x="471" y="277"/>
                </a:lnTo>
                <a:lnTo>
                  <a:pt x="468" y="277"/>
                </a:lnTo>
                <a:lnTo>
                  <a:pt x="468" y="280"/>
                </a:lnTo>
                <a:lnTo>
                  <a:pt x="471" y="280"/>
                </a:lnTo>
                <a:lnTo>
                  <a:pt x="471" y="282"/>
                </a:lnTo>
                <a:lnTo>
                  <a:pt x="471" y="284"/>
                </a:lnTo>
                <a:lnTo>
                  <a:pt x="471" y="287"/>
                </a:lnTo>
                <a:lnTo>
                  <a:pt x="473" y="287"/>
                </a:lnTo>
                <a:lnTo>
                  <a:pt x="475" y="287"/>
                </a:lnTo>
                <a:lnTo>
                  <a:pt x="475" y="289"/>
                </a:lnTo>
                <a:lnTo>
                  <a:pt x="477" y="289"/>
                </a:lnTo>
                <a:lnTo>
                  <a:pt x="477" y="287"/>
                </a:lnTo>
                <a:lnTo>
                  <a:pt x="480" y="289"/>
                </a:lnTo>
                <a:lnTo>
                  <a:pt x="477" y="289"/>
                </a:lnTo>
                <a:lnTo>
                  <a:pt x="477" y="291"/>
                </a:lnTo>
                <a:lnTo>
                  <a:pt x="477" y="294"/>
                </a:lnTo>
                <a:lnTo>
                  <a:pt x="475" y="296"/>
                </a:lnTo>
                <a:lnTo>
                  <a:pt x="473" y="298"/>
                </a:lnTo>
                <a:lnTo>
                  <a:pt x="471" y="298"/>
                </a:lnTo>
                <a:lnTo>
                  <a:pt x="468" y="298"/>
                </a:lnTo>
                <a:lnTo>
                  <a:pt x="468" y="301"/>
                </a:lnTo>
                <a:lnTo>
                  <a:pt x="466" y="301"/>
                </a:lnTo>
                <a:lnTo>
                  <a:pt x="466" y="303"/>
                </a:lnTo>
                <a:lnTo>
                  <a:pt x="468" y="303"/>
                </a:lnTo>
                <a:lnTo>
                  <a:pt x="473" y="305"/>
                </a:lnTo>
                <a:lnTo>
                  <a:pt x="471" y="305"/>
                </a:lnTo>
                <a:lnTo>
                  <a:pt x="468" y="305"/>
                </a:lnTo>
                <a:lnTo>
                  <a:pt x="468" y="308"/>
                </a:lnTo>
                <a:lnTo>
                  <a:pt x="464" y="310"/>
                </a:lnTo>
                <a:lnTo>
                  <a:pt x="461" y="310"/>
                </a:lnTo>
                <a:lnTo>
                  <a:pt x="461" y="312"/>
                </a:lnTo>
                <a:lnTo>
                  <a:pt x="461" y="315"/>
                </a:lnTo>
                <a:lnTo>
                  <a:pt x="461" y="317"/>
                </a:lnTo>
                <a:lnTo>
                  <a:pt x="459" y="319"/>
                </a:lnTo>
                <a:lnTo>
                  <a:pt x="459" y="317"/>
                </a:lnTo>
                <a:lnTo>
                  <a:pt x="457" y="317"/>
                </a:lnTo>
                <a:lnTo>
                  <a:pt x="457" y="315"/>
                </a:lnTo>
                <a:lnTo>
                  <a:pt x="454" y="319"/>
                </a:lnTo>
                <a:lnTo>
                  <a:pt x="454" y="322"/>
                </a:lnTo>
                <a:lnTo>
                  <a:pt x="454" y="324"/>
                </a:lnTo>
                <a:lnTo>
                  <a:pt x="452" y="324"/>
                </a:lnTo>
                <a:lnTo>
                  <a:pt x="452" y="326"/>
                </a:lnTo>
                <a:lnTo>
                  <a:pt x="452" y="331"/>
                </a:lnTo>
                <a:lnTo>
                  <a:pt x="450" y="331"/>
                </a:lnTo>
                <a:lnTo>
                  <a:pt x="452" y="331"/>
                </a:lnTo>
                <a:lnTo>
                  <a:pt x="452" y="326"/>
                </a:lnTo>
                <a:lnTo>
                  <a:pt x="454" y="324"/>
                </a:lnTo>
                <a:lnTo>
                  <a:pt x="457" y="326"/>
                </a:lnTo>
                <a:lnTo>
                  <a:pt x="457" y="329"/>
                </a:lnTo>
                <a:lnTo>
                  <a:pt x="457" y="331"/>
                </a:lnTo>
                <a:lnTo>
                  <a:pt x="457" y="333"/>
                </a:lnTo>
                <a:lnTo>
                  <a:pt x="457" y="336"/>
                </a:lnTo>
                <a:lnTo>
                  <a:pt x="457" y="338"/>
                </a:lnTo>
                <a:lnTo>
                  <a:pt x="454" y="340"/>
                </a:lnTo>
                <a:lnTo>
                  <a:pt x="454" y="345"/>
                </a:lnTo>
                <a:lnTo>
                  <a:pt x="454" y="347"/>
                </a:lnTo>
                <a:lnTo>
                  <a:pt x="452" y="347"/>
                </a:lnTo>
                <a:lnTo>
                  <a:pt x="452" y="345"/>
                </a:lnTo>
                <a:lnTo>
                  <a:pt x="452" y="343"/>
                </a:lnTo>
                <a:lnTo>
                  <a:pt x="450" y="340"/>
                </a:lnTo>
                <a:lnTo>
                  <a:pt x="450" y="338"/>
                </a:lnTo>
                <a:lnTo>
                  <a:pt x="447" y="338"/>
                </a:lnTo>
                <a:lnTo>
                  <a:pt x="445" y="338"/>
                </a:lnTo>
                <a:lnTo>
                  <a:pt x="445" y="340"/>
                </a:lnTo>
                <a:lnTo>
                  <a:pt x="447" y="338"/>
                </a:lnTo>
                <a:lnTo>
                  <a:pt x="447" y="340"/>
                </a:lnTo>
                <a:lnTo>
                  <a:pt x="450" y="343"/>
                </a:lnTo>
                <a:lnTo>
                  <a:pt x="452" y="345"/>
                </a:lnTo>
                <a:lnTo>
                  <a:pt x="452" y="347"/>
                </a:lnTo>
                <a:lnTo>
                  <a:pt x="454" y="347"/>
                </a:lnTo>
                <a:lnTo>
                  <a:pt x="454" y="350"/>
                </a:lnTo>
                <a:lnTo>
                  <a:pt x="452" y="350"/>
                </a:lnTo>
                <a:lnTo>
                  <a:pt x="450" y="350"/>
                </a:lnTo>
                <a:lnTo>
                  <a:pt x="450" y="347"/>
                </a:lnTo>
                <a:lnTo>
                  <a:pt x="450" y="350"/>
                </a:lnTo>
                <a:lnTo>
                  <a:pt x="450" y="352"/>
                </a:lnTo>
                <a:lnTo>
                  <a:pt x="450" y="354"/>
                </a:lnTo>
                <a:lnTo>
                  <a:pt x="452" y="354"/>
                </a:lnTo>
                <a:lnTo>
                  <a:pt x="452" y="356"/>
                </a:lnTo>
                <a:lnTo>
                  <a:pt x="452" y="359"/>
                </a:lnTo>
                <a:lnTo>
                  <a:pt x="452" y="361"/>
                </a:lnTo>
                <a:lnTo>
                  <a:pt x="450" y="361"/>
                </a:lnTo>
                <a:lnTo>
                  <a:pt x="447" y="361"/>
                </a:lnTo>
                <a:lnTo>
                  <a:pt x="447" y="363"/>
                </a:lnTo>
                <a:lnTo>
                  <a:pt x="447" y="366"/>
                </a:lnTo>
                <a:lnTo>
                  <a:pt x="447" y="368"/>
                </a:lnTo>
                <a:lnTo>
                  <a:pt x="447" y="366"/>
                </a:lnTo>
                <a:lnTo>
                  <a:pt x="447" y="363"/>
                </a:lnTo>
                <a:lnTo>
                  <a:pt x="450" y="363"/>
                </a:lnTo>
                <a:lnTo>
                  <a:pt x="452" y="363"/>
                </a:lnTo>
                <a:lnTo>
                  <a:pt x="454" y="361"/>
                </a:lnTo>
                <a:lnTo>
                  <a:pt x="454" y="359"/>
                </a:lnTo>
                <a:lnTo>
                  <a:pt x="454" y="356"/>
                </a:lnTo>
                <a:lnTo>
                  <a:pt x="454" y="354"/>
                </a:lnTo>
                <a:lnTo>
                  <a:pt x="454" y="352"/>
                </a:lnTo>
                <a:lnTo>
                  <a:pt x="457" y="350"/>
                </a:lnTo>
                <a:lnTo>
                  <a:pt x="457" y="352"/>
                </a:lnTo>
                <a:lnTo>
                  <a:pt x="457" y="356"/>
                </a:lnTo>
                <a:lnTo>
                  <a:pt x="457" y="359"/>
                </a:lnTo>
                <a:lnTo>
                  <a:pt x="454" y="363"/>
                </a:lnTo>
                <a:lnTo>
                  <a:pt x="454" y="366"/>
                </a:lnTo>
                <a:lnTo>
                  <a:pt x="452" y="366"/>
                </a:lnTo>
                <a:lnTo>
                  <a:pt x="452" y="368"/>
                </a:lnTo>
                <a:lnTo>
                  <a:pt x="450" y="370"/>
                </a:lnTo>
                <a:lnTo>
                  <a:pt x="450" y="375"/>
                </a:lnTo>
                <a:lnTo>
                  <a:pt x="450" y="377"/>
                </a:lnTo>
                <a:lnTo>
                  <a:pt x="450" y="380"/>
                </a:lnTo>
                <a:lnTo>
                  <a:pt x="447" y="380"/>
                </a:lnTo>
                <a:lnTo>
                  <a:pt x="447" y="382"/>
                </a:lnTo>
                <a:lnTo>
                  <a:pt x="445" y="387"/>
                </a:lnTo>
                <a:lnTo>
                  <a:pt x="445" y="391"/>
                </a:lnTo>
                <a:lnTo>
                  <a:pt x="443" y="394"/>
                </a:lnTo>
                <a:lnTo>
                  <a:pt x="443" y="396"/>
                </a:lnTo>
                <a:lnTo>
                  <a:pt x="443" y="398"/>
                </a:lnTo>
                <a:lnTo>
                  <a:pt x="443" y="403"/>
                </a:lnTo>
                <a:lnTo>
                  <a:pt x="443" y="405"/>
                </a:lnTo>
                <a:lnTo>
                  <a:pt x="443" y="408"/>
                </a:lnTo>
                <a:lnTo>
                  <a:pt x="440" y="408"/>
                </a:lnTo>
                <a:lnTo>
                  <a:pt x="443" y="408"/>
                </a:lnTo>
                <a:lnTo>
                  <a:pt x="443" y="410"/>
                </a:lnTo>
                <a:lnTo>
                  <a:pt x="443" y="412"/>
                </a:lnTo>
                <a:lnTo>
                  <a:pt x="443" y="417"/>
                </a:lnTo>
                <a:lnTo>
                  <a:pt x="440" y="433"/>
                </a:lnTo>
                <a:lnTo>
                  <a:pt x="440" y="440"/>
                </a:lnTo>
                <a:lnTo>
                  <a:pt x="440" y="445"/>
                </a:lnTo>
                <a:lnTo>
                  <a:pt x="440" y="457"/>
                </a:lnTo>
                <a:lnTo>
                  <a:pt x="440" y="466"/>
                </a:lnTo>
                <a:lnTo>
                  <a:pt x="440" y="468"/>
                </a:lnTo>
                <a:lnTo>
                  <a:pt x="443" y="471"/>
                </a:lnTo>
                <a:lnTo>
                  <a:pt x="443" y="473"/>
                </a:lnTo>
                <a:lnTo>
                  <a:pt x="443" y="475"/>
                </a:lnTo>
                <a:lnTo>
                  <a:pt x="440" y="478"/>
                </a:lnTo>
                <a:lnTo>
                  <a:pt x="440" y="480"/>
                </a:lnTo>
                <a:lnTo>
                  <a:pt x="438" y="485"/>
                </a:lnTo>
                <a:lnTo>
                  <a:pt x="436" y="487"/>
                </a:lnTo>
                <a:lnTo>
                  <a:pt x="436" y="489"/>
                </a:lnTo>
                <a:lnTo>
                  <a:pt x="436" y="494"/>
                </a:lnTo>
                <a:lnTo>
                  <a:pt x="433" y="494"/>
                </a:lnTo>
                <a:lnTo>
                  <a:pt x="431" y="498"/>
                </a:lnTo>
                <a:lnTo>
                  <a:pt x="431" y="501"/>
                </a:lnTo>
                <a:lnTo>
                  <a:pt x="429" y="503"/>
                </a:lnTo>
                <a:lnTo>
                  <a:pt x="429" y="505"/>
                </a:lnTo>
                <a:lnTo>
                  <a:pt x="426" y="510"/>
                </a:lnTo>
                <a:lnTo>
                  <a:pt x="424" y="512"/>
                </a:lnTo>
                <a:lnTo>
                  <a:pt x="422" y="524"/>
                </a:lnTo>
                <a:lnTo>
                  <a:pt x="417" y="531"/>
                </a:lnTo>
                <a:lnTo>
                  <a:pt x="417" y="533"/>
                </a:lnTo>
                <a:lnTo>
                  <a:pt x="417" y="536"/>
                </a:lnTo>
                <a:lnTo>
                  <a:pt x="417" y="538"/>
                </a:lnTo>
                <a:lnTo>
                  <a:pt x="415" y="540"/>
                </a:lnTo>
                <a:lnTo>
                  <a:pt x="412" y="547"/>
                </a:lnTo>
                <a:lnTo>
                  <a:pt x="412" y="550"/>
                </a:lnTo>
                <a:lnTo>
                  <a:pt x="410" y="552"/>
                </a:lnTo>
                <a:lnTo>
                  <a:pt x="410" y="554"/>
                </a:lnTo>
                <a:lnTo>
                  <a:pt x="408" y="561"/>
                </a:lnTo>
                <a:lnTo>
                  <a:pt x="408" y="568"/>
                </a:lnTo>
                <a:lnTo>
                  <a:pt x="408" y="571"/>
                </a:lnTo>
                <a:lnTo>
                  <a:pt x="408" y="580"/>
                </a:lnTo>
                <a:lnTo>
                  <a:pt x="408" y="582"/>
                </a:lnTo>
                <a:lnTo>
                  <a:pt x="408" y="585"/>
                </a:lnTo>
                <a:lnTo>
                  <a:pt x="410" y="587"/>
                </a:lnTo>
                <a:lnTo>
                  <a:pt x="408" y="589"/>
                </a:lnTo>
                <a:lnTo>
                  <a:pt x="401" y="594"/>
                </a:lnTo>
                <a:lnTo>
                  <a:pt x="401" y="596"/>
                </a:lnTo>
                <a:lnTo>
                  <a:pt x="398" y="596"/>
                </a:lnTo>
                <a:lnTo>
                  <a:pt x="396" y="599"/>
                </a:lnTo>
                <a:lnTo>
                  <a:pt x="391" y="599"/>
                </a:lnTo>
                <a:lnTo>
                  <a:pt x="389" y="599"/>
                </a:lnTo>
                <a:lnTo>
                  <a:pt x="389" y="601"/>
                </a:lnTo>
                <a:lnTo>
                  <a:pt x="384" y="603"/>
                </a:lnTo>
                <a:lnTo>
                  <a:pt x="375" y="615"/>
                </a:lnTo>
                <a:lnTo>
                  <a:pt x="373" y="620"/>
                </a:lnTo>
                <a:lnTo>
                  <a:pt x="370" y="622"/>
                </a:lnTo>
                <a:lnTo>
                  <a:pt x="343" y="599"/>
                </a:lnTo>
                <a:lnTo>
                  <a:pt x="343" y="596"/>
                </a:lnTo>
                <a:lnTo>
                  <a:pt x="343" y="594"/>
                </a:lnTo>
                <a:lnTo>
                  <a:pt x="343" y="592"/>
                </a:lnTo>
                <a:lnTo>
                  <a:pt x="343" y="589"/>
                </a:lnTo>
                <a:lnTo>
                  <a:pt x="345" y="589"/>
                </a:lnTo>
                <a:lnTo>
                  <a:pt x="345" y="587"/>
                </a:lnTo>
                <a:lnTo>
                  <a:pt x="345" y="585"/>
                </a:lnTo>
                <a:lnTo>
                  <a:pt x="345" y="582"/>
                </a:lnTo>
                <a:lnTo>
                  <a:pt x="343" y="580"/>
                </a:lnTo>
                <a:lnTo>
                  <a:pt x="340" y="578"/>
                </a:lnTo>
                <a:lnTo>
                  <a:pt x="338" y="575"/>
                </a:lnTo>
                <a:lnTo>
                  <a:pt x="336" y="573"/>
                </a:lnTo>
                <a:lnTo>
                  <a:pt x="336" y="571"/>
                </a:lnTo>
                <a:lnTo>
                  <a:pt x="336" y="568"/>
                </a:lnTo>
                <a:lnTo>
                  <a:pt x="333" y="568"/>
                </a:lnTo>
                <a:lnTo>
                  <a:pt x="331" y="568"/>
                </a:lnTo>
                <a:lnTo>
                  <a:pt x="329" y="566"/>
                </a:lnTo>
                <a:lnTo>
                  <a:pt x="329" y="564"/>
                </a:lnTo>
                <a:lnTo>
                  <a:pt x="331" y="561"/>
                </a:lnTo>
                <a:lnTo>
                  <a:pt x="331" y="559"/>
                </a:lnTo>
                <a:lnTo>
                  <a:pt x="329" y="559"/>
                </a:lnTo>
                <a:lnTo>
                  <a:pt x="329" y="557"/>
                </a:lnTo>
                <a:lnTo>
                  <a:pt x="329" y="554"/>
                </a:lnTo>
                <a:lnTo>
                  <a:pt x="326" y="554"/>
                </a:lnTo>
                <a:lnTo>
                  <a:pt x="326" y="557"/>
                </a:lnTo>
                <a:lnTo>
                  <a:pt x="324" y="557"/>
                </a:lnTo>
                <a:lnTo>
                  <a:pt x="324" y="554"/>
                </a:lnTo>
                <a:lnTo>
                  <a:pt x="324" y="550"/>
                </a:lnTo>
                <a:lnTo>
                  <a:pt x="326" y="550"/>
                </a:lnTo>
                <a:lnTo>
                  <a:pt x="326" y="547"/>
                </a:lnTo>
                <a:lnTo>
                  <a:pt x="329" y="547"/>
                </a:lnTo>
                <a:lnTo>
                  <a:pt x="329" y="545"/>
                </a:lnTo>
                <a:lnTo>
                  <a:pt x="329" y="543"/>
                </a:lnTo>
                <a:lnTo>
                  <a:pt x="329" y="540"/>
                </a:lnTo>
                <a:lnTo>
                  <a:pt x="329" y="538"/>
                </a:lnTo>
                <a:lnTo>
                  <a:pt x="331" y="536"/>
                </a:lnTo>
                <a:lnTo>
                  <a:pt x="333" y="526"/>
                </a:lnTo>
                <a:lnTo>
                  <a:pt x="336" y="526"/>
                </a:lnTo>
                <a:lnTo>
                  <a:pt x="336" y="524"/>
                </a:lnTo>
                <a:lnTo>
                  <a:pt x="338" y="524"/>
                </a:lnTo>
                <a:lnTo>
                  <a:pt x="340" y="526"/>
                </a:lnTo>
                <a:lnTo>
                  <a:pt x="345" y="526"/>
                </a:lnTo>
                <a:lnTo>
                  <a:pt x="347" y="526"/>
                </a:lnTo>
                <a:lnTo>
                  <a:pt x="347" y="524"/>
                </a:lnTo>
                <a:lnTo>
                  <a:pt x="349" y="524"/>
                </a:lnTo>
                <a:lnTo>
                  <a:pt x="349" y="522"/>
                </a:lnTo>
                <a:lnTo>
                  <a:pt x="349" y="519"/>
                </a:lnTo>
                <a:lnTo>
                  <a:pt x="349" y="517"/>
                </a:lnTo>
                <a:lnTo>
                  <a:pt x="349" y="515"/>
                </a:lnTo>
                <a:lnTo>
                  <a:pt x="349" y="512"/>
                </a:lnTo>
                <a:lnTo>
                  <a:pt x="349" y="510"/>
                </a:lnTo>
                <a:lnTo>
                  <a:pt x="352" y="510"/>
                </a:lnTo>
                <a:lnTo>
                  <a:pt x="352" y="508"/>
                </a:lnTo>
                <a:lnTo>
                  <a:pt x="356" y="505"/>
                </a:lnTo>
                <a:lnTo>
                  <a:pt x="359" y="508"/>
                </a:lnTo>
                <a:lnTo>
                  <a:pt x="359" y="505"/>
                </a:lnTo>
                <a:lnTo>
                  <a:pt x="361" y="503"/>
                </a:lnTo>
                <a:lnTo>
                  <a:pt x="366" y="498"/>
                </a:lnTo>
                <a:lnTo>
                  <a:pt x="370" y="496"/>
                </a:lnTo>
                <a:lnTo>
                  <a:pt x="373" y="494"/>
                </a:lnTo>
                <a:lnTo>
                  <a:pt x="375" y="494"/>
                </a:lnTo>
                <a:lnTo>
                  <a:pt x="375" y="492"/>
                </a:lnTo>
                <a:lnTo>
                  <a:pt x="375" y="489"/>
                </a:lnTo>
                <a:lnTo>
                  <a:pt x="377" y="487"/>
                </a:lnTo>
                <a:lnTo>
                  <a:pt x="377" y="485"/>
                </a:lnTo>
                <a:lnTo>
                  <a:pt x="380" y="485"/>
                </a:lnTo>
                <a:lnTo>
                  <a:pt x="380" y="482"/>
                </a:lnTo>
                <a:lnTo>
                  <a:pt x="380" y="480"/>
                </a:lnTo>
                <a:lnTo>
                  <a:pt x="380" y="478"/>
                </a:lnTo>
                <a:lnTo>
                  <a:pt x="377" y="478"/>
                </a:lnTo>
                <a:lnTo>
                  <a:pt x="377" y="475"/>
                </a:lnTo>
                <a:lnTo>
                  <a:pt x="375" y="473"/>
                </a:lnTo>
                <a:lnTo>
                  <a:pt x="373" y="473"/>
                </a:lnTo>
                <a:lnTo>
                  <a:pt x="370" y="473"/>
                </a:lnTo>
                <a:lnTo>
                  <a:pt x="370" y="471"/>
                </a:lnTo>
                <a:lnTo>
                  <a:pt x="370" y="468"/>
                </a:lnTo>
                <a:lnTo>
                  <a:pt x="368" y="468"/>
                </a:lnTo>
                <a:lnTo>
                  <a:pt x="368" y="466"/>
                </a:lnTo>
                <a:lnTo>
                  <a:pt x="366" y="466"/>
                </a:lnTo>
                <a:lnTo>
                  <a:pt x="363" y="466"/>
                </a:lnTo>
                <a:lnTo>
                  <a:pt x="363" y="464"/>
                </a:lnTo>
                <a:lnTo>
                  <a:pt x="361" y="464"/>
                </a:lnTo>
                <a:lnTo>
                  <a:pt x="361" y="461"/>
                </a:lnTo>
                <a:lnTo>
                  <a:pt x="359" y="461"/>
                </a:lnTo>
                <a:lnTo>
                  <a:pt x="356" y="459"/>
                </a:lnTo>
                <a:lnTo>
                  <a:pt x="354" y="459"/>
                </a:lnTo>
                <a:lnTo>
                  <a:pt x="352" y="459"/>
                </a:lnTo>
                <a:lnTo>
                  <a:pt x="347" y="457"/>
                </a:lnTo>
                <a:lnTo>
                  <a:pt x="345" y="457"/>
                </a:lnTo>
                <a:lnTo>
                  <a:pt x="343" y="457"/>
                </a:lnTo>
                <a:lnTo>
                  <a:pt x="340" y="457"/>
                </a:lnTo>
                <a:lnTo>
                  <a:pt x="340" y="454"/>
                </a:lnTo>
                <a:lnTo>
                  <a:pt x="336" y="452"/>
                </a:lnTo>
                <a:lnTo>
                  <a:pt x="336" y="450"/>
                </a:lnTo>
                <a:lnTo>
                  <a:pt x="333" y="450"/>
                </a:lnTo>
                <a:lnTo>
                  <a:pt x="331" y="450"/>
                </a:lnTo>
                <a:lnTo>
                  <a:pt x="331" y="452"/>
                </a:lnTo>
                <a:lnTo>
                  <a:pt x="329" y="452"/>
                </a:lnTo>
                <a:lnTo>
                  <a:pt x="329" y="450"/>
                </a:lnTo>
                <a:lnTo>
                  <a:pt x="326" y="447"/>
                </a:lnTo>
                <a:lnTo>
                  <a:pt x="324" y="447"/>
                </a:lnTo>
                <a:lnTo>
                  <a:pt x="322" y="447"/>
                </a:lnTo>
                <a:lnTo>
                  <a:pt x="319" y="445"/>
                </a:lnTo>
                <a:lnTo>
                  <a:pt x="317" y="445"/>
                </a:lnTo>
                <a:lnTo>
                  <a:pt x="315" y="445"/>
                </a:lnTo>
                <a:lnTo>
                  <a:pt x="315" y="447"/>
                </a:lnTo>
                <a:lnTo>
                  <a:pt x="312" y="447"/>
                </a:lnTo>
                <a:lnTo>
                  <a:pt x="310" y="450"/>
                </a:lnTo>
                <a:lnTo>
                  <a:pt x="308" y="450"/>
                </a:lnTo>
                <a:lnTo>
                  <a:pt x="305" y="450"/>
                </a:lnTo>
                <a:lnTo>
                  <a:pt x="303" y="450"/>
                </a:lnTo>
                <a:lnTo>
                  <a:pt x="301" y="447"/>
                </a:lnTo>
                <a:lnTo>
                  <a:pt x="298" y="447"/>
                </a:lnTo>
                <a:lnTo>
                  <a:pt x="296" y="447"/>
                </a:lnTo>
                <a:lnTo>
                  <a:pt x="294" y="447"/>
                </a:lnTo>
                <a:lnTo>
                  <a:pt x="294" y="445"/>
                </a:lnTo>
                <a:lnTo>
                  <a:pt x="294" y="431"/>
                </a:lnTo>
                <a:lnTo>
                  <a:pt x="287" y="422"/>
                </a:lnTo>
                <a:lnTo>
                  <a:pt x="270" y="403"/>
                </a:lnTo>
                <a:lnTo>
                  <a:pt x="268" y="403"/>
                </a:lnTo>
                <a:lnTo>
                  <a:pt x="266" y="403"/>
                </a:lnTo>
                <a:lnTo>
                  <a:pt x="266" y="405"/>
                </a:lnTo>
                <a:lnTo>
                  <a:pt x="263" y="405"/>
                </a:lnTo>
                <a:lnTo>
                  <a:pt x="261" y="405"/>
                </a:lnTo>
                <a:lnTo>
                  <a:pt x="259" y="405"/>
                </a:lnTo>
                <a:lnTo>
                  <a:pt x="256" y="405"/>
                </a:lnTo>
                <a:lnTo>
                  <a:pt x="254" y="405"/>
                </a:lnTo>
                <a:lnTo>
                  <a:pt x="252" y="405"/>
                </a:lnTo>
                <a:lnTo>
                  <a:pt x="252" y="403"/>
                </a:lnTo>
                <a:lnTo>
                  <a:pt x="249" y="401"/>
                </a:lnTo>
                <a:lnTo>
                  <a:pt x="247" y="401"/>
                </a:lnTo>
                <a:lnTo>
                  <a:pt x="245" y="401"/>
                </a:lnTo>
                <a:lnTo>
                  <a:pt x="242" y="398"/>
                </a:lnTo>
                <a:lnTo>
                  <a:pt x="240" y="398"/>
                </a:lnTo>
                <a:lnTo>
                  <a:pt x="233" y="394"/>
                </a:lnTo>
                <a:lnTo>
                  <a:pt x="231" y="391"/>
                </a:lnTo>
                <a:lnTo>
                  <a:pt x="228" y="389"/>
                </a:lnTo>
                <a:lnTo>
                  <a:pt x="228" y="387"/>
                </a:lnTo>
                <a:lnTo>
                  <a:pt x="226" y="387"/>
                </a:lnTo>
                <a:lnTo>
                  <a:pt x="224" y="387"/>
                </a:lnTo>
                <a:lnTo>
                  <a:pt x="224" y="384"/>
                </a:lnTo>
                <a:lnTo>
                  <a:pt x="221" y="387"/>
                </a:lnTo>
                <a:lnTo>
                  <a:pt x="221" y="384"/>
                </a:lnTo>
                <a:lnTo>
                  <a:pt x="219" y="384"/>
                </a:lnTo>
                <a:lnTo>
                  <a:pt x="219" y="382"/>
                </a:lnTo>
                <a:lnTo>
                  <a:pt x="217" y="382"/>
                </a:lnTo>
                <a:lnTo>
                  <a:pt x="215" y="380"/>
                </a:lnTo>
                <a:lnTo>
                  <a:pt x="212" y="377"/>
                </a:lnTo>
                <a:lnTo>
                  <a:pt x="212" y="375"/>
                </a:lnTo>
                <a:lnTo>
                  <a:pt x="208" y="373"/>
                </a:lnTo>
                <a:lnTo>
                  <a:pt x="205" y="370"/>
                </a:lnTo>
                <a:lnTo>
                  <a:pt x="205" y="368"/>
                </a:lnTo>
                <a:lnTo>
                  <a:pt x="203" y="368"/>
                </a:lnTo>
                <a:lnTo>
                  <a:pt x="203" y="366"/>
                </a:lnTo>
                <a:lnTo>
                  <a:pt x="201" y="366"/>
                </a:lnTo>
                <a:lnTo>
                  <a:pt x="198" y="366"/>
                </a:lnTo>
                <a:lnTo>
                  <a:pt x="196" y="366"/>
                </a:lnTo>
                <a:lnTo>
                  <a:pt x="194" y="363"/>
                </a:lnTo>
                <a:lnTo>
                  <a:pt x="191" y="363"/>
                </a:lnTo>
                <a:lnTo>
                  <a:pt x="189" y="361"/>
                </a:lnTo>
                <a:lnTo>
                  <a:pt x="187" y="361"/>
                </a:lnTo>
                <a:lnTo>
                  <a:pt x="187" y="363"/>
                </a:lnTo>
                <a:lnTo>
                  <a:pt x="184" y="363"/>
                </a:lnTo>
                <a:lnTo>
                  <a:pt x="177" y="366"/>
                </a:lnTo>
                <a:lnTo>
                  <a:pt x="175" y="366"/>
                </a:lnTo>
                <a:lnTo>
                  <a:pt x="175" y="368"/>
                </a:lnTo>
                <a:lnTo>
                  <a:pt x="173" y="368"/>
                </a:lnTo>
                <a:lnTo>
                  <a:pt x="173" y="370"/>
                </a:lnTo>
                <a:lnTo>
                  <a:pt x="170" y="370"/>
                </a:lnTo>
                <a:lnTo>
                  <a:pt x="156" y="366"/>
                </a:lnTo>
                <a:lnTo>
                  <a:pt x="156" y="363"/>
                </a:lnTo>
                <a:lnTo>
                  <a:pt x="154" y="363"/>
                </a:lnTo>
                <a:lnTo>
                  <a:pt x="149" y="361"/>
                </a:lnTo>
                <a:lnTo>
                  <a:pt x="147" y="359"/>
                </a:lnTo>
                <a:lnTo>
                  <a:pt x="147" y="356"/>
                </a:lnTo>
                <a:lnTo>
                  <a:pt x="147" y="354"/>
                </a:lnTo>
                <a:lnTo>
                  <a:pt x="147" y="352"/>
                </a:lnTo>
                <a:lnTo>
                  <a:pt x="147" y="350"/>
                </a:lnTo>
                <a:lnTo>
                  <a:pt x="149" y="350"/>
                </a:lnTo>
                <a:lnTo>
                  <a:pt x="149" y="347"/>
                </a:lnTo>
                <a:lnTo>
                  <a:pt x="152" y="345"/>
                </a:lnTo>
                <a:lnTo>
                  <a:pt x="152" y="343"/>
                </a:lnTo>
                <a:lnTo>
                  <a:pt x="154" y="340"/>
                </a:lnTo>
                <a:lnTo>
                  <a:pt x="154" y="338"/>
                </a:lnTo>
                <a:lnTo>
                  <a:pt x="152" y="338"/>
                </a:lnTo>
                <a:lnTo>
                  <a:pt x="149" y="338"/>
                </a:lnTo>
                <a:lnTo>
                  <a:pt x="149" y="336"/>
                </a:lnTo>
                <a:lnTo>
                  <a:pt x="147" y="336"/>
                </a:lnTo>
                <a:lnTo>
                  <a:pt x="145" y="336"/>
                </a:lnTo>
                <a:lnTo>
                  <a:pt x="142" y="336"/>
                </a:lnTo>
                <a:lnTo>
                  <a:pt x="142" y="333"/>
                </a:lnTo>
                <a:lnTo>
                  <a:pt x="140" y="333"/>
                </a:lnTo>
                <a:lnTo>
                  <a:pt x="138" y="333"/>
                </a:lnTo>
                <a:lnTo>
                  <a:pt x="135" y="333"/>
                </a:lnTo>
                <a:lnTo>
                  <a:pt x="133" y="333"/>
                </a:lnTo>
                <a:lnTo>
                  <a:pt x="131" y="333"/>
                </a:lnTo>
                <a:lnTo>
                  <a:pt x="131" y="331"/>
                </a:lnTo>
                <a:lnTo>
                  <a:pt x="128" y="331"/>
                </a:lnTo>
                <a:lnTo>
                  <a:pt x="126" y="331"/>
                </a:lnTo>
                <a:lnTo>
                  <a:pt x="124" y="331"/>
                </a:lnTo>
                <a:lnTo>
                  <a:pt x="121" y="329"/>
                </a:lnTo>
                <a:lnTo>
                  <a:pt x="121" y="331"/>
                </a:lnTo>
                <a:lnTo>
                  <a:pt x="119" y="331"/>
                </a:lnTo>
                <a:lnTo>
                  <a:pt x="117" y="331"/>
                </a:lnTo>
                <a:lnTo>
                  <a:pt x="112" y="333"/>
                </a:lnTo>
                <a:lnTo>
                  <a:pt x="107" y="333"/>
                </a:lnTo>
                <a:lnTo>
                  <a:pt x="105" y="336"/>
                </a:lnTo>
                <a:lnTo>
                  <a:pt x="103" y="336"/>
                </a:lnTo>
                <a:lnTo>
                  <a:pt x="103" y="338"/>
                </a:lnTo>
                <a:lnTo>
                  <a:pt x="100" y="338"/>
                </a:lnTo>
                <a:lnTo>
                  <a:pt x="98" y="338"/>
                </a:lnTo>
                <a:lnTo>
                  <a:pt x="98" y="340"/>
                </a:lnTo>
                <a:lnTo>
                  <a:pt x="91" y="343"/>
                </a:lnTo>
                <a:lnTo>
                  <a:pt x="89" y="343"/>
                </a:lnTo>
                <a:lnTo>
                  <a:pt x="89" y="345"/>
                </a:lnTo>
                <a:lnTo>
                  <a:pt x="87" y="345"/>
                </a:lnTo>
                <a:lnTo>
                  <a:pt x="87" y="347"/>
                </a:lnTo>
                <a:lnTo>
                  <a:pt x="70" y="354"/>
                </a:lnTo>
                <a:lnTo>
                  <a:pt x="68" y="354"/>
                </a:lnTo>
                <a:lnTo>
                  <a:pt x="66" y="354"/>
                </a:lnTo>
                <a:lnTo>
                  <a:pt x="63" y="354"/>
                </a:lnTo>
                <a:lnTo>
                  <a:pt x="63" y="356"/>
                </a:lnTo>
                <a:lnTo>
                  <a:pt x="61" y="359"/>
                </a:lnTo>
                <a:lnTo>
                  <a:pt x="59" y="359"/>
                </a:lnTo>
                <a:lnTo>
                  <a:pt x="59" y="361"/>
                </a:lnTo>
                <a:lnTo>
                  <a:pt x="56" y="361"/>
                </a:lnTo>
                <a:lnTo>
                  <a:pt x="54" y="361"/>
                </a:lnTo>
                <a:lnTo>
                  <a:pt x="54" y="363"/>
                </a:lnTo>
                <a:lnTo>
                  <a:pt x="52" y="363"/>
                </a:lnTo>
                <a:lnTo>
                  <a:pt x="49" y="366"/>
                </a:lnTo>
                <a:lnTo>
                  <a:pt x="47" y="366"/>
                </a:lnTo>
                <a:lnTo>
                  <a:pt x="45" y="366"/>
                </a:lnTo>
                <a:lnTo>
                  <a:pt x="42" y="366"/>
                </a:lnTo>
                <a:lnTo>
                  <a:pt x="40" y="366"/>
                </a:lnTo>
                <a:lnTo>
                  <a:pt x="40" y="368"/>
                </a:lnTo>
                <a:lnTo>
                  <a:pt x="38" y="368"/>
                </a:lnTo>
                <a:lnTo>
                  <a:pt x="38" y="370"/>
                </a:lnTo>
                <a:lnTo>
                  <a:pt x="35" y="370"/>
                </a:lnTo>
                <a:lnTo>
                  <a:pt x="35" y="373"/>
                </a:lnTo>
                <a:lnTo>
                  <a:pt x="33" y="373"/>
                </a:lnTo>
                <a:lnTo>
                  <a:pt x="33" y="375"/>
                </a:lnTo>
                <a:lnTo>
                  <a:pt x="31" y="375"/>
                </a:lnTo>
                <a:lnTo>
                  <a:pt x="28" y="377"/>
                </a:lnTo>
                <a:lnTo>
                  <a:pt x="24" y="375"/>
                </a:lnTo>
                <a:lnTo>
                  <a:pt x="21" y="375"/>
                </a:lnTo>
                <a:lnTo>
                  <a:pt x="19" y="375"/>
                </a:lnTo>
                <a:lnTo>
                  <a:pt x="17" y="375"/>
                </a:lnTo>
                <a:lnTo>
                  <a:pt x="17" y="377"/>
                </a:lnTo>
                <a:lnTo>
                  <a:pt x="14" y="377"/>
                </a:lnTo>
                <a:lnTo>
                  <a:pt x="14" y="380"/>
                </a:lnTo>
                <a:lnTo>
                  <a:pt x="10" y="380"/>
                </a:lnTo>
                <a:lnTo>
                  <a:pt x="10" y="382"/>
                </a:lnTo>
                <a:lnTo>
                  <a:pt x="7" y="382"/>
                </a:lnTo>
                <a:lnTo>
                  <a:pt x="7" y="380"/>
                </a:lnTo>
                <a:lnTo>
                  <a:pt x="7" y="377"/>
                </a:lnTo>
                <a:lnTo>
                  <a:pt x="10" y="377"/>
                </a:lnTo>
                <a:lnTo>
                  <a:pt x="10" y="375"/>
                </a:lnTo>
                <a:lnTo>
                  <a:pt x="12" y="373"/>
                </a:lnTo>
                <a:lnTo>
                  <a:pt x="12" y="370"/>
                </a:lnTo>
                <a:lnTo>
                  <a:pt x="14" y="368"/>
                </a:lnTo>
                <a:lnTo>
                  <a:pt x="14" y="366"/>
                </a:lnTo>
                <a:lnTo>
                  <a:pt x="17" y="366"/>
                </a:lnTo>
                <a:lnTo>
                  <a:pt x="14" y="363"/>
                </a:lnTo>
                <a:lnTo>
                  <a:pt x="14" y="361"/>
                </a:lnTo>
                <a:lnTo>
                  <a:pt x="14" y="359"/>
                </a:lnTo>
                <a:lnTo>
                  <a:pt x="17" y="354"/>
                </a:lnTo>
                <a:lnTo>
                  <a:pt x="19" y="352"/>
                </a:lnTo>
                <a:lnTo>
                  <a:pt x="21" y="350"/>
                </a:lnTo>
                <a:lnTo>
                  <a:pt x="21" y="347"/>
                </a:lnTo>
                <a:lnTo>
                  <a:pt x="21" y="345"/>
                </a:lnTo>
                <a:lnTo>
                  <a:pt x="21" y="343"/>
                </a:lnTo>
                <a:lnTo>
                  <a:pt x="19" y="340"/>
                </a:lnTo>
                <a:lnTo>
                  <a:pt x="19" y="338"/>
                </a:lnTo>
                <a:lnTo>
                  <a:pt x="19" y="336"/>
                </a:lnTo>
                <a:lnTo>
                  <a:pt x="19" y="333"/>
                </a:lnTo>
                <a:lnTo>
                  <a:pt x="21" y="331"/>
                </a:lnTo>
                <a:lnTo>
                  <a:pt x="24" y="326"/>
                </a:lnTo>
                <a:lnTo>
                  <a:pt x="21" y="324"/>
                </a:lnTo>
                <a:lnTo>
                  <a:pt x="19" y="322"/>
                </a:lnTo>
                <a:lnTo>
                  <a:pt x="17" y="319"/>
                </a:lnTo>
                <a:lnTo>
                  <a:pt x="14" y="317"/>
                </a:lnTo>
                <a:lnTo>
                  <a:pt x="12" y="315"/>
                </a:lnTo>
                <a:lnTo>
                  <a:pt x="10" y="308"/>
                </a:lnTo>
                <a:lnTo>
                  <a:pt x="10" y="305"/>
                </a:lnTo>
                <a:lnTo>
                  <a:pt x="7" y="301"/>
                </a:lnTo>
                <a:lnTo>
                  <a:pt x="5" y="294"/>
                </a:lnTo>
                <a:lnTo>
                  <a:pt x="5" y="287"/>
                </a:lnTo>
                <a:lnTo>
                  <a:pt x="5" y="280"/>
                </a:lnTo>
                <a:lnTo>
                  <a:pt x="7" y="280"/>
                </a:lnTo>
                <a:lnTo>
                  <a:pt x="7" y="275"/>
                </a:lnTo>
                <a:lnTo>
                  <a:pt x="10" y="273"/>
                </a:lnTo>
                <a:lnTo>
                  <a:pt x="10" y="268"/>
                </a:lnTo>
                <a:lnTo>
                  <a:pt x="12" y="266"/>
                </a:lnTo>
                <a:lnTo>
                  <a:pt x="12" y="263"/>
                </a:lnTo>
                <a:lnTo>
                  <a:pt x="14" y="263"/>
                </a:lnTo>
                <a:lnTo>
                  <a:pt x="17" y="263"/>
                </a:lnTo>
                <a:lnTo>
                  <a:pt x="19" y="261"/>
                </a:lnTo>
                <a:lnTo>
                  <a:pt x="19" y="259"/>
                </a:lnTo>
                <a:lnTo>
                  <a:pt x="21" y="259"/>
                </a:lnTo>
                <a:lnTo>
                  <a:pt x="21" y="256"/>
                </a:lnTo>
                <a:lnTo>
                  <a:pt x="19" y="256"/>
                </a:lnTo>
                <a:lnTo>
                  <a:pt x="17" y="254"/>
                </a:lnTo>
                <a:lnTo>
                  <a:pt x="14" y="252"/>
                </a:lnTo>
                <a:lnTo>
                  <a:pt x="14" y="249"/>
                </a:lnTo>
                <a:lnTo>
                  <a:pt x="17" y="242"/>
                </a:lnTo>
                <a:lnTo>
                  <a:pt x="17" y="240"/>
                </a:lnTo>
                <a:lnTo>
                  <a:pt x="21" y="238"/>
                </a:lnTo>
                <a:lnTo>
                  <a:pt x="24" y="238"/>
                </a:lnTo>
                <a:lnTo>
                  <a:pt x="24" y="235"/>
                </a:lnTo>
                <a:lnTo>
                  <a:pt x="21" y="233"/>
                </a:lnTo>
                <a:lnTo>
                  <a:pt x="14" y="228"/>
                </a:lnTo>
                <a:lnTo>
                  <a:pt x="14" y="226"/>
                </a:lnTo>
                <a:lnTo>
                  <a:pt x="12" y="224"/>
                </a:lnTo>
                <a:lnTo>
                  <a:pt x="12" y="221"/>
                </a:lnTo>
                <a:lnTo>
                  <a:pt x="14" y="221"/>
                </a:lnTo>
                <a:lnTo>
                  <a:pt x="14" y="219"/>
                </a:lnTo>
                <a:lnTo>
                  <a:pt x="19" y="214"/>
                </a:lnTo>
                <a:lnTo>
                  <a:pt x="19" y="212"/>
                </a:lnTo>
                <a:lnTo>
                  <a:pt x="19" y="207"/>
                </a:lnTo>
                <a:lnTo>
                  <a:pt x="19" y="205"/>
                </a:lnTo>
                <a:lnTo>
                  <a:pt x="17" y="205"/>
                </a:lnTo>
                <a:lnTo>
                  <a:pt x="14" y="203"/>
                </a:lnTo>
                <a:lnTo>
                  <a:pt x="12" y="203"/>
                </a:lnTo>
                <a:lnTo>
                  <a:pt x="12" y="201"/>
                </a:lnTo>
                <a:lnTo>
                  <a:pt x="10" y="201"/>
                </a:lnTo>
                <a:lnTo>
                  <a:pt x="10" y="196"/>
                </a:lnTo>
                <a:lnTo>
                  <a:pt x="12" y="182"/>
                </a:lnTo>
                <a:lnTo>
                  <a:pt x="12" y="180"/>
                </a:lnTo>
                <a:lnTo>
                  <a:pt x="17" y="180"/>
                </a:lnTo>
                <a:lnTo>
                  <a:pt x="17" y="177"/>
                </a:lnTo>
                <a:lnTo>
                  <a:pt x="19" y="175"/>
                </a:lnTo>
                <a:lnTo>
                  <a:pt x="21" y="175"/>
                </a:lnTo>
                <a:lnTo>
                  <a:pt x="24" y="173"/>
                </a:lnTo>
                <a:lnTo>
                  <a:pt x="26" y="173"/>
                </a:lnTo>
                <a:lnTo>
                  <a:pt x="28" y="173"/>
                </a:lnTo>
                <a:lnTo>
                  <a:pt x="28" y="170"/>
                </a:lnTo>
                <a:lnTo>
                  <a:pt x="28" y="168"/>
                </a:lnTo>
                <a:lnTo>
                  <a:pt x="26" y="166"/>
                </a:lnTo>
                <a:lnTo>
                  <a:pt x="24" y="166"/>
                </a:lnTo>
                <a:lnTo>
                  <a:pt x="24" y="163"/>
                </a:lnTo>
                <a:lnTo>
                  <a:pt x="21" y="163"/>
                </a:lnTo>
                <a:lnTo>
                  <a:pt x="19" y="166"/>
                </a:lnTo>
                <a:lnTo>
                  <a:pt x="17" y="163"/>
                </a:lnTo>
                <a:lnTo>
                  <a:pt x="17" y="161"/>
                </a:lnTo>
                <a:lnTo>
                  <a:pt x="17" y="159"/>
                </a:lnTo>
                <a:lnTo>
                  <a:pt x="19" y="159"/>
                </a:lnTo>
                <a:lnTo>
                  <a:pt x="19" y="156"/>
                </a:lnTo>
                <a:lnTo>
                  <a:pt x="24" y="156"/>
                </a:lnTo>
                <a:lnTo>
                  <a:pt x="28" y="154"/>
                </a:lnTo>
                <a:lnTo>
                  <a:pt x="31" y="152"/>
                </a:lnTo>
                <a:lnTo>
                  <a:pt x="31" y="149"/>
                </a:lnTo>
                <a:lnTo>
                  <a:pt x="28" y="149"/>
                </a:lnTo>
                <a:lnTo>
                  <a:pt x="24" y="147"/>
                </a:lnTo>
                <a:lnTo>
                  <a:pt x="19" y="145"/>
                </a:lnTo>
                <a:lnTo>
                  <a:pt x="10" y="142"/>
                </a:lnTo>
                <a:lnTo>
                  <a:pt x="7" y="142"/>
                </a:lnTo>
                <a:lnTo>
                  <a:pt x="7" y="140"/>
                </a:lnTo>
                <a:lnTo>
                  <a:pt x="7" y="138"/>
                </a:lnTo>
                <a:lnTo>
                  <a:pt x="5" y="138"/>
                </a:lnTo>
                <a:lnTo>
                  <a:pt x="5" y="135"/>
                </a:lnTo>
                <a:lnTo>
                  <a:pt x="3" y="133"/>
                </a:lnTo>
                <a:lnTo>
                  <a:pt x="0" y="131"/>
                </a:lnTo>
                <a:lnTo>
                  <a:pt x="0" y="128"/>
                </a:lnTo>
                <a:lnTo>
                  <a:pt x="3" y="128"/>
                </a:lnTo>
                <a:lnTo>
                  <a:pt x="3" y="126"/>
                </a:lnTo>
                <a:lnTo>
                  <a:pt x="5" y="124"/>
                </a:lnTo>
                <a:lnTo>
                  <a:pt x="7" y="124"/>
                </a:lnTo>
                <a:lnTo>
                  <a:pt x="7" y="121"/>
                </a:lnTo>
                <a:lnTo>
                  <a:pt x="10" y="121"/>
                </a:lnTo>
                <a:lnTo>
                  <a:pt x="12" y="117"/>
                </a:lnTo>
                <a:lnTo>
                  <a:pt x="14" y="110"/>
                </a:lnTo>
                <a:lnTo>
                  <a:pt x="17" y="107"/>
                </a:lnTo>
                <a:lnTo>
                  <a:pt x="19" y="107"/>
                </a:lnTo>
                <a:lnTo>
                  <a:pt x="21" y="105"/>
                </a:lnTo>
                <a:lnTo>
                  <a:pt x="24" y="105"/>
                </a:lnTo>
                <a:lnTo>
                  <a:pt x="26" y="105"/>
                </a:lnTo>
                <a:lnTo>
                  <a:pt x="26" y="103"/>
                </a:lnTo>
                <a:lnTo>
                  <a:pt x="24" y="100"/>
                </a:lnTo>
                <a:lnTo>
                  <a:pt x="24" y="98"/>
                </a:lnTo>
                <a:lnTo>
                  <a:pt x="21" y="98"/>
                </a:lnTo>
                <a:lnTo>
                  <a:pt x="21" y="96"/>
                </a:lnTo>
                <a:lnTo>
                  <a:pt x="24" y="93"/>
                </a:lnTo>
                <a:lnTo>
                  <a:pt x="26" y="91"/>
                </a:lnTo>
                <a:lnTo>
                  <a:pt x="28" y="89"/>
                </a:lnTo>
                <a:lnTo>
                  <a:pt x="31" y="89"/>
                </a:lnTo>
                <a:lnTo>
                  <a:pt x="33" y="89"/>
                </a:lnTo>
                <a:lnTo>
                  <a:pt x="35" y="84"/>
                </a:lnTo>
                <a:lnTo>
                  <a:pt x="38" y="84"/>
                </a:lnTo>
                <a:lnTo>
                  <a:pt x="40" y="84"/>
                </a:lnTo>
                <a:lnTo>
                  <a:pt x="42" y="84"/>
                </a:lnTo>
                <a:lnTo>
                  <a:pt x="45" y="82"/>
                </a:lnTo>
                <a:lnTo>
                  <a:pt x="47" y="82"/>
                </a:lnTo>
                <a:lnTo>
                  <a:pt x="47" y="79"/>
                </a:lnTo>
                <a:lnTo>
                  <a:pt x="49" y="79"/>
                </a:lnTo>
                <a:lnTo>
                  <a:pt x="52" y="79"/>
                </a:lnTo>
                <a:lnTo>
                  <a:pt x="54" y="79"/>
                </a:lnTo>
                <a:lnTo>
                  <a:pt x="54" y="77"/>
                </a:lnTo>
                <a:lnTo>
                  <a:pt x="56" y="77"/>
                </a:lnTo>
                <a:lnTo>
                  <a:pt x="56" y="75"/>
                </a:lnTo>
                <a:lnTo>
                  <a:pt x="56" y="72"/>
                </a:lnTo>
                <a:lnTo>
                  <a:pt x="59" y="72"/>
                </a:lnTo>
                <a:lnTo>
                  <a:pt x="59" y="70"/>
                </a:lnTo>
                <a:lnTo>
                  <a:pt x="68" y="72"/>
                </a:lnTo>
                <a:lnTo>
                  <a:pt x="70" y="72"/>
                </a:lnTo>
                <a:lnTo>
                  <a:pt x="75" y="77"/>
                </a:lnTo>
                <a:lnTo>
                  <a:pt x="75" y="82"/>
                </a:lnTo>
                <a:lnTo>
                  <a:pt x="77" y="82"/>
                </a:lnTo>
                <a:lnTo>
                  <a:pt x="77" y="84"/>
                </a:lnTo>
                <a:lnTo>
                  <a:pt x="77" y="86"/>
                </a:lnTo>
                <a:lnTo>
                  <a:pt x="77" y="89"/>
                </a:lnTo>
                <a:lnTo>
                  <a:pt x="77" y="91"/>
                </a:lnTo>
                <a:lnTo>
                  <a:pt x="82" y="96"/>
                </a:lnTo>
                <a:lnTo>
                  <a:pt x="82" y="100"/>
                </a:lnTo>
                <a:lnTo>
                  <a:pt x="84" y="103"/>
                </a:lnTo>
                <a:lnTo>
                  <a:pt x="87" y="103"/>
                </a:lnTo>
                <a:lnTo>
                  <a:pt x="89" y="105"/>
                </a:lnTo>
                <a:lnTo>
                  <a:pt x="91" y="105"/>
                </a:lnTo>
                <a:lnTo>
                  <a:pt x="91" y="107"/>
                </a:lnTo>
                <a:lnTo>
                  <a:pt x="93" y="110"/>
                </a:lnTo>
                <a:lnTo>
                  <a:pt x="96" y="110"/>
                </a:lnTo>
                <a:lnTo>
                  <a:pt x="98" y="112"/>
                </a:lnTo>
                <a:lnTo>
                  <a:pt x="100" y="112"/>
                </a:lnTo>
                <a:lnTo>
                  <a:pt x="103" y="112"/>
                </a:lnTo>
                <a:lnTo>
                  <a:pt x="105" y="110"/>
                </a:lnTo>
                <a:lnTo>
                  <a:pt x="107" y="110"/>
                </a:lnTo>
                <a:lnTo>
                  <a:pt x="112" y="112"/>
                </a:lnTo>
                <a:lnTo>
                  <a:pt x="114" y="112"/>
                </a:lnTo>
                <a:lnTo>
                  <a:pt x="117" y="112"/>
                </a:lnTo>
                <a:lnTo>
                  <a:pt x="119" y="107"/>
                </a:lnTo>
                <a:lnTo>
                  <a:pt x="121" y="105"/>
                </a:lnTo>
                <a:lnTo>
                  <a:pt x="124" y="105"/>
                </a:lnTo>
                <a:lnTo>
                  <a:pt x="126" y="105"/>
                </a:lnTo>
                <a:lnTo>
                  <a:pt x="126" y="103"/>
                </a:lnTo>
                <a:lnTo>
                  <a:pt x="128" y="103"/>
                </a:lnTo>
                <a:lnTo>
                  <a:pt x="128" y="100"/>
                </a:lnTo>
                <a:lnTo>
                  <a:pt x="131" y="100"/>
                </a:lnTo>
                <a:lnTo>
                  <a:pt x="133" y="100"/>
                </a:lnTo>
                <a:lnTo>
                  <a:pt x="133" y="98"/>
                </a:lnTo>
                <a:lnTo>
                  <a:pt x="135" y="98"/>
                </a:lnTo>
                <a:lnTo>
                  <a:pt x="138" y="98"/>
                </a:lnTo>
                <a:lnTo>
                  <a:pt x="140" y="98"/>
                </a:lnTo>
                <a:lnTo>
                  <a:pt x="142" y="96"/>
                </a:lnTo>
                <a:lnTo>
                  <a:pt x="149" y="98"/>
                </a:lnTo>
                <a:lnTo>
                  <a:pt x="154" y="100"/>
                </a:lnTo>
                <a:lnTo>
                  <a:pt x="159" y="100"/>
                </a:lnTo>
                <a:lnTo>
                  <a:pt x="161" y="100"/>
                </a:lnTo>
                <a:lnTo>
                  <a:pt x="161" y="98"/>
                </a:lnTo>
                <a:lnTo>
                  <a:pt x="163" y="98"/>
                </a:lnTo>
                <a:lnTo>
                  <a:pt x="170" y="91"/>
                </a:lnTo>
                <a:lnTo>
                  <a:pt x="173" y="91"/>
                </a:lnTo>
                <a:lnTo>
                  <a:pt x="175" y="91"/>
                </a:lnTo>
                <a:lnTo>
                  <a:pt x="175" y="89"/>
                </a:lnTo>
                <a:lnTo>
                  <a:pt x="175" y="86"/>
                </a:lnTo>
                <a:lnTo>
                  <a:pt x="177" y="86"/>
                </a:lnTo>
                <a:lnTo>
                  <a:pt x="180" y="86"/>
                </a:lnTo>
                <a:lnTo>
                  <a:pt x="180" y="84"/>
                </a:lnTo>
                <a:lnTo>
                  <a:pt x="180" y="82"/>
                </a:lnTo>
                <a:lnTo>
                  <a:pt x="184" y="79"/>
                </a:lnTo>
                <a:lnTo>
                  <a:pt x="184" y="77"/>
                </a:lnTo>
                <a:lnTo>
                  <a:pt x="184" y="75"/>
                </a:lnTo>
                <a:lnTo>
                  <a:pt x="187" y="75"/>
                </a:lnTo>
                <a:lnTo>
                  <a:pt x="187" y="72"/>
                </a:lnTo>
                <a:lnTo>
                  <a:pt x="187" y="70"/>
                </a:lnTo>
                <a:lnTo>
                  <a:pt x="189" y="70"/>
                </a:lnTo>
                <a:lnTo>
                  <a:pt x="191" y="68"/>
                </a:lnTo>
                <a:lnTo>
                  <a:pt x="191" y="65"/>
                </a:lnTo>
                <a:lnTo>
                  <a:pt x="191" y="63"/>
                </a:lnTo>
                <a:lnTo>
                  <a:pt x="191" y="61"/>
                </a:lnTo>
                <a:lnTo>
                  <a:pt x="191" y="59"/>
                </a:lnTo>
                <a:lnTo>
                  <a:pt x="194" y="56"/>
                </a:lnTo>
                <a:lnTo>
                  <a:pt x="194" y="54"/>
                </a:lnTo>
                <a:lnTo>
                  <a:pt x="194" y="52"/>
                </a:lnTo>
                <a:lnTo>
                  <a:pt x="194" y="49"/>
                </a:lnTo>
                <a:lnTo>
                  <a:pt x="191" y="47"/>
                </a:lnTo>
                <a:lnTo>
                  <a:pt x="191" y="45"/>
                </a:lnTo>
                <a:lnTo>
                  <a:pt x="191" y="42"/>
                </a:lnTo>
                <a:lnTo>
                  <a:pt x="191" y="35"/>
                </a:lnTo>
                <a:lnTo>
                  <a:pt x="189" y="35"/>
                </a:lnTo>
                <a:lnTo>
                  <a:pt x="189" y="33"/>
                </a:lnTo>
                <a:lnTo>
                  <a:pt x="187" y="31"/>
                </a:lnTo>
                <a:lnTo>
                  <a:pt x="189" y="28"/>
                </a:lnTo>
                <a:lnTo>
                  <a:pt x="189" y="26"/>
                </a:lnTo>
                <a:lnTo>
                  <a:pt x="191" y="26"/>
                </a:lnTo>
                <a:lnTo>
                  <a:pt x="194" y="28"/>
                </a:lnTo>
                <a:lnTo>
                  <a:pt x="196" y="28"/>
                </a:lnTo>
                <a:lnTo>
                  <a:pt x="198" y="28"/>
                </a:lnTo>
                <a:lnTo>
                  <a:pt x="198" y="26"/>
                </a:lnTo>
                <a:lnTo>
                  <a:pt x="198" y="24"/>
                </a:lnTo>
                <a:lnTo>
                  <a:pt x="201" y="24"/>
                </a:lnTo>
                <a:lnTo>
                  <a:pt x="201" y="21"/>
                </a:lnTo>
                <a:lnTo>
                  <a:pt x="203" y="21"/>
                </a:lnTo>
                <a:lnTo>
                  <a:pt x="205" y="24"/>
                </a:lnTo>
                <a:lnTo>
                  <a:pt x="208" y="24"/>
                </a:lnTo>
                <a:lnTo>
                  <a:pt x="210" y="24"/>
                </a:lnTo>
                <a:lnTo>
                  <a:pt x="210" y="21"/>
                </a:lnTo>
                <a:lnTo>
                  <a:pt x="212" y="21"/>
                </a:lnTo>
                <a:lnTo>
                  <a:pt x="215" y="24"/>
                </a:lnTo>
                <a:lnTo>
                  <a:pt x="217" y="24"/>
                </a:lnTo>
                <a:lnTo>
                  <a:pt x="217" y="28"/>
                </a:lnTo>
                <a:lnTo>
                  <a:pt x="217" y="31"/>
                </a:lnTo>
                <a:lnTo>
                  <a:pt x="219" y="31"/>
                </a:lnTo>
                <a:lnTo>
                  <a:pt x="221" y="28"/>
                </a:lnTo>
                <a:lnTo>
                  <a:pt x="224" y="28"/>
                </a:lnTo>
                <a:lnTo>
                  <a:pt x="226" y="28"/>
                </a:lnTo>
                <a:lnTo>
                  <a:pt x="228" y="31"/>
                </a:lnTo>
                <a:lnTo>
                  <a:pt x="231" y="31"/>
                </a:lnTo>
                <a:lnTo>
                  <a:pt x="231" y="28"/>
                </a:lnTo>
                <a:lnTo>
                  <a:pt x="233" y="28"/>
                </a:lnTo>
                <a:lnTo>
                  <a:pt x="235" y="28"/>
                </a:lnTo>
                <a:lnTo>
                  <a:pt x="238" y="31"/>
                </a:lnTo>
                <a:lnTo>
                  <a:pt x="238" y="33"/>
                </a:lnTo>
                <a:lnTo>
                  <a:pt x="240" y="33"/>
                </a:lnTo>
                <a:lnTo>
                  <a:pt x="242" y="33"/>
                </a:lnTo>
                <a:lnTo>
                  <a:pt x="245" y="35"/>
                </a:lnTo>
                <a:lnTo>
                  <a:pt x="245" y="38"/>
                </a:lnTo>
                <a:lnTo>
                  <a:pt x="245" y="40"/>
                </a:lnTo>
                <a:lnTo>
                  <a:pt x="247" y="40"/>
                </a:lnTo>
                <a:lnTo>
                  <a:pt x="249" y="42"/>
                </a:lnTo>
                <a:lnTo>
                  <a:pt x="252" y="42"/>
                </a:lnTo>
                <a:lnTo>
                  <a:pt x="252" y="40"/>
                </a:lnTo>
                <a:lnTo>
                  <a:pt x="254" y="40"/>
                </a:lnTo>
                <a:lnTo>
                  <a:pt x="256" y="40"/>
                </a:lnTo>
                <a:lnTo>
                  <a:pt x="259" y="40"/>
                </a:lnTo>
                <a:lnTo>
                  <a:pt x="261" y="42"/>
                </a:lnTo>
                <a:lnTo>
                  <a:pt x="263" y="45"/>
                </a:lnTo>
                <a:lnTo>
                  <a:pt x="266" y="45"/>
                </a:lnTo>
                <a:lnTo>
                  <a:pt x="266" y="42"/>
                </a:lnTo>
                <a:lnTo>
                  <a:pt x="266" y="40"/>
                </a:lnTo>
                <a:lnTo>
                  <a:pt x="268" y="40"/>
                </a:lnTo>
                <a:lnTo>
                  <a:pt x="273" y="40"/>
                </a:lnTo>
                <a:lnTo>
                  <a:pt x="273" y="42"/>
                </a:lnTo>
                <a:lnTo>
                  <a:pt x="273" y="40"/>
                </a:lnTo>
                <a:lnTo>
                  <a:pt x="275" y="40"/>
                </a:lnTo>
                <a:lnTo>
                  <a:pt x="275" y="38"/>
                </a:lnTo>
                <a:lnTo>
                  <a:pt x="277" y="38"/>
                </a:lnTo>
                <a:lnTo>
                  <a:pt x="277" y="35"/>
                </a:lnTo>
                <a:lnTo>
                  <a:pt x="280" y="35"/>
                </a:lnTo>
                <a:lnTo>
                  <a:pt x="282" y="35"/>
                </a:lnTo>
                <a:lnTo>
                  <a:pt x="282" y="33"/>
                </a:lnTo>
                <a:lnTo>
                  <a:pt x="284" y="33"/>
                </a:lnTo>
                <a:lnTo>
                  <a:pt x="284" y="31"/>
                </a:lnTo>
                <a:lnTo>
                  <a:pt x="287" y="31"/>
                </a:lnTo>
                <a:lnTo>
                  <a:pt x="289" y="31"/>
                </a:lnTo>
                <a:lnTo>
                  <a:pt x="296" y="31"/>
                </a:lnTo>
                <a:lnTo>
                  <a:pt x="298" y="31"/>
                </a:lnTo>
                <a:lnTo>
                  <a:pt x="301" y="31"/>
                </a:lnTo>
                <a:lnTo>
                  <a:pt x="301" y="28"/>
                </a:lnTo>
                <a:lnTo>
                  <a:pt x="303" y="26"/>
                </a:lnTo>
                <a:lnTo>
                  <a:pt x="305" y="26"/>
                </a:lnTo>
                <a:lnTo>
                  <a:pt x="305" y="28"/>
                </a:lnTo>
                <a:lnTo>
                  <a:pt x="305" y="26"/>
                </a:lnTo>
                <a:lnTo>
                  <a:pt x="308" y="26"/>
                </a:lnTo>
                <a:lnTo>
                  <a:pt x="308" y="28"/>
                </a:lnTo>
                <a:lnTo>
                  <a:pt x="310" y="28"/>
                </a:lnTo>
                <a:lnTo>
                  <a:pt x="312" y="28"/>
                </a:lnTo>
                <a:lnTo>
                  <a:pt x="315" y="28"/>
                </a:lnTo>
                <a:lnTo>
                  <a:pt x="315" y="31"/>
                </a:lnTo>
                <a:lnTo>
                  <a:pt x="317" y="31"/>
                </a:lnTo>
                <a:lnTo>
                  <a:pt x="317" y="28"/>
                </a:lnTo>
                <a:lnTo>
                  <a:pt x="319" y="26"/>
                </a:lnTo>
                <a:lnTo>
                  <a:pt x="324" y="26"/>
                </a:lnTo>
                <a:lnTo>
                  <a:pt x="324" y="24"/>
                </a:lnTo>
                <a:lnTo>
                  <a:pt x="324" y="21"/>
                </a:lnTo>
                <a:lnTo>
                  <a:pt x="324" y="19"/>
                </a:lnTo>
                <a:lnTo>
                  <a:pt x="324" y="14"/>
                </a:lnTo>
                <a:lnTo>
                  <a:pt x="326" y="14"/>
                </a:lnTo>
                <a:lnTo>
                  <a:pt x="329" y="14"/>
                </a:lnTo>
                <a:lnTo>
                  <a:pt x="331" y="14"/>
                </a:lnTo>
                <a:lnTo>
                  <a:pt x="333" y="14"/>
                </a:lnTo>
                <a:lnTo>
                  <a:pt x="336" y="14"/>
                </a:lnTo>
                <a:lnTo>
                  <a:pt x="338" y="14"/>
                </a:lnTo>
                <a:lnTo>
                  <a:pt x="340" y="12"/>
                </a:lnTo>
                <a:lnTo>
                  <a:pt x="343" y="12"/>
                </a:lnTo>
                <a:lnTo>
                  <a:pt x="343" y="10"/>
                </a:lnTo>
                <a:lnTo>
                  <a:pt x="345" y="7"/>
                </a:lnTo>
                <a:lnTo>
                  <a:pt x="347" y="7"/>
                </a:lnTo>
                <a:lnTo>
                  <a:pt x="347" y="5"/>
                </a:lnTo>
                <a:lnTo>
                  <a:pt x="349" y="5"/>
                </a:lnTo>
                <a:lnTo>
                  <a:pt x="349" y="0"/>
                </a:lnTo>
                <a:lnTo>
                  <a:pt x="352" y="0"/>
                </a:lnTo>
                <a:lnTo>
                  <a:pt x="354" y="3"/>
                </a:lnTo>
                <a:lnTo>
                  <a:pt x="356" y="3"/>
                </a:lnTo>
                <a:lnTo>
                  <a:pt x="359" y="3"/>
                </a:lnTo>
                <a:lnTo>
                  <a:pt x="359" y="0"/>
                </a:lnTo>
                <a:lnTo>
                  <a:pt x="361" y="0"/>
                </a:lnTo>
                <a:lnTo>
                  <a:pt x="363" y="0"/>
                </a:lnTo>
                <a:lnTo>
                  <a:pt x="366" y="3"/>
                </a:lnTo>
                <a:lnTo>
                  <a:pt x="368" y="3"/>
                </a:lnTo>
                <a:lnTo>
                  <a:pt x="368" y="5"/>
                </a:lnTo>
                <a:lnTo>
                  <a:pt x="368" y="7"/>
                </a:lnTo>
                <a:lnTo>
                  <a:pt x="370" y="7"/>
                </a:lnTo>
                <a:lnTo>
                  <a:pt x="373" y="7"/>
                </a:lnTo>
                <a:lnTo>
                  <a:pt x="375" y="7"/>
                </a:lnTo>
                <a:lnTo>
                  <a:pt x="375" y="10"/>
                </a:lnTo>
                <a:lnTo>
                  <a:pt x="375" y="12"/>
                </a:lnTo>
                <a:lnTo>
                  <a:pt x="377" y="12"/>
                </a:lnTo>
                <a:lnTo>
                  <a:pt x="380" y="12"/>
                </a:lnTo>
                <a:lnTo>
                  <a:pt x="380" y="14"/>
                </a:lnTo>
                <a:lnTo>
                  <a:pt x="380" y="19"/>
                </a:lnTo>
                <a:lnTo>
                  <a:pt x="380" y="21"/>
                </a:lnTo>
                <a:lnTo>
                  <a:pt x="380" y="24"/>
                </a:lnTo>
                <a:lnTo>
                  <a:pt x="377" y="24"/>
                </a:lnTo>
                <a:lnTo>
                  <a:pt x="380" y="26"/>
                </a:lnTo>
                <a:lnTo>
                  <a:pt x="380" y="28"/>
                </a:lnTo>
                <a:lnTo>
                  <a:pt x="380" y="31"/>
                </a:lnTo>
                <a:lnTo>
                  <a:pt x="380" y="33"/>
                </a:lnTo>
                <a:lnTo>
                  <a:pt x="382" y="33"/>
                </a:lnTo>
                <a:lnTo>
                  <a:pt x="384" y="38"/>
                </a:lnTo>
                <a:lnTo>
                  <a:pt x="387" y="38"/>
                </a:lnTo>
                <a:lnTo>
                  <a:pt x="389" y="38"/>
                </a:lnTo>
                <a:lnTo>
                  <a:pt x="389" y="40"/>
                </a:lnTo>
                <a:lnTo>
                  <a:pt x="389" y="42"/>
                </a:lnTo>
                <a:lnTo>
                  <a:pt x="389" y="45"/>
                </a:lnTo>
                <a:lnTo>
                  <a:pt x="389" y="47"/>
                </a:lnTo>
                <a:lnTo>
                  <a:pt x="387" y="47"/>
                </a:lnTo>
                <a:lnTo>
                  <a:pt x="387" y="49"/>
                </a:lnTo>
                <a:lnTo>
                  <a:pt x="384" y="49"/>
                </a:lnTo>
                <a:lnTo>
                  <a:pt x="384" y="52"/>
                </a:lnTo>
                <a:lnTo>
                  <a:pt x="387" y="52"/>
                </a:lnTo>
                <a:lnTo>
                  <a:pt x="387" y="54"/>
                </a:lnTo>
                <a:lnTo>
                  <a:pt x="389" y="54"/>
                </a:lnTo>
                <a:lnTo>
                  <a:pt x="391" y="56"/>
                </a:lnTo>
                <a:lnTo>
                  <a:pt x="396" y="56"/>
                </a:lnTo>
                <a:lnTo>
                  <a:pt x="398" y="54"/>
                </a:lnTo>
                <a:lnTo>
                  <a:pt x="398" y="52"/>
                </a:lnTo>
                <a:lnTo>
                  <a:pt x="403" y="52"/>
                </a:lnTo>
                <a:lnTo>
                  <a:pt x="405" y="49"/>
                </a:lnTo>
                <a:lnTo>
                  <a:pt x="408" y="49"/>
                </a:lnTo>
                <a:lnTo>
                  <a:pt x="408" y="52"/>
                </a:lnTo>
                <a:lnTo>
                  <a:pt x="410" y="52"/>
                </a:lnTo>
                <a:lnTo>
                  <a:pt x="412" y="52"/>
                </a:lnTo>
                <a:lnTo>
                  <a:pt x="412" y="49"/>
                </a:lnTo>
                <a:lnTo>
                  <a:pt x="412" y="47"/>
                </a:lnTo>
                <a:lnTo>
                  <a:pt x="417" y="35"/>
                </a:lnTo>
                <a:lnTo>
                  <a:pt x="419" y="33"/>
                </a:lnTo>
                <a:lnTo>
                  <a:pt x="422" y="33"/>
                </a:lnTo>
                <a:lnTo>
                  <a:pt x="424" y="33"/>
                </a:lnTo>
                <a:lnTo>
                  <a:pt x="424" y="35"/>
                </a:lnTo>
                <a:lnTo>
                  <a:pt x="426" y="35"/>
                </a:lnTo>
                <a:lnTo>
                  <a:pt x="429" y="35"/>
                </a:lnTo>
                <a:lnTo>
                  <a:pt x="431" y="33"/>
                </a:lnTo>
                <a:lnTo>
                  <a:pt x="436" y="33"/>
                </a:lnTo>
                <a:lnTo>
                  <a:pt x="438" y="33"/>
                </a:lnTo>
                <a:lnTo>
                  <a:pt x="443" y="31"/>
                </a:lnTo>
                <a:lnTo>
                  <a:pt x="443" y="28"/>
                </a:lnTo>
                <a:lnTo>
                  <a:pt x="445" y="28"/>
                </a:lnTo>
                <a:lnTo>
                  <a:pt x="445" y="26"/>
                </a:lnTo>
                <a:lnTo>
                  <a:pt x="445" y="24"/>
                </a:lnTo>
                <a:lnTo>
                  <a:pt x="443" y="21"/>
                </a:lnTo>
                <a:lnTo>
                  <a:pt x="445" y="21"/>
                </a:lnTo>
                <a:lnTo>
                  <a:pt x="445" y="19"/>
                </a:lnTo>
                <a:lnTo>
                  <a:pt x="447" y="19"/>
                </a:lnTo>
                <a:lnTo>
                  <a:pt x="450" y="19"/>
                </a:lnTo>
                <a:lnTo>
                  <a:pt x="454" y="19"/>
                </a:lnTo>
                <a:lnTo>
                  <a:pt x="457" y="19"/>
                </a:lnTo>
                <a:lnTo>
                  <a:pt x="459" y="19"/>
                </a:lnTo>
                <a:lnTo>
                  <a:pt x="459" y="17"/>
                </a:lnTo>
                <a:lnTo>
                  <a:pt x="459" y="12"/>
                </a:lnTo>
                <a:lnTo>
                  <a:pt x="459" y="10"/>
                </a:lnTo>
                <a:lnTo>
                  <a:pt x="461" y="10"/>
                </a:lnTo>
                <a:lnTo>
                  <a:pt x="464" y="12"/>
                </a:lnTo>
                <a:lnTo>
                  <a:pt x="477" y="5"/>
                </a:lnTo>
                <a:lnTo>
                  <a:pt x="480" y="5"/>
                </a:lnTo>
                <a:lnTo>
                  <a:pt x="482" y="7"/>
                </a:lnTo>
                <a:lnTo>
                  <a:pt x="484" y="10"/>
                </a:lnTo>
                <a:lnTo>
                  <a:pt x="487" y="10"/>
                </a:lnTo>
                <a:lnTo>
                  <a:pt x="487" y="14"/>
                </a:lnTo>
                <a:lnTo>
                  <a:pt x="489" y="14"/>
                </a:lnTo>
                <a:lnTo>
                  <a:pt x="489" y="17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8" name="Freeform 25">
            <a:extLst>
              <a:ext uri="{FF2B5EF4-FFF2-40B4-BE49-F238E27FC236}">
                <a16:creationId xmlns:a16="http://schemas.microsoft.com/office/drawing/2014/main" id="{F357E6B6-6D17-7A25-C473-EDCD666F9B0B}"/>
              </a:ext>
            </a:extLst>
          </p:cNvPr>
          <p:cNvSpPr>
            <a:spLocks noEditPoints="1"/>
          </p:cNvSpPr>
          <p:nvPr/>
        </p:nvSpPr>
        <p:spPr bwMode="auto">
          <a:xfrm>
            <a:off x="3842463" y="4484577"/>
            <a:ext cx="896649" cy="325029"/>
          </a:xfrm>
          <a:custGeom>
            <a:avLst/>
            <a:gdLst>
              <a:gd name="T0" fmla="*/ 761 w 761"/>
              <a:gd name="T1" fmla="*/ 286 h 289"/>
              <a:gd name="T2" fmla="*/ 119 w 761"/>
              <a:gd name="T3" fmla="*/ 5 h 289"/>
              <a:gd name="T4" fmla="*/ 151 w 761"/>
              <a:gd name="T5" fmla="*/ 35 h 289"/>
              <a:gd name="T6" fmla="*/ 142 w 761"/>
              <a:gd name="T7" fmla="*/ 91 h 289"/>
              <a:gd name="T8" fmla="*/ 130 w 761"/>
              <a:gd name="T9" fmla="*/ 116 h 289"/>
              <a:gd name="T10" fmla="*/ 110 w 761"/>
              <a:gd name="T11" fmla="*/ 133 h 289"/>
              <a:gd name="T12" fmla="*/ 105 w 761"/>
              <a:gd name="T13" fmla="*/ 147 h 289"/>
              <a:gd name="T14" fmla="*/ 98 w 761"/>
              <a:gd name="T15" fmla="*/ 149 h 289"/>
              <a:gd name="T16" fmla="*/ 93 w 761"/>
              <a:gd name="T17" fmla="*/ 149 h 289"/>
              <a:gd name="T18" fmla="*/ 98 w 761"/>
              <a:gd name="T19" fmla="*/ 154 h 289"/>
              <a:gd name="T20" fmla="*/ 93 w 761"/>
              <a:gd name="T21" fmla="*/ 163 h 289"/>
              <a:gd name="T22" fmla="*/ 84 w 761"/>
              <a:gd name="T23" fmla="*/ 172 h 289"/>
              <a:gd name="T24" fmla="*/ 75 w 761"/>
              <a:gd name="T25" fmla="*/ 182 h 289"/>
              <a:gd name="T26" fmla="*/ 68 w 761"/>
              <a:gd name="T27" fmla="*/ 184 h 289"/>
              <a:gd name="T28" fmla="*/ 63 w 761"/>
              <a:gd name="T29" fmla="*/ 191 h 289"/>
              <a:gd name="T30" fmla="*/ 58 w 761"/>
              <a:gd name="T31" fmla="*/ 198 h 289"/>
              <a:gd name="T32" fmla="*/ 49 w 761"/>
              <a:gd name="T33" fmla="*/ 205 h 289"/>
              <a:gd name="T34" fmla="*/ 37 w 761"/>
              <a:gd name="T35" fmla="*/ 202 h 289"/>
              <a:gd name="T36" fmla="*/ 28 w 761"/>
              <a:gd name="T37" fmla="*/ 200 h 289"/>
              <a:gd name="T38" fmla="*/ 19 w 761"/>
              <a:gd name="T39" fmla="*/ 198 h 289"/>
              <a:gd name="T40" fmla="*/ 9 w 761"/>
              <a:gd name="T41" fmla="*/ 193 h 289"/>
              <a:gd name="T42" fmla="*/ 7 w 761"/>
              <a:gd name="T43" fmla="*/ 189 h 289"/>
              <a:gd name="T44" fmla="*/ 9 w 761"/>
              <a:gd name="T45" fmla="*/ 179 h 289"/>
              <a:gd name="T46" fmla="*/ 2 w 761"/>
              <a:gd name="T47" fmla="*/ 170 h 289"/>
              <a:gd name="T48" fmla="*/ 5 w 761"/>
              <a:gd name="T49" fmla="*/ 163 h 289"/>
              <a:gd name="T50" fmla="*/ 5 w 761"/>
              <a:gd name="T51" fmla="*/ 161 h 289"/>
              <a:gd name="T52" fmla="*/ 9 w 761"/>
              <a:gd name="T53" fmla="*/ 149 h 289"/>
              <a:gd name="T54" fmla="*/ 9 w 761"/>
              <a:gd name="T55" fmla="*/ 142 h 289"/>
              <a:gd name="T56" fmla="*/ 14 w 761"/>
              <a:gd name="T57" fmla="*/ 135 h 289"/>
              <a:gd name="T58" fmla="*/ 40 w 761"/>
              <a:gd name="T59" fmla="*/ 130 h 289"/>
              <a:gd name="T60" fmla="*/ 47 w 761"/>
              <a:gd name="T61" fmla="*/ 121 h 289"/>
              <a:gd name="T62" fmla="*/ 49 w 761"/>
              <a:gd name="T63" fmla="*/ 114 h 289"/>
              <a:gd name="T64" fmla="*/ 56 w 761"/>
              <a:gd name="T65" fmla="*/ 102 h 289"/>
              <a:gd name="T66" fmla="*/ 63 w 761"/>
              <a:gd name="T67" fmla="*/ 98 h 289"/>
              <a:gd name="T68" fmla="*/ 68 w 761"/>
              <a:gd name="T69" fmla="*/ 88 h 289"/>
              <a:gd name="T70" fmla="*/ 70 w 761"/>
              <a:gd name="T71" fmla="*/ 81 h 289"/>
              <a:gd name="T72" fmla="*/ 65 w 761"/>
              <a:gd name="T73" fmla="*/ 70 h 289"/>
              <a:gd name="T74" fmla="*/ 65 w 761"/>
              <a:gd name="T75" fmla="*/ 60 h 289"/>
              <a:gd name="T76" fmla="*/ 56 w 761"/>
              <a:gd name="T77" fmla="*/ 58 h 289"/>
              <a:gd name="T78" fmla="*/ 58 w 761"/>
              <a:gd name="T79" fmla="*/ 53 h 289"/>
              <a:gd name="T80" fmla="*/ 72 w 761"/>
              <a:gd name="T81" fmla="*/ 53 h 289"/>
              <a:gd name="T82" fmla="*/ 70 w 761"/>
              <a:gd name="T83" fmla="*/ 44 h 289"/>
              <a:gd name="T84" fmla="*/ 72 w 761"/>
              <a:gd name="T85" fmla="*/ 35 h 289"/>
              <a:gd name="T86" fmla="*/ 70 w 761"/>
              <a:gd name="T87" fmla="*/ 26 h 289"/>
              <a:gd name="T88" fmla="*/ 65 w 761"/>
              <a:gd name="T89" fmla="*/ 26 h 289"/>
              <a:gd name="T90" fmla="*/ 70 w 761"/>
              <a:gd name="T91" fmla="*/ 14 h 289"/>
              <a:gd name="T92" fmla="*/ 82 w 761"/>
              <a:gd name="T93" fmla="*/ 12 h 289"/>
              <a:gd name="T94" fmla="*/ 82 w 761"/>
              <a:gd name="T95" fmla="*/ 2 h 289"/>
              <a:gd name="T96" fmla="*/ 89 w 761"/>
              <a:gd name="T97" fmla="*/ 2 h 289"/>
              <a:gd name="T98" fmla="*/ 96 w 761"/>
              <a:gd name="T99" fmla="*/ 2 h 289"/>
              <a:gd name="T100" fmla="*/ 105 w 761"/>
              <a:gd name="T101" fmla="*/ 2 h 289"/>
              <a:gd name="T102" fmla="*/ 110 w 761"/>
              <a:gd name="T103" fmla="*/ 0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61" h="289">
                <a:moveTo>
                  <a:pt x="733" y="286"/>
                </a:moveTo>
                <a:lnTo>
                  <a:pt x="733" y="284"/>
                </a:lnTo>
                <a:lnTo>
                  <a:pt x="736" y="284"/>
                </a:lnTo>
                <a:lnTo>
                  <a:pt x="733" y="286"/>
                </a:lnTo>
                <a:close/>
                <a:moveTo>
                  <a:pt x="761" y="286"/>
                </a:moveTo>
                <a:lnTo>
                  <a:pt x="761" y="289"/>
                </a:lnTo>
                <a:lnTo>
                  <a:pt x="761" y="286"/>
                </a:lnTo>
                <a:close/>
                <a:moveTo>
                  <a:pt x="114" y="5"/>
                </a:moveTo>
                <a:lnTo>
                  <a:pt x="117" y="5"/>
                </a:lnTo>
                <a:lnTo>
                  <a:pt x="119" y="5"/>
                </a:lnTo>
                <a:lnTo>
                  <a:pt x="119" y="7"/>
                </a:lnTo>
                <a:lnTo>
                  <a:pt x="121" y="7"/>
                </a:lnTo>
                <a:lnTo>
                  <a:pt x="124" y="9"/>
                </a:lnTo>
                <a:lnTo>
                  <a:pt x="124" y="12"/>
                </a:lnTo>
                <a:lnTo>
                  <a:pt x="151" y="35"/>
                </a:lnTo>
                <a:lnTo>
                  <a:pt x="147" y="47"/>
                </a:lnTo>
                <a:lnTo>
                  <a:pt x="144" y="56"/>
                </a:lnTo>
                <a:lnTo>
                  <a:pt x="142" y="70"/>
                </a:lnTo>
                <a:lnTo>
                  <a:pt x="142" y="81"/>
                </a:lnTo>
                <a:lnTo>
                  <a:pt x="142" y="91"/>
                </a:lnTo>
                <a:lnTo>
                  <a:pt x="142" y="100"/>
                </a:lnTo>
                <a:lnTo>
                  <a:pt x="140" y="102"/>
                </a:lnTo>
                <a:lnTo>
                  <a:pt x="135" y="114"/>
                </a:lnTo>
                <a:lnTo>
                  <a:pt x="133" y="116"/>
                </a:lnTo>
                <a:lnTo>
                  <a:pt x="130" y="116"/>
                </a:lnTo>
                <a:lnTo>
                  <a:pt x="124" y="119"/>
                </a:lnTo>
                <a:lnTo>
                  <a:pt x="119" y="121"/>
                </a:lnTo>
                <a:lnTo>
                  <a:pt x="114" y="130"/>
                </a:lnTo>
                <a:lnTo>
                  <a:pt x="112" y="130"/>
                </a:lnTo>
                <a:lnTo>
                  <a:pt x="110" y="133"/>
                </a:lnTo>
                <a:lnTo>
                  <a:pt x="110" y="137"/>
                </a:lnTo>
                <a:lnTo>
                  <a:pt x="107" y="137"/>
                </a:lnTo>
                <a:lnTo>
                  <a:pt x="107" y="140"/>
                </a:lnTo>
                <a:lnTo>
                  <a:pt x="107" y="142"/>
                </a:lnTo>
                <a:lnTo>
                  <a:pt x="105" y="147"/>
                </a:lnTo>
                <a:lnTo>
                  <a:pt x="105" y="149"/>
                </a:lnTo>
                <a:lnTo>
                  <a:pt x="103" y="151"/>
                </a:lnTo>
                <a:lnTo>
                  <a:pt x="100" y="151"/>
                </a:lnTo>
                <a:lnTo>
                  <a:pt x="98" y="151"/>
                </a:lnTo>
                <a:lnTo>
                  <a:pt x="98" y="149"/>
                </a:lnTo>
                <a:lnTo>
                  <a:pt x="96" y="149"/>
                </a:lnTo>
                <a:lnTo>
                  <a:pt x="93" y="149"/>
                </a:lnTo>
                <a:lnTo>
                  <a:pt x="96" y="149"/>
                </a:lnTo>
                <a:lnTo>
                  <a:pt x="96" y="151"/>
                </a:lnTo>
                <a:lnTo>
                  <a:pt x="93" y="149"/>
                </a:lnTo>
                <a:lnTo>
                  <a:pt x="93" y="151"/>
                </a:lnTo>
                <a:lnTo>
                  <a:pt x="93" y="154"/>
                </a:lnTo>
                <a:lnTo>
                  <a:pt x="96" y="154"/>
                </a:lnTo>
                <a:lnTo>
                  <a:pt x="96" y="156"/>
                </a:lnTo>
                <a:lnTo>
                  <a:pt x="98" y="154"/>
                </a:lnTo>
                <a:lnTo>
                  <a:pt x="100" y="154"/>
                </a:lnTo>
                <a:lnTo>
                  <a:pt x="98" y="156"/>
                </a:lnTo>
                <a:lnTo>
                  <a:pt x="98" y="158"/>
                </a:lnTo>
                <a:lnTo>
                  <a:pt x="96" y="161"/>
                </a:lnTo>
                <a:lnTo>
                  <a:pt x="93" y="163"/>
                </a:lnTo>
                <a:lnTo>
                  <a:pt x="93" y="165"/>
                </a:lnTo>
                <a:lnTo>
                  <a:pt x="89" y="168"/>
                </a:lnTo>
                <a:lnTo>
                  <a:pt x="89" y="172"/>
                </a:lnTo>
                <a:lnTo>
                  <a:pt x="86" y="172"/>
                </a:lnTo>
                <a:lnTo>
                  <a:pt x="84" y="172"/>
                </a:lnTo>
                <a:lnTo>
                  <a:pt x="82" y="177"/>
                </a:lnTo>
                <a:lnTo>
                  <a:pt x="79" y="177"/>
                </a:lnTo>
                <a:lnTo>
                  <a:pt x="79" y="179"/>
                </a:lnTo>
                <a:lnTo>
                  <a:pt x="77" y="182"/>
                </a:lnTo>
                <a:lnTo>
                  <a:pt x="75" y="182"/>
                </a:lnTo>
                <a:lnTo>
                  <a:pt x="75" y="184"/>
                </a:lnTo>
                <a:lnTo>
                  <a:pt x="72" y="184"/>
                </a:lnTo>
                <a:lnTo>
                  <a:pt x="72" y="182"/>
                </a:lnTo>
                <a:lnTo>
                  <a:pt x="70" y="184"/>
                </a:lnTo>
                <a:lnTo>
                  <a:pt x="68" y="184"/>
                </a:lnTo>
                <a:lnTo>
                  <a:pt x="65" y="184"/>
                </a:lnTo>
                <a:lnTo>
                  <a:pt x="65" y="186"/>
                </a:lnTo>
                <a:lnTo>
                  <a:pt x="63" y="186"/>
                </a:lnTo>
                <a:lnTo>
                  <a:pt x="63" y="189"/>
                </a:lnTo>
                <a:lnTo>
                  <a:pt x="63" y="191"/>
                </a:lnTo>
                <a:lnTo>
                  <a:pt x="63" y="193"/>
                </a:lnTo>
                <a:lnTo>
                  <a:pt x="61" y="193"/>
                </a:lnTo>
                <a:lnTo>
                  <a:pt x="61" y="195"/>
                </a:lnTo>
                <a:lnTo>
                  <a:pt x="58" y="195"/>
                </a:lnTo>
                <a:lnTo>
                  <a:pt x="58" y="198"/>
                </a:lnTo>
                <a:lnTo>
                  <a:pt x="54" y="202"/>
                </a:lnTo>
                <a:lnTo>
                  <a:pt x="51" y="205"/>
                </a:lnTo>
                <a:lnTo>
                  <a:pt x="51" y="207"/>
                </a:lnTo>
                <a:lnTo>
                  <a:pt x="49" y="207"/>
                </a:lnTo>
                <a:lnTo>
                  <a:pt x="49" y="205"/>
                </a:lnTo>
                <a:lnTo>
                  <a:pt x="47" y="205"/>
                </a:lnTo>
                <a:lnTo>
                  <a:pt x="44" y="205"/>
                </a:lnTo>
                <a:lnTo>
                  <a:pt x="44" y="202"/>
                </a:lnTo>
                <a:lnTo>
                  <a:pt x="42" y="202"/>
                </a:lnTo>
                <a:lnTo>
                  <a:pt x="37" y="202"/>
                </a:lnTo>
                <a:lnTo>
                  <a:pt x="35" y="202"/>
                </a:lnTo>
                <a:lnTo>
                  <a:pt x="33" y="202"/>
                </a:lnTo>
                <a:lnTo>
                  <a:pt x="30" y="202"/>
                </a:lnTo>
                <a:lnTo>
                  <a:pt x="30" y="200"/>
                </a:lnTo>
                <a:lnTo>
                  <a:pt x="28" y="200"/>
                </a:lnTo>
                <a:lnTo>
                  <a:pt x="26" y="200"/>
                </a:lnTo>
                <a:lnTo>
                  <a:pt x="23" y="200"/>
                </a:lnTo>
                <a:lnTo>
                  <a:pt x="21" y="200"/>
                </a:lnTo>
                <a:lnTo>
                  <a:pt x="21" y="198"/>
                </a:lnTo>
                <a:lnTo>
                  <a:pt x="19" y="198"/>
                </a:lnTo>
                <a:lnTo>
                  <a:pt x="16" y="198"/>
                </a:lnTo>
                <a:lnTo>
                  <a:pt x="16" y="195"/>
                </a:lnTo>
                <a:lnTo>
                  <a:pt x="14" y="195"/>
                </a:lnTo>
                <a:lnTo>
                  <a:pt x="12" y="193"/>
                </a:lnTo>
                <a:lnTo>
                  <a:pt x="9" y="193"/>
                </a:lnTo>
                <a:lnTo>
                  <a:pt x="9" y="191"/>
                </a:lnTo>
                <a:lnTo>
                  <a:pt x="9" y="193"/>
                </a:lnTo>
                <a:lnTo>
                  <a:pt x="7" y="193"/>
                </a:lnTo>
                <a:lnTo>
                  <a:pt x="7" y="191"/>
                </a:lnTo>
                <a:lnTo>
                  <a:pt x="7" y="189"/>
                </a:lnTo>
                <a:lnTo>
                  <a:pt x="7" y="186"/>
                </a:lnTo>
                <a:lnTo>
                  <a:pt x="9" y="186"/>
                </a:lnTo>
                <a:lnTo>
                  <a:pt x="9" y="184"/>
                </a:lnTo>
                <a:lnTo>
                  <a:pt x="9" y="182"/>
                </a:lnTo>
                <a:lnTo>
                  <a:pt x="9" y="179"/>
                </a:lnTo>
                <a:lnTo>
                  <a:pt x="9" y="177"/>
                </a:lnTo>
                <a:lnTo>
                  <a:pt x="9" y="175"/>
                </a:lnTo>
                <a:lnTo>
                  <a:pt x="7" y="172"/>
                </a:lnTo>
                <a:lnTo>
                  <a:pt x="5" y="172"/>
                </a:lnTo>
                <a:lnTo>
                  <a:pt x="2" y="170"/>
                </a:lnTo>
                <a:lnTo>
                  <a:pt x="0" y="170"/>
                </a:lnTo>
                <a:lnTo>
                  <a:pt x="0" y="168"/>
                </a:lnTo>
                <a:lnTo>
                  <a:pt x="2" y="168"/>
                </a:lnTo>
                <a:lnTo>
                  <a:pt x="5" y="165"/>
                </a:lnTo>
                <a:lnTo>
                  <a:pt x="5" y="163"/>
                </a:lnTo>
                <a:lnTo>
                  <a:pt x="7" y="163"/>
                </a:lnTo>
                <a:lnTo>
                  <a:pt x="7" y="161"/>
                </a:lnTo>
                <a:lnTo>
                  <a:pt x="5" y="161"/>
                </a:lnTo>
                <a:lnTo>
                  <a:pt x="2" y="161"/>
                </a:lnTo>
                <a:lnTo>
                  <a:pt x="5" y="161"/>
                </a:lnTo>
                <a:lnTo>
                  <a:pt x="5" y="158"/>
                </a:lnTo>
                <a:lnTo>
                  <a:pt x="7" y="156"/>
                </a:lnTo>
                <a:lnTo>
                  <a:pt x="7" y="154"/>
                </a:lnTo>
                <a:lnTo>
                  <a:pt x="7" y="151"/>
                </a:lnTo>
                <a:lnTo>
                  <a:pt x="9" y="149"/>
                </a:lnTo>
                <a:lnTo>
                  <a:pt x="7" y="147"/>
                </a:lnTo>
                <a:lnTo>
                  <a:pt x="5" y="144"/>
                </a:lnTo>
                <a:lnTo>
                  <a:pt x="7" y="144"/>
                </a:lnTo>
                <a:lnTo>
                  <a:pt x="7" y="142"/>
                </a:lnTo>
                <a:lnTo>
                  <a:pt x="9" y="142"/>
                </a:lnTo>
                <a:lnTo>
                  <a:pt x="9" y="140"/>
                </a:lnTo>
                <a:lnTo>
                  <a:pt x="12" y="140"/>
                </a:lnTo>
                <a:lnTo>
                  <a:pt x="12" y="137"/>
                </a:lnTo>
                <a:lnTo>
                  <a:pt x="14" y="137"/>
                </a:lnTo>
                <a:lnTo>
                  <a:pt x="14" y="135"/>
                </a:lnTo>
                <a:lnTo>
                  <a:pt x="33" y="137"/>
                </a:lnTo>
                <a:lnTo>
                  <a:pt x="35" y="137"/>
                </a:lnTo>
                <a:lnTo>
                  <a:pt x="37" y="135"/>
                </a:lnTo>
                <a:lnTo>
                  <a:pt x="37" y="133"/>
                </a:lnTo>
                <a:lnTo>
                  <a:pt x="40" y="130"/>
                </a:lnTo>
                <a:lnTo>
                  <a:pt x="40" y="126"/>
                </a:lnTo>
                <a:lnTo>
                  <a:pt x="42" y="123"/>
                </a:lnTo>
                <a:lnTo>
                  <a:pt x="42" y="121"/>
                </a:lnTo>
                <a:lnTo>
                  <a:pt x="44" y="121"/>
                </a:lnTo>
                <a:lnTo>
                  <a:pt x="47" y="121"/>
                </a:lnTo>
                <a:lnTo>
                  <a:pt x="47" y="119"/>
                </a:lnTo>
                <a:lnTo>
                  <a:pt x="49" y="119"/>
                </a:lnTo>
                <a:lnTo>
                  <a:pt x="49" y="114"/>
                </a:lnTo>
                <a:lnTo>
                  <a:pt x="51" y="114"/>
                </a:lnTo>
                <a:lnTo>
                  <a:pt x="49" y="114"/>
                </a:lnTo>
                <a:lnTo>
                  <a:pt x="51" y="107"/>
                </a:lnTo>
                <a:lnTo>
                  <a:pt x="54" y="107"/>
                </a:lnTo>
                <a:lnTo>
                  <a:pt x="54" y="105"/>
                </a:lnTo>
                <a:lnTo>
                  <a:pt x="56" y="105"/>
                </a:lnTo>
                <a:lnTo>
                  <a:pt x="56" y="102"/>
                </a:lnTo>
                <a:lnTo>
                  <a:pt x="58" y="102"/>
                </a:lnTo>
                <a:lnTo>
                  <a:pt x="61" y="100"/>
                </a:lnTo>
                <a:lnTo>
                  <a:pt x="61" y="98"/>
                </a:lnTo>
                <a:lnTo>
                  <a:pt x="61" y="95"/>
                </a:lnTo>
                <a:lnTo>
                  <a:pt x="63" y="98"/>
                </a:lnTo>
                <a:lnTo>
                  <a:pt x="65" y="98"/>
                </a:lnTo>
                <a:lnTo>
                  <a:pt x="65" y="95"/>
                </a:lnTo>
                <a:lnTo>
                  <a:pt x="65" y="93"/>
                </a:lnTo>
                <a:lnTo>
                  <a:pt x="68" y="93"/>
                </a:lnTo>
                <a:lnTo>
                  <a:pt x="68" y="88"/>
                </a:lnTo>
                <a:lnTo>
                  <a:pt x="70" y="86"/>
                </a:lnTo>
                <a:lnTo>
                  <a:pt x="70" y="84"/>
                </a:lnTo>
                <a:lnTo>
                  <a:pt x="68" y="84"/>
                </a:lnTo>
                <a:lnTo>
                  <a:pt x="68" y="81"/>
                </a:lnTo>
                <a:lnTo>
                  <a:pt x="70" y="81"/>
                </a:lnTo>
                <a:lnTo>
                  <a:pt x="70" y="79"/>
                </a:lnTo>
                <a:lnTo>
                  <a:pt x="70" y="77"/>
                </a:lnTo>
                <a:lnTo>
                  <a:pt x="70" y="74"/>
                </a:lnTo>
                <a:lnTo>
                  <a:pt x="68" y="72"/>
                </a:lnTo>
                <a:lnTo>
                  <a:pt x="65" y="70"/>
                </a:lnTo>
                <a:lnTo>
                  <a:pt x="63" y="67"/>
                </a:lnTo>
                <a:lnTo>
                  <a:pt x="65" y="67"/>
                </a:lnTo>
                <a:lnTo>
                  <a:pt x="65" y="65"/>
                </a:lnTo>
                <a:lnTo>
                  <a:pt x="65" y="63"/>
                </a:lnTo>
                <a:lnTo>
                  <a:pt x="65" y="60"/>
                </a:lnTo>
                <a:lnTo>
                  <a:pt x="63" y="60"/>
                </a:lnTo>
                <a:lnTo>
                  <a:pt x="63" y="58"/>
                </a:lnTo>
                <a:lnTo>
                  <a:pt x="61" y="58"/>
                </a:lnTo>
                <a:lnTo>
                  <a:pt x="58" y="58"/>
                </a:lnTo>
                <a:lnTo>
                  <a:pt x="56" y="58"/>
                </a:lnTo>
                <a:lnTo>
                  <a:pt x="56" y="56"/>
                </a:lnTo>
                <a:lnTo>
                  <a:pt x="54" y="56"/>
                </a:lnTo>
                <a:lnTo>
                  <a:pt x="54" y="53"/>
                </a:lnTo>
                <a:lnTo>
                  <a:pt x="56" y="53"/>
                </a:lnTo>
                <a:lnTo>
                  <a:pt x="58" y="53"/>
                </a:lnTo>
                <a:lnTo>
                  <a:pt x="61" y="53"/>
                </a:lnTo>
                <a:lnTo>
                  <a:pt x="63" y="53"/>
                </a:lnTo>
                <a:lnTo>
                  <a:pt x="70" y="56"/>
                </a:lnTo>
                <a:lnTo>
                  <a:pt x="72" y="56"/>
                </a:lnTo>
                <a:lnTo>
                  <a:pt x="72" y="53"/>
                </a:lnTo>
                <a:lnTo>
                  <a:pt x="75" y="53"/>
                </a:lnTo>
                <a:lnTo>
                  <a:pt x="75" y="51"/>
                </a:lnTo>
                <a:lnTo>
                  <a:pt x="75" y="47"/>
                </a:lnTo>
                <a:lnTo>
                  <a:pt x="72" y="47"/>
                </a:lnTo>
                <a:lnTo>
                  <a:pt x="70" y="44"/>
                </a:lnTo>
                <a:lnTo>
                  <a:pt x="68" y="44"/>
                </a:lnTo>
                <a:lnTo>
                  <a:pt x="70" y="44"/>
                </a:lnTo>
                <a:lnTo>
                  <a:pt x="70" y="40"/>
                </a:lnTo>
                <a:lnTo>
                  <a:pt x="70" y="37"/>
                </a:lnTo>
                <a:lnTo>
                  <a:pt x="72" y="35"/>
                </a:lnTo>
                <a:lnTo>
                  <a:pt x="72" y="33"/>
                </a:lnTo>
                <a:lnTo>
                  <a:pt x="72" y="30"/>
                </a:lnTo>
                <a:lnTo>
                  <a:pt x="72" y="28"/>
                </a:lnTo>
                <a:lnTo>
                  <a:pt x="70" y="28"/>
                </a:lnTo>
                <a:lnTo>
                  <a:pt x="70" y="26"/>
                </a:lnTo>
                <a:lnTo>
                  <a:pt x="68" y="26"/>
                </a:lnTo>
                <a:lnTo>
                  <a:pt x="65" y="26"/>
                </a:lnTo>
                <a:lnTo>
                  <a:pt x="65" y="28"/>
                </a:lnTo>
                <a:lnTo>
                  <a:pt x="63" y="26"/>
                </a:lnTo>
                <a:lnTo>
                  <a:pt x="65" y="26"/>
                </a:lnTo>
                <a:lnTo>
                  <a:pt x="65" y="23"/>
                </a:lnTo>
                <a:lnTo>
                  <a:pt x="65" y="21"/>
                </a:lnTo>
                <a:lnTo>
                  <a:pt x="68" y="19"/>
                </a:lnTo>
                <a:lnTo>
                  <a:pt x="70" y="16"/>
                </a:lnTo>
                <a:lnTo>
                  <a:pt x="70" y="14"/>
                </a:lnTo>
                <a:lnTo>
                  <a:pt x="72" y="14"/>
                </a:lnTo>
                <a:lnTo>
                  <a:pt x="75" y="14"/>
                </a:lnTo>
                <a:lnTo>
                  <a:pt x="77" y="12"/>
                </a:lnTo>
                <a:lnTo>
                  <a:pt x="79" y="12"/>
                </a:lnTo>
                <a:lnTo>
                  <a:pt x="82" y="12"/>
                </a:lnTo>
                <a:lnTo>
                  <a:pt x="84" y="14"/>
                </a:lnTo>
                <a:lnTo>
                  <a:pt x="86" y="14"/>
                </a:lnTo>
                <a:lnTo>
                  <a:pt x="89" y="14"/>
                </a:lnTo>
                <a:lnTo>
                  <a:pt x="89" y="12"/>
                </a:lnTo>
                <a:lnTo>
                  <a:pt x="82" y="2"/>
                </a:lnTo>
                <a:lnTo>
                  <a:pt x="82" y="0"/>
                </a:lnTo>
                <a:lnTo>
                  <a:pt x="82" y="2"/>
                </a:lnTo>
                <a:lnTo>
                  <a:pt x="84" y="2"/>
                </a:lnTo>
                <a:lnTo>
                  <a:pt x="86" y="2"/>
                </a:lnTo>
                <a:lnTo>
                  <a:pt x="89" y="2"/>
                </a:lnTo>
                <a:lnTo>
                  <a:pt x="89" y="5"/>
                </a:lnTo>
                <a:lnTo>
                  <a:pt x="89" y="2"/>
                </a:lnTo>
                <a:lnTo>
                  <a:pt x="91" y="2"/>
                </a:lnTo>
                <a:lnTo>
                  <a:pt x="93" y="2"/>
                </a:lnTo>
                <a:lnTo>
                  <a:pt x="96" y="2"/>
                </a:lnTo>
                <a:lnTo>
                  <a:pt x="96" y="5"/>
                </a:lnTo>
                <a:lnTo>
                  <a:pt x="98" y="2"/>
                </a:lnTo>
                <a:lnTo>
                  <a:pt x="100" y="2"/>
                </a:lnTo>
                <a:lnTo>
                  <a:pt x="103" y="2"/>
                </a:lnTo>
                <a:lnTo>
                  <a:pt x="105" y="2"/>
                </a:lnTo>
                <a:lnTo>
                  <a:pt x="107" y="2"/>
                </a:lnTo>
                <a:lnTo>
                  <a:pt x="107" y="5"/>
                </a:lnTo>
                <a:lnTo>
                  <a:pt x="110" y="5"/>
                </a:lnTo>
                <a:lnTo>
                  <a:pt x="110" y="2"/>
                </a:lnTo>
                <a:lnTo>
                  <a:pt x="110" y="0"/>
                </a:lnTo>
                <a:lnTo>
                  <a:pt x="112" y="0"/>
                </a:lnTo>
                <a:lnTo>
                  <a:pt x="112" y="2"/>
                </a:lnTo>
                <a:lnTo>
                  <a:pt x="114" y="2"/>
                </a:lnTo>
                <a:lnTo>
                  <a:pt x="114" y="5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49" name="Freeform 26">
            <a:extLst>
              <a:ext uri="{FF2B5EF4-FFF2-40B4-BE49-F238E27FC236}">
                <a16:creationId xmlns:a16="http://schemas.microsoft.com/office/drawing/2014/main" id="{C9A3B96A-812E-90EC-ADDE-04E143F6BB7A}"/>
              </a:ext>
            </a:extLst>
          </p:cNvPr>
          <p:cNvSpPr>
            <a:spLocks/>
          </p:cNvSpPr>
          <p:nvPr/>
        </p:nvSpPr>
        <p:spPr bwMode="auto">
          <a:xfrm>
            <a:off x="4210078" y="3672566"/>
            <a:ext cx="301633" cy="167576"/>
          </a:xfrm>
          <a:custGeom>
            <a:avLst/>
            <a:gdLst>
              <a:gd name="T0" fmla="*/ 251 w 256"/>
              <a:gd name="T1" fmla="*/ 68 h 149"/>
              <a:gd name="T2" fmla="*/ 256 w 256"/>
              <a:gd name="T3" fmla="*/ 84 h 149"/>
              <a:gd name="T4" fmla="*/ 251 w 256"/>
              <a:gd name="T5" fmla="*/ 96 h 149"/>
              <a:gd name="T6" fmla="*/ 256 w 256"/>
              <a:gd name="T7" fmla="*/ 91 h 149"/>
              <a:gd name="T8" fmla="*/ 254 w 256"/>
              <a:gd name="T9" fmla="*/ 114 h 149"/>
              <a:gd name="T10" fmla="*/ 244 w 256"/>
              <a:gd name="T11" fmla="*/ 124 h 149"/>
              <a:gd name="T12" fmla="*/ 230 w 256"/>
              <a:gd name="T13" fmla="*/ 112 h 149"/>
              <a:gd name="T14" fmla="*/ 214 w 256"/>
              <a:gd name="T15" fmla="*/ 114 h 149"/>
              <a:gd name="T16" fmla="*/ 198 w 256"/>
              <a:gd name="T17" fmla="*/ 124 h 149"/>
              <a:gd name="T18" fmla="*/ 182 w 256"/>
              <a:gd name="T19" fmla="*/ 126 h 149"/>
              <a:gd name="T20" fmla="*/ 177 w 256"/>
              <a:gd name="T21" fmla="*/ 133 h 149"/>
              <a:gd name="T22" fmla="*/ 165 w 256"/>
              <a:gd name="T23" fmla="*/ 126 h 149"/>
              <a:gd name="T24" fmla="*/ 151 w 256"/>
              <a:gd name="T25" fmla="*/ 126 h 149"/>
              <a:gd name="T26" fmla="*/ 142 w 256"/>
              <a:gd name="T27" fmla="*/ 131 h 149"/>
              <a:gd name="T28" fmla="*/ 133 w 256"/>
              <a:gd name="T29" fmla="*/ 133 h 149"/>
              <a:gd name="T30" fmla="*/ 128 w 256"/>
              <a:gd name="T31" fmla="*/ 142 h 149"/>
              <a:gd name="T32" fmla="*/ 112 w 256"/>
              <a:gd name="T33" fmla="*/ 147 h 149"/>
              <a:gd name="T34" fmla="*/ 98 w 256"/>
              <a:gd name="T35" fmla="*/ 140 h 149"/>
              <a:gd name="T36" fmla="*/ 98 w 256"/>
              <a:gd name="T37" fmla="*/ 128 h 149"/>
              <a:gd name="T38" fmla="*/ 84 w 256"/>
              <a:gd name="T39" fmla="*/ 128 h 149"/>
              <a:gd name="T40" fmla="*/ 95 w 256"/>
              <a:gd name="T41" fmla="*/ 117 h 149"/>
              <a:gd name="T42" fmla="*/ 98 w 256"/>
              <a:gd name="T43" fmla="*/ 103 h 149"/>
              <a:gd name="T44" fmla="*/ 112 w 256"/>
              <a:gd name="T45" fmla="*/ 96 h 149"/>
              <a:gd name="T46" fmla="*/ 100 w 256"/>
              <a:gd name="T47" fmla="*/ 82 h 149"/>
              <a:gd name="T48" fmla="*/ 86 w 256"/>
              <a:gd name="T49" fmla="*/ 86 h 149"/>
              <a:gd name="T50" fmla="*/ 65 w 256"/>
              <a:gd name="T51" fmla="*/ 93 h 149"/>
              <a:gd name="T52" fmla="*/ 47 w 256"/>
              <a:gd name="T53" fmla="*/ 105 h 149"/>
              <a:gd name="T54" fmla="*/ 37 w 256"/>
              <a:gd name="T55" fmla="*/ 107 h 149"/>
              <a:gd name="T56" fmla="*/ 30 w 256"/>
              <a:gd name="T57" fmla="*/ 107 h 149"/>
              <a:gd name="T58" fmla="*/ 26 w 256"/>
              <a:gd name="T59" fmla="*/ 100 h 149"/>
              <a:gd name="T60" fmla="*/ 16 w 256"/>
              <a:gd name="T61" fmla="*/ 100 h 149"/>
              <a:gd name="T62" fmla="*/ 7 w 256"/>
              <a:gd name="T63" fmla="*/ 93 h 149"/>
              <a:gd name="T64" fmla="*/ 2 w 256"/>
              <a:gd name="T65" fmla="*/ 86 h 149"/>
              <a:gd name="T66" fmla="*/ 12 w 256"/>
              <a:gd name="T67" fmla="*/ 77 h 149"/>
              <a:gd name="T68" fmla="*/ 12 w 256"/>
              <a:gd name="T69" fmla="*/ 65 h 149"/>
              <a:gd name="T70" fmla="*/ 9 w 256"/>
              <a:gd name="T71" fmla="*/ 54 h 149"/>
              <a:gd name="T72" fmla="*/ 7 w 256"/>
              <a:gd name="T73" fmla="*/ 42 h 149"/>
              <a:gd name="T74" fmla="*/ 14 w 256"/>
              <a:gd name="T75" fmla="*/ 31 h 149"/>
              <a:gd name="T76" fmla="*/ 28 w 256"/>
              <a:gd name="T77" fmla="*/ 10 h 149"/>
              <a:gd name="T78" fmla="*/ 42 w 256"/>
              <a:gd name="T79" fmla="*/ 19 h 149"/>
              <a:gd name="T80" fmla="*/ 61 w 256"/>
              <a:gd name="T81" fmla="*/ 19 h 149"/>
              <a:gd name="T82" fmla="*/ 74 w 256"/>
              <a:gd name="T83" fmla="*/ 7 h 149"/>
              <a:gd name="T84" fmla="*/ 93 w 256"/>
              <a:gd name="T85" fmla="*/ 3 h 149"/>
              <a:gd name="T86" fmla="*/ 109 w 256"/>
              <a:gd name="T87" fmla="*/ 0 h 149"/>
              <a:gd name="T88" fmla="*/ 112 w 256"/>
              <a:gd name="T89" fmla="*/ 10 h 149"/>
              <a:gd name="T90" fmla="*/ 93 w 256"/>
              <a:gd name="T91" fmla="*/ 31 h 149"/>
              <a:gd name="T92" fmla="*/ 93 w 256"/>
              <a:gd name="T93" fmla="*/ 42 h 149"/>
              <a:gd name="T94" fmla="*/ 105 w 256"/>
              <a:gd name="T95" fmla="*/ 52 h 149"/>
              <a:gd name="T96" fmla="*/ 121 w 256"/>
              <a:gd name="T97" fmla="*/ 49 h 149"/>
              <a:gd name="T98" fmla="*/ 135 w 256"/>
              <a:gd name="T99" fmla="*/ 58 h 149"/>
              <a:gd name="T100" fmla="*/ 147 w 256"/>
              <a:gd name="T101" fmla="*/ 65 h 149"/>
              <a:gd name="T102" fmla="*/ 149 w 256"/>
              <a:gd name="T103" fmla="*/ 52 h 149"/>
              <a:gd name="T104" fmla="*/ 154 w 256"/>
              <a:gd name="T105" fmla="*/ 40 h 149"/>
              <a:gd name="T106" fmla="*/ 163 w 256"/>
              <a:gd name="T107" fmla="*/ 28 h 149"/>
              <a:gd name="T108" fmla="*/ 172 w 256"/>
              <a:gd name="T109" fmla="*/ 35 h 149"/>
              <a:gd name="T110" fmla="*/ 200 w 256"/>
              <a:gd name="T111" fmla="*/ 45 h 149"/>
              <a:gd name="T112" fmla="*/ 221 w 256"/>
              <a:gd name="T113" fmla="*/ 49 h 149"/>
              <a:gd name="T114" fmla="*/ 244 w 256"/>
              <a:gd name="T115" fmla="*/ 56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56" h="149">
                <a:moveTo>
                  <a:pt x="254" y="56"/>
                </a:moveTo>
                <a:lnTo>
                  <a:pt x="254" y="58"/>
                </a:lnTo>
                <a:lnTo>
                  <a:pt x="254" y="61"/>
                </a:lnTo>
                <a:lnTo>
                  <a:pt x="251" y="63"/>
                </a:lnTo>
                <a:lnTo>
                  <a:pt x="251" y="65"/>
                </a:lnTo>
                <a:lnTo>
                  <a:pt x="254" y="65"/>
                </a:lnTo>
                <a:lnTo>
                  <a:pt x="251" y="68"/>
                </a:lnTo>
                <a:lnTo>
                  <a:pt x="254" y="68"/>
                </a:lnTo>
                <a:lnTo>
                  <a:pt x="254" y="70"/>
                </a:lnTo>
                <a:lnTo>
                  <a:pt x="254" y="72"/>
                </a:lnTo>
                <a:lnTo>
                  <a:pt x="251" y="75"/>
                </a:lnTo>
                <a:lnTo>
                  <a:pt x="254" y="79"/>
                </a:lnTo>
                <a:lnTo>
                  <a:pt x="254" y="82"/>
                </a:lnTo>
                <a:lnTo>
                  <a:pt x="256" y="84"/>
                </a:lnTo>
                <a:lnTo>
                  <a:pt x="256" y="86"/>
                </a:lnTo>
                <a:lnTo>
                  <a:pt x="254" y="89"/>
                </a:lnTo>
                <a:lnTo>
                  <a:pt x="254" y="91"/>
                </a:lnTo>
                <a:lnTo>
                  <a:pt x="254" y="93"/>
                </a:lnTo>
                <a:lnTo>
                  <a:pt x="251" y="96"/>
                </a:lnTo>
                <a:lnTo>
                  <a:pt x="249" y="93"/>
                </a:lnTo>
                <a:lnTo>
                  <a:pt x="251" y="96"/>
                </a:lnTo>
                <a:lnTo>
                  <a:pt x="249" y="98"/>
                </a:lnTo>
                <a:lnTo>
                  <a:pt x="251" y="98"/>
                </a:lnTo>
                <a:lnTo>
                  <a:pt x="254" y="96"/>
                </a:lnTo>
                <a:lnTo>
                  <a:pt x="254" y="93"/>
                </a:lnTo>
                <a:lnTo>
                  <a:pt x="256" y="91"/>
                </a:lnTo>
                <a:lnTo>
                  <a:pt x="256" y="89"/>
                </a:lnTo>
                <a:lnTo>
                  <a:pt x="256" y="91"/>
                </a:lnTo>
                <a:lnTo>
                  <a:pt x="256" y="93"/>
                </a:lnTo>
                <a:lnTo>
                  <a:pt x="256" y="96"/>
                </a:lnTo>
                <a:lnTo>
                  <a:pt x="256" y="98"/>
                </a:lnTo>
                <a:lnTo>
                  <a:pt x="256" y="100"/>
                </a:lnTo>
                <a:lnTo>
                  <a:pt x="256" y="103"/>
                </a:lnTo>
                <a:lnTo>
                  <a:pt x="256" y="105"/>
                </a:lnTo>
                <a:lnTo>
                  <a:pt x="254" y="114"/>
                </a:lnTo>
                <a:lnTo>
                  <a:pt x="254" y="119"/>
                </a:lnTo>
                <a:lnTo>
                  <a:pt x="251" y="121"/>
                </a:lnTo>
                <a:lnTo>
                  <a:pt x="251" y="124"/>
                </a:lnTo>
                <a:lnTo>
                  <a:pt x="251" y="126"/>
                </a:lnTo>
                <a:lnTo>
                  <a:pt x="249" y="126"/>
                </a:lnTo>
                <a:lnTo>
                  <a:pt x="247" y="124"/>
                </a:lnTo>
                <a:lnTo>
                  <a:pt x="244" y="124"/>
                </a:lnTo>
                <a:lnTo>
                  <a:pt x="242" y="121"/>
                </a:lnTo>
                <a:lnTo>
                  <a:pt x="240" y="121"/>
                </a:lnTo>
                <a:lnTo>
                  <a:pt x="240" y="119"/>
                </a:lnTo>
                <a:lnTo>
                  <a:pt x="237" y="114"/>
                </a:lnTo>
                <a:lnTo>
                  <a:pt x="235" y="112"/>
                </a:lnTo>
                <a:lnTo>
                  <a:pt x="233" y="112"/>
                </a:lnTo>
                <a:lnTo>
                  <a:pt x="230" y="112"/>
                </a:lnTo>
                <a:lnTo>
                  <a:pt x="226" y="110"/>
                </a:lnTo>
                <a:lnTo>
                  <a:pt x="223" y="110"/>
                </a:lnTo>
                <a:lnTo>
                  <a:pt x="221" y="110"/>
                </a:lnTo>
                <a:lnTo>
                  <a:pt x="219" y="112"/>
                </a:lnTo>
                <a:lnTo>
                  <a:pt x="216" y="112"/>
                </a:lnTo>
                <a:lnTo>
                  <a:pt x="216" y="114"/>
                </a:lnTo>
                <a:lnTo>
                  <a:pt x="214" y="114"/>
                </a:lnTo>
                <a:lnTo>
                  <a:pt x="214" y="112"/>
                </a:lnTo>
                <a:lnTo>
                  <a:pt x="209" y="112"/>
                </a:lnTo>
                <a:lnTo>
                  <a:pt x="207" y="112"/>
                </a:lnTo>
                <a:lnTo>
                  <a:pt x="207" y="114"/>
                </a:lnTo>
                <a:lnTo>
                  <a:pt x="207" y="117"/>
                </a:lnTo>
                <a:lnTo>
                  <a:pt x="202" y="124"/>
                </a:lnTo>
                <a:lnTo>
                  <a:pt x="198" y="124"/>
                </a:lnTo>
                <a:lnTo>
                  <a:pt x="198" y="126"/>
                </a:lnTo>
                <a:lnTo>
                  <a:pt x="196" y="126"/>
                </a:lnTo>
                <a:lnTo>
                  <a:pt x="193" y="126"/>
                </a:lnTo>
                <a:lnTo>
                  <a:pt x="186" y="126"/>
                </a:lnTo>
                <a:lnTo>
                  <a:pt x="184" y="126"/>
                </a:lnTo>
                <a:lnTo>
                  <a:pt x="182" y="128"/>
                </a:lnTo>
                <a:lnTo>
                  <a:pt x="182" y="126"/>
                </a:lnTo>
                <a:lnTo>
                  <a:pt x="179" y="126"/>
                </a:lnTo>
                <a:lnTo>
                  <a:pt x="179" y="128"/>
                </a:lnTo>
                <a:lnTo>
                  <a:pt x="182" y="128"/>
                </a:lnTo>
                <a:lnTo>
                  <a:pt x="182" y="131"/>
                </a:lnTo>
                <a:lnTo>
                  <a:pt x="179" y="131"/>
                </a:lnTo>
                <a:lnTo>
                  <a:pt x="177" y="131"/>
                </a:lnTo>
                <a:lnTo>
                  <a:pt x="177" y="133"/>
                </a:lnTo>
                <a:lnTo>
                  <a:pt x="177" y="131"/>
                </a:lnTo>
                <a:lnTo>
                  <a:pt x="175" y="131"/>
                </a:lnTo>
                <a:lnTo>
                  <a:pt x="172" y="131"/>
                </a:lnTo>
                <a:lnTo>
                  <a:pt x="168" y="131"/>
                </a:lnTo>
                <a:lnTo>
                  <a:pt x="168" y="128"/>
                </a:lnTo>
                <a:lnTo>
                  <a:pt x="168" y="126"/>
                </a:lnTo>
                <a:lnTo>
                  <a:pt x="165" y="126"/>
                </a:lnTo>
                <a:lnTo>
                  <a:pt x="163" y="128"/>
                </a:lnTo>
                <a:lnTo>
                  <a:pt x="161" y="128"/>
                </a:lnTo>
                <a:lnTo>
                  <a:pt x="158" y="128"/>
                </a:lnTo>
                <a:lnTo>
                  <a:pt x="158" y="126"/>
                </a:lnTo>
                <a:lnTo>
                  <a:pt x="156" y="126"/>
                </a:lnTo>
                <a:lnTo>
                  <a:pt x="154" y="126"/>
                </a:lnTo>
                <a:lnTo>
                  <a:pt x="151" y="126"/>
                </a:lnTo>
                <a:lnTo>
                  <a:pt x="147" y="126"/>
                </a:lnTo>
                <a:lnTo>
                  <a:pt x="144" y="126"/>
                </a:lnTo>
                <a:lnTo>
                  <a:pt x="144" y="128"/>
                </a:lnTo>
                <a:lnTo>
                  <a:pt x="147" y="128"/>
                </a:lnTo>
                <a:lnTo>
                  <a:pt x="144" y="128"/>
                </a:lnTo>
                <a:lnTo>
                  <a:pt x="144" y="131"/>
                </a:lnTo>
                <a:lnTo>
                  <a:pt x="142" y="131"/>
                </a:lnTo>
                <a:lnTo>
                  <a:pt x="140" y="131"/>
                </a:lnTo>
                <a:lnTo>
                  <a:pt x="137" y="131"/>
                </a:lnTo>
                <a:lnTo>
                  <a:pt x="135" y="131"/>
                </a:lnTo>
                <a:lnTo>
                  <a:pt x="133" y="131"/>
                </a:lnTo>
                <a:lnTo>
                  <a:pt x="135" y="131"/>
                </a:lnTo>
                <a:lnTo>
                  <a:pt x="135" y="133"/>
                </a:lnTo>
                <a:lnTo>
                  <a:pt x="133" y="133"/>
                </a:lnTo>
                <a:lnTo>
                  <a:pt x="130" y="133"/>
                </a:lnTo>
                <a:lnTo>
                  <a:pt x="128" y="135"/>
                </a:lnTo>
                <a:lnTo>
                  <a:pt x="128" y="138"/>
                </a:lnTo>
                <a:lnTo>
                  <a:pt x="130" y="138"/>
                </a:lnTo>
                <a:lnTo>
                  <a:pt x="130" y="140"/>
                </a:lnTo>
                <a:lnTo>
                  <a:pt x="128" y="140"/>
                </a:lnTo>
                <a:lnTo>
                  <a:pt x="128" y="142"/>
                </a:lnTo>
                <a:lnTo>
                  <a:pt x="126" y="142"/>
                </a:lnTo>
                <a:lnTo>
                  <a:pt x="123" y="142"/>
                </a:lnTo>
                <a:lnTo>
                  <a:pt x="123" y="145"/>
                </a:lnTo>
                <a:lnTo>
                  <a:pt x="121" y="145"/>
                </a:lnTo>
                <a:lnTo>
                  <a:pt x="119" y="147"/>
                </a:lnTo>
                <a:lnTo>
                  <a:pt x="114" y="147"/>
                </a:lnTo>
                <a:lnTo>
                  <a:pt x="112" y="147"/>
                </a:lnTo>
                <a:lnTo>
                  <a:pt x="107" y="149"/>
                </a:lnTo>
                <a:lnTo>
                  <a:pt x="105" y="149"/>
                </a:lnTo>
                <a:lnTo>
                  <a:pt x="102" y="147"/>
                </a:lnTo>
                <a:lnTo>
                  <a:pt x="102" y="145"/>
                </a:lnTo>
                <a:lnTo>
                  <a:pt x="100" y="145"/>
                </a:lnTo>
                <a:lnTo>
                  <a:pt x="98" y="142"/>
                </a:lnTo>
                <a:lnTo>
                  <a:pt x="98" y="140"/>
                </a:lnTo>
                <a:lnTo>
                  <a:pt x="95" y="140"/>
                </a:lnTo>
                <a:lnTo>
                  <a:pt x="95" y="138"/>
                </a:lnTo>
                <a:lnTo>
                  <a:pt x="95" y="135"/>
                </a:lnTo>
                <a:lnTo>
                  <a:pt x="95" y="133"/>
                </a:lnTo>
                <a:lnTo>
                  <a:pt x="95" y="131"/>
                </a:lnTo>
                <a:lnTo>
                  <a:pt x="98" y="131"/>
                </a:lnTo>
                <a:lnTo>
                  <a:pt x="98" y="128"/>
                </a:lnTo>
                <a:lnTo>
                  <a:pt x="95" y="126"/>
                </a:lnTo>
                <a:lnTo>
                  <a:pt x="93" y="126"/>
                </a:lnTo>
                <a:lnTo>
                  <a:pt x="91" y="126"/>
                </a:lnTo>
                <a:lnTo>
                  <a:pt x="88" y="126"/>
                </a:lnTo>
                <a:lnTo>
                  <a:pt x="86" y="126"/>
                </a:lnTo>
                <a:lnTo>
                  <a:pt x="86" y="128"/>
                </a:lnTo>
                <a:lnTo>
                  <a:pt x="84" y="128"/>
                </a:lnTo>
                <a:lnTo>
                  <a:pt x="84" y="126"/>
                </a:lnTo>
                <a:lnTo>
                  <a:pt x="86" y="124"/>
                </a:lnTo>
                <a:lnTo>
                  <a:pt x="88" y="124"/>
                </a:lnTo>
                <a:lnTo>
                  <a:pt x="88" y="121"/>
                </a:lnTo>
                <a:lnTo>
                  <a:pt x="93" y="119"/>
                </a:lnTo>
                <a:lnTo>
                  <a:pt x="93" y="117"/>
                </a:lnTo>
                <a:lnTo>
                  <a:pt x="95" y="117"/>
                </a:lnTo>
                <a:lnTo>
                  <a:pt x="98" y="114"/>
                </a:lnTo>
                <a:lnTo>
                  <a:pt x="98" y="112"/>
                </a:lnTo>
                <a:lnTo>
                  <a:pt x="98" y="110"/>
                </a:lnTo>
                <a:lnTo>
                  <a:pt x="95" y="107"/>
                </a:lnTo>
                <a:lnTo>
                  <a:pt x="95" y="105"/>
                </a:lnTo>
                <a:lnTo>
                  <a:pt x="98" y="105"/>
                </a:lnTo>
                <a:lnTo>
                  <a:pt x="98" y="103"/>
                </a:lnTo>
                <a:lnTo>
                  <a:pt x="98" y="100"/>
                </a:lnTo>
                <a:lnTo>
                  <a:pt x="100" y="100"/>
                </a:lnTo>
                <a:lnTo>
                  <a:pt x="102" y="100"/>
                </a:lnTo>
                <a:lnTo>
                  <a:pt x="105" y="100"/>
                </a:lnTo>
                <a:lnTo>
                  <a:pt x="107" y="100"/>
                </a:lnTo>
                <a:lnTo>
                  <a:pt x="112" y="98"/>
                </a:lnTo>
                <a:lnTo>
                  <a:pt x="112" y="96"/>
                </a:lnTo>
                <a:lnTo>
                  <a:pt x="112" y="93"/>
                </a:lnTo>
                <a:lnTo>
                  <a:pt x="112" y="91"/>
                </a:lnTo>
                <a:lnTo>
                  <a:pt x="109" y="91"/>
                </a:lnTo>
                <a:lnTo>
                  <a:pt x="107" y="91"/>
                </a:lnTo>
                <a:lnTo>
                  <a:pt x="107" y="89"/>
                </a:lnTo>
                <a:lnTo>
                  <a:pt x="105" y="86"/>
                </a:lnTo>
                <a:lnTo>
                  <a:pt x="100" y="82"/>
                </a:lnTo>
                <a:lnTo>
                  <a:pt x="98" y="82"/>
                </a:lnTo>
                <a:lnTo>
                  <a:pt x="95" y="82"/>
                </a:lnTo>
                <a:lnTo>
                  <a:pt x="91" y="82"/>
                </a:lnTo>
                <a:lnTo>
                  <a:pt x="91" y="84"/>
                </a:lnTo>
                <a:lnTo>
                  <a:pt x="88" y="84"/>
                </a:lnTo>
                <a:lnTo>
                  <a:pt x="88" y="86"/>
                </a:lnTo>
                <a:lnTo>
                  <a:pt x="86" y="86"/>
                </a:lnTo>
                <a:lnTo>
                  <a:pt x="86" y="84"/>
                </a:lnTo>
                <a:lnTo>
                  <a:pt x="81" y="84"/>
                </a:lnTo>
                <a:lnTo>
                  <a:pt x="81" y="86"/>
                </a:lnTo>
                <a:lnTo>
                  <a:pt x="79" y="89"/>
                </a:lnTo>
                <a:lnTo>
                  <a:pt x="77" y="91"/>
                </a:lnTo>
                <a:lnTo>
                  <a:pt x="72" y="93"/>
                </a:lnTo>
                <a:lnTo>
                  <a:pt x="65" y="93"/>
                </a:lnTo>
                <a:lnTo>
                  <a:pt x="63" y="96"/>
                </a:lnTo>
                <a:lnTo>
                  <a:pt x="61" y="98"/>
                </a:lnTo>
                <a:lnTo>
                  <a:pt x="54" y="100"/>
                </a:lnTo>
                <a:lnTo>
                  <a:pt x="51" y="100"/>
                </a:lnTo>
                <a:lnTo>
                  <a:pt x="51" y="103"/>
                </a:lnTo>
                <a:lnTo>
                  <a:pt x="49" y="105"/>
                </a:lnTo>
                <a:lnTo>
                  <a:pt x="47" y="105"/>
                </a:lnTo>
                <a:lnTo>
                  <a:pt x="44" y="105"/>
                </a:lnTo>
                <a:lnTo>
                  <a:pt x="42" y="105"/>
                </a:lnTo>
                <a:lnTo>
                  <a:pt x="42" y="103"/>
                </a:lnTo>
                <a:lnTo>
                  <a:pt x="42" y="105"/>
                </a:lnTo>
                <a:lnTo>
                  <a:pt x="40" y="105"/>
                </a:lnTo>
                <a:lnTo>
                  <a:pt x="40" y="107"/>
                </a:lnTo>
                <a:lnTo>
                  <a:pt x="37" y="107"/>
                </a:lnTo>
                <a:lnTo>
                  <a:pt x="37" y="105"/>
                </a:lnTo>
                <a:lnTo>
                  <a:pt x="35" y="105"/>
                </a:lnTo>
                <a:lnTo>
                  <a:pt x="35" y="103"/>
                </a:lnTo>
                <a:lnTo>
                  <a:pt x="35" y="105"/>
                </a:lnTo>
                <a:lnTo>
                  <a:pt x="33" y="105"/>
                </a:lnTo>
                <a:lnTo>
                  <a:pt x="33" y="107"/>
                </a:lnTo>
                <a:lnTo>
                  <a:pt x="30" y="107"/>
                </a:lnTo>
                <a:lnTo>
                  <a:pt x="30" y="105"/>
                </a:lnTo>
                <a:lnTo>
                  <a:pt x="30" y="107"/>
                </a:lnTo>
                <a:lnTo>
                  <a:pt x="28" y="107"/>
                </a:lnTo>
                <a:lnTo>
                  <a:pt x="26" y="107"/>
                </a:lnTo>
                <a:lnTo>
                  <a:pt x="26" y="105"/>
                </a:lnTo>
                <a:lnTo>
                  <a:pt x="26" y="103"/>
                </a:lnTo>
                <a:lnTo>
                  <a:pt x="26" y="100"/>
                </a:lnTo>
                <a:lnTo>
                  <a:pt x="23" y="98"/>
                </a:lnTo>
                <a:lnTo>
                  <a:pt x="21" y="98"/>
                </a:lnTo>
                <a:lnTo>
                  <a:pt x="19" y="98"/>
                </a:lnTo>
                <a:lnTo>
                  <a:pt x="19" y="100"/>
                </a:lnTo>
                <a:lnTo>
                  <a:pt x="19" y="98"/>
                </a:lnTo>
                <a:lnTo>
                  <a:pt x="16" y="98"/>
                </a:lnTo>
                <a:lnTo>
                  <a:pt x="16" y="100"/>
                </a:lnTo>
                <a:lnTo>
                  <a:pt x="14" y="100"/>
                </a:lnTo>
                <a:lnTo>
                  <a:pt x="12" y="100"/>
                </a:lnTo>
                <a:lnTo>
                  <a:pt x="9" y="100"/>
                </a:lnTo>
                <a:lnTo>
                  <a:pt x="9" y="98"/>
                </a:lnTo>
                <a:lnTo>
                  <a:pt x="7" y="98"/>
                </a:lnTo>
                <a:lnTo>
                  <a:pt x="7" y="96"/>
                </a:lnTo>
                <a:lnTo>
                  <a:pt x="7" y="93"/>
                </a:lnTo>
                <a:lnTo>
                  <a:pt x="5" y="93"/>
                </a:lnTo>
                <a:lnTo>
                  <a:pt x="5" y="91"/>
                </a:lnTo>
                <a:lnTo>
                  <a:pt x="5" y="89"/>
                </a:lnTo>
                <a:lnTo>
                  <a:pt x="2" y="89"/>
                </a:lnTo>
                <a:lnTo>
                  <a:pt x="0" y="89"/>
                </a:lnTo>
                <a:lnTo>
                  <a:pt x="0" y="86"/>
                </a:lnTo>
                <a:lnTo>
                  <a:pt x="2" y="86"/>
                </a:lnTo>
                <a:lnTo>
                  <a:pt x="5" y="86"/>
                </a:lnTo>
                <a:lnTo>
                  <a:pt x="5" y="84"/>
                </a:lnTo>
                <a:lnTo>
                  <a:pt x="7" y="84"/>
                </a:lnTo>
                <a:lnTo>
                  <a:pt x="7" y="82"/>
                </a:lnTo>
                <a:lnTo>
                  <a:pt x="7" y="79"/>
                </a:lnTo>
                <a:lnTo>
                  <a:pt x="9" y="79"/>
                </a:lnTo>
                <a:lnTo>
                  <a:pt x="12" y="77"/>
                </a:lnTo>
                <a:lnTo>
                  <a:pt x="12" y="75"/>
                </a:lnTo>
                <a:lnTo>
                  <a:pt x="14" y="72"/>
                </a:lnTo>
                <a:lnTo>
                  <a:pt x="14" y="70"/>
                </a:lnTo>
                <a:lnTo>
                  <a:pt x="16" y="70"/>
                </a:lnTo>
                <a:lnTo>
                  <a:pt x="14" y="68"/>
                </a:lnTo>
                <a:lnTo>
                  <a:pt x="14" y="65"/>
                </a:lnTo>
                <a:lnTo>
                  <a:pt x="12" y="65"/>
                </a:lnTo>
                <a:lnTo>
                  <a:pt x="12" y="63"/>
                </a:lnTo>
                <a:lnTo>
                  <a:pt x="12" y="61"/>
                </a:lnTo>
                <a:lnTo>
                  <a:pt x="9" y="61"/>
                </a:lnTo>
                <a:lnTo>
                  <a:pt x="7" y="61"/>
                </a:lnTo>
                <a:lnTo>
                  <a:pt x="7" y="58"/>
                </a:lnTo>
                <a:lnTo>
                  <a:pt x="9" y="56"/>
                </a:lnTo>
                <a:lnTo>
                  <a:pt x="9" y="54"/>
                </a:lnTo>
                <a:lnTo>
                  <a:pt x="7" y="52"/>
                </a:lnTo>
                <a:lnTo>
                  <a:pt x="7" y="49"/>
                </a:lnTo>
                <a:lnTo>
                  <a:pt x="5" y="49"/>
                </a:lnTo>
                <a:lnTo>
                  <a:pt x="5" y="47"/>
                </a:lnTo>
                <a:lnTo>
                  <a:pt x="5" y="45"/>
                </a:lnTo>
                <a:lnTo>
                  <a:pt x="5" y="42"/>
                </a:lnTo>
                <a:lnTo>
                  <a:pt x="7" y="42"/>
                </a:lnTo>
                <a:lnTo>
                  <a:pt x="7" y="40"/>
                </a:lnTo>
                <a:lnTo>
                  <a:pt x="9" y="40"/>
                </a:lnTo>
                <a:lnTo>
                  <a:pt x="12" y="40"/>
                </a:lnTo>
                <a:lnTo>
                  <a:pt x="12" y="38"/>
                </a:lnTo>
                <a:lnTo>
                  <a:pt x="14" y="35"/>
                </a:lnTo>
                <a:lnTo>
                  <a:pt x="14" y="33"/>
                </a:lnTo>
                <a:lnTo>
                  <a:pt x="14" y="31"/>
                </a:lnTo>
                <a:lnTo>
                  <a:pt x="14" y="28"/>
                </a:lnTo>
                <a:lnTo>
                  <a:pt x="21" y="17"/>
                </a:lnTo>
                <a:lnTo>
                  <a:pt x="21" y="14"/>
                </a:lnTo>
                <a:lnTo>
                  <a:pt x="23" y="14"/>
                </a:lnTo>
                <a:lnTo>
                  <a:pt x="23" y="12"/>
                </a:lnTo>
                <a:lnTo>
                  <a:pt x="26" y="10"/>
                </a:lnTo>
                <a:lnTo>
                  <a:pt x="28" y="10"/>
                </a:lnTo>
                <a:lnTo>
                  <a:pt x="26" y="10"/>
                </a:lnTo>
                <a:lnTo>
                  <a:pt x="26" y="12"/>
                </a:lnTo>
                <a:lnTo>
                  <a:pt x="28" y="12"/>
                </a:lnTo>
                <a:lnTo>
                  <a:pt x="30" y="14"/>
                </a:lnTo>
                <a:lnTo>
                  <a:pt x="37" y="19"/>
                </a:lnTo>
                <a:lnTo>
                  <a:pt x="40" y="21"/>
                </a:lnTo>
                <a:lnTo>
                  <a:pt x="42" y="19"/>
                </a:lnTo>
                <a:lnTo>
                  <a:pt x="49" y="24"/>
                </a:lnTo>
                <a:lnTo>
                  <a:pt x="54" y="19"/>
                </a:lnTo>
                <a:lnTo>
                  <a:pt x="56" y="19"/>
                </a:lnTo>
                <a:lnTo>
                  <a:pt x="56" y="21"/>
                </a:lnTo>
                <a:lnTo>
                  <a:pt x="58" y="21"/>
                </a:lnTo>
                <a:lnTo>
                  <a:pt x="58" y="19"/>
                </a:lnTo>
                <a:lnTo>
                  <a:pt x="61" y="19"/>
                </a:lnTo>
                <a:lnTo>
                  <a:pt x="65" y="17"/>
                </a:lnTo>
                <a:lnTo>
                  <a:pt x="70" y="14"/>
                </a:lnTo>
                <a:lnTo>
                  <a:pt x="70" y="12"/>
                </a:lnTo>
                <a:lnTo>
                  <a:pt x="72" y="12"/>
                </a:lnTo>
                <a:lnTo>
                  <a:pt x="74" y="12"/>
                </a:lnTo>
                <a:lnTo>
                  <a:pt x="74" y="10"/>
                </a:lnTo>
                <a:lnTo>
                  <a:pt x="74" y="7"/>
                </a:lnTo>
                <a:lnTo>
                  <a:pt x="77" y="5"/>
                </a:lnTo>
                <a:lnTo>
                  <a:pt x="79" y="5"/>
                </a:lnTo>
                <a:lnTo>
                  <a:pt x="84" y="3"/>
                </a:lnTo>
                <a:lnTo>
                  <a:pt x="86" y="3"/>
                </a:lnTo>
                <a:lnTo>
                  <a:pt x="88" y="3"/>
                </a:lnTo>
                <a:lnTo>
                  <a:pt x="91" y="3"/>
                </a:lnTo>
                <a:lnTo>
                  <a:pt x="93" y="3"/>
                </a:lnTo>
                <a:lnTo>
                  <a:pt x="95" y="3"/>
                </a:lnTo>
                <a:lnTo>
                  <a:pt x="98" y="3"/>
                </a:lnTo>
                <a:lnTo>
                  <a:pt x="100" y="3"/>
                </a:lnTo>
                <a:lnTo>
                  <a:pt x="102" y="3"/>
                </a:lnTo>
                <a:lnTo>
                  <a:pt x="105" y="3"/>
                </a:lnTo>
                <a:lnTo>
                  <a:pt x="107" y="0"/>
                </a:lnTo>
                <a:lnTo>
                  <a:pt x="109" y="0"/>
                </a:lnTo>
                <a:lnTo>
                  <a:pt x="112" y="0"/>
                </a:lnTo>
                <a:lnTo>
                  <a:pt x="114" y="0"/>
                </a:lnTo>
                <a:lnTo>
                  <a:pt x="114" y="3"/>
                </a:lnTo>
                <a:lnTo>
                  <a:pt x="116" y="3"/>
                </a:lnTo>
                <a:lnTo>
                  <a:pt x="114" y="7"/>
                </a:lnTo>
                <a:lnTo>
                  <a:pt x="114" y="10"/>
                </a:lnTo>
                <a:lnTo>
                  <a:pt x="112" y="10"/>
                </a:lnTo>
                <a:lnTo>
                  <a:pt x="107" y="17"/>
                </a:lnTo>
                <a:lnTo>
                  <a:pt x="102" y="17"/>
                </a:lnTo>
                <a:lnTo>
                  <a:pt x="100" y="21"/>
                </a:lnTo>
                <a:lnTo>
                  <a:pt x="98" y="21"/>
                </a:lnTo>
                <a:lnTo>
                  <a:pt x="98" y="24"/>
                </a:lnTo>
                <a:lnTo>
                  <a:pt x="95" y="26"/>
                </a:lnTo>
                <a:lnTo>
                  <a:pt x="93" y="31"/>
                </a:lnTo>
                <a:lnTo>
                  <a:pt x="91" y="31"/>
                </a:lnTo>
                <a:lnTo>
                  <a:pt x="88" y="31"/>
                </a:lnTo>
                <a:lnTo>
                  <a:pt x="88" y="33"/>
                </a:lnTo>
                <a:lnTo>
                  <a:pt x="86" y="38"/>
                </a:lnTo>
                <a:lnTo>
                  <a:pt x="86" y="40"/>
                </a:lnTo>
                <a:lnTo>
                  <a:pt x="88" y="40"/>
                </a:lnTo>
                <a:lnTo>
                  <a:pt x="93" y="42"/>
                </a:lnTo>
                <a:lnTo>
                  <a:pt x="95" y="42"/>
                </a:lnTo>
                <a:lnTo>
                  <a:pt x="98" y="42"/>
                </a:lnTo>
                <a:lnTo>
                  <a:pt x="100" y="45"/>
                </a:lnTo>
                <a:lnTo>
                  <a:pt x="102" y="47"/>
                </a:lnTo>
                <a:lnTo>
                  <a:pt x="102" y="49"/>
                </a:lnTo>
                <a:lnTo>
                  <a:pt x="102" y="52"/>
                </a:lnTo>
                <a:lnTo>
                  <a:pt x="105" y="52"/>
                </a:lnTo>
                <a:lnTo>
                  <a:pt x="107" y="52"/>
                </a:lnTo>
                <a:lnTo>
                  <a:pt x="109" y="52"/>
                </a:lnTo>
                <a:lnTo>
                  <a:pt x="116" y="49"/>
                </a:lnTo>
                <a:lnTo>
                  <a:pt x="119" y="49"/>
                </a:lnTo>
                <a:lnTo>
                  <a:pt x="119" y="47"/>
                </a:lnTo>
                <a:lnTo>
                  <a:pt x="121" y="47"/>
                </a:lnTo>
                <a:lnTo>
                  <a:pt x="121" y="49"/>
                </a:lnTo>
                <a:lnTo>
                  <a:pt x="123" y="49"/>
                </a:lnTo>
                <a:lnTo>
                  <a:pt x="123" y="52"/>
                </a:lnTo>
                <a:lnTo>
                  <a:pt x="126" y="52"/>
                </a:lnTo>
                <a:lnTo>
                  <a:pt x="130" y="52"/>
                </a:lnTo>
                <a:lnTo>
                  <a:pt x="133" y="54"/>
                </a:lnTo>
                <a:lnTo>
                  <a:pt x="135" y="56"/>
                </a:lnTo>
                <a:lnTo>
                  <a:pt x="135" y="58"/>
                </a:lnTo>
                <a:lnTo>
                  <a:pt x="133" y="63"/>
                </a:lnTo>
                <a:lnTo>
                  <a:pt x="133" y="65"/>
                </a:lnTo>
                <a:lnTo>
                  <a:pt x="135" y="68"/>
                </a:lnTo>
                <a:lnTo>
                  <a:pt x="140" y="65"/>
                </a:lnTo>
                <a:lnTo>
                  <a:pt x="142" y="65"/>
                </a:lnTo>
                <a:lnTo>
                  <a:pt x="144" y="65"/>
                </a:lnTo>
                <a:lnTo>
                  <a:pt x="147" y="65"/>
                </a:lnTo>
                <a:lnTo>
                  <a:pt x="149" y="63"/>
                </a:lnTo>
                <a:lnTo>
                  <a:pt x="149" y="61"/>
                </a:lnTo>
                <a:lnTo>
                  <a:pt x="151" y="58"/>
                </a:lnTo>
                <a:lnTo>
                  <a:pt x="151" y="56"/>
                </a:lnTo>
                <a:lnTo>
                  <a:pt x="151" y="54"/>
                </a:lnTo>
                <a:lnTo>
                  <a:pt x="149" y="54"/>
                </a:lnTo>
                <a:lnTo>
                  <a:pt x="149" y="52"/>
                </a:lnTo>
                <a:lnTo>
                  <a:pt x="151" y="49"/>
                </a:lnTo>
                <a:lnTo>
                  <a:pt x="151" y="47"/>
                </a:lnTo>
                <a:lnTo>
                  <a:pt x="154" y="47"/>
                </a:lnTo>
                <a:lnTo>
                  <a:pt x="156" y="49"/>
                </a:lnTo>
                <a:lnTo>
                  <a:pt x="156" y="47"/>
                </a:lnTo>
                <a:lnTo>
                  <a:pt x="156" y="42"/>
                </a:lnTo>
                <a:lnTo>
                  <a:pt x="154" y="40"/>
                </a:lnTo>
                <a:lnTo>
                  <a:pt x="154" y="38"/>
                </a:lnTo>
                <a:lnTo>
                  <a:pt x="154" y="35"/>
                </a:lnTo>
                <a:lnTo>
                  <a:pt x="156" y="33"/>
                </a:lnTo>
                <a:lnTo>
                  <a:pt x="156" y="31"/>
                </a:lnTo>
                <a:lnTo>
                  <a:pt x="158" y="31"/>
                </a:lnTo>
                <a:lnTo>
                  <a:pt x="161" y="31"/>
                </a:lnTo>
                <a:lnTo>
                  <a:pt x="163" y="28"/>
                </a:lnTo>
                <a:lnTo>
                  <a:pt x="165" y="28"/>
                </a:lnTo>
                <a:lnTo>
                  <a:pt x="168" y="28"/>
                </a:lnTo>
                <a:lnTo>
                  <a:pt x="170" y="28"/>
                </a:lnTo>
                <a:lnTo>
                  <a:pt x="170" y="31"/>
                </a:lnTo>
                <a:lnTo>
                  <a:pt x="170" y="33"/>
                </a:lnTo>
                <a:lnTo>
                  <a:pt x="170" y="35"/>
                </a:lnTo>
                <a:lnTo>
                  <a:pt x="172" y="35"/>
                </a:lnTo>
                <a:lnTo>
                  <a:pt x="179" y="40"/>
                </a:lnTo>
                <a:lnTo>
                  <a:pt x="184" y="40"/>
                </a:lnTo>
                <a:lnTo>
                  <a:pt x="186" y="40"/>
                </a:lnTo>
                <a:lnTo>
                  <a:pt x="191" y="42"/>
                </a:lnTo>
                <a:lnTo>
                  <a:pt x="193" y="42"/>
                </a:lnTo>
                <a:lnTo>
                  <a:pt x="198" y="45"/>
                </a:lnTo>
                <a:lnTo>
                  <a:pt x="200" y="45"/>
                </a:lnTo>
                <a:lnTo>
                  <a:pt x="205" y="45"/>
                </a:lnTo>
                <a:lnTo>
                  <a:pt x="207" y="45"/>
                </a:lnTo>
                <a:lnTo>
                  <a:pt x="209" y="45"/>
                </a:lnTo>
                <a:lnTo>
                  <a:pt x="212" y="45"/>
                </a:lnTo>
                <a:lnTo>
                  <a:pt x="216" y="47"/>
                </a:lnTo>
                <a:lnTo>
                  <a:pt x="219" y="47"/>
                </a:lnTo>
                <a:lnTo>
                  <a:pt x="221" y="49"/>
                </a:lnTo>
                <a:lnTo>
                  <a:pt x="223" y="49"/>
                </a:lnTo>
                <a:lnTo>
                  <a:pt x="228" y="54"/>
                </a:lnTo>
                <a:lnTo>
                  <a:pt x="230" y="54"/>
                </a:lnTo>
                <a:lnTo>
                  <a:pt x="233" y="54"/>
                </a:lnTo>
                <a:lnTo>
                  <a:pt x="235" y="54"/>
                </a:lnTo>
                <a:lnTo>
                  <a:pt x="240" y="54"/>
                </a:lnTo>
                <a:lnTo>
                  <a:pt x="244" y="56"/>
                </a:lnTo>
                <a:lnTo>
                  <a:pt x="247" y="56"/>
                </a:lnTo>
                <a:lnTo>
                  <a:pt x="247" y="58"/>
                </a:lnTo>
                <a:lnTo>
                  <a:pt x="249" y="58"/>
                </a:lnTo>
                <a:lnTo>
                  <a:pt x="249" y="56"/>
                </a:lnTo>
                <a:lnTo>
                  <a:pt x="251" y="56"/>
                </a:lnTo>
                <a:lnTo>
                  <a:pt x="254" y="56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50" name="Freeform 27">
            <a:extLst>
              <a:ext uri="{FF2B5EF4-FFF2-40B4-BE49-F238E27FC236}">
                <a16:creationId xmlns:a16="http://schemas.microsoft.com/office/drawing/2014/main" id="{D99E3457-6AF5-6020-1982-45636F1B2DDD}"/>
              </a:ext>
            </a:extLst>
          </p:cNvPr>
          <p:cNvSpPr>
            <a:spLocks noEditPoints="1"/>
          </p:cNvSpPr>
          <p:nvPr/>
        </p:nvSpPr>
        <p:spPr bwMode="auto">
          <a:xfrm>
            <a:off x="3617419" y="4675769"/>
            <a:ext cx="285137" cy="159703"/>
          </a:xfrm>
          <a:custGeom>
            <a:avLst/>
            <a:gdLst>
              <a:gd name="T0" fmla="*/ 45 w 242"/>
              <a:gd name="T1" fmla="*/ 135 h 142"/>
              <a:gd name="T2" fmla="*/ 33 w 242"/>
              <a:gd name="T3" fmla="*/ 133 h 142"/>
              <a:gd name="T4" fmla="*/ 33 w 242"/>
              <a:gd name="T5" fmla="*/ 128 h 142"/>
              <a:gd name="T6" fmla="*/ 200 w 242"/>
              <a:gd name="T7" fmla="*/ 12 h 142"/>
              <a:gd name="T8" fmla="*/ 200 w 242"/>
              <a:gd name="T9" fmla="*/ 23 h 142"/>
              <a:gd name="T10" fmla="*/ 210 w 242"/>
              <a:gd name="T11" fmla="*/ 28 h 142"/>
              <a:gd name="T12" fmla="*/ 221 w 242"/>
              <a:gd name="T13" fmla="*/ 32 h 142"/>
              <a:gd name="T14" fmla="*/ 238 w 242"/>
              <a:gd name="T15" fmla="*/ 35 h 142"/>
              <a:gd name="T16" fmla="*/ 238 w 242"/>
              <a:gd name="T17" fmla="*/ 49 h 142"/>
              <a:gd name="T18" fmla="*/ 233 w 242"/>
              <a:gd name="T19" fmla="*/ 65 h 142"/>
              <a:gd name="T20" fmla="*/ 212 w 242"/>
              <a:gd name="T21" fmla="*/ 91 h 142"/>
              <a:gd name="T22" fmla="*/ 184 w 242"/>
              <a:gd name="T23" fmla="*/ 102 h 142"/>
              <a:gd name="T24" fmla="*/ 173 w 242"/>
              <a:gd name="T25" fmla="*/ 112 h 142"/>
              <a:gd name="T26" fmla="*/ 177 w 242"/>
              <a:gd name="T27" fmla="*/ 123 h 142"/>
              <a:gd name="T28" fmla="*/ 170 w 242"/>
              <a:gd name="T29" fmla="*/ 126 h 142"/>
              <a:gd name="T30" fmla="*/ 168 w 242"/>
              <a:gd name="T31" fmla="*/ 133 h 142"/>
              <a:gd name="T32" fmla="*/ 138 w 242"/>
              <a:gd name="T33" fmla="*/ 130 h 142"/>
              <a:gd name="T34" fmla="*/ 105 w 242"/>
              <a:gd name="T35" fmla="*/ 126 h 142"/>
              <a:gd name="T36" fmla="*/ 105 w 242"/>
              <a:gd name="T37" fmla="*/ 121 h 142"/>
              <a:gd name="T38" fmla="*/ 110 w 242"/>
              <a:gd name="T39" fmla="*/ 109 h 142"/>
              <a:gd name="T40" fmla="*/ 96 w 242"/>
              <a:gd name="T41" fmla="*/ 114 h 142"/>
              <a:gd name="T42" fmla="*/ 100 w 242"/>
              <a:gd name="T43" fmla="*/ 128 h 142"/>
              <a:gd name="T44" fmla="*/ 72 w 242"/>
              <a:gd name="T45" fmla="*/ 128 h 142"/>
              <a:gd name="T46" fmla="*/ 52 w 242"/>
              <a:gd name="T47" fmla="*/ 126 h 142"/>
              <a:gd name="T48" fmla="*/ 65 w 242"/>
              <a:gd name="T49" fmla="*/ 128 h 142"/>
              <a:gd name="T50" fmla="*/ 70 w 242"/>
              <a:gd name="T51" fmla="*/ 126 h 142"/>
              <a:gd name="T52" fmla="*/ 59 w 242"/>
              <a:gd name="T53" fmla="*/ 119 h 142"/>
              <a:gd name="T54" fmla="*/ 47 w 242"/>
              <a:gd name="T55" fmla="*/ 123 h 142"/>
              <a:gd name="T56" fmla="*/ 40 w 242"/>
              <a:gd name="T57" fmla="*/ 126 h 142"/>
              <a:gd name="T58" fmla="*/ 33 w 242"/>
              <a:gd name="T59" fmla="*/ 121 h 142"/>
              <a:gd name="T60" fmla="*/ 33 w 242"/>
              <a:gd name="T61" fmla="*/ 116 h 142"/>
              <a:gd name="T62" fmla="*/ 26 w 242"/>
              <a:gd name="T63" fmla="*/ 121 h 142"/>
              <a:gd name="T64" fmla="*/ 10 w 242"/>
              <a:gd name="T65" fmla="*/ 126 h 142"/>
              <a:gd name="T66" fmla="*/ 14 w 242"/>
              <a:gd name="T67" fmla="*/ 133 h 142"/>
              <a:gd name="T68" fmla="*/ 12 w 242"/>
              <a:gd name="T69" fmla="*/ 137 h 142"/>
              <a:gd name="T70" fmla="*/ 21 w 242"/>
              <a:gd name="T71" fmla="*/ 137 h 142"/>
              <a:gd name="T72" fmla="*/ 12 w 242"/>
              <a:gd name="T73" fmla="*/ 140 h 142"/>
              <a:gd name="T74" fmla="*/ 0 w 242"/>
              <a:gd name="T75" fmla="*/ 133 h 142"/>
              <a:gd name="T76" fmla="*/ 5 w 242"/>
              <a:gd name="T77" fmla="*/ 121 h 142"/>
              <a:gd name="T78" fmla="*/ 17 w 242"/>
              <a:gd name="T79" fmla="*/ 112 h 142"/>
              <a:gd name="T80" fmla="*/ 31 w 242"/>
              <a:gd name="T81" fmla="*/ 112 h 142"/>
              <a:gd name="T82" fmla="*/ 40 w 242"/>
              <a:gd name="T83" fmla="*/ 105 h 142"/>
              <a:gd name="T84" fmla="*/ 38 w 242"/>
              <a:gd name="T85" fmla="*/ 95 h 142"/>
              <a:gd name="T86" fmla="*/ 26 w 242"/>
              <a:gd name="T87" fmla="*/ 98 h 142"/>
              <a:gd name="T88" fmla="*/ 17 w 242"/>
              <a:gd name="T89" fmla="*/ 91 h 142"/>
              <a:gd name="T90" fmla="*/ 14 w 242"/>
              <a:gd name="T91" fmla="*/ 79 h 142"/>
              <a:gd name="T92" fmla="*/ 33 w 242"/>
              <a:gd name="T93" fmla="*/ 74 h 142"/>
              <a:gd name="T94" fmla="*/ 52 w 242"/>
              <a:gd name="T95" fmla="*/ 72 h 142"/>
              <a:gd name="T96" fmla="*/ 70 w 242"/>
              <a:gd name="T97" fmla="*/ 65 h 142"/>
              <a:gd name="T98" fmla="*/ 84 w 242"/>
              <a:gd name="T99" fmla="*/ 67 h 142"/>
              <a:gd name="T100" fmla="*/ 100 w 242"/>
              <a:gd name="T101" fmla="*/ 67 h 142"/>
              <a:gd name="T102" fmla="*/ 107 w 242"/>
              <a:gd name="T103" fmla="*/ 72 h 142"/>
              <a:gd name="T104" fmla="*/ 121 w 242"/>
              <a:gd name="T105" fmla="*/ 67 h 142"/>
              <a:gd name="T106" fmla="*/ 156 w 242"/>
              <a:gd name="T107" fmla="*/ 56 h 142"/>
              <a:gd name="T108" fmla="*/ 156 w 242"/>
              <a:gd name="T109" fmla="*/ 49 h 142"/>
              <a:gd name="T110" fmla="*/ 163 w 242"/>
              <a:gd name="T111" fmla="*/ 35 h 142"/>
              <a:gd name="T112" fmla="*/ 173 w 242"/>
              <a:gd name="T113" fmla="*/ 21 h 142"/>
              <a:gd name="T114" fmla="*/ 175 w 242"/>
              <a:gd name="T115" fmla="*/ 9 h 142"/>
              <a:gd name="T116" fmla="*/ 187 w 242"/>
              <a:gd name="T117" fmla="*/ 7 h 142"/>
              <a:gd name="T118" fmla="*/ 196 w 242"/>
              <a:gd name="T119" fmla="*/ 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2" h="142">
                <a:moveTo>
                  <a:pt x="40" y="128"/>
                </a:moveTo>
                <a:lnTo>
                  <a:pt x="40" y="130"/>
                </a:lnTo>
                <a:lnTo>
                  <a:pt x="42" y="130"/>
                </a:lnTo>
                <a:lnTo>
                  <a:pt x="45" y="130"/>
                </a:lnTo>
                <a:lnTo>
                  <a:pt x="45" y="133"/>
                </a:lnTo>
                <a:lnTo>
                  <a:pt x="47" y="133"/>
                </a:lnTo>
                <a:lnTo>
                  <a:pt x="45" y="135"/>
                </a:lnTo>
                <a:lnTo>
                  <a:pt x="45" y="133"/>
                </a:lnTo>
                <a:lnTo>
                  <a:pt x="42" y="133"/>
                </a:lnTo>
                <a:lnTo>
                  <a:pt x="40" y="133"/>
                </a:lnTo>
                <a:lnTo>
                  <a:pt x="40" y="135"/>
                </a:lnTo>
                <a:lnTo>
                  <a:pt x="38" y="135"/>
                </a:lnTo>
                <a:lnTo>
                  <a:pt x="35" y="133"/>
                </a:lnTo>
                <a:lnTo>
                  <a:pt x="33" y="133"/>
                </a:lnTo>
                <a:lnTo>
                  <a:pt x="33" y="135"/>
                </a:lnTo>
                <a:lnTo>
                  <a:pt x="31" y="135"/>
                </a:lnTo>
                <a:lnTo>
                  <a:pt x="31" y="133"/>
                </a:lnTo>
                <a:lnTo>
                  <a:pt x="28" y="133"/>
                </a:lnTo>
                <a:lnTo>
                  <a:pt x="31" y="133"/>
                </a:lnTo>
                <a:lnTo>
                  <a:pt x="33" y="130"/>
                </a:lnTo>
                <a:lnTo>
                  <a:pt x="33" y="128"/>
                </a:lnTo>
                <a:lnTo>
                  <a:pt x="35" y="130"/>
                </a:lnTo>
                <a:lnTo>
                  <a:pt x="35" y="128"/>
                </a:lnTo>
                <a:lnTo>
                  <a:pt x="38" y="128"/>
                </a:lnTo>
                <a:lnTo>
                  <a:pt x="38" y="126"/>
                </a:lnTo>
                <a:lnTo>
                  <a:pt x="38" y="128"/>
                </a:lnTo>
                <a:lnTo>
                  <a:pt x="40" y="128"/>
                </a:lnTo>
                <a:close/>
                <a:moveTo>
                  <a:pt x="200" y="12"/>
                </a:moveTo>
                <a:lnTo>
                  <a:pt x="200" y="14"/>
                </a:lnTo>
                <a:lnTo>
                  <a:pt x="200" y="16"/>
                </a:lnTo>
                <a:lnTo>
                  <a:pt x="198" y="16"/>
                </a:lnTo>
                <a:lnTo>
                  <a:pt x="198" y="19"/>
                </a:lnTo>
                <a:lnTo>
                  <a:pt x="198" y="21"/>
                </a:lnTo>
                <a:lnTo>
                  <a:pt x="198" y="23"/>
                </a:lnTo>
                <a:lnTo>
                  <a:pt x="200" y="23"/>
                </a:lnTo>
                <a:lnTo>
                  <a:pt x="200" y="21"/>
                </a:lnTo>
                <a:lnTo>
                  <a:pt x="200" y="23"/>
                </a:lnTo>
                <a:lnTo>
                  <a:pt x="203" y="23"/>
                </a:lnTo>
                <a:lnTo>
                  <a:pt x="205" y="25"/>
                </a:lnTo>
                <a:lnTo>
                  <a:pt x="207" y="25"/>
                </a:lnTo>
                <a:lnTo>
                  <a:pt x="207" y="28"/>
                </a:lnTo>
                <a:lnTo>
                  <a:pt x="210" y="28"/>
                </a:lnTo>
                <a:lnTo>
                  <a:pt x="212" y="28"/>
                </a:lnTo>
                <a:lnTo>
                  <a:pt x="212" y="30"/>
                </a:lnTo>
                <a:lnTo>
                  <a:pt x="214" y="30"/>
                </a:lnTo>
                <a:lnTo>
                  <a:pt x="217" y="30"/>
                </a:lnTo>
                <a:lnTo>
                  <a:pt x="219" y="30"/>
                </a:lnTo>
                <a:lnTo>
                  <a:pt x="221" y="30"/>
                </a:lnTo>
                <a:lnTo>
                  <a:pt x="221" y="32"/>
                </a:lnTo>
                <a:lnTo>
                  <a:pt x="224" y="32"/>
                </a:lnTo>
                <a:lnTo>
                  <a:pt x="226" y="32"/>
                </a:lnTo>
                <a:lnTo>
                  <a:pt x="228" y="32"/>
                </a:lnTo>
                <a:lnTo>
                  <a:pt x="233" y="32"/>
                </a:lnTo>
                <a:lnTo>
                  <a:pt x="235" y="32"/>
                </a:lnTo>
                <a:lnTo>
                  <a:pt x="235" y="35"/>
                </a:lnTo>
                <a:lnTo>
                  <a:pt x="238" y="35"/>
                </a:lnTo>
                <a:lnTo>
                  <a:pt x="240" y="35"/>
                </a:lnTo>
                <a:lnTo>
                  <a:pt x="240" y="37"/>
                </a:lnTo>
                <a:lnTo>
                  <a:pt x="242" y="37"/>
                </a:lnTo>
                <a:lnTo>
                  <a:pt x="242" y="39"/>
                </a:lnTo>
                <a:lnTo>
                  <a:pt x="240" y="42"/>
                </a:lnTo>
                <a:lnTo>
                  <a:pt x="240" y="44"/>
                </a:lnTo>
                <a:lnTo>
                  <a:pt x="238" y="49"/>
                </a:lnTo>
                <a:lnTo>
                  <a:pt x="235" y="49"/>
                </a:lnTo>
                <a:lnTo>
                  <a:pt x="233" y="51"/>
                </a:lnTo>
                <a:lnTo>
                  <a:pt x="233" y="53"/>
                </a:lnTo>
                <a:lnTo>
                  <a:pt x="233" y="56"/>
                </a:lnTo>
                <a:lnTo>
                  <a:pt x="235" y="58"/>
                </a:lnTo>
                <a:lnTo>
                  <a:pt x="235" y="60"/>
                </a:lnTo>
                <a:lnTo>
                  <a:pt x="233" y="65"/>
                </a:lnTo>
                <a:lnTo>
                  <a:pt x="235" y="72"/>
                </a:lnTo>
                <a:lnTo>
                  <a:pt x="235" y="79"/>
                </a:lnTo>
                <a:lnTo>
                  <a:pt x="235" y="81"/>
                </a:lnTo>
                <a:lnTo>
                  <a:pt x="233" y="84"/>
                </a:lnTo>
                <a:lnTo>
                  <a:pt x="224" y="88"/>
                </a:lnTo>
                <a:lnTo>
                  <a:pt x="217" y="91"/>
                </a:lnTo>
                <a:lnTo>
                  <a:pt x="212" y="91"/>
                </a:lnTo>
                <a:lnTo>
                  <a:pt x="205" y="93"/>
                </a:lnTo>
                <a:lnTo>
                  <a:pt x="198" y="93"/>
                </a:lnTo>
                <a:lnTo>
                  <a:pt x="191" y="95"/>
                </a:lnTo>
                <a:lnTo>
                  <a:pt x="187" y="98"/>
                </a:lnTo>
                <a:lnTo>
                  <a:pt x="187" y="100"/>
                </a:lnTo>
                <a:lnTo>
                  <a:pt x="184" y="100"/>
                </a:lnTo>
                <a:lnTo>
                  <a:pt x="184" y="102"/>
                </a:lnTo>
                <a:lnTo>
                  <a:pt x="182" y="102"/>
                </a:lnTo>
                <a:lnTo>
                  <a:pt x="180" y="102"/>
                </a:lnTo>
                <a:lnTo>
                  <a:pt x="180" y="105"/>
                </a:lnTo>
                <a:lnTo>
                  <a:pt x="177" y="107"/>
                </a:lnTo>
                <a:lnTo>
                  <a:pt x="175" y="109"/>
                </a:lnTo>
                <a:lnTo>
                  <a:pt x="173" y="109"/>
                </a:lnTo>
                <a:lnTo>
                  <a:pt x="173" y="112"/>
                </a:lnTo>
                <a:lnTo>
                  <a:pt x="170" y="114"/>
                </a:lnTo>
                <a:lnTo>
                  <a:pt x="170" y="116"/>
                </a:lnTo>
                <a:lnTo>
                  <a:pt x="170" y="119"/>
                </a:lnTo>
                <a:lnTo>
                  <a:pt x="170" y="121"/>
                </a:lnTo>
                <a:lnTo>
                  <a:pt x="173" y="123"/>
                </a:lnTo>
                <a:lnTo>
                  <a:pt x="175" y="123"/>
                </a:lnTo>
                <a:lnTo>
                  <a:pt x="177" y="123"/>
                </a:lnTo>
                <a:lnTo>
                  <a:pt x="177" y="121"/>
                </a:lnTo>
                <a:lnTo>
                  <a:pt x="177" y="123"/>
                </a:lnTo>
                <a:lnTo>
                  <a:pt x="175" y="123"/>
                </a:lnTo>
                <a:lnTo>
                  <a:pt x="175" y="126"/>
                </a:lnTo>
                <a:lnTo>
                  <a:pt x="175" y="123"/>
                </a:lnTo>
                <a:lnTo>
                  <a:pt x="173" y="126"/>
                </a:lnTo>
                <a:lnTo>
                  <a:pt x="170" y="126"/>
                </a:lnTo>
                <a:lnTo>
                  <a:pt x="170" y="128"/>
                </a:lnTo>
                <a:lnTo>
                  <a:pt x="168" y="128"/>
                </a:lnTo>
                <a:lnTo>
                  <a:pt x="168" y="130"/>
                </a:lnTo>
                <a:lnTo>
                  <a:pt x="166" y="130"/>
                </a:lnTo>
                <a:lnTo>
                  <a:pt x="166" y="133"/>
                </a:lnTo>
                <a:lnTo>
                  <a:pt x="166" y="135"/>
                </a:lnTo>
                <a:lnTo>
                  <a:pt x="168" y="133"/>
                </a:lnTo>
                <a:lnTo>
                  <a:pt x="168" y="135"/>
                </a:lnTo>
                <a:lnTo>
                  <a:pt x="166" y="137"/>
                </a:lnTo>
                <a:lnTo>
                  <a:pt x="166" y="135"/>
                </a:lnTo>
                <a:lnTo>
                  <a:pt x="163" y="135"/>
                </a:lnTo>
                <a:lnTo>
                  <a:pt x="159" y="133"/>
                </a:lnTo>
                <a:lnTo>
                  <a:pt x="147" y="130"/>
                </a:lnTo>
                <a:lnTo>
                  <a:pt x="138" y="130"/>
                </a:lnTo>
                <a:lnTo>
                  <a:pt x="131" y="130"/>
                </a:lnTo>
                <a:lnTo>
                  <a:pt x="128" y="130"/>
                </a:lnTo>
                <a:lnTo>
                  <a:pt x="124" y="130"/>
                </a:lnTo>
                <a:lnTo>
                  <a:pt x="117" y="130"/>
                </a:lnTo>
                <a:lnTo>
                  <a:pt x="114" y="130"/>
                </a:lnTo>
                <a:lnTo>
                  <a:pt x="107" y="128"/>
                </a:lnTo>
                <a:lnTo>
                  <a:pt x="105" y="126"/>
                </a:lnTo>
                <a:lnTo>
                  <a:pt x="105" y="128"/>
                </a:lnTo>
                <a:lnTo>
                  <a:pt x="105" y="126"/>
                </a:lnTo>
                <a:lnTo>
                  <a:pt x="103" y="126"/>
                </a:lnTo>
                <a:lnTo>
                  <a:pt x="105" y="126"/>
                </a:lnTo>
                <a:lnTo>
                  <a:pt x="105" y="123"/>
                </a:lnTo>
                <a:lnTo>
                  <a:pt x="103" y="123"/>
                </a:lnTo>
                <a:lnTo>
                  <a:pt x="105" y="121"/>
                </a:lnTo>
                <a:lnTo>
                  <a:pt x="105" y="119"/>
                </a:lnTo>
                <a:lnTo>
                  <a:pt x="110" y="116"/>
                </a:lnTo>
                <a:lnTo>
                  <a:pt x="107" y="116"/>
                </a:lnTo>
                <a:lnTo>
                  <a:pt x="107" y="114"/>
                </a:lnTo>
                <a:lnTo>
                  <a:pt x="110" y="114"/>
                </a:lnTo>
                <a:lnTo>
                  <a:pt x="110" y="112"/>
                </a:lnTo>
                <a:lnTo>
                  <a:pt x="110" y="109"/>
                </a:lnTo>
                <a:lnTo>
                  <a:pt x="107" y="109"/>
                </a:lnTo>
                <a:lnTo>
                  <a:pt x="105" y="112"/>
                </a:lnTo>
                <a:lnTo>
                  <a:pt x="103" y="109"/>
                </a:lnTo>
                <a:lnTo>
                  <a:pt x="100" y="112"/>
                </a:lnTo>
                <a:lnTo>
                  <a:pt x="98" y="112"/>
                </a:lnTo>
                <a:lnTo>
                  <a:pt x="96" y="112"/>
                </a:lnTo>
                <a:lnTo>
                  <a:pt x="96" y="114"/>
                </a:lnTo>
                <a:lnTo>
                  <a:pt x="96" y="116"/>
                </a:lnTo>
                <a:lnTo>
                  <a:pt x="96" y="119"/>
                </a:lnTo>
                <a:lnTo>
                  <a:pt x="98" y="119"/>
                </a:lnTo>
                <a:lnTo>
                  <a:pt x="98" y="121"/>
                </a:lnTo>
                <a:lnTo>
                  <a:pt x="100" y="123"/>
                </a:lnTo>
                <a:lnTo>
                  <a:pt x="100" y="126"/>
                </a:lnTo>
                <a:lnTo>
                  <a:pt x="100" y="128"/>
                </a:lnTo>
                <a:lnTo>
                  <a:pt x="98" y="128"/>
                </a:lnTo>
                <a:lnTo>
                  <a:pt x="96" y="128"/>
                </a:lnTo>
                <a:lnTo>
                  <a:pt x="84" y="128"/>
                </a:lnTo>
                <a:lnTo>
                  <a:pt x="79" y="128"/>
                </a:lnTo>
                <a:lnTo>
                  <a:pt x="77" y="130"/>
                </a:lnTo>
                <a:lnTo>
                  <a:pt x="75" y="130"/>
                </a:lnTo>
                <a:lnTo>
                  <a:pt x="72" y="128"/>
                </a:lnTo>
                <a:lnTo>
                  <a:pt x="59" y="128"/>
                </a:lnTo>
                <a:lnTo>
                  <a:pt x="56" y="128"/>
                </a:lnTo>
                <a:lnTo>
                  <a:pt x="54" y="128"/>
                </a:lnTo>
                <a:lnTo>
                  <a:pt x="54" y="130"/>
                </a:lnTo>
                <a:lnTo>
                  <a:pt x="52" y="130"/>
                </a:lnTo>
                <a:lnTo>
                  <a:pt x="52" y="128"/>
                </a:lnTo>
                <a:lnTo>
                  <a:pt x="52" y="126"/>
                </a:lnTo>
                <a:lnTo>
                  <a:pt x="54" y="126"/>
                </a:lnTo>
                <a:lnTo>
                  <a:pt x="54" y="128"/>
                </a:lnTo>
                <a:lnTo>
                  <a:pt x="56" y="128"/>
                </a:lnTo>
                <a:lnTo>
                  <a:pt x="59" y="126"/>
                </a:lnTo>
                <a:lnTo>
                  <a:pt x="59" y="128"/>
                </a:lnTo>
                <a:lnTo>
                  <a:pt x="61" y="128"/>
                </a:lnTo>
                <a:lnTo>
                  <a:pt x="65" y="128"/>
                </a:lnTo>
                <a:lnTo>
                  <a:pt x="70" y="128"/>
                </a:lnTo>
                <a:lnTo>
                  <a:pt x="72" y="128"/>
                </a:lnTo>
                <a:lnTo>
                  <a:pt x="75" y="126"/>
                </a:lnTo>
                <a:lnTo>
                  <a:pt x="72" y="126"/>
                </a:lnTo>
                <a:lnTo>
                  <a:pt x="70" y="126"/>
                </a:lnTo>
                <a:lnTo>
                  <a:pt x="70" y="123"/>
                </a:lnTo>
                <a:lnTo>
                  <a:pt x="70" y="126"/>
                </a:lnTo>
                <a:lnTo>
                  <a:pt x="70" y="123"/>
                </a:lnTo>
                <a:lnTo>
                  <a:pt x="68" y="123"/>
                </a:lnTo>
                <a:lnTo>
                  <a:pt x="68" y="121"/>
                </a:lnTo>
                <a:lnTo>
                  <a:pt x="63" y="121"/>
                </a:lnTo>
                <a:lnTo>
                  <a:pt x="63" y="119"/>
                </a:lnTo>
                <a:lnTo>
                  <a:pt x="61" y="119"/>
                </a:lnTo>
                <a:lnTo>
                  <a:pt x="59" y="119"/>
                </a:lnTo>
                <a:lnTo>
                  <a:pt x="54" y="119"/>
                </a:lnTo>
                <a:lnTo>
                  <a:pt x="52" y="119"/>
                </a:lnTo>
                <a:lnTo>
                  <a:pt x="52" y="121"/>
                </a:lnTo>
                <a:lnTo>
                  <a:pt x="49" y="121"/>
                </a:lnTo>
                <a:lnTo>
                  <a:pt x="49" y="119"/>
                </a:lnTo>
                <a:lnTo>
                  <a:pt x="49" y="121"/>
                </a:lnTo>
                <a:lnTo>
                  <a:pt x="47" y="123"/>
                </a:lnTo>
                <a:lnTo>
                  <a:pt x="45" y="123"/>
                </a:lnTo>
                <a:lnTo>
                  <a:pt x="45" y="126"/>
                </a:lnTo>
                <a:lnTo>
                  <a:pt x="42" y="123"/>
                </a:lnTo>
                <a:lnTo>
                  <a:pt x="42" y="126"/>
                </a:lnTo>
                <a:lnTo>
                  <a:pt x="40" y="126"/>
                </a:lnTo>
                <a:lnTo>
                  <a:pt x="40" y="123"/>
                </a:lnTo>
                <a:lnTo>
                  <a:pt x="40" y="126"/>
                </a:lnTo>
                <a:lnTo>
                  <a:pt x="38" y="126"/>
                </a:lnTo>
                <a:lnTo>
                  <a:pt x="38" y="123"/>
                </a:lnTo>
                <a:lnTo>
                  <a:pt x="38" y="121"/>
                </a:lnTo>
                <a:lnTo>
                  <a:pt x="35" y="121"/>
                </a:lnTo>
                <a:lnTo>
                  <a:pt x="35" y="123"/>
                </a:lnTo>
                <a:lnTo>
                  <a:pt x="35" y="121"/>
                </a:lnTo>
                <a:lnTo>
                  <a:pt x="33" y="121"/>
                </a:lnTo>
                <a:lnTo>
                  <a:pt x="33" y="123"/>
                </a:lnTo>
                <a:lnTo>
                  <a:pt x="31" y="121"/>
                </a:lnTo>
                <a:lnTo>
                  <a:pt x="33" y="121"/>
                </a:lnTo>
                <a:lnTo>
                  <a:pt x="33" y="119"/>
                </a:lnTo>
                <a:lnTo>
                  <a:pt x="33" y="116"/>
                </a:lnTo>
                <a:lnTo>
                  <a:pt x="31" y="116"/>
                </a:lnTo>
                <a:lnTo>
                  <a:pt x="33" y="116"/>
                </a:lnTo>
                <a:lnTo>
                  <a:pt x="31" y="119"/>
                </a:lnTo>
                <a:lnTo>
                  <a:pt x="31" y="116"/>
                </a:lnTo>
                <a:lnTo>
                  <a:pt x="28" y="119"/>
                </a:lnTo>
                <a:lnTo>
                  <a:pt x="28" y="116"/>
                </a:lnTo>
                <a:lnTo>
                  <a:pt x="28" y="119"/>
                </a:lnTo>
                <a:lnTo>
                  <a:pt x="26" y="119"/>
                </a:lnTo>
                <a:lnTo>
                  <a:pt x="26" y="121"/>
                </a:lnTo>
                <a:lnTo>
                  <a:pt x="24" y="121"/>
                </a:lnTo>
                <a:lnTo>
                  <a:pt x="21" y="121"/>
                </a:lnTo>
                <a:lnTo>
                  <a:pt x="17" y="123"/>
                </a:lnTo>
                <a:lnTo>
                  <a:pt x="17" y="121"/>
                </a:lnTo>
                <a:lnTo>
                  <a:pt x="14" y="121"/>
                </a:lnTo>
                <a:lnTo>
                  <a:pt x="12" y="123"/>
                </a:lnTo>
                <a:lnTo>
                  <a:pt x="10" y="126"/>
                </a:lnTo>
                <a:lnTo>
                  <a:pt x="12" y="128"/>
                </a:lnTo>
                <a:lnTo>
                  <a:pt x="10" y="128"/>
                </a:lnTo>
                <a:lnTo>
                  <a:pt x="10" y="130"/>
                </a:lnTo>
                <a:lnTo>
                  <a:pt x="10" y="133"/>
                </a:lnTo>
                <a:lnTo>
                  <a:pt x="12" y="133"/>
                </a:lnTo>
                <a:lnTo>
                  <a:pt x="14" y="130"/>
                </a:lnTo>
                <a:lnTo>
                  <a:pt x="14" y="133"/>
                </a:lnTo>
                <a:lnTo>
                  <a:pt x="12" y="133"/>
                </a:lnTo>
                <a:lnTo>
                  <a:pt x="10" y="135"/>
                </a:lnTo>
                <a:lnTo>
                  <a:pt x="12" y="135"/>
                </a:lnTo>
                <a:lnTo>
                  <a:pt x="14" y="133"/>
                </a:lnTo>
                <a:lnTo>
                  <a:pt x="14" y="135"/>
                </a:lnTo>
                <a:lnTo>
                  <a:pt x="12" y="135"/>
                </a:lnTo>
                <a:lnTo>
                  <a:pt x="12" y="137"/>
                </a:lnTo>
                <a:lnTo>
                  <a:pt x="14" y="135"/>
                </a:lnTo>
                <a:lnTo>
                  <a:pt x="17" y="135"/>
                </a:lnTo>
                <a:lnTo>
                  <a:pt x="19" y="135"/>
                </a:lnTo>
                <a:lnTo>
                  <a:pt x="17" y="135"/>
                </a:lnTo>
                <a:lnTo>
                  <a:pt x="17" y="137"/>
                </a:lnTo>
                <a:lnTo>
                  <a:pt x="19" y="137"/>
                </a:lnTo>
                <a:lnTo>
                  <a:pt x="21" y="137"/>
                </a:lnTo>
                <a:lnTo>
                  <a:pt x="21" y="140"/>
                </a:lnTo>
                <a:lnTo>
                  <a:pt x="19" y="137"/>
                </a:lnTo>
                <a:lnTo>
                  <a:pt x="19" y="140"/>
                </a:lnTo>
                <a:lnTo>
                  <a:pt x="17" y="142"/>
                </a:lnTo>
                <a:lnTo>
                  <a:pt x="14" y="142"/>
                </a:lnTo>
                <a:lnTo>
                  <a:pt x="12" y="142"/>
                </a:lnTo>
                <a:lnTo>
                  <a:pt x="12" y="140"/>
                </a:lnTo>
                <a:lnTo>
                  <a:pt x="10" y="140"/>
                </a:lnTo>
                <a:lnTo>
                  <a:pt x="7" y="142"/>
                </a:lnTo>
                <a:lnTo>
                  <a:pt x="5" y="140"/>
                </a:lnTo>
                <a:lnTo>
                  <a:pt x="5" y="137"/>
                </a:lnTo>
                <a:lnTo>
                  <a:pt x="3" y="137"/>
                </a:lnTo>
                <a:lnTo>
                  <a:pt x="3" y="135"/>
                </a:lnTo>
                <a:lnTo>
                  <a:pt x="0" y="133"/>
                </a:lnTo>
                <a:lnTo>
                  <a:pt x="0" y="130"/>
                </a:lnTo>
                <a:lnTo>
                  <a:pt x="3" y="130"/>
                </a:lnTo>
                <a:lnTo>
                  <a:pt x="3" y="128"/>
                </a:lnTo>
                <a:lnTo>
                  <a:pt x="5" y="128"/>
                </a:lnTo>
                <a:lnTo>
                  <a:pt x="5" y="126"/>
                </a:lnTo>
                <a:lnTo>
                  <a:pt x="5" y="123"/>
                </a:lnTo>
                <a:lnTo>
                  <a:pt x="5" y="121"/>
                </a:lnTo>
                <a:lnTo>
                  <a:pt x="5" y="119"/>
                </a:lnTo>
                <a:lnTo>
                  <a:pt x="7" y="116"/>
                </a:lnTo>
                <a:lnTo>
                  <a:pt x="10" y="116"/>
                </a:lnTo>
                <a:lnTo>
                  <a:pt x="10" y="114"/>
                </a:lnTo>
                <a:lnTo>
                  <a:pt x="12" y="114"/>
                </a:lnTo>
                <a:lnTo>
                  <a:pt x="14" y="114"/>
                </a:lnTo>
                <a:lnTo>
                  <a:pt x="17" y="112"/>
                </a:lnTo>
                <a:lnTo>
                  <a:pt x="19" y="112"/>
                </a:lnTo>
                <a:lnTo>
                  <a:pt x="21" y="112"/>
                </a:lnTo>
                <a:lnTo>
                  <a:pt x="21" y="114"/>
                </a:lnTo>
                <a:lnTo>
                  <a:pt x="21" y="112"/>
                </a:lnTo>
                <a:lnTo>
                  <a:pt x="26" y="112"/>
                </a:lnTo>
                <a:lnTo>
                  <a:pt x="28" y="112"/>
                </a:lnTo>
                <a:lnTo>
                  <a:pt x="31" y="112"/>
                </a:lnTo>
                <a:lnTo>
                  <a:pt x="33" y="112"/>
                </a:lnTo>
                <a:lnTo>
                  <a:pt x="35" y="112"/>
                </a:lnTo>
                <a:lnTo>
                  <a:pt x="38" y="112"/>
                </a:lnTo>
                <a:lnTo>
                  <a:pt x="38" y="109"/>
                </a:lnTo>
                <a:lnTo>
                  <a:pt x="40" y="109"/>
                </a:lnTo>
                <a:lnTo>
                  <a:pt x="40" y="107"/>
                </a:lnTo>
                <a:lnTo>
                  <a:pt x="40" y="105"/>
                </a:lnTo>
                <a:lnTo>
                  <a:pt x="42" y="105"/>
                </a:lnTo>
                <a:lnTo>
                  <a:pt x="45" y="105"/>
                </a:lnTo>
                <a:lnTo>
                  <a:pt x="45" y="102"/>
                </a:lnTo>
                <a:lnTo>
                  <a:pt x="45" y="100"/>
                </a:lnTo>
                <a:lnTo>
                  <a:pt x="42" y="98"/>
                </a:lnTo>
                <a:lnTo>
                  <a:pt x="40" y="98"/>
                </a:lnTo>
                <a:lnTo>
                  <a:pt x="38" y="95"/>
                </a:lnTo>
                <a:lnTo>
                  <a:pt x="35" y="95"/>
                </a:lnTo>
                <a:lnTo>
                  <a:pt x="33" y="95"/>
                </a:lnTo>
                <a:lnTo>
                  <a:pt x="31" y="95"/>
                </a:lnTo>
                <a:lnTo>
                  <a:pt x="28" y="95"/>
                </a:lnTo>
                <a:lnTo>
                  <a:pt x="28" y="98"/>
                </a:lnTo>
                <a:lnTo>
                  <a:pt x="26" y="95"/>
                </a:lnTo>
                <a:lnTo>
                  <a:pt x="26" y="98"/>
                </a:lnTo>
                <a:lnTo>
                  <a:pt x="24" y="98"/>
                </a:lnTo>
                <a:lnTo>
                  <a:pt x="24" y="95"/>
                </a:lnTo>
                <a:lnTo>
                  <a:pt x="21" y="95"/>
                </a:lnTo>
                <a:lnTo>
                  <a:pt x="19" y="95"/>
                </a:lnTo>
                <a:lnTo>
                  <a:pt x="17" y="95"/>
                </a:lnTo>
                <a:lnTo>
                  <a:pt x="17" y="93"/>
                </a:lnTo>
                <a:lnTo>
                  <a:pt x="17" y="91"/>
                </a:lnTo>
                <a:lnTo>
                  <a:pt x="14" y="88"/>
                </a:lnTo>
                <a:lnTo>
                  <a:pt x="12" y="84"/>
                </a:lnTo>
                <a:lnTo>
                  <a:pt x="10" y="81"/>
                </a:lnTo>
                <a:lnTo>
                  <a:pt x="7" y="81"/>
                </a:lnTo>
                <a:lnTo>
                  <a:pt x="10" y="79"/>
                </a:lnTo>
                <a:lnTo>
                  <a:pt x="12" y="79"/>
                </a:lnTo>
                <a:lnTo>
                  <a:pt x="14" y="79"/>
                </a:lnTo>
                <a:lnTo>
                  <a:pt x="17" y="79"/>
                </a:lnTo>
                <a:lnTo>
                  <a:pt x="19" y="79"/>
                </a:lnTo>
                <a:lnTo>
                  <a:pt x="21" y="77"/>
                </a:lnTo>
                <a:lnTo>
                  <a:pt x="24" y="77"/>
                </a:lnTo>
                <a:lnTo>
                  <a:pt x="26" y="77"/>
                </a:lnTo>
                <a:lnTo>
                  <a:pt x="31" y="74"/>
                </a:lnTo>
                <a:lnTo>
                  <a:pt x="33" y="74"/>
                </a:lnTo>
                <a:lnTo>
                  <a:pt x="38" y="74"/>
                </a:lnTo>
                <a:lnTo>
                  <a:pt x="40" y="74"/>
                </a:lnTo>
                <a:lnTo>
                  <a:pt x="42" y="74"/>
                </a:lnTo>
                <a:lnTo>
                  <a:pt x="42" y="77"/>
                </a:lnTo>
                <a:lnTo>
                  <a:pt x="45" y="74"/>
                </a:lnTo>
                <a:lnTo>
                  <a:pt x="49" y="72"/>
                </a:lnTo>
                <a:lnTo>
                  <a:pt x="52" y="72"/>
                </a:lnTo>
                <a:lnTo>
                  <a:pt x="54" y="72"/>
                </a:lnTo>
                <a:lnTo>
                  <a:pt x="61" y="70"/>
                </a:lnTo>
                <a:lnTo>
                  <a:pt x="63" y="70"/>
                </a:lnTo>
                <a:lnTo>
                  <a:pt x="63" y="67"/>
                </a:lnTo>
                <a:lnTo>
                  <a:pt x="65" y="67"/>
                </a:lnTo>
                <a:lnTo>
                  <a:pt x="70" y="67"/>
                </a:lnTo>
                <a:lnTo>
                  <a:pt x="70" y="65"/>
                </a:lnTo>
                <a:lnTo>
                  <a:pt x="72" y="65"/>
                </a:lnTo>
                <a:lnTo>
                  <a:pt x="72" y="67"/>
                </a:lnTo>
                <a:lnTo>
                  <a:pt x="75" y="67"/>
                </a:lnTo>
                <a:lnTo>
                  <a:pt x="77" y="67"/>
                </a:lnTo>
                <a:lnTo>
                  <a:pt x="79" y="67"/>
                </a:lnTo>
                <a:lnTo>
                  <a:pt x="82" y="67"/>
                </a:lnTo>
                <a:lnTo>
                  <a:pt x="84" y="67"/>
                </a:lnTo>
                <a:lnTo>
                  <a:pt x="86" y="67"/>
                </a:lnTo>
                <a:lnTo>
                  <a:pt x="89" y="67"/>
                </a:lnTo>
                <a:lnTo>
                  <a:pt x="91" y="67"/>
                </a:lnTo>
                <a:lnTo>
                  <a:pt x="96" y="65"/>
                </a:lnTo>
                <a:lnTo>
                  <a:pt x="98" y="65"/>
                </a:lnTo>
                <a:lnTo>
                  <a:pt x="98" y="67"/>
                </a:lnTo>
                <a:lnTo>
                  <a:pt x="100" y="67"/>
                </a:lnTo>
                <a:lnTo>
                  <a:pt x="103" y="67"/>
                </a:lnTo>
                <a:lnTo>
                  <a:pt x="105" y="67"/>
                </a:lnTo>
                <a:lnTo>
                  <a:pt x="107" y="67"/>
                </a:lnTo>
                <a:lnTo>
                  <a:pt x="110" y="67"/>
                </a:lnTo>
                <a:lnTo>
                  <a:pt x="110" y="70"/>
                </a:lnTo>
                <a:lnTo>
                  <a:pt x="107" y="70"/>
                </a:lnTo>
                <a:lnTo>
                  <a:pt x="107" y="72"/>
                </a:lnTo>
                <a:lnTo>
                  <a:pt x="110" y="72"/>
                </a:lnTo>
                <a:lnTo>
                  <a:pt x="112" y="72"/>
                </a:lnTo>
                <a:lnTo>
                  <a:pt x="114" y="72"/>
                </a:lnTo>
                <a:lnTo>
                  <a:pt x="114" y="70"/>
                </a:lnTo>
                <a:lnTo>
                  <a:pt x="117" y="70"/>
                </a:lnTo>
                <a:lnTo>
                  <a:pt x="119" y="70"/>
                </a:lnTo>
                <a:lnTo>
                  <a:pt x="121" y="67"/>
                </a:lnTo>
                <a:lnTo>
                  <a:pt x="124" y="67"/>
                </a:lnTo>
                <a:lnTo>
                  <a:pt x="133" y="65"/>
                </a:lnTo>
                <a:lnTo>
                  <a:pt x="138" y="63"/>
                </a:lnTo>
                <a:lnTo>
                  <a:pt x="145" y="60"/>
                </a:lnTo>
                <a:lnTo>
                  <a:pt x="149" y="58"/>
                </a:lnTo>
                <a:lnTo>
                  <a:pt x="154" y="58"/>
                </a:lnTo>
                <a:lnTo>
                  <a:pt x="156" y="56"/>
                </a:lnTo>
                <a:lnTo>
                  <a:pt x="159" y="56"/>
                </a:lnTo>
                <a:lnTo>
                  <a:pt x="161" y="56"/>
                </a:lnTo>
                <a:lnTo>
                  <a:pt x="163" y="53"/>
                </a:lnTo>
                <a:lnTo>
                  <a:pt x="163" y="51"/>
                </a:lnTo>
                <a:lnTo>
                  <a:pt x="161" y="51"/>
                </a:lnTo>
                <a:lnTo>
                  <a:pt x="159" y="51"/>
                </a:lnTo>
                <a:lnTo>
                  <a:pt x="156" y="49"/>
                </a:lnTo>
                <a:lnTo>
                  <a:pt x="156" y="46"/>
                </a:lnTo>
                <a:lnTo>
                  <a:pt x="159" y="44"/>
                </a:lnTo>
                <a:lnTo>
                  <a:pt x="161" y="42"/>
                </a:lnTo>
                <a:lnTo>
                  <a:pt x="161" y="39"/>
                </a:lnTo>
                <a:lnTo>
                  <a:pt x="163" y="39"/>
                </a:lnTo>
                <a:lnTo>
                  <a:pt x="163" y="37"/>
                </a:lnTo>
                <a:lnTo>
                  <a:pt x="163" y="35"/>
                </a:lnTo>
                <a:lnTo>
                  <a:pt x="168" y="32"/>
                </a:lnTo>
                <a:lnTo>
                  <a:pt x="168" y="30"/>
                </a:lnTo>
                <a:lnTo>
                  <a:pt x="168" y="28"/>
                </a:lnTo>
                <a:lnTo>
                  <a:pt x="170" y="25"/>
                </a:lnTo>
                <a:lnTo>
                  <a:pt x="170" y="23"/>
                </a:lnTo>
                <a:lnTo>
                  <a:pt x="170" y="21"/>
                </a:lnTo>
                <a:lnTo>
                  <a:pt x="173" y="21"/>
                </a:lnTo>
                <a:lnTo>
                  <a:pt x="173" y="19"/>
                </a:lnTo>
                <a:lnTo>
                  <a:pt x="175" y="19"/>
                </a:lnTo>
                <a:lnTo>
                  <a:pt x="175" y="16"/>
                </a:lnTo>
                <a:lnTo>
                  <a:pt x="177" y="14"/>
                </a:lnTo>
                <a:lnTo>
                  <a:pt x="177" y="12"/>
                </a:lnTo>
                <a:lnTo>
                  <a:pt x="175" y="12"/>
                </a:lnTo>
                <a:lnTo>
                  <a:pt x="175" y="9"/>
                </a:lnTo>
                <a:lnTo>
                  <a:pt x="177" y="9"/>
                </a:lnTo>
                <a:lnTo>
                  <a:pt x="177" y="7"/>
                </a:lnTo>
                <a:lnTo>
                  <a:pt x="180" y="7"/>
                </a:lnTo>
                <a:lnTo>
                  <a:pt x="182" y="7"/>
                </a:lnTo>
                <a:lnTo>
                  <a:pt x="182" y="9"/>
                </a:lnTo>
                <a:lnTo>
                  <a:pt x="184" y="9"/>
                </a:lnTo>
                <a:lnTo>
                  <a:pt x="187" y="7"/>
                </a:lnTo>
                <a:lnTo>
                  <a:pt x="187" y="5"/>
                </a:lnTo>
                <a:lnTo>
                  <a:pt x="189" y="5"/>
                </a:lnTo>
                <a:lnTo>
                  <a:pt x="189" y="2"/>
                </a:lnTo>
                <a:lnTo>
                  <a:pt x="191" y="2"/>
                </a:lnTo>
                <a:lnTo>
                  <a:pt x="191" y="0"/>
                </a:lnTo>
                <a:lnTo>
                  <a:pt x="193" y="0"/>
                </a:lnTo>
                <a:lnTo>
                  <a:pt x="196" y="2"/>
                </a:lnTo>
                <a:lnTo>
                  <a:pt x="198" y="2"/>
                </a:lnTo>
                <a:lnTo>
                  <a:pt x="200" y="5"/>
                </a:lnTo>
                <a:lnTo>
                  <a:pt x="200" y="7"/>
                </a:lnTo>
                <a:lnTo>
                  <a:pt x="200" y="9"/>
                </a:lnTo>
                <a:lnTo>
                  <a:pt x="200" y="12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52" name="Freeform 29">
            <a:extLst>
              <a:ext uri="{FF2B5EF4-FFF2-40B4-BE49-F238E27FC236}">
                <a16:creationId xmlns:a16="http://schemas.microsoft.com/office/drawing/2014/main" id="{1534EB45-0205-1BF1-D4E4-CEC6048B5366}"/>
              </a:ext>
            </a:extLst>
          </p:cNvPr>
          <p:cNvSpPr>
            <a:spLocks/>
          </p:cNvSpPr>
          <p:nvPr/>
        </p:nvSpPr>
        <p:spPr bwMode="auto">
          <a:xfrm>
            <a:off x="4207721" y="3918868"/>
            <a:ext cx="139034" cy="149581"/>
          </a:xfrm>
          <a:custGeom>
            <a:avLst/>
            <a:gdLst>
              <a:gd name="T0" fmla="*/ 114 w 118"/>
              <a:gd name="T1" fmla="*/ 79 h 133"/>
              <a:gd name="T2" fmla="*/ 107 w 118"/>
              <a:gd name="T3" fmla="*/ 79 h 133"/>
              <a:gd name="T4" fmla="*/ 79 w 118"/>
              <a:gd name="T5" fmla="*/ 96 h 133"/>
              <a:gd name="T6" fmla="*/ 67 w 118"/>
              <a:gd name="T7" fmla="*/ 110 h 133"/>
              <a:gd name="T8" fmla="*/ 67 w 118"/>
              <a:gd name="T9" fmla="*/ 107 h 133"/>
              <a:gd name="T10" fmla="*/ 65 w 118"/>
              <a:gd name="T11" fmla="*/ 105 h 133"/>
              <a:gd name="T12" fmla="*/ 60 w 118"/>
              <a:gd name="T13" fmla="*/ 100 h 133"/>
              <a:gd name="T14" fmla="*/ 60 w 118"/>
              <a:gd name="T15" fmla="*/ 105 h 133"/>
              <a:gd name="T16" fmla="*/ 63 w 118"/>
              <a:gd name="T17" fmla="*/ 107 h 133"/>
              <a:gd name="T18" fmla="*/ 63 w 118"/>
              <a:gd name="T19" fmla="*/ 107 h 133"/>
              <a:gd name="T20" fmla="*/ 65 w 118"/>
              <a:gd name="T21" fmla="*/ 107 h 133"/>
              <a:gd name="T22" fmla="*/ 65 w 118"/>
              <a:gd name="T23" fmla="*/ 112 h 133"/>
              <a:gd name="T24" fmla="*/ 60 w 118"/>
              <a:gd name="T25" fmla="*/ 117 h 133"/>
              <a:gd name="T26" fmla="*/ 53 w 118"/>
              <a:gd name="T27" fmla="*/ 126 h 133"/>
              <a:gd name="T28" fmla="*/ 49 w 118"/>
              <a:gd name="T29" fmla="*/ 123 h 133"/>
              <a:gd name="T30" fmla="*/ 51 w 118"/>
              <a:gd name="T31" fmla="*/ 119 h 133"/>
              <a:gd name="T32" fmla="*/ 56 w 118"/>
              <a:gd name="T33" fmla="*/ 114 h 133"/>
              <a:gd name="T34" fmla="*/ 56 w 118"/>
              <a:gd name="T35" fmla="*/ 112 h 133"/>
              <a:gd name="T36" fmla="*/ 53 w 118"/>
              <a:gd name="T37" fmla="*/ 117 h 133"/>
              <a:gd name="T38" fmla="*/ 53 w 118"/>
              <a:gd name="T39" fmla="*/ 119 h 133"/>
              <a:gd name="T40" fmla="*/ 49 w 118"/>
              <a:gd name="T41" fmla="*/ 121 h 133"/>
              <a:gd name="T42" fmla="*/ 46 w 118"/>
              <a:gd name="T43" fmla="*/ 121 h 133"/>
              <a:gd name="T44" fmla="*/ 44 w 118"/>
              <a:gd name="T45" fmla="*/ 126 h 133"/>
              <a:gd name="T46" fmla="*/ 42 w 118"/>
              <a:gd name="T47" fmla="*/ 130 h 133"/>
              <a:gd name="T48" fmla="*/ 30 w 118"/>
              <a:gd name="T49" fmla="*/ 133 h 133"/>
              <a:gd name="T50" fmla="*/ 21 w 118"/>
              <a:gd name="T51" fmla="*/ 128 h 133"/>
              <a:gd name="T52" fmla="*/ 18 w 118"/>
              <a:gd name="T53" fmla="*/ 121 h 133"/>
              <a:gd name="T54" fmla="*/ 16 w 118"/>
              <a:gd name="T55" fmla="*/ 121 h 133"/>
              <a:gd name="T56" fmla="*/ 11 w 118"/>
              <a:gd name="T57" fmla="*/ 117 h 133"/>
              <a:gd name="T58" fmla="*/ 14 w 118"/>
              <a:gd name="T59" fmla="*/ 110 h 133"/>
              <a:gd name="T60" fmla="*/ 11 w 118"/>
              <a:gd name="T61" fmla="*/ 105 h 133"/>
              <a:gd name="T62" fmla="*/ 7 w 118"/>
              <a:gd name="T63" fmla="*/ 98 h 133"/>
              <a:gd name="T64" fmla="*/ 4 w 118"/>
              <a:gd name="T65" fmla="*/ 91 h 133"/>
              <a:gd name="T66" fmla="*/ 2 w 118"/>
              <a:gd name="T67" fmla="*/ 86 h 133"/>
              <a:gd name="T68" fmla="*/ 0 w 118"/>
              <a:gd name="T69" fmla="*/ 79 h 133"/>
              <a:gd name="T70" fmla="*/ 7 w 118"/>
              <a:gd name="T71" fmla="*/ 72 h 133"/>
              <a:gd name="T72" fmla="*/ 14 w 118"/>
              <a:gd name="T73" fmla="*/ 75 h 133"/>
              <a:gd name="T74" fmla="*/ 30 w 118"/>
              <a:gd name="T75" fmla="*/ 75 h 133"/>
              <a:gd name="T76" fmla="*/ 32 w 118"/>
              <a:gd name="T77" fmla="*/ 70 h 133"/>
              <a:gd name="T78" fmla="*/ 30 w 118"/>
              <a:gd name="T79" fmla="*/ 65 h 133"/>
              <a:gd name="T80" fmla="*/ 32 w 118"/>
              <a:gd name="T81" fmla="*/ 56 h 133"/>
              <a:gd name="T82" fmla="*/ 37 w 118"/>
              <a:gd name="T83" fmla="*/ 44 h 133"/>
              <a:gd name="T84" fmla="*/ 35 w 118"/>
              <a:gd name="T85" fmla="*/ 33 h 133"/>
              <a:gd name="T86" fmla="*/ 32 w 118"/>
              <a:gd name="T87" fmla="*/ 26 h 133"/>
              <a:gd name="T88" fmla="*/ 28 w 118"/>
              <a:gd name="T89" fmla="*/ 21 h 133"/>
              <a:gd name="T90" fmla="*/ 25 w 118"/>
              <a:gd name="T91" fmla="*/ 12 h 133"/>
              <a:gd name="T92" fmla="*/ 28 w 118"/>
              <a:gd name="T93" fmla="*/ 7 h 133"/>
              <a:gd name="T94" fmla="*/ 25 w 118"/>
              <a:gd name="T95" fmla="*/ 2 h 133"/>
              <a:gd name="T96" fmla="*/ 28 w 118"/>
              <a:gd name="T97" fmla="*/ 0 h 133"/>
              <a:gd name="T98" fmla="*/ 39 w 118"/>
              <a:gd name="T99" fmla="*/ 5 h 133"/>
              <a:gd name="T100" fmla="*/ 49 w 118"/>
              <a:gd name="T101" fmla="*/ 12 h 133"/>
              <a:gd name="T102" fmla="*/ 60 w 118"/>
              <a:gd name="T103" fmla="*/ 19 h 133"/>
              <a:gd name="T104" fmla="*/ 74 w 118"/>
              <a:gd name="T105" fmla="*/ 28 h 133"/>
              <a:gd name="T106" fmla="*/ 76 w 118"/>
              <a:gd name="T107" fmla="*/ 30 h 133"/>
              <a:gd name="T108" fmla="*/ 88 w 118"/>
              <a:gd name="T109" fmla="*/ 37 h 133"/>
              <a:gd name="T110" fmla="*/ 90 w 118"/>
              <a:gd name="T111" fmla="*/ 47 h 133"/>
              <a:gd name="T112" fmla="*/ 95 w 118"/>
              <a:gd name="T113" fmla="*/ 54 h 133"/>
              <a:gd name="T114" fmla="*/ 104 w 118"/>
              <a:gd name="T115" fmla="*/ 61 h 133"/>
              <a:gd name="T116" fmla="*/ 111 w 118"/>
              <a:gd name="T117" fmla="*/ 63 h 133"/>
              <a:gd name="T118" fmla="*/ 111 w 118"/>
              <a:gd name="T119" fmla="*/ 70 h 133"/>
              <a:gd name="T120" fmla="*/ 118 w 118"/>
              <a:gd name="T121" fmla="*/ 77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8" h="133">
                <a:moveTo>
                  <a:pt x="118" y="77"/>
                </a:moveTo>
                <a:lnTo>
                  <a:pt x="118" y="77"/>
                </a:lnTo>
                <a:lnTo>
                  <a:pt x="118" y="77"/>
                </a:lnTo>
                <a:lnTo>
                  <a:pt x="116" y="79"/>
                </a:lnTo>
                <a:lnTo>
                  <a:pt x="114" y="79"/>
                </a:lnTo>
                <a:lnTo>
                  <a:pt x="114" y="79"/>
                </a:lnTo>
                <a:lnTo>
                  <a:pt x="111" y="79"/>
                </a:lnTo>
                <a:lnTo>
                  <a:pt x="111" y="79"/>
                </a:lnTo>
                <a:lnTo>
                  <a:pt x="109" y="79"/>
                </a:lnTo>
                <a:lnTo>
                  <a:pt x="107" y="79"/>
                </a:lnTo>
                <a:lnTo>
                  <a:pt x="107" y="79"/>
                </a:lnTo>
                <a:lnTo>
                  <a:pt x="107" y="79"/>
                </a:lnTo>
                <a:lnTo>
                  <a:pt x="107" y="79"/>
                </a:lnTo>
                <a:lnTo>
                  <a:pt x="95" y="84"/>
                </a:lnTo>
                <a:lnTo>
                  <a:pt x="86" y="89"/>
                </a:lnTo>
                <a:lnTo>
                  <a:pt x="81" y="93"/>
                </a:lnTo>
                <a:lnTo>
                  <a:pt x="81" y="96"/>
                </a:lnTo>
                <a:lnTo>
                  <a:pt x="79" y="96"/>
                </a:lnTo>
                <a:lnTo>
                  <a:pt x="76" y="98"/>
                </a:lnTo>
                <a:lnTo>
                  <a:pt x="74" y="100"/>
                </a:lnTo>
                <a:lnTo>
                  <a:pt x="74" y="100"/>
                </a:lnTo>
                <a:lnTo>
                  <a:pt x="74" y="103"/>
                </a:lnTo>
                <a:lnTo>
                  <a:pt x="74" y="103"/>
                </a:lnTo>
                <a:lnTo>
                  <a:pt x="67" y="110"/>
                </a:lnTo>
                <a:lnTo>
                  <a:pt x="67" y="110"/>
                </a:lnTo>
                <a:lnTo>
                  <a:pt x="67" y="110"/>
                </a:lnTo>
                <a:lnTo>
                  <a:pt x="67" y="110"/>
                </a:lnTo>
                <a:lnTo>
                  <a:pt x="67" y="107"/>
                </a:lnTo>
                <a:lnTo>
                  <a:pt x="67" y="107"/>
                </a:lnTo>
                <a:lnTo>
                  <a:pt x="67" y="107"/>
                </a:lnTo>
                <a:lnTo>
                  <a:pt x="67" y="107"/>
                </a:lnTo>
                <a:lnTo>
                  <a:pt x="67" y="107"/>
                </a:lnTo>
                <a:lnTo>
                  <a:pt x="65" y="105"/>
                </a:lnTo>
                <a:lnTo>
                  <a:pt x="65" y="105"/>
                </a:lnTo>
                <a:lnTo>
                  <a:pt x="65" y="107"/>
                </a:lnTo>
                <a:lnTo>
                  <a:pt x="65" y="105"/>
                </a:lnTo>
                <a:lnTo>
                  <a:pt x="65" y="105"/>
                </a:lnTo>
                <a:lnTo>
                  <a:pt x="63" y="103"/>
                </a:lnTo>
                <a:lnTo>
                  <a:pt x="60" y="103"/>
                </a:lnTo>
                <a:lnTo>
                  <a:pt x="60" y="103"/>
                </a:lnTo>
                <a:lnTo>
                  <a:pt x="60" y="100"/>
                </a:lnTo>
                <a:lnTo>
                  <a:pt x="60" y="100"/>
                </a:lnTo>
                <a:lnTo>
                  <a:pt x="60" y="103"/>
                </a:lnTo>
                <a:lnTo>
                  <a:pt x="60" y="103"/>
                </a:lnTo>
                <a:lnTo>
                  <a:pt x="60" y="103"/>
                </a:lnTo>
                <a:lnTo>
                  <a:pt x="60" y="103"/>
                </a:lnTo>
                <a:lnTo>
                  <a:pt x="60" y="105"/>
                </a:lnTo>
                <a:lnTo>
                  <a:pt x="60" y="105"/>
                </a:lnTo>
                <a:lnTo>
                  <a:pt x="60" y="105"/>
                </a:lnTo>
                <a:lnTo>
                  <a:pt x="60" y="105"/>
                </a:lnTo>
                <a:lnTo>
                  <a:pt x="60" y="105"/>
                </a:lnTo>
                <a:lnTo>
                  <a:pt x="63" y="105"/>
                </a:lnTo>
                <a:lnTo>
                  <a:pt x="63" y="105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3" y="107"/>
                </a:lnTo>
                <a:lnTo>
                  <a:pt x="65" y="107"/>
                </a:lnTo>
                <a:lnTo>
                  <a:pt x="65" y="107"/>
                </a:lnTo>
                <a:lnTo>
                  <a:pt x="65" y="107"/>
                </a:lnTo>
                <a:lnTo>
                  <a:pt x="65" y="107"/>
                </a:lnTo>
                <a:lnTo>
                  <a:pt x="65" y="107"/>
                </a:lnTo>
                <a:lnTo>
                  <a:pt x="65" y="110"/>
                </a:lnTo>
                <a:lnTo>
                  <a:pt x="65" y="110"/>
                </a:lnTo>
                <a:lnTo>
                  <a:pt x="65" y="110"/>
                </a:lnTo>
                <a:lnTo>
                  <a:pt x="65" y="112"/>
                </a:lnTo>
                <a:lnTo>
                  <a:pt x="65" y="114"/>
                </a:lnTo>
                <a:lnTo>
                  <a:pt x="65" y="112"/>
                </a:lnTo>
                <a:lnTo>
                  <a:pt x="65" y="114"/>
                </a:lnTo>
                <a:lnTo>
                  <a:pt x="65" y="114"/>
                </a:lnTo>
                <a:lnTo>
                  <a:pt x="63" y="114"/>
                </a:lnTo>
                <a:lnTo>
                  <a:pt x="60" y="114"/>
                </a:lnTo>
                <a:lnTo>
                  <a:pt x="60" y="117"/>
                </a:lnTo>
                <a:lnTo>
                  <a:pt x="60" y="117"/>
                </a:lnTo>
                <a:lnTo>
                  <a:pt x="58" y="117"/>
                </a:lnTo>
                <a:lnTo>
                  <a:pt x="58" y="117"/>
                </a:lnTo>
                <a:lnTo>
                  <a:pt x="58" y="119"/>
                </a:lnTo>
                <a:lnTo>
                  <a:pt x="58" y="119"/>
                </a:lnTo>
                <a:lnTo>
                  <a:pt x="56" y="121"/>
                </a:lnTo>
                <a:lnTo>
                  <a:pt x="53" y="126"/>
                </a:lnTo>
                <a:lnTo>
                  <a:pt x="51" y="126"/>
                </a:lnTo>
                <a:lnTo>
                  <a:pt x="49" y="126"/>
                </a:lnTo>
                <a:lnTo>
                  <a:pt x="49" y="126"/>
                </a:lnTo>
                <a:lnTo>
                  <a:pt x="49" y="126"/>
                </a:lnTo>
                <a:lnTo>
                  <a:pt x="49" y="126"/>
                </a:lnTo>
                <a:lnTo>
                  <a:pt x="49" y="123"/>
                </a:lnTo>
                <a:lnTo>
                  <a:pt x="49" y="123"/>
                </a:lnTo>
                <a:lnTo>
                  <a:pt x="49" y="121"/>
                </a:lnTo>
                <a:lnTo>
                  <a:pt x="51" y="121"/>
                </a:lnTo>
                <a:lnTo>
                  <a:pt x="51" y="119"/>
                </a:lnTo>
                <a:lnTo>
                  <a:pt x="51" y="119"/>
                </a:lnTo>
                <a:lnTo>
                  <a:pt x="51" y="119"/>
                </a:lnTo>
                <a:lnTo>
                  <a:pt x="56" y="117"/>
                </a:lnTo>
                <a:lnTo>
                  <a:pt x="56" y="117"/>
                </a:lnTo>
                <a:lnTo>
                  <a:pt x="56" y="117"/>
                </a:lnTo>
                <a:lnTo>
                  <a:pt x="58" y="117"/>
                </a:lnTo>
                <a:lnTo>
                  <a:pt x="56" y="114"/>
                </a:lnTo>
                <a:lnTo>
                  <a:pt x="56" y="114"/>
                </a:lnTo>
                <a:lnTo>
                  <a:pt x="56" y="112"/>
                </a:lnTo>
                <a:lnTo>
                  <a:pt x="56" y="114"/>
                </a:lnTo>
                <a:lnTo>
                  <a:pt x="56" y="114"/>
                </a:lnTo>
                <a:lnTo>
                  <a:pt x="56" y="114"/>
                </a:lnTo>
                <a:lnTo>
                  <a:pt x="56" y="114"/>
                </a:lnTo>
                <a:lnTo>
                  <a:pt x="56" y="112"/>
                </a:lnTo>
                <a:lnTo>
                  <a:pt x="53" y="112"/>
                </a:lnTo>
                <a:lnTo>
                  <a:pt x="53" y="112"/>
                </a:lnTo>
                <a:lnTo>
                  <a:pt x="53" y="112"/>
                </a:lnTo>
                <a:lnTo>
                  <a:pt x="53" y="117"/>
                </a:lnTo>
                <a:lnTo>
                  <a:pt x="53" y="117"/>
                </a:lnTo>
                <a:lnTo>
                  <a:pt x="53" y="117"/>
                </a:lnTo>
                <a:lnTo>
                  <a:pt x="53" y="114"/>
                </a:lnTo>
                <a:lnTo>
                  <a:pt x="53" y="117"/>
                </a:lnTo>
                <a:lnTo>
                  <a:pt x="53" y="117"/>
                </a:lnTo>
                <a:lnTo>
                  <a:pt x="53" y="117"/>
                </a:lnTo>
                <a:lnTo>
                  <a:pt x="53" y="117"/>
                </a:lnTo>
                <a:lnTo>
                  <a:pt x="53" y="119"/>
                </a:lnTo>
                <a:lnTo>
                  <a:pt x="53" y="119"/>
                </a:lnTo>
                <a:lnTo>
                  <a:pt x="51" y="119"/>
                </a:lnTo>
                <a:lnTo>
                  <a:pt x="51" y="119"/>
                </a:lnTo>
                <a:lnTo>
                  <a:pt x="51" y="119"/>
                </a:lnTo>
                <a:lnTo>
                  <a:pt x="51" y="119"/>
                </a:lnTo>
                <a:lnTo>
                  <a:pt x="49" y="121"/>
                </a:lnTo>
                <a:lnTo>
                  <a:pt x="46" y="123"/>
                </a:lnTo>
                <a:lnTo>
                  <a:pt x="46" y="123"/>
                </a:lnTo>
                <a:lnTo>
                  <a:pt x="46" y="123"/>
                </a:lnTo>
                <a:lnTo>
                  <a:pt x="46" y="123"/>
                </a:lnTo>
                <a:lnTo>
                  <a:pt x="46" y="121"/>
                </a:lnTo>
                <a:lnTo>
                  <a:pt x="46" y="121"/>
                </a:lnTo>
                <a:lnTo>
                  <a:pt x="44" y="121"/>
                </a:lnTo>
                <a:lnTo>
                  <a:pt x="44" y="121"/>
                </a:lnTo>
                <a:lnTo>
                  <a:pt x="44" y="121"/>
                </a:lnTo>
                <a:lnTo>
                  <a:pt x="44" y="123"/>
                </a:lnTo>
                <a:lnTo>
                  <a:pt x="44" y="123"/>
                </a:lnTo>
                <a:lnTo>
                  <a:pt x="44" y="126"/>
                </a:lnTo>
                <a:lnTo>
                  <a:pt x="46" y="126"/>
                </a:lnTo>
                <a:lnTo>
                  <a:pt x="49" y="126"/>
                </a:lnTo>
                <a:lnTo>
                  <a:pt x="46" y="128"/>
                </a:lnTo>
                <a:lnTo>
                  <a:pt x="44" y="130"/>
                </a:lnTo>
                <a:lnTo>
                  <a:pt x="42" y="130"/>
                </a:lnTo>
                <a:lnTo>
                  <a:pt x="42" y="130"/>
                </a:lnTo>
                <a:lnTo>
                  <a:pt x="42" y="130"/>
                </a:lnTo>
                <a:lnTo>
                  <a:pt x="37" y="133"/>
                </a:lnTo>
                <a:lnTo>
                  <a:pt x="35" y="130"/>
                </a:lnTo>
                <a:lnTo>
                  <a:pt x="32" y="130"/>
                </a:lnTo>
                <a:lnTo>
                  <a:pt x="30" y="130"/>
                </a:lnTo>
                <a:lnTo>
                  <a:pt x="30" y="133"/>
                </a:lnTo>
                <a:lnTo>
                  <a:pt x="30" y="133"/>
                </a:lnTo>
                <a:lnTo>
                  <a:pt x="28" y="133"/>
                </a:lnTo>
                <a:lnTo>
                  <a:pt x="28" y="130"/>
                </a:lnTo>
                <a:lnTo>
                  <a:pt x="25" y="130"/>
                </a:lnTo>
                <a:lnTo>
                  <a:pt x="23" y="130"/>
                </a:lnTo>
                <a:lnTo>
                  <a:pt x="21" y="128"/>
                </a:lnTo>
                <a:lnTo>
                  <a:pt x="21" y="126"/>
                </a:lnTo>
                <a:lnTo>
                  <a:pt x="21" y="123"/>
                </a:lnTo>
                <a:lnTo>
                  <a:pt x="21" y="123"/>
                </a:lnTo>
                <a:lnTo>
                  <a:pt x="18" y="123"/>
                </a:lnTo>
                <a:lnTo>
                  <a:pt x="18" y="121"/>
                </a:lnTo>
                <a:lnTo>
                  <a:pt x="18" y="121"/>
                </a:lnTo>
                <a:lnTo>
                  <a:pt x="18" y="121"/>
                </a:lnTo>
                <a:lnTo>
                  <a:pt x="16" y="119"/>
                </a:lnTo>
                <a:lnTo>
                  <a:pt x="16" y="119"/>
                </a:lnTo>
                <a:lnTo>
                  <a:pt x="16" y="119"/>
                </a:lnTo>
                <a:lnTo>
                  <a:pt x="16" y="121"/>
                </a:lnTo>
                <a:lnTo>
                  <a:pt x="16" y="121"/>
                </a:lnTo>
                <a:lnTo>
                  <a:pt x="14" y="119"/>
                </a:lnTo>
                <a:lnTo>
                  <a:pt x="14" y="119"/>
                </a:lnTo>
                <a:lnTo>
                  <a:pt x="11" y="119"/>
                </a:lnTo>
                <a:lnTo>
                  <a:pt x="11" y="117"/>
                </a:lnTo>
                <a:lnTo>
                  <a:pt x="11" y="117"/>
                </a:lnTo>
                <a:lnTo>
                  <a:pt x="11" y="117"/>
                </a:lnTo>
                <a:lnTo>
                  <a:pt x="11" y="117"/>
                </a:lnTo>
                <a:lnTo>
                  <a:pt x="11" y="114"/>
                </a:lnTo>
                <a:lnTo>
                  <a:pt x="11" y="114"/>
                </a:lnTo>
                <a:lnTo>
                  <a:pt x="11" y="114"/>
                </a:lnTo>
                <a:lnTo>
                  <a:pt x="11" y="112"/>
                </a:lnTo>
                <a:lnTo>
                  <a:pt x="14" y="110"/>
                </a:lnTo>
                <a:lnTo>
                  <a:pt x="14" y="110"/>
                </a:lnTo>
                <a:lnTo>
                  <a:pt x="14" y="107"/>
                </a:lnTo>
                <a:lnTo>
                  <a:pt x="14" y="107"/>
                </a:lnTo>
                <a:lnTo>
                  <a:pt x="14" y="107"/>
                </a:lnTo>
                <a:lnTo>
                  <a:pt x="11" y="105"/>
                </a:lnTo>
                <a:lnTo>
                  <a:pt x="11" y="105"/>
                </a:lnTo>
                <a:lnTo>
                  <a:pt x="11" y="105"/>
                </a:lnTo>
                <a:lnTo>
                  <a:pt x="9" y="105"/>
                </a:lnTo>
                <a:lnTo>
                  <a:pt x="9" y="103"/>
                </a:lnTo>
                <a:lnTo>
                  <a:pt x="9" y="103"/>
                </a:lnTo>
                <a:lnTo>
                  <a:pt x="9" y="100"/>
                </a:lnTo>
                <a:lnTo>
                  <a:pt x="7" y="98"/>
                </a:lnTo>
                <a:lnTo>
                  <a:pt x="7" y="98"/>
                </a:lnTo>
                <a:lnTo>
                  <a:pt x="7" y="96"/>
                </a:lnTo>
                <a:lnTo>
                  <a:pt x="7" y="93"/>
                </a:lnTo>
                <a:lnTo>
                  <a:pt x="7" y="93"/>
                </a:lnTo>
                <a:lnTo>
                  <a:pt x="7" y="93"/>
                </a:lnTo>
                <a:lnTo>
                  <a:pt x="4" y="91"/>
                </a:lnTo>
                <a:lnTo>
                  <a:pt x="4" y="91"/>
                </a:lnTo>
                <a:lnTo>
                  <a:pt x="4" y="91"/>
                </a:lnTo>
                <a:lnTo>
                  <a:pt x="2" y="89"/>
                </a:lnTo>
                <a:lnTo>
                  <a:pt x="2" y="86"/>
                </a:lnTo>
                <a:lnTo>
                  <a:pt x="2" y="86"/>
                </a:lnTo>
                <a:lnTo>
                  <a:pt x="2" y="86"/>
                </a:lnTo>
                <a:lnTo>
                  <a:pt x="0" y="84"/>
                </a:lnTo>
                <a:lnTo>
                  <a:pt x="0" y="84"/>
                </a:lnTo>
                <a:lnTo>
                  <a:pt x="0" y="82"/>
                </a:lnTo>
                <a:lnTo>
                  <a:pt x="0" y="82"/>
                </a:lnTo>
                <a:lnTo>
                  <a:pt x="0" y="79"/>
                </a:lnTo>
                <a:lnTo>
                  <a:pt x="0" y="79"/>
                </a:lnTo>
                <a:lnTo>
                  <a:pt x="2" y="77"/>
                </a:lnTo>
                <a:lnTo>
                  <a:pt x="4" y="75"/>
                </a:lnTo>
                <a:lnTo>
                  <a:pt x="4" y="75"/>
                </a:lnTo>
                <a:lnTo>
                  <a:pt x="4" y="72"/>
                </a:lnTo>
                <a:lnTo>
                  <a:pt x="4" y="72"/>
                </a:lnTo>
                <a:lnTo>
                  <a:pt x="7" y="72"/>
                </a:lnTo>
                <a:lnTo>
                  <a:pt x="7" y="72"/>
                </a:lnTo>
                <a:lnTo>
                  <a:pt x="7" y="72"/>
                </a:lnTo>
                <a:lnTo>
                  <a:pt x="11" y="72"/>
                </a:lnTo>
                <a:lnTo>
                  <a:pt x="11" y="75"/>
                </a:lnTo>
                <a:lnTo>
                  <a:pt x="11" y="75"/>
                </a:lnTo>
                <a:lnTo>
                  <a:pt x="14" y="75"/>
                </a:lnTo>
                <a:lnTo>
                  <a:pt x="16" y="77"/>
                </a:lnTo>
                <a:lnTo>
                  <a:pt x="16" y="77"/>
                </a:lnTo>
                <a:lnTo>
                  <a:pt x="16" y="77"/>
                </a:lnTo>
                <a:lnTo>
                  <a:pt x="18" y="77"/>
                </a:lnTo>
                <a:lnTo>
                  <a:pt x="25" y="77"/>
                </a:lnTo>
                <a:lnTo>
                  <a:pt x="30" y="75"/>
                </a:lnTo>
                <a:lnTo>
                  <a:pt x="30" y="75"/>
                </a:lnTo>
                <a:lnTo>
                  <a:pt x="30" y="72"/>
                </a:lnTo>
                <a:lnTo>
                  <a:pt x="32" y="72"/>
                </a:lnTo>
                <a:lnTo>
                  <a:pt x="32" y="72"/>
                </a:lnTo>
                <a:lnTo>
                  <a:pt x="32" y="70"/>
                </a:lnTo>
                <a:lnTo>
                  <a:pt x="32" y="70"/>
                </a:lnTo>
                <a:lnTo>
                  <a:pt x="32" y="70"/>
                </a:lnTo>
                <a:lnTo>
                  <a:pt x="30" y="68"/>
                </a:lnTo>
                <a:lnTo>
                  <a:pt x="30" y="68"/>
                </a:lnTo>
                <a:lnTo>
                  <a:pt x="30" y="68"/>
                </a:lnTo>
                <a:lnTo>
                  <a:pt x="30" y="68"/>
                </a:lnTo>
                <a:lnTo>
                  <a:pt x="30" y="65"/>
                </a:lnTo>
                <a:lnTo>
                  <a:pt x="30" y="63"/>
                </a:lnTo>
                <a:lnTo>
                  <a:pt x="30" y="63"/>
                </a:lnTo>
                <a:lnTo>
                  <a:pt x="30" y="58"/>
                </a:lnTo>
                <a:lnTo>
                  <a:pt x="30" y="58"/>
                </a:lnTo>
                <a:lnTo>
                  <a:pt x="30" y="56"/>
                </a:lnTo>
                <a:lnTo>
                  <a:pt x="32" y="56"/>
                </a:lnTo>
                <a:lnTo>
                  <a:pt x="32" y="54"/>
                </a:lnTo>
                <a:lnTo>
                  <a:pt x="32" y="54"/>
                </a:lnTo>
                <a:lnTo>
                  <a:pt x="32" y="54"/>
                </a:lnTo>
                <a:lnTo>
                  <a:pt x="35" y="54"/>
                </a:lnTo>
                <a:lnTo>
                  <a:pt x="35" y="51"/>
                </a:lnTo>
                <a:lnTo>
                  <a:pt x="37" y="44"/>
                </a:lnTo>
                <a:lnTo>
                  <a:pt x="37" y="42"/>
                </a:lnTo>
                <a:lnTo>
                  <a:pt x="37" y="40"/>
                </a:lnTo>
                <a:lnTo>
                  <a:pt x="37" y="37"/>
                </a:lnTo>
                <a:lnTo>
                  <a:pt x="37" y="37"/>
                </a:lnTo>
                <a:lnTo>
                  <a:pt x="35" y="33"/>
                </a:lnTo>
                <a:lnTo>
                  <a:pt x="35" y="33"/>
                </a:lnTo>
                <a:lnTo>
                  <a:pt x="35" y="30"/>
                </a:lnTo>
                <a:lnTo>
                  <a:pt x="35" y="30"/>
                </a:lnTo>
                <a:lnTo>
                  <a:pt x="30" y="28"/>
                </a:lnTo>
                <a:lnTo>
                  <a:pt x="30" y="26"/>
                </a:lnTo>
                <a:lnTo>
                  <a:pt x="30" y="26"/>
                </a:lnTo>
                <a:lnTo>
                  <a:pt x="32" y="26"/>
                </a:lnTo>
                <a:lnTo>
                  <a:pt x="32" y="26"/>
                </a:lnTo>
                <a:lnTo>
                  <a:pt x="30" y="23"/>
                </a:lnTo>
                <a:lnTo>
                  <a:pt x="30" y="23"/>
                </a:lnTo>
                <a:lnTo>
                  <a:pt x="30" y="23"/>
                </a:lnTo>
                <a:lnTo>
                  <a:pt x="28" y="23"/>
                </a:lnTo>
                <a:lnTo>
                  <a:pt x="28" y="21"/>
                </a:lnTo>
                <a:lnTo>
                  <a:pt x="25" y="16"/>
                </a:lnTo>
                <a:lnTo>
                  <a:pt x="25" y="14"/>
                </a:lnTo>
                <a:lnTo>
                  <a:pt x="25" y="12"/>
                </a:lnTo>
                <a:lnTo>
                  <a:pt x="25" y="12"/>
                </a:lnTo>
                <a:lnTo>
                  <a:pt x="25" y="12"/>
                </a:lnTo>
                <a:lnTo>
                  <a:pt x="25" y="12"/>
                </a:lnTo>
                <a:lnTo>
                  <a:pt x="25" y="9"/>
                </a:lnTo>
                <a:lnTo>
                  <a:pt x="28" y="9"/>
                </a:lnTo>
                <a:lnTo>
                  <a:pt x="28" y="7"/>
                </a:lnTo>
                <a:lnTo>
                  <a:pt x="28" y="7"/>
                </a:lnTo>
                <a:lnTo>
                  <a:pt x="28" y="7"/>
                </a:lnTo>
                <a:lnTo>
                  <a:pt x="28" y="7"/>
                </a:lnTo>
                <a:lnTo>
                  <a:pt x="28" y="7"/>
                </a:lnTo>
                <a:lnTo>
                  <a:pt x="25" y="5"/>
                </a:lnTo>
                <a:lnTo>
                  <a:pt x="25" y="5"/>
                </a:lnTo>
                <a:lnTo>
                  <a:pt x="25" y="5"/>
                </a:lnTo>
                <a:lnTo>
                  <a:pt x="25" y="5"/>
                </a:lnTo>
                <a:lnTo>
                  <a:pt x="25" y="2"/>
                </a:lnTo>
                <a:lnTo>
                  <a:pt x="25" y="2"/>
                </a:lnTo>
                <a:lnTo>
                  <a:pt x="28" y="2"/>
                </a:lnTo>
                <a:lnTo>
                  <a:pt x="28" y="0"/>
                </a:lnTo>
                <a:lnTo>
                  <a:pt x="28" y="0"/>
                </a:lnTo>
                <a:lnTo>
                  <a:pt x="28" y="0"/>
                </a:lnTo>
                <a:lnTo>
                  <a:pt x="28" y="0"/>
                </a:lnTo>
                <a:lnTo>
                  <a:pt x="30" y="0"/>
                </a:lnTo>
                <a:lnTo>
                  <a:pt x="30" y="0"/>
                </a:lnTo>
                <a:lnTo>
                  <a:pt x="35" y="2"/>
                </a:lnTo>
                <a:lnTo>
                  <a:pt x="37" y="2"/>
                </a:lnTo>
                <a:lnTo>
                  <a:pt x="37" y="5"/>
                </a:lnTo>
                <a:lnTo>
                  <a:pt x="39" y="5"/>
                </a:lnTo>
                <a:lnTo>
                  <a:pt x="42" y="7"/>
                </a:lnTo>
                <a:lnTo>
                  <a:pt x="42" y="9"/>
                </a:lnTo>
                <a:lnTo>
                  <a:pt x="42" y="7"/>
                </a:lnTo>
                <a:lnTo>
                  <a:pt x="46" y="9"/>
                </a:lnTo>
                <a:lnTo>
                  <a:pt x="49" y="9"/>
                </a:lnTo>
                <a:lnTo>
                  <a:pt x="49" y="12"/>
                </a:lnTo>
                <a:lnTo>
                  <a:pt x="51" y="14"/>
                </a:lnTo>
                <a:lnTo>
                  <a:pt x="56" y="16"/>
                </a:lnTo>
                <a:lnTo>
                  <a:pt x="56" y="16"/>
                </a:lnTo>
                <a:lnTo>
                  <a:pt x="58" y="19"/>
                </a:lnTo>
                <a:lnTo>
                  <a:pt x="58" y="19"/>
                </a:lnTo>
                <a:lnTo>
                  <a:pt x="60" y="19"/>
                </a:lnTo>
                <a:lnTo>
                  <a:pt x="63" y="19"/>
                </a:lnTo>
                <a:lnTo>
                  <a:pt x="67" y="21"/>
                </a:lnTo>
                <a:lnTo>
                  <a:pt x="70" y="23"/>
                </a:lnTo>
                <a:lnTo>
                  <a:pt x="70" y="23"/>
                </a:lnTo>
                <a:lnTo>
                  <a:pt x="74" y="28"/>
                </a:lnTo>
                <a:lnTo>
                  <a:pt x="74" y="28"/>
                </a:lnTo>
                <a:lnTo>
                  <a:pt x="74" y="30"/>
                </a:lnTo>
                <a:lnTo>
                  <a:pt x="74" y="30"/>
                </a:lnTo>
                <a:lnTo>
                  <a:pt x="74" y="30"/>
                </a:lnTo>
                <a:lnTo>
                  <a:pt x="76" y="30"/>
                </a:lnTo>
                <a:lnTo>
                  <a:pt x="76" y="30"/>
                </a:lnTo>
                <a:lnTo>
                  <a:pt x="76" y="30"/>
                </a:lnTo>
                <a:lnTo>
                  <a:pt x="79" y="33"/>
                </a:lnTo>
                <a:lnTo>
                  <a:pt x="81" y="33"/>
                </a:lnTo>
                <a:lnTo>
                  <a:pt x="83" y="37"/>
                </a:lnTo>
                <a:lnTo>
                  <a:pt x="86" y="37"/>
                </a:lnTo>
                <a:lnTo>
                  <a:pt x="86" y="37"/>
                </a:lnTo>
                <a:lnTo>
                  <a:pt x="88" y="37"/>
                </a:lnTo>
                <a:lnTo>
                  <a:pt x="88" y="37"/>
                </a:lnTo>
                <a:lnTo>
                  <a:pt x="90" y="37"/>
                </a:lnTo>
                <a:lnTo>
                  <a:pt x="90" y="40"/>
                </a:lnTo>
                <a:lnTo>
                  <a:pt x="90" y="42"/>
                </a:lnTo>
                <a:lnTo>
                  <a:pt x="90" y="47"/>
                </a:lnTo>
                <a:lnTo>
                  <a:pt x="90" y="47"/>
                </a:lnTo>
                <a:lnTo>
                  <a:pt x="90" y="49"/>
                </a:lnTo>
                <a:lnTo>
                  <a:pt x="93" y="49"/>
                </a:lnTo>
                <a:lnTo>
                  <a:pt x="95" y="51"/>
                </a:lnTo>
                <a:lnTo>
                  <a:pt x="95" y="51"/>
                </a:lnTo>
                <a:lnTo>
                  <a:pt x="95" y="54"/>
                </a:lnTo>
                <a:lnTo>
                  <a:pt x="95" y="54"/>
                </a:lnTo>
                <a:lnTo>
                  <a:pt x="95" y="56"/>
                </a:lnTo>
                <a:lnTo>
                  <a:pt x="97" y="56"/>
                </a:lnTo>
                <a:lnTo>
                  <a:pt x="100" y="56"/>
                </a:lnTo>
                <a:lnTo>
                  <a:pt x="100" y="56"/>
                </a:lnTo>
                <a:lnTo>
                  <a:pt x="102" y="58"/>
                </a:lnTo>
                <a:lnTo>
                  <a:pt x="104" y="61"/>
                </a:lnTo>
                <a:lnTo>
                  <a:pt x="104" y="61"/>
                </a:lnTo>
                <a:lnTo>
                  <a:pt x="104" y="61"/>
                </a:lnTo>
                <a:lnTo>
                  <a:pt x="107" y="58"/>
                </a:lnTo>
                <a:lnTo>
                  <a:pt x="107" y="58"/>
                </a:lnTo>
                <a:lnTo>
                  <a:pt x="109" y="61"/>
                </a:lnTo>
                <a:lnTo>
                  <a:pt x="111" y="63"/>
                </a:lnTo>
                <a:lnTo>
                  <a:pt x="111" y="63"/>
                </a:lnTo>
                <a:lnTo>
                  <a:pt x="111" y="65"/>
                </a:lnTo>
                <a:lnTo>
                  <a:pt x="111" y="68"/>
                </a:lnTo>
                <a:lnTo>
                  <a:pt x="111" y="68"/>
                </a:lnTo>
                <a:lnTo>
                  <a:pt x="111" y="70"/>
                </a:lnTo>
                <a:lnTo>
                  <a:pt x="111" y="70"/>
                </a:lnTo>
                <a:lnTo>
                  <a:pt x="114" y="72"/>
                </a:lnTo>
                <a:lnTo>
                  <a:pt x="116" y="70"/>
                </a:lnTo>
                <a:lnTo>
                  <a:pt x="118" y="72"/>
                </a:lnTo>
                <a:lnTo>
                  <a:pt x="118" y="72"/>
                </a:lnTo>
                <a:lnTo>
                  <a:pt x="118" y="72"/>
                </a:lnTo>
                <a:lnTo>
                  <a:pt x="118" y="77"/>
                </a:lnTo>
                <a:lnTo>
                  <a:pt x="118" y="77"/>
                </a:lnTo>
                <a:close/>
              </a:path>
            </a:pathLst>
          </a:custGeom>
          <a:solidFill>
            <a:srgbClr val="E7A1A8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53" name="Freeform 30">
            <a:extLst>
              <a:ext uri="{FF2B5EF4-FFF2-40B4-BE49-F238E27FC236}">
                <a16:creationId xmlns:a16="http://schemas.microsoft.com/office/drawing/2014/main" id="{A6E201DE-22E8-39B9-E72F-E579733729B7}"/>
              </a:ext>
            </a:extLst>
          </p:cNvPr>
          <p:cNvSpPr>
            <a:spLocks/>
          </p:cNvSpPr>
          <p:nvPr/>
        </p:nvSpPr>
        <p:spPr bwMode="auto">
          <a:xfrm>
            <a:off x="2183488" y="2672738"/>
            <a:ext cx="493687" cy="520721"/>
          </a:xfrm>
          <a:custGeom>
            <a:avLst/>
            <a:gdLst>
              <a:gd name="T0" fmla="*/ 340 w 419"/>
              <a:gd name="T1" fmla="*/ 23 h 463"/>
              <a:gd name="T2" fmla="*/ 331 w 419"/>
              <a:gd name="T3" fmla="*/ 47 h 463"/>
              <a:gd name="T4" fmla="*/ 338 w 419"/>
              <a:gd name="T5" fmla="*/ 54 h 463"/>
              <a:gd name="T6" fmla="*/ 359 w 419"/>
              <a:gd name="T7" fmla="*/ 61 h 463"/>
              <a:gd name="T8" fmla="*/ 359 w 419"/>
              <a:gd name="T9" fmla="*/ 75 h 463"/>
              <a:gd name="T10" fmla="*/ 373 w 419"/>
              <a:gd name="T11" fmla="*/ 91 h 463"/>
              <a:gd name="T12" fmla="*/ 370 w 419"/>
              <a:gd name="T13" fmla="*/ 102 h 463"/>
              <a:gd name="T14" fmla="*/ 352 w 419"/>
              <a:gd name="T15" fmla="*/ 119 h 463"/>
              <a:gd name="T16" fmla="*/ 352 w 419"/>
              <a:gd name="T17" fmla="*/ 135 h 463"/>
              <a:gd name="T18" fmla="*/ 342 w 419"/>
              <a:gd name="T19" fmla="*/ 156 h 463"/>
              <a:gd name="T20" fmla="*/ 345 w 419"/>
              <a:gd name="T21" fmla="*/ 189 h 463"/>
              <a:gd name="T22" fmla="*/ 354 w 419"/>
              <a:gd name="T23" fmla="*/ 207 h 463"/>
              <a:gd name="T24" fmla="*/ 359 w 419"/>
              <a:gd name="T25" fmla="*/ 226 h 463"/>
              <a:gd name="T26" fmla="*/ 363 w 419"/>
              <a:gd name="T27" fmla="*/ 240 h 463"/>
              <a:gd name="T28" fmla="*/ 373 w 419"/>
              <a:gd name="T29" fmla="*/ 249 h 463"/>
              <a:gd name="T30" fmla="*/ 389 w 419"/>
              <a:gd name="T31" fmla="*/ 263 h 463"/>
              <a:gd name="T32" fmla="*/ 340 w 419"/>
              <a:gd name="T33" fmla="*/ 352 h 463"/>
              <a:gd name="T34" fmla="*/ 326 w 419"/>
              <a:gd name="T35" fmla="*/ 368 h 463"/>
              <a:gd name="T36" fmla="*/ 319 w 419"/>
              <a:gd name="T37" fmla="*/ 389 h 463"/>
              <a:gd name="T38" fmla="*/ 319 w 419"/>
              <a:gd name="T39" fmla="*/ 410 h 463"/>
              <a:gd name="T40" fmla="*/ 305 w 419"/>
              <a:gd name="T41" fmla="*/ 421 h 463"/>
              <a:gd name="T42" fmla="*/ 289 w 419"/>
              <a:gd name="T43" fmla="*/ 419 h 463"/>
              <a:gd name="T44" fmla="*/ 272 w 419"/>
              <a:gd name="T45" fmla="*/ 403 h 463"/>
              <a:gd name="T46" fmla="*/ 256 w 419"/>
              <a:gd name="T47" fmla="*/ 405 h 463"/>
              <a:gd name="T48" fmla="*/ 235 w 419"/>
              <a:gd name="T49" fmla="*/ 419 h 463"/>
              <a:gd name="T50" fmla="*/ 233 w 419"/>
              <a:gd name="T51" fmla="*/ 442 h 463"/>
              <a:gd name="T52" fmla="*/ 224 w 419"/>
              <a:gd name="T53" fmla="*/ 461 h 463"/>
              <a:gd name="T54" fmla="*/ 205 w 419"/>
              <a:gd name="T55" fmla="*/ 449 h 463"/>
              <a:gd name="T56" fmla="*/ 184 w 419"/>
              <a:gd name="T57" fmla="*/ 433 h 463"/>
              <a:gd name="T58" fmla="*/ 172 w 419"/>
              <a:gd name="T59" fmla="*/ 414 h 463"/>
              <a:gd name="T60" fmla="*/ 179 w 419"/>
              <a:gd name="T61" fmla="*/ 400 h 463"/>
              <a:gd name="T62" fmla="*/ 170 w 419"/>
              <a:gd name="T63" fmla="*/ 379 h 463"/>
              <a:gd name="T64" fmla="*/ 168 w 419"/>
              <a:gd name="T65" fmla="*/ 361 h 463"/>
              <a:gd name="T66" fmla="*/ 168 w 419"/>
              <a:gd name="T67" fmla="*/ 335 h 463"/>
              <a:gd name="T68" fmla="*/ 172 w 419"/>
              <a:gd name="T69" fmla="*/ 312 h 463"/>
              <a:gd name="T70" fmla="*/ 161 w 419"/>
              <a:gd name="T71" fmla="*/ 272 h 463"/>
              <a:gd name="T72" fmla="*/ 147 w 419"/>
              <a:gd name="T73" fmla="*/ 258 h 463"/>
              <a:gd name="T74" fmla="*/ 154 w 419"/>
              <a:gd name="T75" fmla="*/ 237 h 463"/>
              <a:gd name="T76" fmla="*/ 133 w 419"/>
              <a:gd name="T77" fmla="*/ 228 h 463"/>
              <a:gd name="T78" fmla="*/ 121 w 419"/>
              <a:gd name="T79" fmla="*/ 219 h 463"/>
              <a:gd name="T80" fmla="*/ 105 w 419"/>
              <a:gd name="T81" fmla="*/ 207 h 463"/>
              <a:gd name="T82" fmla="*/ 65 w 419"/>
              <a:gd name="T83" fmla="*/ 200 h 463"/>
              <a:gd name="T84" fmla="*/ 61 w 419"/>
              <a:gd name="T85" fmla="*/ 182 h 463"/>
              <a:gd name="T86" fmla="*/ 44 w 419"/>
              <a:gd name="T87" fmla="*/ 142 h 463"/>
              <a:gd name="T88" fmla="*/ 35 w 419"/>
              <a:gd name="T89" fmla="*/ 114 h 463"/>
              <a:gd name="T90" fmla="*/ 9 w 419"/>
              <a:gd name="T91" fmla="*/ 88 h 463"/>
              <a:gd name="T92" fmla="*/ 5 w 419"/>
              <a:gd name="T93" fmla="*/ 75 h 463"/>
              <a:gd name="T94" fmla="*/ 47 w 419"/>
              <a:gd name="T95" fmla="*/ 84 h 463"/>
              <a:gd name="T96" fmla="*/ 65 w 419"/>
              <a:gd name="T97" fmla="*/ 98 h 463"/>
              <a:gd name="T98" fmla="*/ 91 w 419"/>
              <a:gd name="T99" fmla="*/ 100 h 463"/>
              <a:gd name="T100" fmla="*/ 112 w 419"/>
              <a:gd name="T101" fmla="*/ 100 h 463"/>
              <a:gd name="T102" fmla="*/ 137 w 419"/>
              <a:gd name="T103" fmla="*/ 121 h 463"/>
              <a:gd name="T104" fmla="*/ 147 w 419"/>
              <a:gd name="T105" fmla="*/ 102 h 463"/>
              <a:gd name="T106" fmla="*/ 149 w 419"/>
              <a:gd name="T107" fmla="*/ 88 h 463"/>
              <a:gd name="T108" fmla="*/ 165 w 419"/>
              <a:gd name="T109" fmla="*/ 79 h 463"/>
              <a:gd name="T110" fmla="*/ 203 w 419"/>
              <a:gd name="T111" fmla="*/ 79 h 463"/>
              <a:gd name="T112" fmla="*/ 224 w 419"/>
              <a:gd name="T113" fmla="*/ 72 h 463"/>
              <a:gd name="T114" fmla="*/ 238 w 419"/>
              <a:gd name="T115" fmla="*/ 61 h 463"/>
              <a:gd name="T116" fmla="*/ 254 w 419"/>
              <a:gd name="T117" fmla="*/ 54 h 463"/>
              <a:gd name="T118" fmla="*/ 275 w 419"/>
              <a:gd name="T119" fmla="*/ 44 h 463"/>
              <a:gd name="T120" fmla="*/ 293 w 419"/>
              <a:gd name="T121" fmla="*/ 7 h 463"/>
              <a:gd name="T122" fmla="*/ 307 w 419"/>
              <a:gd name="T123" fmla="*/ 7 h 463"/>
              <a:gd name="T124" fmla="*/ 328 w 419"/>
              <a:gd name="T125" fmla="*/ 2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19" h="463">
                <a:moveTo>
                  <a:pt x="335" y="7"/>
                </a:moveTo>
                <a:lnTo>
                  <a:pt x="335" y="9"/>
                </a:lnTo>
                <a:lnTo>
                  <a:pt x="338" y="9"/>
                </a:lnTo>
                <a:lnTo>
                  <a:pt x="340" y="12"/>
                </a:lnTo>
                <a:lnTo>
                  <a:pt x="342" y="12"/>
                </a:lnTo>
                <a:lnTo>
                  <a:pt x="342" y="14"/>
                </a:lnTo>
                <a:lnTo>
                  <a:pt x="340" y="19"/>
                </a:lnTo>
                <a:lnTo>
                  <a:pt x="340" y="21"/>
                </a:lnTo>
                <a:lnTo>
                  <a:pt x="340" y="23"/>
                </a:lnTo>
                <a:lnTo>
                  <a:pt x="340" y="26"/>
                </a:lnTo>
                <a:lnTo>
                  <a:pt x="340" y="30"/>
                </a:lnTo>
                <a:lnTo>
                  <a:pt x="338" y="33"/>
                </a:lnTo>
                <a:lnTo>
                  <a:pt x="338" y="37"/>
                </a:lnTo>
                <a:lnTo>
                  <a:pt x="338" y="40"/>
                </a:lnTo>
                <a:lnTo>
                  <a:pt x="335" y="44"/>
                </a:lnTo>
                <a:lnTo>
                  <a:pt x="335" y="47"/>
                </a:lnTo>
                <a:lnTo>
                  <a:pt x="333" y="47"/>
                </a:lnTo>
                <a:lnTo>
                  <a:pt x="331" y="47"/>
                </a:lnTo>
                <a:lnTo>
                  <a:pt x="328" y="49"/>
                </a:lnTo>
                <a:lnTo>
                  <a:pt x="328" y="51"/>
                </a:lnTo>
                <a:lnTo>
                  <a:pt x="331" y="51"/>
                </a:lnTo>
                <a:lnTo>
                  <a:pt x="331" y="54"/>
                </a:lnTo>
                <a:lnTo>
                  <a:pt x="333" y="54"/>
                </a:lnTo>
                <a:lnTo>
                  <a:pt x="333" y="51"/>
                </a:lnTo>
                <a:lnTo>
                  <a:pt x="335" y="51"/>
                </a:lnTo>
                <a:lnTo>
                  <a:pt x="335" y="54"/>
                </a:lnTo>
                <a:lnTo>
                  <a:pt x="338" y="54"/>
                </a:lnTo>
                <a:lnTo>
                  <a:pt x="340" y="54"/>
                </a:lnTo>
                <a:lnTo>
                  <a:pt x="342" y="54"/>
                </a:lnTo>
                <a:lnTo>
                  <a:pt x="345" y="54"/>
                </a:lnTo>
                <a:lnTo>
                  <a:pt x="347" y="56"/>
                </a:lnTo>
                <a:lnTo>
                  <a:pt x="349" y="56"/>
                </a:lnTo>
                <a:lnTo>
                  <a:pt x="352" y="56"/>
                </a:lnTo>
                <a:lnTo>
                  <a:pt x="354" y="56"/>
                </a:lnTo>
                <a:lnTo>
                  <a:pt x="356" y="58"/>
                </a:lnTo>
                <a:lnTo>
                  <a:pt x="359" y="61"/>
                </a:lnTo>
                <a:lnTo>
                  <a:pt x="361" y="61"/>
                </a:lnTo>
                <a:lnTo>
                  <a:pt x="361" y="63"/>
                </a:lnTo>
                <a:lnTo>
                  <a:pt x="363" y="63"/>
                </a:lnTo>
                <a:lnTo>
                  <a:pt x="363" y="65"/>
                </a:lnTo>
                <a:lnTo>
                  <a:pt x="361" y="68"/>
                </a:lnTo>
                <a:lnTo>
                  <a:pt x="359" y="70"/>
                </a:lnTo>
                <a:lnTo>
                  <a:pt x="361" y="70"/>
                </a:lnTo>
                <a:lnTo>
                  <a:pt x="359" y="72"/>
                </a:lnTo>
                <a:lnTo>
                  <a:pt x="359" y="75"/>
                </a:lnTo>
                <a:lnTo>
                  <a:pt x="361" y="77"/>
                </a:lnTo>
                <a:lnTo>
                  <a:pt x="366" y="79"/>
                </a:lnTo>
                <a:lnTo>
                  <a:pt x="366" y="81"/>
                </a:lnTo>
                <a:lnTo>
                  <a:pt x="366" y="84"/>
                </a:lnTo>
                <a:lnTo>
                  <a:pt x="368" y="86"/>
                </a:lnTo>
                <a:lnTo>
                  <a:pt x="368" y="88"/>
                </a:lnTo>
                <a:lnTo>
                  <a:pt x="370" y="88"/>
                </a:lnTo>
                <a:lnTo>
                  <a:pt x="370" y="91"/>
                </a:lnTo>
                <a:lnTo>
                  <a:pt x="373" y="91"/>
                </a:lnTo>
                <a:lnTo>
                  <a:pt x="373" y="93"/>
                </a:lnTo>
                <a:lnTo>
                  <a:pt x="375" y="93"/>
                </a:lnTo>
                <a:lnTo>
                  <a:pt x="373" y="93"/>
                </a:lnTo>
                <a:lnTo>
                  <a:pt x="373" y="95"/>
                </a:lnTo>
                <a:lnTo>
                  <a:pt x="370" y="95"/>
                </a:lnTo>
                <a:lnTo>
                  <a:pt x="370" y="98"/>
                </a:lnTo>
                <a:lnTo>
                  <a:pt x="368" y="100"/>
                </a:lnTo>
                <a:lnTo>
                  <a:pt x="370" y="100"/>
                </a:lnTo>
                <a:lnTo>
                  <a:pt x="370" y="102"/>
                </a:lnTo>
                <a:lnTo>
                  <a:pt x="368" y="105"/>
                </a:lnTo>
                <a:lnTo>
                  <a:pt x="366" y="105"/>
                </a:lnTo>
                <a:lnTo>
                  <a:pt x="363" y="107"/>
                </a:lnTo>
                <a:lnTo>
                  <a:pt x="363" y="109"/>
                </a:lnTo>
                <a:lnTo>
                  <a:pt x="363" y="112"/>
                </a:lnTo>
                <a:lnTo>
                  <a:pt x="361" y="112"/>
                </a:lnTo>
                <a:lnTo>
                  <a:pt x="359" y="114"/>
                </a:lnTo>
                <a:lnTo>
                  <a:pt x="352" y="116"/>
                </a:lnTo>
                <a:lnTo>
                  <a:pt x="352" y="119"/>
                </a:lnTo>
                <a:lnTo>
                  <a:pt x="352" y="121"/>
                </a:lnTo>
                <a:lnTo>
                  <a:pt x="354" y="123"/>
                </a:lnTo>
                <a:lnTo>
                  <a:pt x="354" y="126"/>
                </a:lnTo>
                <a:lnTo>
                  <a:pt x="352" y="128"/>
                </a:lnTo>
                <a:lnTo>
                  <a:pt x="352" y="130"/>
                </a:lnTo>
                <a:lnTo>
                  <a:pt x="354" y="128"/>
                </a:lnTo>
                <a:lnTo>
                  <a:pt x="354" y="133"/>
                </a:lnTo>
                <a:lnTo>
                  <a:pt x="354" y="135"/>
                </a:lnTo>
                <a:lnTo>
                  <a:pt x="352" y="135"/>
                </a:lnTo>
                <a:lnTo>
                  <a:pt x="352" y="137"/>
                </a:lnTo>
                <a:lnTo>
                  <a:pt x="349" y="140"/>
                </a:lnTo>
                <a:lnTo>
                  <a:pt x="347" y="144"/>
                </a:lnTo>
                <a:lnTo>
                  <a:pt x="347" y="147"/>
                </a:lnTo>
                <a:lnTo>
                  <a:pt x="347" y="149"/>
                </a:lnTo>
                <a:lnTo>
                  <a:pt x="347" y="151"/>
                </a:lnTo>
                <a:lnTo>
                  <a:pt x="345" y="151"/>
                </a:lnTo>
                <a:lnTo>
                  <a:pt x="345" y="154"/>
                </a:lnTo>
                <a:lnTo>
                  <a:pt x="342" y="156"/>
                </a:lnTo>
                <a:lnTo>
                  <a:pt x="342" y="158"/>
                </a:lnTo>
                <a:lnTo>
                  <a:pt x="342" y="161"/>
                </a:lnTo>
                <a:lnTo>
                  <a:pt x="342" y="163"/>
                </a:lnTo>
                <a:lnTo>
                  <a:pt x="342" y="170"/>
                </a:lnTo>
                <a:lnTo>
                  <a:pt x="340" y="179"/>
                </a:lnTo>
                <a:lnTo>
                  <a:pt x="342" y="182"/>
                </a:lnTo>
                <a:lnTo>
                  <a:pt x="342" y="186"/>
                </a:lnTo>
                <a:lnTo>
                  <a:pt x="342" y="189"/>
                </a:lnTo>
                <a:lnTo>
                  <a:pt x="345" y="189"/>
                </a:lnTo>
                <a:lnTo>
                  <a:pt x="345" y="191"/>
                </a:lnTo>
                <a:lnTo>
                  <a:pt x="345" y="193"/>
                </a:lnTo>
                <a:lnTo>
                  <a:pt x="347" y="196"/>
                </a:lnTo>
                <a:lnTo>
                  <a:pt x="347" y="198"/>
                </a:lnTo>
                <a:lnTo>
                  <a:pt x="347" y="200"/>
                </a:lnTo>
                <a:lnTo>
                  <a:pt x="347" y="203"/>
                </a:lnTo>
                <a:lnTo>
                  <a:pt x="349" y="205"/>
                </a:lnTo>
                <a:lnTo>
                  <a:pt x="352" y="205"/>
                </a:lnTo>
                <a:lnTo>
                  <a:pt x="354" y="207"/>
                </a:lnTo>
                <a:lnTo>
                  <a:pt x="356" y="207"/>
                </a:lnTo>
                <a:lnTo>
                  <a:pt x="356" y="210"/>
                </a:lnTo>
                <a:lnTo>
                  <a:pt x="359" y="210"/>
                </a:lnTo>
                <a:lnTo>
                  <a:pt x="359" y="212"/>
                </a:lnTo>
                <a:lnTo>
                  <a:pt x="359" y="214"/>
                </a:lnTo>
                <a:lnTo>
                  <a:pt x="359" y="219"/>
                </a:lnTo>
                <a:lnTo>
                  <a:pt x="359" y="221"/>
                </a:lnTo>
                <a:lnTo>
                  <a:pt x="359" y="224"/>
                </a:lnTo>
                <a:lnTo>
                  <a:pt x="359" y="226"/>
                </a:lnTo>
                <a:lnTo>
                  <a:pt x="359" y="228"/>
                </a:lnTo>
                <a:lnTo>
                  <a:pt x="359" y="230"/>
                </a:lnTo>
                <a:lnTo>
                  <a:pt x="359" y="233"/>
                </a:lnTo>
                <a:lnTo>
                  <a:pt x="356" y="235"/>
                </a:lnTo>
                <a:lnTo>
                  <a:pt x="356" y="237"/>
                </a:lnTo>
                <a:lnTo>
                  <a:pt x="359" y="237"/>
                </a:lnTo>
                <a:lnTo>
                  <a:pt x="359" y="240"/>
                </a:lnTo>
                <a:lnTo>
                  <a:pt x="361" y="237"/>
                </a:lnTo>
                <a:lnTo>
                  <a:pt x="363" y="240"/>
                </a:lnTo>
                <a:lnTo>
                  <a:pt x="366" y="240"/>
                </a:lnTo>
                <a:lnTo>
                  <a:pt x="363" y="242"/>
                </a:lnTo>
                <a:lnTo>
                  <a:pt x="363" y="244"/>
                </a:lnTo>
                <a:lnTo>
                  <a:pt x="366" y="247"/>
                </a:lnTo>
                <a:lnTo>
                  <a:pt x="368" y="249"/>
                </a:lnTo>
                <a:lnTo>
                  <a:pt x="368" y="247"/>
                </a:lnTo>
                <a:lnTo>
                  <a:pt x="370" y="247"/>
                </a:lnTo>
                <a:lnTo>
                  <a:pt x="373" y="247"/>
                </a:lnTo>
                <a:lnTo>
                  <a:pt x="373" y="249"/>
                </a:lnTo>
                <a:lnTo>
                  <a:pt x="375" y="251"/>
                </a:lnTo>
                <a:lnTo>
                  <a:pt x="377" y="254"/>
                </a:lnTo>
                <a:lnTo>
                  <a:pt x="379" y="256"/>
                </a:lnTo>
                <a:lnTo>
                  <a:pt x="382" y="258"/>
                </a:lnTo>
                <a:lnTo>
                  <a:pt x="382" y="261"/>
                </a:lnTo>
                <a:lnTo>
                  <a:pt x="384" y="261"/>
                </a:lnTo>
                <a:lnTo>
                  <a:pt x="386" y="261"/>
                </a:lnTo>
                <a:lnTo>
                  <a:pt x="386" y="263"/>
                </a:lnTo>
                <a:lnTo>
                  <a:pt x="389" y="263"/>
                </a:lnTo>
                <a:lnTo>
                  <a:pt x="389" y="265"/>
                </a:lnTo>
                <a:lnTo>
                  <a:pt x="391" y="270"/>
                </a:lnTo>
                <a:lnTo>
                  <a:pt x="393" y="272"/>
                </a:lnTo>
                <a:lnTo>
                  <a:pt x="398" y="272"/>
                </a:lnTo>
                <a:lnTo>
                  <a:pt x="410" y="275"/>
                </a:lnTo>
                <a:lnTo>
                  <a:pt x="412" y="277"/>
                </a:lnTo>
                <a:lnTo>
                  <a:pt x="419" y="352"/>
                </a:lnTo>
                <a:lnTo>
                  <a:pt x="356" y="349"/>
                </a:lnTo>
                <a:lnTo>
                  <a:pt x="340" y="352"/>
                </a:lnTo>
                <a:lnTo>
                  <a:pt x="338" y="352"/>
                </a:lnTo>
                <a:lnTo>
                  <a:pt x="338" y="354"/>
                </a:lnTo>
                <a:lnTo>
                  <a:pt x="335" y="354"/>
                </a:lnTo>
                <a:lnTo>
                  <a:pt x="335" y="356"/>
                </a:lnTo>
                <a:lnTo>
                  <a:pt x="333" y="356"/>
                </a:lnTo>
                <a:lnTo>
                  <a:pt x="331" y="359"/>
                </a:lnTo>
                <a:lnTo>
                  <a:pt x="331" y="361"/>
                </a:lnTo>
                <a:lnTo>
                  <a:pt x="328" y="366"/>
                </a:lnTo>
                <a:lnTo>
                  <a:pt x="326" y="368"/>
                </a:lnTo>
                <a:lnTo>
                  <a:pt x="326" y="370"/>
                </a:lnTo>
                <a:lnTo>
                  <a:pt x="324" y="372"/>
                </a:lnTo>
                <a:lnTo>
                  <a:pt x="324" y="375"/>
                </a:lnTo>
                <a:lnTo>
                  <a:pt x="324" y="377"/>
                </a:lnTo>
                <a:lnTo>
                  <a:pt x="321" y="379"/>
                </a:lnTo>
                <a:lnTo>
                  <a:pt x="319" y="379"/>
                </a:lnTo>
                <a:lnTo>
                  <a:pt x="319" y="382"/>
                </a:lnTo>
                <a:lnTo>
                  <a:pt x="319" y="386"/>
                </a:lnTo>
                <a:lnTo>
                  <a:pt x="319" y="389"/>
                </a:lnTo>
                <a:lnTo>
                  <a:pt x="317" y="391"/>
                </a:lnTo>
                <a:lnTo>
                  <a:pt x="317" y="393"/>
                </a:lnTo>
                <a:lnTo>
                  <a:pt x="317" y="396"/>
                </a:lnTo>
                <a:lnTo>
                  <a:pt x="314" y="396"/>
                </a:lnTo>
                <a:lnTo>
                  <a:pt x="314" y="398"/>
                </a:lnTo>
                <a:lnTo>
                  <a:pt x="314" y="400"/>
                </a:lnTo>
                <a:lnTo>
                  <a:pt x="314" y="403"/>
                </a:lnTo>
                <a:lnTo>
                  <a:pt x="319" y="407"/>
                </a:lnTo>
                <a:lnTo>
                  <a:pt x="319" y="410"/>
                </a:lnTo>
                <a:lnTo>
                  <a:pt x="319" y="412"/>
                </a:lnTo>
                <a:lnTo>
                  <a:pt x="319" y="414"/>
                </a:lnTo>
                <a:lnTo>
                  <a:pt x="317" y="414"/>
                </a:lnTo>
                <a:lnTo>
                  <a:pt x="314" y="414"/>
                </a:lnTo>
                <a:lnTo>
                  <a:pt x="310" y="417"/>
                </a:lnTo>
                <a:lnTo>
                  <a:pt x="307" y="417"/>
                </a:lnTo>
                <a:lnTo>
                  <a:pt x="307" y="419"/>
                </a:lnTo>
                <a:lnTo>
                  <a:pt x="307" y="421"/>
                </a:lnTo>
                <a:lnTo>
                  <a:pt x="305" y="421"/>
                </a:lnTo>
                <a:lnTo>
                  <a:pt x="305" y="424"/>
                </a:lnTo>
                <a:lnTo>
                  <a:pt x="303" y="421"/>
                </a:lnTo>
                <a:lnTo>
                  <a:pt x="300" y="424"/>
                </a:lnTo>
                <a:lnTo>
                  <a:pt x="298" y="424"/>
                </a:lnTo>
                <a:lnTo>
                  <a:pt x="296" y="424"/>
                </a:lnTo>
                <a:lnTo>
                  <a:pt x="291" y="424"/>
                </a:lnTo>
                <a:lnTo>
                  <a:pt x="289" y="424"/>
                </a:lnTo>
                <a:lnTo>
                  <a:pt x="289" y="421"/>
                </a:lnTo>
                <a:lnTo>
                  <a:pt x="289" y="419"/>
                </a:lnTo>
                <a:lnTo>
                  <a:pt x="289" y="417"/>
                </a:lnTo>
                <a:lnTo>
                  <a:pt x="286" y="414"/>
                </a:lnTo>
                <a:lnTo>
                  <a:pt x="284" y="412"/>
                </a:lnTo>
                <a:lnTo>
                  <a:pt x="282" y="410"/>
                </a:lnTo>
                <a:lnTo>
                  <a:pt x="279" y="407"/>
                </a:lnTo>
                <a:lnTo>
                  <a:pt x="277" y="405"/>
                </a:lnTo>
                <a:lnTo>
                  <a:pt x="277" y="403"/>
                </a:lnTo>
                <a:lnTo>
                  <a:pt x="275" y="403"/>
                </a:lnTo>
                <a:lnTo>
                  <a:pt x="272" y="403"/>
                </a:lnTo>
                <a:lnTo>
                  <a:pt x="268" y="403"/>
                </a:lnTo>
                <a:lnTo>
                  <a:pt x="268" y="400"/>
                </a:lnTo>
                <a:lnTo>
                  <a:pt x="265" y="400"/>
                </a:lnTo>
                <a:lnTo>
                  <a:pt x="263" y="400"/>
                </a:lnTo>
                <a:lnTo>
                  <a:pt x="261" y="400"/>
                </a:lnTo>
                <a:lnTo>
                  <a:pt x="258" y="400"/>
                </a:lnTo>
                <a:lnTo>
                  <a:pt x="256" y="400"/>
                </a:lnTo>
                <a:lnTo>
                  <a:pt x="256" y="403"/>
                </a:lnTo>
                <a:lnTo>
                  <a:pt x="256" y="405"/>
                </a:lnTo>
                <a:lnTo>
                  <a:pt x="254" y="405"/>
                </a:lnTo>
                <a:lnTo>
                  <a:pt x="249" y="407"/>
                </a:lnTo>
                <a:lnTo>
                  <a:pt x="247" y="407"/>
                </a:lnTo>
                <a:lnTo>
                  <a:pt x="242" y="410"/>
                </a:lnTo>
                <a:lnTo>
                  <a:pt x="240" y="410"/>
                </a:lnTo>
                <a:lnTo>
                  <a:pt x="240" y="412"/>
                </a:lnTo>
                <a:lnTo>
                  <a:pt x="238" y="414"/>
                </a:lnTo>
                <a:lnTo>
                  <a:pt x="235" y="417"/>
                </a:lnTo>
                <a:lnTo>
                  <a:pt x="235" y="419"/>
                </a:lnTo>
                <a:lnTo>
                  <a:pt x="235" y="424"/>
                </a:lnTo>
                <a:lnTo>
                  <a:pt x="233" y="426"/>
                </a:lnTo>
                <a:lnTo>
                  <a:pt x="233" y="428"/>
                </a:lnTo>
                <a:lnTo>
                  <a:pt x="233" y="431"/>
                </a:lnTo>
                <a:lnTo>
                  <a:pt x="235" y="435"/>
                </a:lnTo>
                <a:lnTo>
                  <a:pt x="235" y="438"/>
                </a:lnTo>
                <a:lnTo>
                  <a:pt x="233" y="438"/>
                </a:lnTo>
                <a:lnTo>
                  <a:pt x="233" y="440"/>
                </a:lnTo>
                <a:lnTo>
                  <a:pt x="233" y="442"/>
                </a:lnTo>
                <a:lnTo>
                  <a:pt x="233" y="445"/>
                </a:lnTo>
                <a:lnTo>
                  <a:pt x="233" y="449"/>
                </a:lnTo>
                <a:lnTo>
                  <a:pt x="231" y="454"/>
                </a:lnTo>
                <a:lnTo>
                  <a:pt x="233" y="461"/>
                </a:lnTo>
                <a:lnTo>
                  <a:pt x="233" y="463"/>
                </a:lnTo>
                <a:lnTo>
                  <a:pt x="231" y="463"/>
                </a:lnTo>
                <a:lnTo>
                  <a:pt x="228" y="461"/>
                </a:lnTo>
                <a:lnTo>
                  <a:pt x="226" y="461"/>
                </a:lnTo>
                <a:lnTo>
                  <a:pt x="224" y="461"/>
                </a:lnTo>
                <a:lnTo>
                  <a:pt x="221" y="459"/>
                </a:lnTo>
                <a:lnTo>
                  <a:pt x="219" y="459"/>
                </a:lnTo>
                <a:lnTo>
                  <a:pt x="217" y="461"/>
                </a:lnTo>
                <a:lnTo>
                  <a:pt x="214" y="461"/>
                </a:lnTo>
                <a:lnTo>
                  <a:pt x="214" y="459"/>
                </a:lnTo>
                <a:lnTo>
                  <a:pt x="210" y="452"/>
                </a:lnTo>
                <a:lnTo>
                  <a:pt x="207" y="452"/>
                </a:lnTo>
                <a:lnTo>
                  <a:pt x="207" y="449"/>
                </a:lnTo>
                <a:lnTo>
                  <a:pt x="205" y="449"/>
                </a:lnTo>
                <a:lnTo>
                  <a:pt x="205" y="447"/>
                </a:lnTo>
                <a:lnTo>
                  <a:pt x="203" y="445"/>
                </a:lnTo>
                <a:lnTo>
                  <a:pt x="200" y="442"/>
                </a:lnTo>
                <a:lnTo>
                  <a:pt x="196" y="440"/>
                </a:lnTo>
                <a:lnTo>
                  <a:pt x="193" y="440"/>
                </a:lnTo>
                <a:lnTo>
                  <a:pt x="191" y="438"/>
                </a:lnTo>
                <a:lnTo>
                  <a:pt x="189" y="433"/>
                </a:lnTo>
                <a:lnTo>
                  <a:pt x="186" y="433"/>
                </a:lnTo>
                <a:lnTo>
                  <a:pt x="184" y="433"/>
                </a:lnTo>
                <a:lnTo>
                  <a:pt x="184" y="431"/>
                </a:lnTo>
                <a:lnTo>
                  <a:pt x="177" y="426"/>
                </a:lnTo>
                <a:lnTo>
                  <a:pt x="177" y="424"/>
                </a:lnTo>
                <a:lnTo>
                  <a:pt x="175" y="424"/>
                </a:lnTo>
                <a:lnTo>
                  <a:pt x="170" y="421"/>
                </a:lnTo>
                <a:lnTo>
                  <a:pt x="170" y="419"/>
                </a:lnTo>
                <a:lnTo>
                  <a:pt x="170" y="417"/>
                </a:lnTo>
                <a:lnTo>
                  <a:pt x="170" y="414"/>
                </a:lnTo>
                <a:lnTo>
                  <a:pt x="172" y="414"/>
                </a:lnTo>
                <a:lnTo>
                  <a:pt x="175" y="414"/>
                </a:lnTo>
                <a:lnTo>
                  <a:pt x="177" y="417"/>
                </a:lnTo>
                <a:lnTo>
                  <a:pt x="179" y="417"/>
                </a:lnTo>
                <a:lnTo>
                  <a:pt x="179" y="414"/>
                </a:lnTo>
                <a:lnTo>
                  <a:pt x="182" y="412"/>
                </a:lnTo>
                <a:lnTo>
                  <a:pt x="184" y="410"/>
                </a:lnTo>
                <a:lnTo>
                  <a:pt x="182" y="403"/>
                </a:lnTo>
                <a:lnTo>
                  <a:pt x="182" y="400"/>
                </a:lnTo>
                <a:lnTo>
                  <a:pt x="179" y="400"/>
                </a:lnTo>
                <a:lnTo>
                  <a:pt x="179" y="398"/>
                </a:lnTo>
                <a:lnTo>
                  <a:pt x="179" y="393"/>
                </a:lnTo>
                <a:lnTo>
                  <a:pt x="179" y="391"/>
                </a:lnTo>
                <a:lnTo>
                  <a:pt x="177" y="389"/>
                </a:lnTo>
                <a:lnTo>
                  <a:pt x="177" y="386"/>
                </a:lnTo>
                <a:lnTo>
                  <a:pt x="175" y="384"/>
                </a:lnTo>
                <a:lnTo>
                  <a:pt x="172" y="384"/>
                </a:lnTo>
                <a:lnTo>
                  <a:pt x="170" y="382"/>
                </a:lnTo>
                <a:lnTo>
                  <a:pt x="170" y="379"/>
                </a:lnTo>
                <a:lnTo>
                  <a:pt x="168" y="375"/>
                </a:lnTo>
                <a:lnTo>
                  <a:pt x="168" y="372"/>
                </a:lnTo>
                <a:lnTo>
                  <a:pt x="165" y="372"/>
                </a:lnTo>
                <a:lnTo>
                  <a:pt x="165" y="370"/>
                </a:lnTo>
                <a:lnTo>
                  <a:pt x="163" y="370"/>
                </a:lnTo>
                <a:lnTo>
                  <a:pt x="163" y="368"/>
                </a:lnTo>
                <a:lnTo>
                  <a:pt x="163" y="366"/>
                </a:lnTo>
                <a:lnTo>
                  <a:pt x="165" y="366"/>
                </a:lnTo>
                <a:lnTo>
                  <a:pt x="168" y="361"/>
                </a:lnTo>
                <a:lnTo>
                  <a:pt x="168" y="359"/>
                </a:lnTo>
                <a:lnTo>
                  <a:pt x="165" y="356"/>
                </a:lnTo>
                <a:lnTo>
                  <a:pt x="165" y="352"/>
                </a:lnTo>
                <a:lnTo>
                  <a:pt x="165" y="349"/>
                </a:lnTo>
                <a:lnTo>
                  <a:pt x="168" y="347"/>
                </a:lnTo>
                <a:lnTo>
                  <a:pt x="168" y="345"/>
                </a:lnTo>
                <a:lnTo>
                  <a:pt x="165" y="340"/>
                </a:lnTo>
                <a:lnTo>
                  <a:pt x="168" y="338"/>
                </a:lnTo>
                <a:lnTo>
                  <a:pt x="168" y="335"/>
                </a:lnTo>
                <a:lnTo>
                  <a:pt x="170" y="335"/>
                </a:lnTo>
                <a:lnTo>
                  <a:pt x="170" y="333"/>
                </a:lnTo>
                <a:lnTo>
                  <a:pt x="170" y="331"/>
                </a:lnTo>
                <a:lnTo>
                  <a:pt x="165" y="321"/>
                </a:lnTo>
                <a:lnTo>
                  <a:pt x="165" y="319"/>
                </a:lnTo>
                <a:lnTo>
                  <a:pt x="165" y="317"/>
                </a:lnTo>
                <a:lnTo>
                  <a:pt x="168" y="317"/>
                </a:lnTo>
                <a:lnTo>
                  <a:pt x="170" y="314"/>
                </a:lnTo>
                <a:lnTo>
                  <a:pt x="172" y="312"/>
                </a:lnTo>
                <a:lnTo>
                  <a:pt x="170" y="310"/>
                </a:lnTo>
                <a:lnTo>
                  <a:pt x="168" y="303"/>
                </a:lnTo>
                <a:lnTo>
                  <a:pt x="168" y="296"/>
                </a:lnTo>
                <a:lnTo>
                  <a:pt x="165" y="293"/>
                </a:lnTo>
                <a:lnTo>
                  <a:pt x="165" y="291"/>
                </a:lnTo>
                <a:lnTo>
                  <a:pt x="163" y="289"/>
                </a:lnTo>
                <a:lnTo>
                  <a:pt x="163" y="286"/>
                </a:lnTo>
                <a:lnTo>
                  <a:pt x="161" y="275"/>
                </a:lnTo>
                <a:lnTo>
                  <a:pt x="161" y="272"/>
                </a:lnTo>
                <a:lnTo>
                  <a:pt x="158" y="270"/>
                </a:lnTo>
                <a:lnTo>
                  <a:pt x="158" y="268"/>
                </a:lnTo>
                <a:lnTo>
                  <a:pt x="156" y="268"/>
                </a:lnTo>
                <a:lnTo>
                  <a:pt x="154" y="268"/>
                </a:lnTo>
                <a:lnTo>
                  <a:pt x="154" y="265"/>
                </a:lnTo>
                <a:lnTo>
                  <a:pt x="151" y="265"/>
                </a:lnTo>
                <a:lnTo>
                  <a:pt x="151" y="263"/>
                </a:lnTo>
                <a:lnTo>
                  <a:pt x="149" y="261"/>
                </a:lnTo>
                <a:lnTo>
                  <a:pt x="147" y="258"/>
                </a:lnTo>
                <a:lnTo>
                  <a:pt x="147" y="256"/>
                </a:lnTo>
                <a:lnTo>
                  <a:pt x="149" y="254"/>
                </a:lnTo>
                <a:lnTo>
                  <a:pt x="149" y="251"/>
                </a:lnTo>
                <a:lnTo>
                  <a:pt x="151" y="249"/>
                </a:lnTo>
                <a:lnTo>
                  <a:pt x="151" y="247"/>
                </a:lnTo>
                <a:lnTo>
                  <a:pt x="151" y="244"/>
                </a:lnTo>
                <a:lnTo>
                  <a:pt x="151" y="242"/>
                </a:lnTo>
                <a:lnTo>
                  <a:pt x="151" y="240"/>
                </a:lnTo>
                <a:lnTo>
                  <a:pt x="154" y="237"/>
                </a:lnTo>
                <a:lnTo>
                  <a:pt x="154" y="235"/>
                </a:lnTo>
                <a:lnTo>
                  <a:pt x="151" y="233"/>
                </a:lnTo>
                <a:lnTo>
                  <a:pt x="149" y="233"/>
                </a:lnTo>
                <a:lnTo>
                  <a:pt x="144" y="230"/>
                </a:lnTo>
                <a:lnTo>
                  <a:pt x="142" y="228"/>
                </a:lnTo>
                <a:lnTo>
                  <a:pt x="140" y="228"/>
                </a:lnTo>
                <a:lnTo>
                  <a:pt x="137" y="228"/>
                </a:lnTo>
                <a:lnTo>
                  <a:pt x="135" y="228"/>
                </a:lnTo>
                <a:lnTo>
                  <a:pt x="133" y="228"/>
                </a:lnTo>
                <a:lnTo>
                  <a:pt x="133" y="230"/>
                </a:lnTo>
                <a:lnTo>
                  <a:pt x="133" y="228"/>
                </a:lnTo>
                <a:lnTo>
                  <a:pt x="130" y="228"/>
                </a:lnTo>
                <a:lnTo>
                  <a:pt x="128" y="228"/>
                </a:lnTo>
                <a:lnTo>
                  <a:pt x="128" y="226"/>
                </a:lnTo>
                <a:lnTo>
                  <a:pt x="123" y="224"/>
                </a:lnTo>
                <a:lnTo>
                  <a:pt x="123" y="221"/>
                </a:lnTo>
                <a:lnTo>
                  <a:pt x="123" y="219"/>
                </a:lnTo>
                <a:lnTo>
                  <a:pt x="121" y="219"/>
                </a:lnTo>
                <a:lnTo>
                  <a:pt x="119" y="219"/>
                </a:lnTo>
                <a:lnTo>
                  <a:pt x="116" y="219"/>
                </a:lnTo>
                <a:lnTo>
                  <a:pt x="114" y="221"/>
                </a:lnTo>
                <a:lnTo>
                  <a:pt x="112" y="221"/>
                </a:lnTo>
                <a:lnTo>
                  <a:pt x="110" y="219"/>
                </a:lnTo>
                <a:lnTo>
                  <a:pt x="105" y="217"/>
                </a:lnTo>
                <a:lnTo>
                  <a:pt x="105" y="214"/>
                </a:lnTo>
                <a:lnTo>
                  <a:pt x="105" y="212"/>
                </a:lnTo>
                <a:lnTo>
                  <a:pt x="105" y="207"/>
                </a:lnTo>
                <a:lnTo>
                  <a:pt x="105" y="205"/>
                </a:lnTo>
                <a:lnTo>
                  <a:pt x="107" y="203"/>
                </a:lnTo>
                <a:lnTo>
                  <a:pt x="105" y="203"/>
                </a:lnTo>
                <a:lnTo>
                  <a:pt x="96" y="203"/>
                </a:lnTo>
                <a:lnTo>
                  <a:pt x="91" y="203"/>
                </a:lnTo>
                <a:lnTo>
                  <a:pt x="82" y="203"/>
                </a:lnTo>
                <a:lnTo>
                  <a:pt x="77" y="203"/>
                </a:lnTo>
                <a:lnTo>
                  <a:pt x="72" y="203"/>
                </a:lnTo>
                <a:lnTo>
                  <a:pt x="65" y="200"/>
                </a:lnTo>
                <a:lnTo>
                  <a:pt x="61" y="200"/>
                </a:lnTo>
                <a:lnTo>
                  <a:pt x="58" y="200"/>
                </a:lnTo>
                <a:lnTo>
                  <a:pt x="58" y="198"/>
                </a:lnTo>
                <a:lnTo>
                  <a:pt x="58" y="196"/>
                </a:lnTo>
                <a:lnTo>
                  <a:pt x="61" y="191"/>
                </a:lnTo>
                <a:lnTo>
                  <a:pt x="61" y="189"/>
                </a:lnTo>
                <a:lnTo>
                  <a:pt x="61" y="186"/>
                </a:lnTo>
                <a:lnTo>
                  <a:pt x="61" y="184"/>
                </a:lnTo>
                <a:lnTo>
                  <a:pt x="61" y="182"/>
                </a:lnTo>
                <a:lnTo>
                  <a:pt x="58" y="177"/>
                </a:lnTo>
                <a:lnTo>
                  <a:pt x="54" y="168"/>
                </a:lnTo>
                <a:lnTo>
                  <a:pt x="51" y="163"/>
                </a:lnTo>
                <a:lnTo>
                  <a:pt x="49" y="161"/>
                </a:lnTo>
                <a:lnTo>
                  <a:pt x="47" y="158"/>
                </a:lnTo>
                <a:lnTo>
                  <a:pt x="44" y="154"/>
                </a:lnTo>
                <a:lnTo>
                  <a:pt x="44" y="151"/>
                </a:lnTo>
                <a:lnTo>
                  <a:pt x="44" y="147"/>
                </a:lnTo>
                <a:lnTo>
                  <a:pt x="44" y="142"/>
                </a:lnTo>
                <a:lnTo>
                  <a:pt x="42" y="135"/>
                </a:lnTo>
                <a:lnTo>
                  <a:pt x="42" y="133"/>
                </a:lnTo>
                <a:lnTo>
                  <a:pt x="44" y="130"/>
                </a:lnTo>
                <a:lnTo>
                  <a:pt x="44" y="128"/>
                </a:lnTo>
                <a:lnTo>
                  <a:pt x="47" y="126"/>
                </a:lnTo>
                <a:lnTo>
                  <a:pt x="47" y="123"/>
                </a:lnTo>
                <a:lnTo>
                  <a:pt x="44" y="121"/>
                </a:lnTo>
                <a:lnTo>
                  <a:pt x="40" y="119"/>
                </a:lnTo>
                <a:lnTo>
                  <a:pt x="35" y="114"/>
                </a:lnTo>
                <a:lnTo>
                  <a:pt x="35" y="112"/>
                </a:lnTo>
                <a:lnTo>
                  <a:pt x="30" y="112"/>
                </a:lnTo>
                <a:lnTo>
                  <a:pt x="28" y="109"/>
                </a:lnTo>
                <a:lnTo>
                  <a:pt x="21" y="105"/>
                </a:lnTo>
                <a:lnTo>
                  <a:pt x="19" y="100"/>
                </a:lnTo>
                <a:lnTo>
                  <a:pt x="16" y="98"/>
                </a:lnTo>
                <a:lnTo>
                  <a:pt x="14" y="95"/>
                </a:lnTo>
                <a:lnTo>
                  <a:pt x="12" y="95"/>
                </a:lnTo>
                <a:lnTo>
                  <a:pt x="9" y="88"/>
                </a:lnTo>
                <a:lnTo>
                  <a:pt x="7" y="86"/>
                </a:lnTo>
                <a:lnTo>
                  <a:pt x="7" y="84"/>
                </a:lnTo>
                <a:lnTo>
                  <a:pt x="5" y="84"/>
                </a:lnTo>
                <a:lnTo>
                  <a:pt x="2" y="81"/>
                </a:lnTo>
                <a:lnTo>
                  <a:pt x="0" y="79"/>
                </a:lnTo>
                <a:lnTo>
                  <a:pt x="0" y="77"/>
                </a:lnTo>
                <a:lnTo>
                  <a:pt x="0" y="75"/>
                </a:lnTo>
                <a:lnTo>
                  <a:pt x="2" y="75"/>
                </a:lnTo>
                <a:lnTo>
                  <a:pt x="5" y="75"/>
                </a:lnTo>
                <a:lnTo>
                  <a:pt x="9" y="77"/>
                </a:lnTo>
                <a:lnTo>
                  <a:pt x="12" y="79"/>
                </a:lnTo>
                <a:lnTo>
                  <a:pt x="14" y="81"/>
                </a:lnTo>
                <a:lnTo>
                  <a:pt x="14" y="84"/>
                </a:lnTo>
                <a:lnTo>
                  <a:pt x="14" y="86"/>
                </a:lnTo>
                <a:lnTo>
                  <a:pt x="16" y="86"/>
                </a:lnTo>
                <a:lnTo>
                  <a:pt x="33" y="84"/>
                </a:lnTo>
                <a:lnTo>
                  <a:pt x="42" y="84"/>
                </a:lnTo>
                <a:lnTo>
                  <a:pt x="47" y="84"/>
                </a:lnTo>
                <a:lnTo>
                  <a:pt x="49" y="86"/>
                </a:lnTo>
                <a:lnTo>
                  <a:pt x="51" y="88"/>
                </a:lnTo>
                <a:lnTo>
                  <a:pt x="51" y="91"/>
                </a:lnTo>
                <a:lnTo>
                  <a:pt x="54" y="95"/>
                </a:lnTo>
                <a:lnTo>
                  <a:pt x="54" y="100"/>
                </a:lnTo>
                <a:lnTo>
                  <a:pt x="56" y="102"/>
                </a:lnTo>
                <a:lnTo>
                  <a:pt x="58" y="102"/>
                </a:lnTo>
                <a:lnTo>
                  <a:pt x="61" y="100"/>
                </a:lnTo>
                <a:lnTo>
                  <a:pt x="65" y="98"/>
                </a:lnTo>
                <a:lnTo>
                  <a:pt x="68" y="95"/>
                </a:lnTo>
                <a:lnTo>
                  <a:pt x="70" y="95"/>
                </a:lnTo>
                <a:lnTo>
                  <a:pt x="72" y="98"/>
                </a:lnTo>
                <a:lnTo>
                  <a:pt x="75" y="98"/>
                </a:lnTo>
                <a:lnTo>
                  <a:pt x="77" y="98"/>
                </a:lnTo>
                <a:lnTo>
                  <a:pt x="79" y="95"/>
                </a:lnTo>
                <a:lnTo>
                  <a:pt x="82" y="95"/>
                </a:lnTo>
                <a:lnTo>
                  <a:pt x="86" y="98"/>
                </a:lnTo>
                <a:lnTo>
                  <a:pt x="91" y="100"/>
                </a:lnTo>
                <a:lnTo>
                  <a:pt x="93" y="102"/>
                </a:lnTo>
                <a:lnTo>
                  <a:pt x="96" y="102"/>
                </a:lnTo>
                <a:lnTo>
                  <a:pt x="98" y="98"/>
                </a:lnTo>
                <a:lnTo>
                  <a:pt x="98" y="95"/>
                </a:lnTo>
                <a:lnTo>
                  <a:pt x="100" y="93"/>
                </a:lnTo>
                <a:lnTo>
                  <a:pt x="103" y="93"/>
                </a:lnTo>
                <a:lnTo>
                  <a:pt x="105" y="95"/>
                </a:lnTo>
                <a:lnTo>
                  <a:pt x="110" y="98"/>
                </a:lnTo>
                <a:lnTo>
                  <a:pt x="112" y="100"/>
                </a:lnTo>
                <a:lnTo>
                  <a:pt x="116" y="105"/>
                </a:lnTo>
                <a:lnTo>
                  <a:pt x="121" y="107"/>
                </a:lnTo>
                <a:lnTo>
                  <a:pt x="128" y="116"/>
                </a:lnTo>
                <a:lnTo>
                  <a:pt x="128" y="119"/>
                </a:lnTo>
                <a:lnTo>
                  <a:pt x="130" y="119"/>
                </a:lnTo>
                <a:lnTo>
                  <a:pt x="130" y="121"/>
                </a:lnTo>
                <a:lnTo>
                  <a:pt x="133" y="121"/>
                </a:lnTo>
                <a:lnTo>
                  <a:pt x="135" y="121"/>
                </a:lnTo>
                <a:lnTo>
                  <a:pt x="137" y="121"/>
                </a:lnTo>
                <a:lnTo>
                  <a:pt x="140" y="121"/>
                </a:lnTo>
                <a:lnTo>
                  <a:pt x="142" y="119"/>
                </a:lnTo>
                <a:lnTo>
                  <a:pt x="144" y="119"/>
                </a:lnTo>
                <a:lnTo>
                  <a:pt x="147" y="116"/>
                </a:lnTo>
                <a:lnTo>
                  <a:pt x="147" y="114"/>
                </a:lnTo>
                <a:lnTo>
                  <a:pt x="147" y="112"/>
                </a:lnTo>
                <a:lnTo>
                  <a:pt x="147" y="109"/>
                </a:lnTo>
                <a:lnTo>
                  <a:pt x="147" y="107"/>
                </a:lnTo>
                <a:lnTo>
                  <a:pt x="147" y="102"/>
                </a:lnTo>
                <a:lnTo>
                  <a:pt x="144" y="102"/>
                </a:lnTo>
                <a:lnTo>
                  <a:pt x="144" y="100"/>
                </a:lnTo>
                <a:lnTo>
                  <a:pt x="144" y="98"/>
                </a:lnTo>
                <a:lnTo>
                  <a:pt x="144" y="95"/>
                </a:lnTo>
                <a:lnTo>
                  <a:pt x="147" y="93"/>
                </a:lnTo>
                <a:lnTo>
                  <a:pt x="144" y="91"/>
                </a:lnTo>
                <a:lnTo>
                  <a:pt x="144" y="88"/>
                </a:lnTo>
                <a:lnTo>
                  <a:pt x="147" y="88"/>
                </a:lnTo>
                <a:lnTo>
                  <a:pt x="149" y="88"/>
                </a:lnTo>
                <a:lnTo>
                  <a:pt x="151" y="88"/>
                </a:lnTo>
                <a:lnTo>
                  <a:pt x="158" y="88"/>
                </a:lnTo>
                <a:lnTo>
                  <a:pt x="161" y="88"/>
                </a:lnTo>
                <a:lnTo>
                  <a:pt x="161" y="86"/>
                </a:lnTo>
                <a:lnTo>
                  <a:pt x="161" y="84"/>
                </a:lnTo>
                <a:lnTo>
                  <a:pt x="161" y="81"/>
                </a:lnTo>
                <a:lnTo>
                  <a:pt x="163" y="81"/>
                </a:lnTo>
                <a:lnTo>
                  <a:pt x="165" y="81"/>
                </a:lnTo>
                <a:lnTo>
                  <a:pt x="165" y="79"/>
                </a:lnTo>
                <a:lnTo>
                  <a:pt x="168" y="79"/>
                </a:lnTo>
                <a:lnTo>
                  <a:pt x="170" y="77"/>
                </a:lnTo>
                <a:lnTo>
                  <a:pt x="172" y="79"/>
                </a:lnTo>
                <a:lnTo>
                  <a:pt x="186" y="84"/>
                </a:lnTo>
                <a:lnTo>
                  <a:pt x="189" y="84"/>
                </a:lnTo>
                <a:lnTo>
                  <a:pt x="191" y="84"/>
                </a:lnTo>
                <a:lnTo>
                  <a:pt x="198" y="79"/>
                </a:lnTo>
                <a:lnTo>
                  <a:pt x="200" y="79"/>
                </a:lnTo>
                <a:lnTo>
                  <a:pt x="203" y="79"/>
                </a:lnTo>
                <a:lnTo>
                  <a:pt x="205" y="79"/>
                </a:lnTo>
                <a:lnTo>
                  <a:pt x="207" y="79"/>
                </a:lnTo>
                <a:lnTo>
                  <a:pt x="210" y="79"/>
                </a:lnTo>
                <a:lnTo>
                  <a:pt x="212" y="77"/>
                </a:lnTo>
                <a:lnTo>
                  <a:pt x="214" y="75"/>
                </a:lnTo>
                <a:lnTo>
                  <a:pt x="217" y="72"/>
                </a:lnTo>
                <a:lnTo>
                  <a:pt x="219" y="72"/>
                </a:lnTo>
                <a:lnTo>
                  <a:pt x="221" y="72"/>
                </a:lnTo>
                <a:lnTo>
                  <a:pt x="224" y="72"/>
                </a:lnTo>
                <a:lnTo>
                  <a:pt x="226" y="72"/>
                </a:lnTo>
                <a:lnTo>
                  <a:pt x="228" y="72"/>
                </a:lnTo>
                <a:lnTo>
                  <a:pt x="231" y="72"/>
                </a:lnTo>
                <a:lnTo>
                  <a:pt x="233" y="72"/>
                </a:lnTo>
                <a:lnTo>
                  <a:pt x="233" y="70"/>
                </a:lnTo>
                <a:lnTo>
                  <a:pt x="233" y="68"/>
                </a:lnTo>
                <a:lnTo>
                  <a:pt x="233" y="63"/>
                </a:lnTo>
                <a:lnTo>
                  <a:pt x="235" y="61"/>
                </a:lnTo>
                <a:lnTo>
                  <a:pt x="238" y="61"/>
                </a:lnTo>
                <a:lnTo>
                  <a:pt x="240" y="61"/>
                </a:lnTo>
                <a:lnTo>
                  <a:pt x="242" y="61"/>
                </a:lnTo>
                <a:lnTo>
                  <a:pt x="244" y="61"/>
                </a:lnTo>
                <a:lnTo>
                  <a:pt x="247" y="61"/>
                </a:lnTo>
                <a:lnTo>
                  <a:pt x="249" y="58"/>
                </a:lnTo>
                <a:lnTo>
                  <a:pt x="249" y="56"/>
                </a:lnTo>
                <a:lnTo>
                  <a:pt x="247" y="54"/>
                </a:lnTo>
                <a:lnTo>
                  <a:pt x="249" y="54"/>
                </a:lnTo>
                <a:lnTo>
                  <a:pt x="254" y="54"/>
                </a:lnTo>
                <a:lnTo>
                  <a:pt x="256" y="54"/>
                </a:lnTo>
                <a:lnTo>
                  <a:pt x="258" y="56"/>
                </a:lnTo>
                <a:lnTo>
                  <a:pt x="258" y="54"/>
                </a:lnTo>
                <a:lnTo>
                  <a:pt x="263" y="54"/>
                </a:lnTo>
                <a:lnTo>
                  <a:pt x="270" y="54"/>
                </a:lnTo>
                <a:lnTo>
                  <a:pt x="272" y="51"/>
                </a:lnTo>
                <a:lnTo>
                  <a:pt x="275" y="49"/>
                </a:lnTo>
                <a:lnTo>
                  <a:pt x="275" y="47"/>
                </a:lnTo>
                <a:lnTo>
                  <a:pt x="275" y="44"/>
                </a:lnTo>
                <a:lnTo>
                  <a:pt x="277" y="40"/>
                </a:lnTo>
                <a:lnTo>
                  <a:pt x="279" y="40"/>
                </a:lnTo>
                <a:lnTo>
                  <a:pt x="286" y="35"/>
                </a:lnTo>
                <a:lnTo>
                  <a:pt x="289" y="33"/>
                </a:lnTo>
                <a:lnTo>
                  <a:pt x="293" y="30"/>
                </a:lnTo>
                <a:lnTo>
                  <a:pt x="298" y="26"/>
                </a:lnTo>
                <a:lnTo>
                  <a:pt x="298" y="21"/>
                </a:lnTo>
                <a:lnTo>
                  <a:pt x="298" y="19"/>
                </a:lnTo>
                <a:lnTo>
                  <a:pt x="293" y="7"/>
                </a:lnTo>
                <a:lnTo>
                  <a:pt x="291" y="5"/>
                </a:lnTo>
                <a:lnTo>
                  <a:pt x="289" y="5"/>
                </a:lnTo>
                <a:lnTo>
                  <a:pt x="291" y="2"/>
                </a:lnTo>
                <a:lnTo>
                  <a:pt x="293" y="2"/>
                </a:lnTo>
                <a:lnTo>
                  <a:pt x="298" y="5"/>
                </a:lnTo>
                <a:lnTo>
                  <a:pt x="300" y="5"/>
                </a:lnTo>
                <a:lnTo>
                  <a:pt x="305" y="5"/>
                </a:lnTo>
                <a:lnTo>
                  <a:pt x="307" y="5"/>
                </a:lnTo>
                <a:lnTo>
                  <a:pt x="307" y="7"/>
                </a:lnTo>
                <a:lnTo>
                  <a:pt x="310" y="7"/>
                </a:lnTo>
                <a:lnTo>
                  <a:pt x="310" y="5"/>
                </a:lnTo>
                <a:lnTo>
                  <a:pt x="312" y="5"/>
                </a:lnTo>
                <a:lnTo>
                  <a:pt x="317" y="5"/>
                </a:lnTo>
                <a:lnTo>
                  <a:pt x="319" y="5"/>
                </a:lnTo>
                <a:lnTo>
                  <a:pt x="321" y="0"/>
                </a:lnTo>
                <a:lnTo>
                  <a:pt x="324" y="0"/>
                </a:lnTo>
                <a:lnTo>
                  <a:pt x="326" y="0"/>
                </a:lnTo>
                <a:lnTo>
                  <a:pt x="328" y="2"/>
                </a:lnTo>
                <a:lnTo>
                  <a:pt x="331" y="0"/>
                </a:lnTo>
                <a:lnTo>
                  <a:pt x="333" y="2"/>
                </a:lnTo>
                <a:lnTo>
                  <a:pt x="335" y="7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154" name="Freeform 31">
            <a:extLst>
              <a:ext uri="{FF2B5EF4-FFF2-40B4-BE49-F238E27FC236}">
                <a16:creationId xmlns:a16="http://schemas.microsoft.com/office/drawing/2014/main" id="{9C4E5919-4E2F-BE9E-0D12-C7A2E2B75733}"/>
              </a:ext>
            </a:extLst>
          </p:cNvPr>
          <p:cNvSpPr>
            <a:spLocks noEditPoints="1"/>
          </p:cNvSpPr>
          <p:nvPr/>
        </p:nvSpPr>
        <p:spPr bwMode="auto">
          <a:xfrm>
            <a:off x="3011797" y="2759336"/>
            <a:ext cx="400605" cy="434122"/>
          </a:xfrm>
          <a:custGeom>
            <a:avLst/>
            <a:gdLst>
              <a:gd name="T0" fmla="*/ 319 w 340"/>
              <a:gd name="T1" fmla="*/ 261 h 386"/>
              <a:gd name="T2" fmla="*/ 321 w 340"/>
              <a:gd name="T3" fmla="*/ 249 h 386"/>
              <a:gd name="T4" fmla="*/ 328 w 340"/>
              <a:gd name="T5" fmla="*/ 242 h 386"/>
              <a:gd name="T6" fmla="*/ 307 w 340"/>
              <a:gd name="T7" fmla="*/ 167 h 386"/>
              <a:gd name="T8" fmla="*/ 303 w 340"/>
              <a:gd name="T9" fmla="*/ 184 h 386"/>
              <a:gd name="T10" fmla="*/ 305 w 340"/>
              <a:gd name="T11" fmla="*/ 167 h 386"/>
              <a:gd name="T12" fmla="*/ 300 w 340"/>
              <a:gd name="T13" fmla="*/ 165 h 386"/>
              <a:gd name="T14" fmla="*/ 258 w 340"/>
              <a:gd name="T15" fmla="*/ 56 h 386"/>
              <a:gd name="T16" fmla="*/ 263 w 340"/>
              <a:gd name="T17" fmla="*/ 70 h 386"/>
              <a:gd name="T18" fmla="*/ 270 w 340"/>
              <a:gd name="T19" fmla="*/ 105 h 386"/>
              <a:gd name="T20" fmla="*/ 277 w 340"/>
              <a:gd name="T21" fmla="*/ 121 h 386"/>
              <a:gd name="T22" fmla="*/ 282 w 340"/>
              <a:gd name="T23" fmla="*/ 137 h 386"/>
              <a:gd name="T24" fmla="*/ 286 w 340"/>
              <a:gd name="T25" fmla="*/ 158 h 386"/>
              <a:gd name="T26" fmla="*/ 279 w 340"/>
              <a:gd name="T27" fmla="*/ 167 h 386"/>
              <a:gd name="T28" fmla="*/ 296 w 340"/>
              <a:gd name="T29" fmla="*/ 177 h 386"/>
              <a:gd name="T30" fmla="*/ 310 w 340"/>
              <a:gd name="T31" fmla="*/ 186 h 386"/>
              <a:gd name="T32" fmla="*/ 337 w 340"/>
              <a:gd name="T33" fmla="*/ 198 h 386"/>
              <a:gd name="T34" fmla="*/ 337 w 340"/>
              <a:gd name="T35" fmla="*/ 223 h 386"/>
              <a:gd name="T36" fmla="*/ 319 w 340"/>
              <a:gd name="T37" fmla="*/ 230 h 386"/>
              <a:gd name="T38" fmla="*/ 337 w 340"/>
              <a:gd name="T39" fmla="*/ 233 h 386"/>
              <a:gd name="T40" fmla="*/ 321 w 340"/>
              <a:gd name="T41" fmla="*/ 244 h 386"/>
              <a:gd name="T42" fmla="*/ 296 w 340"/>
              <a:gd name="T43" fmla="*/ 268 h 386"/>
              <a:gd name="T44" fmla="*/ 254 w 340"/>
              <a:gd name="T45" fmla="*/ 305 h 386"/>
              <a:gd name="T46" fmla="*/ 235 w 340"/>
              <a:gd name="T47" fmla="*/ 314 h 386"/>
              <a:gd name="T48" fmla="*/ 223 w 340"/>
              <a:gd name="T49" fmla="*/ 337 h 386"/>
              <a:gd name="T50" fmla="*/ 214 w 340"/>
              <a:gd name="T51" fmla="*/ 347 h 386"/>
              <a:gd name="T52" fmla="*/ 200 w 340"/>
              <a:gd name="T53" fmla="*/ 377 h 386"/>
              <a:gd name="T54" fmla="*/ 182 w 340"/>
              <a:gd name="T55" fmla="*/ 384 h 386"/>
              <a:gd name="T56" fmla="*/ 158 w 340"/>
              <a:gd name="T57" fmla="*/ 377 h 386"/>
              <a:gd name="T58" fmla="*/ 154 w 340"/>
              <a:gd name="T59" fmla="*/ 361 h 386"/>
              <a:gd name="T60" fmla="*/ 144 w 340"/>
              <a:gd name="T61" fmla="*/ 344 h 386"/>
              <a:gd name="T62" fmla="*/ 133 w 340"/>
              <a:gd name="T63" fmla="*/ 314 h 386"/>
              <a:gd name="T64" fmla="*/ 119 w 340"/>
              <a:gd name="T65" fmla="*/ 293 h 386"/>
              <a:gd name="T66" fmla="*/ 109 w 340"/>
              <a:gd name="T67" fmla="*/ 263 h 386"/>
              <a:gd name="T68" fmla="*/ 100 w 340"/>
              <a:gd name="T69" fmla="*/ 244 h 386"/>
              <a:gd name="T70" fmla="*/ 91 w 340"/>
              <a:gd name="T71" fmla="*/ 221 h 386"/>
              <a:gd name="T72" fmla="*/ 84 w 340"/>
              <a:gd name="T73" fmla="*/ 212 h 386"/>
              <a:gd name="T74" fmla="*/ 77 w 340"/>
              <a:gd name="T75" fmla="*/ 202 h 386"/>
              <a:gd name="T76" fmla="*/ 65 w 340"/>
              <a:gd name="T77" fmla="*/ 202 h 386"/>
              <a:gd name="T78" fmla="*/ 51 w 340"/>
              <a:gd name="T79" fmla="*/ 195 h 386"/>
              <a:gd name="T80" fmla="*/ 40 w 340"/>
              <a:gd name="T81" fmla="*/ 184 h 386"/>
              <a:gd name="T82" fmla="*/ 26 w 340"/>
              <a:gd name="T83" fmla="*/ 177 h 386"/>
              <a:gd name="T84" fmla="*/ 5 w 340"/>
              <a:gd name="T85" fmla="*/ 174 h 386"/>
              <a:gd name="T86" fmla="*/ 2 w 340"/>
              <a:gd name="T87" fmla="*/ 149 h 386"/>
              <a:gd name="T88" fmla="*/ 2 w 340"/>
              <a:gd name="T89" fmla="*/ 126 h 386"/>
              <a:gd name="T90" fmla="*/ 14 w 340"/>
              <a:gd name="T91" fmla="*/ 137 h 386"/>
              <a:gd name="T92" fmla="*/ 33 w 340"/>
              <a:gd name="T93" fmla="*/ 149 h 386"/>
              <a:gd name="T94" fmla="*/ 54 w 340"/>
              <a:gd name="T95" fmla="*/ 147 h 386"/>
              <a:gd name="T96" fmla="*/ 70 w 340"/>
              <a:gd name="T97" fmla="*/ 140 h 386"/>
              <a:gd name="T98" fmla="*/ 88 w 340"/>
              <a:gd name="T99" fmla="*/ 144 h 386"/>
              <a:gd name="T100" fmla="*/ 105 w 340"/>
              <a:gd name="T101" fmla="*/ 142 h 386"/>
              <a:gd name="T102" fmla="*/ 133 w 340"/>
              <a:gd name="T103" fmla="*/ 149 h 386"/>
              <a:gd name="T104" fmla="*/ 156 w 340"/>
              <a:gd name="T105" fmla="*/ 130 h 386"/>
              <a:gd name="T106" fmla="*/ 170 w 340"/>
              <a:gd name="T107" fmla="*/ 102 h 386"/>
              <a:gd name="T108" fmla="*/ 184 w 340"/>
              <a:gd name="T109" fmla="*/ 79 h 386"/>
              <a:gd name="T110" fmla="*/ 205 w 340"/>
              <a:gd name="T111" fmla="*/ 46 h 386"/>
              <a:gd name="T112" fmla="*/ 228 w 340"/>
              <a:gd name="T113" fmla="*/ 25 h 386"/>
              <a:gd name="T114" fmla="*/ 240 w 340"/>
              <a:gd name="T115" fmla="*/ 28 h 386"/>
              <a:gd name="T116" fmla="*/ 258 w 340"/>
              <a:gd name="T117" fmla="*/ 21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40" h="386">
                <a:moveTo>
                  <a:pt x="321" y="251"/>
                </a:moveTo>
                <a:lnTo>
                  <a:pt x="323" y="251"/>
                </a:lnTo>
                <a:lnTo>
                  <a:pt x="326" y="251"/>
                </a:lnTo>
                <a:lnTo>
                  <a:pt x="328" y="251"/>
                </a:lnTo>
                <a:lnTo>
                  <a:pt x="326" y="254"/>
                </a:lnTo>
                <a:lnTo>
                  <a:pt x="326" y="256"/>
                </a:lnTo>
                <a:lnTo>
                  <a:pt x="323" y="256"/>
                </a:lnTo>
                <a:lnTo>
                  <a:pt x="323" y="258"/>
                </a:lnTo>
                <a:lnTo>
                  <a:pt x="321" y="261"/>
                </a:lnTo>
                <a:lnTo>
                  <a:pt x="319" y="261"/>
                </a:lnTo>
                <a:lnTo>
                  <a:pt x="316" y="261"/>
                </a:lnTo>
                <a:lnTo>
                  <a:pt x="314" y="261"/>
                </a:lnTo>
                <a:lnTo>
                  <a:pt x="312" y="261"/>
                </a:lnTo>
                <a:lnTo>
                  <a:pt x="310" y="261"/>
                </a:lnTo>
                <a:lnTo>
                  <a:pt x="307" y="258"/>
                </a:lnTo>
                <a:lnTo>
                  <a:pt x="310" y="256"/>
                </a:lnTo>
                <a:lnTo>
                  <a:pt x="312" y="254"/>
                </a:lnTo>
                <a:lnTo>
                  <a:pt x="316" y="251"/>
                </a:lnTo>
                <a:lnTo>
                  <a:pt x="319" y="251"/>
                </a:lnTo>
                <a:lnTo>
                  <a:pt x="321" y="249"/>
                </a:lnTo>
                <a:lnTo>
                  <a:pt x="321" y="251"/>
                </a:lnTo>
                <a:close/>
                <a:moveTo>
                  <a:pt x="326" y="249"/>
                </a:moveTo>
                <a:lnTo>
                  <a:pt x="323" y="249"/>
                </a:lnTo>
                <a:lnTo>
                  <a:pt x="321" y="249"/>
                </a:lnTo>
                <a:lnTo>
                  <a:pt x="321" y="247"/>
                </a:lnTo>
                <a:lnTo>
                  <a:pt x="323" y="247"/>
                </a:lnTo>
                <a:lnTo>
                  <a:pt x="326" y="247"/>
                </a:lnTo>
                <a:lnTo>
                  <a:pt x="326" y="244"/>
                </a:lnTo>
                <a:lnTo>
                  <a:pt x="328" y="244"/>
                </a:lnTo>
                <a:lnTo>
                  <a:pt x="328" y="242"/>
                </a:lnTo>
                <a:lnTo>
                  <a:pt x="330" y="242"/>
                </a:lnTo>
                <a:lnTo>
                  <a:pt x="333" y="242"/>
                </a:lnTo>
                <a:lnTo>
                  <a:pt x="335" y="240"/>
                </a:lnTo>
                <a:lnTo>
                  <a:pt x="335" y="242"/>
                </a:lnTo>
                <a:lnTo>
                  <a:pt x="333" y="244"/>
                </a:lnTo>
                <a:lnTo>
                  <a:pt x="330" y="247"/>
                </a:lnTo>
                <a:lnTo>
                  <a:pt x="328" y="249"/>
                </a:lnTo>
                <a:lnTo>
                  <a:pt x="326" y="249"/>
                </a:lnTo>
                <a:close/>
                <a:moveTo>
                  <a:pt x="307" y="165"/>
                </a:moveTo>
                <a:lnTo>
                  <a:pt x="307" y="167"/>
                </a:lnTo>
                <a:lnTo>
                  <a:pt x="310" y="170"/>
                </a:lnTo>
                <a:lnTo>
                  <a:pt x="310" y="172"/>
                </a:lnTo>
                <a:lnTo>
                  <a:pt x="310" y="174"/>
                </a:lnTo>
                <a:lnTo>
                  <a:pt x="312" y="174"/>
                </a:lnTo>
                <a:lnTo>
                  <a:pt x="312" y="177"/>
                </a:lnTo>
                <a:lnTo>
                  <a:pt x="312" y="179"/>
                </a:lnTo>
                <a:lnTo>
                  <a:pt x="310" y="181"/>
                </a:lnTo>
                <a:lnTo>
                  <a:pt x="307" y="184"/>
                </a:lnTo>
                <a:lnTo>
                  <a:pt x="305" y="184"/>
                </a:lnTo>
                <a:lnTo>
                  <a:pt x="303" y="184"/>
                </a:lnTo>
                <a:lnTo>
                  <a:pt x="300" y="181"/>
                </a:lnTo>
                <a:lnTo>
                  <a:pt x="300" y="177"/>
                </a:lnTo>
                <a:lnTo>
                  <a:pt x="298" y="177"/>
                </a:lnTo>
                <a:lnTo>
                  <a:pt x="298" y="174"/>
                </a:lnTo>
                <a:lnTo>
                  <a:pt x="298" y="172"/>
                </a:lnTo>
                <a:lnTo>
                  <a:pt x="298" y="170"/>
                </a:lnTo>
                <a:lnTo>
                  <a:pt x="298" y="167"/>
                </a:lnTo>
                <a:lnTo>
                  <a:pt x="300" y="167"/>
                </a:lnTo>
                <a:lnTo>
                  <a:pt x="303" y="167"/>
                </a:lnTo>
                <a:lnTo>
                  <a:pt x="305" y="167"/>
                </a:lnTo>
                <a:lnTo>
                  <a:pt x="307" y="165"/>
                </a:lnTo>
                <a:close/>
                <a:moveTo>
                  <a:pt x="298" y="160"/>
                </a:moveTo>
                <a:lnTo>
                  <a:pt x="300" y="160"/>
                </a:lnTo>
                <a:lnTo>
                  <a:pt x="303" y="160"/>
                </a:lnTo>
                <a:lnTo>
                  <a:pt x="303" y="163"/>
                </a:lnTo>
                <a:lnTo>
                  <a:pt x="305" y="163"/>
                </a:lnTo>
                <a:lnTo>
                  <a:pt x="305" y="165"/>
                </a:lnTo>
                <a:lnTo>
                  <a:pt x="303" y="165"/>
                </a:lnTo>
                <a:lnTo>
                  <a:pt x="300" y="167"/>
                </a:lnTo>
                <a:lnTo>
                  <a:pt x="300" y="165"/>
                </a:lnTo>
                <a:lnTo>
                  <a:pt x="300" y="167"/>
                </a:lnTo>
                <a:lnTo>
                  <a:pt x="298" y="165"/>
                </a:lnTo>
                <a:lnTo>
                  <a:pt x="298" y="163"/>
                </a:lnTo>
                <a:lnTo>
                  <a:pt x="296" y="163"/>
                </a:lnTo>
                <a:lnTo>
                  <a:pt x="298" y="160"/>
                </a:lnTo>
                <a:close/>
                <a:moveTo>
                  <a:pt x="261" y="30"/>
                </a:moveTo>
                <a:lnTo>
                  <a:pt x="261" y="37"/>
                </a:lnTo>
                <a:lnTo>
                  <a:pt x="258" y="44"/>
                </a:lnTo>
                <a:lnTo>
                  <a:pt x="258" y="53"/>
                </a:lnTo>
                <a:lnTo>
                  <a:pt x="258" y="56"/>
                </a:lnTo>
                <a:lnTo>
                  <a:pt x="258" y="53"/>
                </a:lnTo>
                <a:lnTo>
                  <a:pt x="261" y="51"/>
                </a:lnTo>
                <a:lnTo>
                  <a:pt x="261" y="44"/>
                </a:lnTo>
                <a:lnTo>
                  <a:pt x="263" y="42"/>
                </a:lnTo>
                <a:lnTo>
                  <a:pt x="265" y="39"/>
                </a:lnTo>
                <a:lnTo>
                  <a:pt x="268" y="39"/>
                </a:lnTo>
                <a:lnTo>
                  <a:pt x="265" y="51"/>
                </a:lnTo>
                <a:lnTo>
                  <a:pt x="265" y="60"/>
                </a:lnTo>
                <a:lnTo>
                  <a:pt x="265" y="67"/>
                </a:lnTo>
                <a:lnTo>
                  <a:pt x="263" y="70"/>
                </a:lnTo>
                <a:lnTo>
                  <a:pt x="263" y="74"/>
                </a:lnTo>
                <a:lnTo>
                  <a:pt x="268" y="86"/>
                </a:lnTo>
                <a:lnTo>
                  <a:pt x="268" y="88"/>
                </a:lnTo>
                <a:lnTo>
                  <a:pt x="265" y="91"/>
                </a:lnTo>
                <a:lnTo>
                  <a:pt x="268" y="93"/>
                </a:lnTo>
                <a:lnTo>
                  <a:pt x="268" y="95"/>
                </a:lnTo>
                <a:lnTo>
                  <a:pt x="268" y="98"/>
                </a:lnTo>
                <a:lnTo>
                  <a:pt x="268" y="100"/>
                </a:lnTo>
                <a:lnTo>
                  <a:pt x="268" y="102"/>
                </a:lnTo>
                <a:lnTo>
                  <a:pt x="270" y="105"/>
                </a:lnTo>
                <a:lnTo>
                  <a:pt x="270" y="107"/>
                </a:lnTo>
                <a:lnTo>
                  <a:pt x="270" y="109"/>
                </a:lnTo>
                <a:lnTo>
                  <a:pt x="272" y="109"/>
                </a:lnTo>
                <a:lnTo>
                  <a:pt x="272" y="112"/>
                </a:lnTo>
                <a:lnTo>
                  <a:pt x="272" y="114"/>
                </a:lnTo>
                <a:lnTo>
                  <a:pt x="272" y="116"/>
                </a:lnTo>
                <a:lnTo>
                  <a:pt x="275" y="116"/>
                </a:lnTo>
                <a:lnTo>
                  <a:pt x="275" y="119"/>
                </a:lnTo>
                <a:lnTo>
                  <a:pt x="275" y="121"/>
                </a:lnTo>
                <a:lnTo>
                  <a:pt x="277" y="121"/>
                </a:lnTo>
                <a:lnTo>
                  <a:pt x="277" y="123"/>
                </a:lnTo>
                <a:lnTo>
                  <a:pt x="277" y="126"/>
                </a:lnTo>
                <a:lnTo>
                  <a:pt x="277" y="128"/>
                </a:lnTo>
                <a:lnTo>
                  <a:pt x="279" y="130"/>
                </a:lnTo>
                <a:lnTo>
                  <a:pt x="279" y="135"/>
                </a:lnTo>
                <a:lnTo>
                  <a:pt x="279" y="137"/>
                </a:lnTo>
                <a:lnTo>
                  <a:pt x="277" y="137"/>
                </a:lnTo>
                <a:lnTo>
                  <a:pt x="279" y="140"/>
                </a:lnTo>
                <a:lnTo>
                  <a:pt x="279" y="137"/>
                </a:lnTo>
                <a:lnTo>
                  <a:pt x="282" y="137"/>
                </a:lnTo>
                <a:lnTo>
                  <a:pt x="282" y="140"/>
                </a:lnTo>
                <a:lnTo>
                  <a:pt x="282" y="142"/>
                </a:lnTo>
                <a:lnTo>
                  <a:pt x="282" y="144"/>
                </a:lnTo>
                <a:lnTo>
                  <a:pt x="284" y="144"/>
                </a:lnTo>
                <a:lnTo>
                  <a:pt x="284" y="147"/>
                </a:lnTo>
                <a:lnTo>
                  <a:pt x="284" y="149"/>
                </a:lnTo>
                <a:lnTo>
                  <a:pt x="284" y="151"/>
                </a:lnTo>
                <a:lnTo>
                  <a:pt x="284" y="153"/>
                </a:lnTo>
                <a:lnTo>
                  <a:pt x="284" y="156"/>
                </a:lnTo>
                <a:lnTo>
                  <a:pt x="286" y="158"/>
                </a:lnTo>
                <a:lnTo>
                  <a:pt x="286" y="160"/>
                </a:lnTo>
                <a:lnTo>
                  <a:pt x="286" y="163"/>
                </a:lnTo>
                <a:lnTo>
                  <a:pt x="284" y="163"/>
                </a:lnTo>
                <a:lnTo>
                  <a:pt x="282" y="163"/>
                </a:lnTo>
                <a:lnTo>
                  <a:pt x="279" y="163"/>
                </a:lnTo>
                <a:lnTo>
                  <a:pt x="279" y="160"/>
                </a:lnTo>
                <a:lnTo>
                  <a:pt x="279" y="163"/>
                </a:lnTo>
                <a:lnTo>
                  <a:pt x="282" y="163"/>
                </a:lnTo>
                <a:lnTo>
                  <a:pt x="282" y="165"/>
                </a:lnTo>
                <a:lnTo>
                  <a:pt x="279" y="167"/>
                </a:lnTo>
                <a:lnTo>
                  <a:pt x="279" y="170"/>
                </a:lnTo>
                <a:lnTo>
                  <a:pt x="282" y="170"/>
                </a:lnTo>
                <a:lnTo>
                  <a:pt x="282" y="167"/>
                </a:lnTo>
                <a:lnTo>
                  <a:pt x="284" y="165"/>
                </a:lnTo>
                <a:lnTo>
                  <a:pt x="286" y="163"/>
                </a:lnTo>
                <a:lnTo>
                  <a:pt x="289" y="165"/>
                </a:lnTo>
                <a:lnTo>
                  <a:pt x="291" y="165"/>
                </a:lnTo>
                <a:lnTo>
                  <a:pt x="293" y="167"/>
                </a:lnTo>
                <a:lnTo>
                  <a:pt x="293" y="172"/>
                </a:lnTo>
                <a:lnTo>
                  <a:pt x="296" y="177"/>
                </a:lnTo>
                <a:lnTo>
                  <a:pt x="296" y="179"/>
                </a:lnTo>
                <a:lnTo>
                  <a:pt x="298" y="179"/>
                </a:lnTo>
                <a:lnTo>
                  <a:pt x="298" y="181"/>
                </a:lnTo>
                <a:lnTo>
                  <a:pt x="298" y="184"/>
                </a:lnTo>
                <a:lnTo>
                  <a:pt x="298" y="186"/>
                </a:lnTo>
                <a:lnTo>
                  <a:pt x="300" y="186"/>
                </a:lnTo>
                <a:lnTo>
                  <a:pt x="303" y="188"/>
                </a:lnTo>
                <a:lnTo>
                  <a:pt x="305" y="188"/>
                </a:lnTo>
                <a:lnTo>
                  <a:pt x="307" y="188"/>
                </a:lnTo>
                <a:lnTo>
                  <a:pt x="310" y="186"/>
                </a:lnTo>
                <a:lnTo>
                  <a:pt x="312" y="188"/>
                </a:lnTo>
                <a:lnTo>
                  <a:pt x="314" y="188"/>
                </a:lnTo>
                <a:lnTo>
                  <a:pt x="316" y="188"/>
                </a:lnTo>
                <a:lnTo>
                  <a:pt x="319" y="188"/>
                </a:lnTo>
                <a:lnTo>
                  <a:pt x="321" y="188"/>
                </a:lnTo>
                <a:lnTo>
                  <a:pt x="323" y="188"/>
                </a:lnTo>
                <a:lnTo>
                  <a:pt x="326" y="191"/>
                </a:lnTo>
                <a:lnTo>
                  <a:pt x="333" y="193"/>
                </a:lnTo>
                <a:lnTo>
                  <a:pt x="335" y="195"/>
                </a:lnTo>
                <a:lnTo>
                  <a:pt x="337" y="198"/>
                </a:lnTo>
                <a:lnTo>
                  <a:pt x="337" y="200"/>
                </a:lnTo>
                <a:lnTo>
                  <a:pt x="337" y="202"/>
                </a:lnTo>
                <a:lnTo>
                  <a:pt x="337" y="205"/>
                </a:lnTo>
                <a:lnTo>
                  <a:pt x="337" y="207"/>
                </a:lnTo>
                <a:lnTo>
                  <a:pt x="337" y="209"/>
                </a:lnTo>
                <a:lnTo>
                  <a:pt x="340" y="214"/>
                </a:lnTo>
                <a:lnTo>
                  <a:pt x="340" y="216"/>
                </a:lnTo>
                <a:lnTo>
                  <a:pt x="340" y="219"/>
                </a:lnTo>
                <a:lnTo>
                  <a:pt x="340" y="221"/>
                </a:lnTo>
                <a:lnTo>
                  <a:pt x="337" y="223"/>
                </a:lnTo>
                <a:lnTo>
                  <a:pt x="337" y="226"/>
                </a:lnTo>
                <a:lnTo>
                  <a:pt x="335" y="226"/>
                </a:lnTo>
                <a:lnTo>
                  <a:pt x="335" y="228"/>
                </a:lnTo>
                <a:lnTo>
                  <a:pt x="330" y="228"/>
                </a:lnTo>
                <a:lnTo>
                  <a:pt x="328" y="228"/>
                </a:lnTo>
                <a:lnTo>
                  <a:pt x="326" y="230"/>
                </a:lnTo>
                <a:lnTo>
                  <a:pt x="323" y="230"/>
                </a:lnTo>
                <a:lnTo>
                  <a:pt x="321" y="230"/>
                </a:lnTo>
                <a:lnTo>
                  <a:pt x="319" y="228"/>
                </a:lnTo>
                <a:lnTo>
                  <a:pt x="319" y="230"/>
                </a:lnTo>
                <a:lnTo>
                  <a:pt x="321" y="230"/>
                </a:lnTo>
                <a:lnTo>
                  <a:pt x="321" y="233"/>
                </a:lnTo>
                <a:lnTo>
                  <a:pt x="323" y="230"/>
                </a:lnTo>
                <a:lnTo>
                  <a:pt x="326" y="233"/>
                </a:lnTo>
                <a:lnTo>
                  <a:pt x="328" y="230"/>
                </a:lnTo>
                <a:lnTo>
                  <a:pt x="330" y="230"/>
                </a:lnTo>
                <a:lnTo>
                  <a:pt x="330" y="233"/>
                </a:lnTo>
                <a:lnTo>
                  <a:pt x="333" y="230"/>
                </a:lnTo>
                <a:lnTo>
                  <a:pt x="335" y="230"/>
                </a:lnTo>
                <a:lnTo>
                  <a:pt x="337" y="233"/>
                </a:lnTo>
                <a:lnTo>
                  <a:pt x="337" y="235"/>
                </a:lnTo>
                <a:lnTo>
                  <a:pt x="335" y="237"/>
                </a:lnTo>
                <a:lnTo>
                  <a:pt x="333" y="240"/>
                </a:lnTo>
                <a:lnTo>
                  <a:pt x="330" y="240"/>
                </a:lnTo>
                <a:lnTo>
                  <a:pt x="328" y="240"/>
                </a:lnTo>
                <a:lnTo>
                  <a:pt x="326" y="237"/>
                </a:lnTo>
                <a:lnTo>
                  <a:pt x="326" y="240"/>
                </a:lnTo>
                <a:lnTo>
                  <a:pt x="326" y="242"/>
                </a:lnTo>
                <a:lnTo>
                  <a:pt x="323" y="244"/>
                </a:lnTo>
                <a:lnTo>
                  <a:pt x="321" y="244"/>
                </a:lnTo>
                <a:lnTo>
                  <a:pt x="319" y="249"/>
                </a:lnTo>
                <a:lnTo>
                  <a:pt x="316" y="249"/>
                </a:lnTo>
                <a:lnTo>
                  <a:pt x="312" y="251"/>
                </a:lnTo>
                <a:lnTo>
                  <a:pt x="310" y="254"/>
                </a:lnTo>
                <a:lnTo>
                  <a:pt x="307" y="256"/>
                </a:lnTo>
                <a:lnTo>
                  <a:pt x="303" y="261"/>
                </a:lnTo>
                <a:lnTo>
                  <a:pt x="303" y="263"/>
                </a:lnTo>
                <a:lnTo>
                  <a:pt x="298" y="265"/>
                </a:lnTo>
                <a:lnTo>
                  <a:pt x="296" y="265"/>
                </a:lnTo>
                <a:lnTo>
                  <a:pt x="296" y="268"/>
                </a:lnTo>
                <a:lnTo>
                  <a:pt x="293" y="272"/>
                </a:lnTo>
                <a:lnTo>
                  <a:pt x="286" y="279"/>
                </a:lnTo>
                <a:lnTo>
                  <a:pt x="284" y="284"/>
                </a:lnTo>
                <a:lnTo>
                  <a:pt x="277" y="291"/>
                </a:lnTo>
                <a:lnTo>
                  <a:pt x="270" y="298"/>
                </a:lnTo>
                <a:lnTo>
                  <a:pt x="268" y="298"/>
                </a:lnTo>
                <a:lnTo>
                  <a:pt x="265" y="298"/>
                </a:lnTo>
                <a:lnTo>
                  <a:pt x="261" y="298"/>
                </a:lnTo>
                <a:lnTo>
                  <a:pt x="258" y="300"/>
                </a:lnTo>
                <a:lnTo>
                  <a:pt x="254" y="305"/>
                </a:lnTo>
                <a:lnTo>
                  <a:pt x="251" y="309"/>
                </a:lnTo>
                <a:lnTo>
                  <a:pt x="249" y="309"/>
                </a:lnTo>
                <a:lnTo>
                  <a:pt x="249" y="312"/>
                </a:lnTo>
                <a:lnTo>
                  <a:pt x="244" y="309"/>
                </a:lnTo>
                <a:lnTo>
                  <a:pt x="242" y="312"/>
                </a:lnTo>
                <a:lnTo>
                  <a:pt x="240" y="312"/>
                </a:lnTo>
                <a:lnTo>
                  <a:pt x="237" y="314"/>
                </a:lnTo>
                <a:lnTo>
                  <a:pt x="233" y="312"/>
                </a:lnTo>
                <a:lnTo>
                  <a:pt x="233" y="314"/>
                </a:lnTo>
                <a:lnTo>
                  <a:pt x="235" y="314"/>
                </a:lnTo>
                <a:lnTo>
                  <a:pt x="235" y="316"/>
                </a:lnTo>
                <a:lnTo>
                  <a:pt x="237" y="316"/>
                </a:lnTo>
                <a:lnTo>
                  <a:pt x="233" y="321"/>
                </a:lnTo>
                <a:lnTo>
                  <a:pt x="230" y="326"/>
                </a:lnTo>
                <a:lnTo>
                  <a:pt x="228" y="328"/>
                </a:lnTo>
                <a:lnTo>
                  <a:pt x="228" y="330"/>
                </a:lnTo>
                <a:lnTo>
                  <a:pt x="228" y="333"/>
                </a:lnTo>
                <a:lnTo>
                  <a:pt x="226" y="333"/>
                </a:lnTo>
                <a:lnTo>
                  <a:pt x="223" y="335"/>
                </a:lnTo>
                <a:lnTo>
                  <a:pt x="223" y="337"/>
                </a:lnTo>
                <a:lnTo>
                  <a:pt x="223" y="340"/>
                </a:lnTo>
                <a:lnTo>
                  <a:pt x="221" y="340"/>
                </a:lnTo>
                <a:lnTo>
                  <a:pt x="219" y="342"/>
                </a:lnTo>
                <a:lnTo>
                  <a:pt x="216" y="342"/>
                </a:lnTo>
                <a:lnTo>
                  <a:pt x="214" y="342"/>
                </a:lnTo>
                <a:lnTo>
                  <a:pt x="214" y="344"/>
                </a:lnTo>
                <a:lnTo>
                  <a:pt x="212" y="344"/>
                </a:lnTo>
                <a:lnTo>
                  <a:pt x="214" y="344"/>
                </a:lnTo>
                <a:lnTo>
                  <a:pt x="216" y="344"/>
                </a:lnTo>
                <a:lnTo>
                  <a:pt x="214" y="347"/>
                </a:lnTo>
                <a:lnTo>
                  <a:pt x="209" y="351"/>
                </a:lnTo>
                <a:lnTo>
                  <a:pt x="207" y="354"/>
                </a:lnTo>
                <a:lnTo>
                  <a:pt x="205" y="356"/>
                </a:lnTo>
                <a:lnTo>
                  <a:pt x="205" y="358"/>
                </a:lnTo>
                <a:lnTo>
                  <a:pt x="202" y="358"/>
                </a:lnTo>
                <a:lnTo>
                  <a:pt x="202" y="365"/>
                </a:lnTo>
                <a:lnTo>
                  <a:pt x="202" y="372"/>
                </a:lnTo>
                <a:lnTo>
                  <a:pt x="202" y="375"/>
                </a:lnTo>
                <a:lnTo>
                  <a:pt x="202" y="377"/>
                </a:lnTo>
                <a:lnTo>
                  <a:pt x="200" y="377"/>
                </a:lnTo>
                <a:lnTo>
                  <a:pt x="198" y="379"/>
                </a:lnTo>
                <a:lnTo>
                  <a:pt x="195" y="379"/>
                </a:lnTo>
                <a:lnTo>
                  <a:pt x="195" y="382"/>
                </a:lnTo>
                <a:lnTo>
                  <a:pt x="193" y="382"/>
                </a:lnTo>
                <a:lnTo>
                  <a:pt x="188" y="384"/>
                </a:lnTo>
                <a:lnTo>
                  <a:pt x="186" y="382"/>
                </a:lnTo>
                <a:lnTo>
                  <a:pt x="186" y="384"/>
                </a:lnTo>
                <a:lnTo>
                  <a:pt x="184" y="382"/>
                </a:lnTo>
                <a:lnTo>
                  <a:pt x="184" y="384"/>
                </a:lnTo>
                <a:lnTo>
                  <a:pt x="182" y="384"/>
                </a:lnTo>
                <a:lnTo>
                  <a:pt x="179" y="384"/>
                </a:lnTo>
                <a:lnTo>
                  <a:pt x="179" y="386"/>
                </a:lnTo>
                <a:lnTo>
                  <a:pt x="177" y="386"/>
                </a:lnTo>
                <a:lnTo>
                  <a:pt x="177" y="384"/>
                </a:lnTo>
                <a:lnTo>
                  <a:pt x="175" y="384"/>
                </a:lnTo>
                <a:lnTo>
                  <a:pt x="175" y="382"/>
                </a:lnTo>
                <a:lnTo>
                  <a:pt x="165" y="382"/>
                </a:lnTo>
                <a:lnTo>
                  <a:pt x="163" y="379"/>
                </a:lnTo>
                <a:lnTo>
                  <a:pt x="161" y="377"/>
                </a:lnTo>
                <a:lnTo>
                  <a:pt x="158" y="377"/>
                </a:lnTo>
                <a:lnTo>
                  <a:pt x="158" y="375"/>
                </a:lnTo>
                <a:lnTo>
                  <a:pt x="158" y="372"/>
                </a:lnTo>
                <a:lnTo>
                  <a:pt x="158" y="370"/>
                </a:lnTo>
                <a:lnTo>
                  <a:pt x="156" y="370"/>
                </a:lnTo>
                <a:lnTo>
                  <a:pt x="156" y="368"/>
                </a:lnTo>
                <a:lnTo>
                  <a:pt x="158" y="365"/>
                </a:lnTo>
                <a:lnTo>
                  <a:pt x="158" y="363"/>
                </a:lnTo>
                <a:lnTo>
                  <a:pt x="156" y="363"/>
                </a:lnTo>
                <a:lnTo>
                  <a:pt x="156" y="361"/>
                </a:lnTo>
                <a:lnTo>
                  <a:pt x="154" y="361"/>
                </a:lnTo>
                <a:lnTo>
                  <a:pt x="149" y="363"/>
                </a:lnTo>
                <a:lnTo>
                  <a:pt x="149" y="361"/>
                </a:lnTo>
                <a:lnTo>
                  <a:pt x="149" y="358"/>
                </a:lnTo>
                <a:lnTo>
                  <a:pt x="149" y="356"/>
                </a:lnTo>
                <a:lnTo>
                  <a:pt x="149" y="354"/>
                </a:lnTo>
                <a:lnTo>
                  <a:pt x="149" y="351"/>
                </a:lnTo>
                <a:lnTo>
                  <a:pt x="149" y="349"/>
                </a:lnTo>
                <a:lnTo>
                  <a:pt x="149" y="347"/>
                </a:lnTo>
                <a:lnTo>
                  <a:pt x="147" y="344"/>
                </a:lnTo>
                <a:lnTo>
                  <a:pt x="144" y="344"/>
                </a:lnTo>
                <a:lnTo>
                  <a:pt x="142" y="344"/>
                </a:lnTo>
                <a:lnTo>
                  <a:pt x="142" y="342"/>
                </a:lnTo>
                <a:lnTo>
                  <a:pt x="142" y="340"/>
                </a:lnTo>
                <a:lnTo>
                  <a:pt x="142" y="337"/>
                </a:lnTo>
                <a:lnTo>
                  <a:pt x="142" y="335"/>
                </a:lnTo>
                <a:lnTo>
                  <a:pt x="142" y="328"/>
                </a:lnTo>
                <a:lnTo>
                  <a:pt x="140" y="326"/>
                </a:lnTo>
                <a:lnTo>
                  <a:pt x="137" y="323"/>
                </a:lnTo>
                <a:lnTo>
                  <a:pt x="133" y="316"/>
                </a:lnTo>
                <a:lnTo>
                  <a:pt x="133" y="314"/>
                </a:lnTo>
                <a:lnTo>
                  <a:pt x="130" y="314"/>
                </a:lnTo>
                <a:lnTo>
                  <a:pt x="128" y="314"/>
                </a:lnTo>
                <a:lnTo>
                  <a:pt x="126" y="314"/>
                </a:lnTo>
                <a:lnTo>
                  <a:pt x="123" y="314"/>
                </a:lnTo>
                <a:lnTo>
                  <a:pt x="121" y="302"/>
                </a:lnTo>
                <a:lnTo>
                  <a:pt x="119" y="300"/>
                </a:lnTo>
                <a:lnTo>
                  <a:pt x="119" y="298"/>
                </a:lnTo>
                <a:lnTo>
                  <a:pt x="116" y="298"/>
                </a:lnTo>
                <a:lnTo>
                  <a:pt x="119" y="295"/>
                </a:lnTo>
                <a:lnTo>
                  <a:pt x="119" y="293"/>
                </a:lnTo>
                <a:lnTo>
                  <a:pt x="119" y="291"/>
                </a:lnTo>
                <a:lnTo>
                  <a:pt x="116" y="286"/>
                </a:lnTo>
                <a:lnTo>
                  <a:pt x="116" y="284"/>
                </a:lnTo>
                <a:lnTo>
                  <a:pt x="114" y="282"/>
                </a:lnTo>
                <a:lnTo>
                  <a:pt x="112" y="275"/>
                </a:lnTo>
                <a:lnTo>
                  <a:pt x="112" y="272"/>
                </a:lnTo>
                <a:lnTo>
                  <a:pt x="112" y="270"/>
                </a:lnTo>
                <a:lnTo>
                  <a:pt x="112" y="268"/>
                </a:lnTo>
                <a:lnTo>
                  <a:pt x="109" y="265"/>
                </a:lnTo>
                <a:lnTo>
                  <a:pt x="109" y="263"/>
                </a:lnTo>
                <a:lnTo>
                  <a:pt x="112" y="261"/>
                </a:lnTo>
                <a:lnTo>
                  <a:pt x="112" y="258"/>
                </a:lnTo>
                <a:lnTo>
                  <a:pt x="112" y="254"/>
                </a:lnTo>
                <a:lnTo>
                  <a:pt x="114" y="254"/>
                </a:lnTo>
                <a:lnTo>
                  <a:pt x="114" y="251"/>
                </a:lnTo>
                <a:lnTo>
                  <a:pt x="112" y="251"/>
                </a:lnTo>
                <a:lnTo>
                  <a:pt x="112" y="249"/>
                </a:lnTo>
                <a:lnTo>
                  <a:pt x="105" y="247"/>
                </a:lnTo>
                <a:lnTo>
                  <a:pt x="102" y="247"/>
                </a:lnTo>
                <a:lnTo>
                  <a:pt x="100" y="244"/>
                </a:lnTo>
                <a:lnTo>
                  <a:pt x="98" y="242"/>
                </a:lnTo>
                <a:lnTo>
                  <a:pt x="98" y="240"/>
                </a:lnTo>
                <a:lnTo>
                  <a:pt x="93" y="237"/>
                </a:lnTo>
                <a:lnTo>
                  <a:pt x="93" y="235"/>
                </a:lnTo>
                <a:lnTo>
                  <a:pt x="93" y="233"/>
                </a:lnTo>
                <a:lnTo>
                  <a:pt x="93" y="230"/>
                </a:lnTo>
                <a:lnTo>
                  <a:pt x="91" y="230"/>
                </a:lnTo>
                <a:lnTo>
                  <a:pt x="91" y="228"/>
                </a:lnTo>
                <a:lnTo>
                  <a:pt x="91" y="223"/>
                </a:lnTo>
                <a:lnTo>
                  <a:pt x="91" y="221"/>
                </a:lnTo>
                <a:lnTo>
                  <a:pt x="91" y="219"/>
                </a:lnTo>
                <a:lnTo>
                  <a:pt x="93" y="219"/>
                </a:lnTo>
                <a:lnTo>
                  <a:pt x="93" y="216"/>
                </a:lnTo>
                <a:lnTo>
                  <a:pt x="93" y="214"/>
                </a:lnTo>
                <a:lnTo>
                  <a:pt x="91" y="214"/>
                </a:lnTo>
                <a:lnTo>
                  <a:pt x="91" y="212"/>
                </a:lnTo>
                <a:lnTo>
                  <a:pt x="88" y="214"/>
                </a:lnTo>
                <a:lnTo>
                  <a:pt x="86" y="214"/>
                </a:lnTo>
                <a:lnTo>
                  <a:pt x="84" y="214"/>
                </a:lnTo>
                <a:lnTo>
                  <a:pt x="84" y="212"/>
                </a:lnTo>
                <a:lnTo>
                  <a:pt x="86" y="212"/>
                </a:lnTo>
                <a:lnTo>
                  <a:pt x="84" y="209"/>
                </a:lnTo>
                <a:lnTo>
                  <a:pt x="84" y="207"/>
                </a:lnTo>
                <a:lnTo>
                  <a:pt x="84" y="205"/>
                </a:lnTo>
                <a:lnTo>
                  <a:pt x="81" y="205"/>
                </a:lnTo>
                <a:lnTo>
                  <a:pt x="79" y="205"/>
                </a:lnTo>
                <a:lnTo>
                  <a:pt x="77" y="205"/>
                </a:lnTo>
                <a:lnTo>
                  <a:pt x="77" y="202"/>
                </a:lnTo>
                <a:lnTo>
                  <a:pt x="77" y="200"/>
                </a:lnTo>
                <a:lnTo>
                  <a:pt x="77" y="202"/>
                </a:lnTo>
                <a:lnTo>
                  <a:pt x="74" y="202"/>
                </a:lnTo>
                <a:lnTo>
                  <a:pt x="72" y="202"/>
                </a:lnTo>
                <a:lnTo>
                  <a:pt x="72" y="200"/>
                </a:lnTo>
                <a:lnTo>
                  <a:pt x="74" y="200"/>
                </a:lnTo>
                <a:lnTo>
                  <a:pt x="72" y="200"/>
                </a:lnTo>
                <a:lnTo>
                  <a:pt x="72" y="202"/>
                </a:lnTo>
                <a:lnTo>
                  <a:pt x="70" y="202"/>
                </a:lnTo>
                <a:lnTo>
                  <a:pt x="67" y="202"/>
                </a:lnTo>
                <a:lnTo>
                  <a:pt x="67" y="200"/>
                </a:lnTo>
                <a:lnTo>
                  <a:pt x="65" y="202"/>
                </a:lnTo>
                <a:lnTo>
                  <a:pt x="63" y="202"/>
                </a:lnTo>
                <a:lnTo>
                  <a:pt x="60" y="202"/>
                </a:lnTo>
                <a:lnTo>
                  <a:pt x="60" y="200"/>
                </a:lnTo>
                <a:lnTo>
                  <a:pt x="58" y="200"/>
                </a:lnTo>
                <a:lnTo>
                  <a:pt x="58" y="198"/>
                </a:lnTo>
                <a:lnTo>
                  <a:pt x="58" y="195"/>
                </a:lnTo>
                <a:lnTo>
                  <a:pt x="56" y="195"/>
                </a:lnTo>
                <a:lnTo>
                  <a:pt x="56" y="193"/>
                </a:lnTo>
                <a:lnTo>
                  <a:pt x="54" y="193"/>
                </a:lnTo>
                <a:lnTo>
                  <a:pt x="51" y="195"/>
                </a:lnTo>
                <a:lnTo>
                  <a:pt x="49" y="195"/>
                </a:lnTo>
                <a:lnTo>
                  <a:pt x="49" y="193"/>
                </a:lnTo>
                <a:lnTo>
                  <a:pt x="49" y="191"/>
                </a:lnTo>
                <a:lnTo>
                  <a:pt x="47" y="191"/>
                </a:lnTo>
                <a:lnTo>
                  <a:pt x="47" y="188"/>
                </a:lnTo>
                <a:lnTo>
                  <a:pt x="47" y="186"/>
                </a:lnTo>
                <a:lnTo>
                  <a:pt x="44" y="186"/>
                </a:lnTo>
                <a:lnTo>
                  <a:pt x="44" y="184"/>
                </a:lnTo>
                <a:lnTo>
                  <a:pt x="42" y="184"/>
                </a:lnTo>
                <a:lnTo>
                  <a:pt x="40" y="184"/>
                </a:lnTo>
                <a:lnTo>
                  <a:pt x="40" y="181"/>
                </a:lnTo>
                <a:lnTo>
                  <a:pt x="37" y="181"/>
                </a:lnTo>
                <a:lnTo>
                  <a:pt x="37" y="179"/>
                </a:lnTo>
                <a:lnTo>
                  <a:pt x="35" y="179"/>
                </a:lnTo>
                <a:lnTo>
                  <a:pt x="33" y="179"/>
                </a:lnTo>
                <a:lnTo>
                  <a:pt x="33" y="177"/>
                </a:lnTo>
                <a:lnTo>
                  <a:pt x="30" y="177"/>
                </a:lnTo>
                <a:lnTo>
                  <a:pt x="28" y="177"/>
                </a:lnTo>
                <a:lnTo>
                  <a:pt x="26" y="174"/>
                </a:lnTo>
                <a:lnTo>
                  <a:pt x="26" y="177"/>
                </a:lnTo>
                <a:lnTo>
                  <a:pt x="23" y="177"/>
                </a:lnTo>
                <a:lnTo>
                  <a:pt x="21" y="177"/>
                </a:lnTo>
                <a:lnTo>
                  <a:pt x="19" y="177"/>
                </a:lnTo>
                <a:lnTo>
                  <a:pt x="19" y="174"/>
                </a:lnTo>
                <a:lnTo>
                  <a:pt x="16" y="174"/>
                </a:lnTo>
                <a:lnTo>
                  <a:pt x="14" y="174"/>
                </a:lnTo>
                <a:lnTo>
                  <a:pt x="12" y="174"/>
                </a:lnTo>
                <a:lnTo>
                  <a:pt x="9" y="174"/>
                </a:lnTo>
                <a:lnTo>
                  <a:pt x="7" y="174"/>
                </a:lnTo>
                <a:lnTo>
                  <a:pt x="5" y="174"/>
                </a:lnTo>
                <a:lnTo>
                  <a:pt x="2" y="172"/>
                </a:lnTo>
                <a:lnTo>
                  <a:pt x="2" y="167"/>
                </a:lnTo>
                <a:lnTo>
                  <a:pt x="2" y="165"/>
                </a:lnTo>
                <a:lnTo>
                  <a:pt x="2" y="160"/>
                </a:lnTo>
                <a:lnTo>
                  <a:pt x="2" y="158"/>
                </a:lnTo>
                <a:lnTo>
                  <a:pt x="0" y="158"/>
                </a:lnTo>
                <a:lnTo>
                  <a:pt x="0" y="156"/>
                </a:lnTo>
                <a:lnTo>
                  <a:pt x="2" y="153"/>
                </a:lnTo>
                <a:lnTo>
                  <a:pt x="2" y="151"/>
                </a:lnTo>
                <a:lnTo>
                  <a:pt x="2" y="149"/>
                </a:lnTo>
                <a:lnTo>
                  <a:pt x="0" y="149"/>
                </a:lnTo>
                <a:lnTo>
                  <a:pt x="2" y="147"/>
                </a:lnTo>
                <a:lnTo>
                  <a:pt x="5" y="144"/>
                </a:lnTo>
                <a:lnTo>
                  <a:pt x="5" y="142"/>
                </a:lnTo>
                <a:lnTo>
                  <a:pt x="7" y="140"/>
                </a:lnTo>
                <a:lnTo>
                  <a:pt x="7" y="137"/>
                </a:lnTo>
                <a:lnTo>
                  <a:pt x="5" y="133"/>
                </a:lnTo>
                <a:lnTo>
                  <a:pt x="5" y="130"/>
                </a:lnTo>
                <a:lnTo>
                  <a:pt x="5" y="128"/>
                </a:lnTo>
                <a:lnTo>
                  <a:pt x="2" y="126"/>
                </a:lnTo>
                <a:lnTo>
                  <a:pt x="5" y="126"/>
                </a:lnTo>
                <a:lnTo>
                  <a:pt x="7" y="126"/>
                </a:lnTo>
                <a:lnTo>
                  <a:pt x="7" y="128"/>
                </a:lnTo>
                <a:lnTo>
                  <a:pt x="7" y="130"/>
                </a:lnTo>
                <a:lnTo>
                  <a:pt x="7" y="133"/>
                </a:lnTo>
                <a:lnTo>
                  <a:pt x="7" y="135"/>
                </a:lnTo>
                <a:lnTo>
                  <a:pt x="7" y="137"/>
                </a:lnTo>
                <a:lnTo>
                  <a:pt x="9" y="137"/>
                </a:lnTo>
                <a:lnTo>
                  <a:pt x="12" y="137"/>
                </a:lnTo>
                <a:lnTo>
                  <a:pt x="14" y="137"/>
                </a:lnTo>
                <a:lnTo>
                  <a:pt x="16" y="137"/>
                </a:lnTo>
                <a:lnTo>
                  <a:pt x="19" y="137"/>
                </a:lnTo>
                <a:lnTo>
                  <a:pt x="19" y="140"/>
                </a:lnTo>
                <a:lnTo>
                  <a:pt x="21" y="142"/>
                </a:lnTo>
                <a:lnTo>
                  <a:pt x="21" y="144"/>
                </a:lnTo>
                <a:lnTo>
                  <a:pt x="23" y="144"/>
                </a:lnTo>
                <a:lnTo>
                  <a:pt x="26" y="144"/>
                </a:lnTo>
                <a:lnTo>
                  <a:pt x="28" y="147"/>
                </a:lnTo>
                <a:lnTo>
                  <a:pt x="30" y="147"/>
                </a:lnTo>
                <a:lnTo>
                  <a:pt x="33" y="149"/>
                </a:lnTo>
                <a:lnTo>
                  <a:pt x="35" y="149"/>
                </a:lnTo>
                <a:lnTo>
                  <a:pt x="37" y="149"/>
                </a:lnTo>
                <a:lnTo>
                  <a:pt x="40" y="149"/>
                </a:lnTo>
                <a:lnTo>
                  <a:pt x="42" y="149"/>
                </a:lnTo>
                <a:lnTo>
                  <a:pt x="44" y="151"/>
                </a:lnTo>
                <a:lnTo>
                  <a:pt x="47" y="151"/>
                </a:lnTo>
                <a:lnTo>
                  <a:pt x="49" y="151"/>
                </a:lnTo>
                <a:lnTo>
                  <a:pt x="51" y="149"/>
                </a:lnTo>
                <a:lnTo>
                  <a:pt x="51" y="147"/>
                </a:lnTo>
                <a:lnTo>
                  <a:pt x="54" y="147"/>
                </a:lnTo>
                <a:lnTo>
                  <a:pt x="54" y="149"/>
                </a:lnTo>
                <a:lnTo>
                  <a:pt x="56" y="147"/>
                </a:lnTo>
                <a:lnTo>
                  <a:pt x="58" y="147"/>
                </a:lnTo>
                <a:lnTo>
                  <a:pt x="60" y="144"/>
                </a:lnTo>
                <a:lnTo>
                  <a:pt x="60" y="142"/>
                </a:lnTo>
                <a:lnTo>
                  <a:pt x="63" y="142"/>
                </a:lnTo>
                <a:lnTo>
                  <a:pt x="65" y="142"/>
                </a:lnTo>
                <a:lnTo>
                  <a:pt x="65" y="140"/>
                </a:lnTo>
                <a:lnTo>
                  <a:pt x="67" y="140"/>
                </a:lnTo>
                <a:lnTo>
                  <a:pt x="70" y="140"/>
                </a:lnTo>
                <a:lnTo>
                  <a:pt x="70" y="137"/>
                </a:lnTo>
                <a:lnTo>
                  <a:pt x="72" y="135"/>
                </a:lnTo>
                <a:lnTo>
                  <a:pt x="74" y="135"/>
                </a:lnTo>
                <a:lnTo>
                  <a:pt x="74" y="137"/>
                </a:lnTo>
                <a:lnTo>
                  <a:pt x="74" y="140"/>
                </a:lnTo>
                <a:lnTo>
                  <a:pt x="77" y="140"/>
                </a:lnTo>
                <a:lnTo>
                  <a:pt x="81" y="142"/>
                </a:lnTo>
                <a:lnTo>
                  <a:pt x="84" y="142"/>
                </a:lnTo>
                <a:lnTo>
                  <a:pt x="86" y="142"/>
                </a:lnTo>
                <a:lnTo>
                  <a:pt x="88" y="144"/>
                </a:lnTo>
                <a:lnTo>
                  <a:pt x="91" y="144"/>
                </a:lnTo>
                <a:lnTo>
                  <a:pt x="93" y="144"/>
                </a:lnTo>
                <a:lnTo>
                  <a:pt x="95" y="142"/>
                </a:lnTo>
                <a:lnTo>
                  <a:pt x="98" y="142"/>
                </a:lnTo>
                <a:lnTo>
                  <a:pt x="100" y="142"/>
                </a:lnTo>
                <a:lnTo>
                  <a:pt x="102" y="140"/>
                </a:lnTo>
                <a:lnTo>
                  <a:pt x="102" y="137"/>
                </a:lnTo>
                <a:lnTo>
                  <a:pt x="102" y="140"/>
                </a:lnTo>
                <a:lnTo>
                  <a:pt x="105" y="140"/>
                </a:lnTo>
                <a:lnTo>
                  <a:pt x="105" y="142"/>
                </a:lnTo>
                <a:lnTo>
                  <a:pt x="109" y="147"/>
                </a:lnTo>
                <a:lnTo>
                  <a:pt x="107" y="147"/>
                </a:lnTo>
                <a:lnTo>
                  <a:pt x="107" y="149"/>
                </a:lnTo>
                <a:lnTo>
                  <a:pt x="116" y="149"/>
                </a:lnTo>
                <a:lnTo>
                  <a:pt x="119" y="149"/>
                </a:lnTo>
                <a:lnTo>
                  <a:pt x="121" y="151"/>
                </a:lnTo>
                <a:lnTo>
                  <a:pt x="123" y="151"/>
                </a:lnTo>
                <a:lnTo>
                  <a:pt x="128" y="151"/>
                </a:lnTo>
                <a:lnTo>
                  <a:pt x="130" y="151"/>
                </a:lnTo>
                <a:lnTo>
                  <a:pt x="133" y="149"/>
                </a:lnTo>
                <a:lnTo>
                  <a:pt x="133" y="147"/>
                </a:lnTo>
                <a:lnTo>
                  <a:pt x="135" y="147"/>
                </a:lnTo>
                <a:lnTo>
                  <a:pt x="135" y="144"/>
                </a:lnTo>
                <a:lnTo>
                  <a:pt x="140" y="144"/>
                </a:lnTo>
                <a:lnTo>
                  <a:pt x="147" y="140"/>
                </a:lnTo>
                <a:lnTo>
                  <a:pt x="149" y="140"/>
                </a:lnTo>
                <a:lnTo>
                  <a:pt x="149" y="137"/>
                </a:lnTo>
                <a:lnTo>
                  <a:pt x="151" y="135"/>
                </a:lnTo>
                <a:lnTo>
                  <a:pt x="154" y="133"/>
                </a:lnTo>
                <a:lnTo>
                  <a:pt x="156" y="130"/>
                </a:lnTo>
                <a:lnTo>
                  <a:pt x="156" y="128"/>
                </a:lnTo>
                <a:lnTo>
                  <a:pt x="158" y="126"/>
                </a:lnTo>
                <a:lnTo>
                  <a:pt x="158" y="123"/>
                </a:lnTo>
                <a:lnTo>
                  <a:pt x="156" y="121"/>
                </a:lnTo>
                <a:lnTo>
                  <a:pt x="158" y="121"/>
                </a:lnTo>
                <a:lnTo>
                  <a:pt x="161" y="119"/>
                </a:lnTo>
                <a:lnTo>
                  <a:pt x="165" y="105"/>
                </a:lnTo>
                <a:lnTo>
                  <a:pt x="168" y="105"/>
                </a:lnTo>
                <a:lnTo>
                  <a:pt x="170" y="105"/>
                </a:lnTo>
                <a:lnTo>
                  <a:pt x="170" y="102"/>
                </a:lnTo>
                <a:lnTo>
                  <a:pt x="168" y="102"/>
                </a:lnTo>
                <a:lnTo>
                  <a:pt x="170" y="100"/>
                </a:lnTo>
                <a:lnTo>
                  <a:pt x="175" y="93"/>
                </a:lnTo>
                <a:lnTo>
                  <a:pt x="175" y="88"/>
                </a:lnTo>
                <a:lnTo>
                  <a:pt x="175" y="86"/>
                </a:lnTo>
                <a:lnTo>
                  <a:pt x="177" y="84"/>
                </a:lnTo>
                <a:lnTo>
                  <a:pt x="179" y="81"/>
                </a:lnTo>
                <a:lnTo>
                  <a:pt x="179" y="79"/>
                </a:lnTo>
                <a:lnTo>
                  <a:pt x="182" y="79"/>
                </a:lnTo>
                <a:lnTo>
                  <a:pt x="184" y="79"/>
                </a:lnTo>
                <a:lnTo>
                  <a:pt x="193" y="65"/>
                </a:lnTo>
                <a:lnTo>
                  <a:pt x="193" y="63"/>
                </a:lnTo>
                <a:lnTo>
                  <a:pt x="195" y="63"/>
                </a:lnTo>
                <a:lnTo>
                  <a:pt x="195" y="60"/>
                </a:lnTo>
                <a:lnTo>
                  <a:pt x="198" y="58"/>
                </a:lnTo>
                <a:lnTo>
                  <a:pt x="200" y="56"/>
                </a:lnTo>
                <a:lnTo>
                  <a:pt x="200" y="53"/>
                </a:lnTo>
                <a:lnTo>
                  <a:pt x="202" y="51"/>
                </a:lnTo>
                <a:lnTo>
                  <a:pt x="202" y="49"/>
                </a:lnTo>
                <a:lnTo>
                  <a:pt x="205" y="46"/>
                </a:lnTo>
                <a:lnTo>
                  <a:pt x="205" y="44"/>
                </a:lnTo>
                <a:lnTo>
                  <a:pt x="207" y="44"/>
                </a:lnTo>
                <a:lnTo>
                  <a:pt x="209" y="42"/>
                </a:lnTo>
                <a:lnTo>
                  <a:pt x="214" y="37"/>
                </a:lnTo>
                <a:lnTo>
                  <a:pt x="216" y="35"/>
                </a:lnTo>
                <a:lnTo>
                  <a:pt x="216" y="32"/>
                </a:lnTo>
                <a:lnTo>
                  <a:pt x="219" y="30"/>
                </a:lnTo>
                <a:lnTo>
                  <a:pt x="219" y="28"/>
                </a:lnTo>
                <a:lnTo>
                  <a:pt x="226" y="25"/>
                </a:lnTo>
                <a:lnTo>
                  <a:pt x="228" y="25"/>
                </a:lnTo>
                <a:lnTo>
                  <a:pt x="233" y="18"/>
                </a:lnTo>
                <a:lnTo>
                  <a:pt x="233" y="14"/>
                </a:lnTo>
                <a:lnTo>
                  <a:pt x="235" y="14"/>
                </a:lnTo>
                <a:lnTo>
                  <a:pt x="235" y="16"/>
                </a:lnTo>
                <a:lnTo>
                  <a:pt x="235" y="18"/>
                </a:lnTo>
                <a:lnTo>
                  <a:pt x="237" y="25"/>
                </a:lnTo>
                <a:lnTo>
                  <a:pt x="242" y="32"/>
                </a:lnTo>
                <a:lnTo>
                  <a:pt x="242" y="35"/>
                </a:lnTo>
                <a:lnTo>
                  <a:pt x="242" y="32"/>
                </a:lnTo>
                <a:lnTo>
                  <a:pt x="240" y="28"/>
                </a:lnTo>
                <a:lnTo>
                  <a:pt x="237" y="23"/>
                </a:lnTo>
                <a:lnTo>
                  <a:pt x="235" y="11"/>
                </a:lnTo>
                <a:lnTo>
                  <a:pt x="235" y="4"/>
                </a:lnTo>
                <a:lnTo>
                  <a:pt x="235" y="0"/>
                </a:lnTo>
                <a:lnTo>
                  <a:pt x="237" y="0"/>
                </a:lnTo>
                <a:lnTo>
                  <a:pt x="240" y="0"/>
                </a:lnTo>
                <a:lnTo>
                  <a:pt x="242" y="2"/>
                </a:lnTo>
                <a:lnTo>
                  <a:pt x="247" y="4"/>
                </a:lnTo>
                <a:lnTo>
                  <a:pt x="254" y="14"/>
                </a:lnTo>
                <a:lnTo>
                  <a:pt x="258" y="21"/>
                </a:lnTo>
                <a:lnTo>
                  <a:pt x="261" y="25"/>
                </a:lnTo>
                <a:lnTo>
                  <a:pt x="261" y="30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7FE74DE3-29AC-A41D-8194-B813D596CB43}"/>
              </a:ext>
            </a:extLst>
          </p:cNvPr>
          <p:cNvSpPr>
            <a:spLocks noEditPoints="1"/>
          </p:cNvSpPr>
          <p:nvPr/>
        </p:nvSpPr>
        <p:spPr bwMode="auto">
          <a:xfrm>
            <a:off x="3191048" y="4681424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34" name="Donut 33">
            <a:extLst>
              <a:ext uri="{FF2B5EF4-FFF2-40B4-BE49-F238E27FC236}">
                <a16:creationId xmlns:a16="http://schemas.microsoft.com/office/drawing/2014/main" id="{D515C01D-FD83-AA21-4FB2-C6EE2FA38932}"/>
              </a:ext>
            </a:extLst>
          </p:cNvPr>
          <p:cNvSpPr/>
          <p:nvPr/>
        </p:nvSpPr>
        <p:spPr>
          <a:xfrm>
            <a:off x="3158229" y="4622962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ECEB0CBC-7847-D78A-6727-EA00C0DEC3BC}"/>
              </a:ext>
            </a:extLst>
          </p:cNvPr>
          <p:cNvSpPr>
            <a:spLocks noEditPoints="1"/>
          </p:cNvSpPr>
          <p:nvPr/>
        </p:nvSpPr>
        <p:spPr bwMode="auto">
          <a:xfrm>
            <a:off x="3565734" y="4478133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38" name="Donut 37">
            <a:extLst>
              <a:ext uri="{FF2B5EF4-FFF2-40B4-BE49-F238E27FC236}">
                <a16:creationId xmlns:a16="http://schemas.microsoft.com/office/drawing/2014/main" id="{ABC8F145-CFFC-3CC7-033F-8BA9BCFBA988}"/>
              </a:ext>
            </a:extLst>
          </p:cNvPr>
          <p:cNvSpPr/>
          <p:nvPr/>
        </p:nvSpPr>
        <p:spPr>
          <a:xfrm>
            <a:off x="3532915" y="4419671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41" name="Freeform 40">
            <a:extLst>
              <a:ext uri="{FF2B5EF4-FFF2-40B4-BE49-F238E27FC236}">
                <a16:creationId xmlns:a16="http://schemas.microsoft.com/office/drawing/2014/main" id="{703F9A4E-D29F-EE9F-C111-39F53FF77909}"/>
              </a:ext>
            </a:extLst>
          </p:cNvPr>
          <p:cNvSpPr>
            <a:spLocks noEditPoints="1"/>
          </p:cNvSpPr>
          <p:nvPr/>
        </p:nvSpPr>
        <p:spPr bwMode="auto">
          <a:xfrm>
            <a:off x="3709317" y="4720487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42" name="Donut 41">
            <a:extLst>
              <a:ext uri="{FF2B5EF4-FFF2-40B4-BE49-F238E27FC236}">
                <a16:creationId xmlns:a16="http://schemas.microsoft.com/office/drawing/2014/main" id="{1B4145B4-8684-69EA-3544-73984F5785FB}"/>
              </a:ext>
            </a:extLst>
          </p:cNvPr>
          <p:cNvSpPr/>
          <p:nvPr/>
        </p:nvSpPr>
        <p:spPr>
          <a:xfrm>
            <a:off x="3676498" y="4662025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5BECB677-0F5E-3909-3A3A-A2DC93925058}"/>
              </a:ext>
            </a:extLst>
          </p:cNvPr>
          <p:cNvSpPr>
            <a:spLocks noEditPoints="1"/>
          </p:cNvSpPr>
          <p:nvPr/>
        </p:nvSpPr>
        <p:spPr bwMode="auto">
          <a:xfrm>
            <a:off x="3857208" y="4531561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46" name="Donut 45">
            <a:extLst>
              <a:ext uri="{FF2B5EF4-FFF2-40B4-BE49-F238E27FC236}">
                <a16:creationId xmlns:a16="http://schemas.microsoft.com/office/drawing/2014/main" id="{3100D329-E2A7-2848-3566-1D2CDF2572EE}"/>
              </a:ext>
            </a:extLst>
          </p:cNvPr>
          <p:cNvSpPr/>
          <p:nvPr/>
        </p:nvSpPr>
        <p:spPr>
          <a:xfrm>
            <a:off x="3824389" y="4473099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cxnSp>
        <p:nvCxnSpPr>
          <p:cNvPr id="50" name="Curved Connector 49">
            <a:extLst>
              <a:ext uri="{FF2B5EF4-FFF2-40B4-BE49-F238E27FC236}">
                <a16:creationId xmlns:a16="http://schemas.microsoft.com/office/drawing/2014/main" id="{A2CFD7A1-D7CA-BCF0-3028-64A7A9341281}"/>
              </a:ext>
            </a:extLst>
          </p:cNvPr>
          <p:cNvCxnSpPr>
            <a:stCxn id="34" idx="7"/>
            <a:endCxn id="38" idx="2"/>
          </p:cNvCxnSpPr>
          <p:nvPr/>
        </p:nvCxnSpPr>
        <p:spPr>
          <a:xfrm rot="5400000" flipH="1" flipV="1">
            <a:off x="3368544" y="4488829"/>
            <a:ext cx="130292" cy="198449"/>
          </a:xfrm>
          <a:prstGeom prst="curvedConnector2">
            <a:avLst/>
          </a:prstGeom>
          <a:ln w="6350" cap="rnd" cmpd="sng" algn="ctr">
            <a:solidFill>
              <a:srgbClr val="29BA74"/>
            </a:solidFill>
            <a:prstDash val="solid"/>
            <a:round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urved Connector 50">
            <a:extLst>
              <a:ext uri="{FF2B5EF4-FFF2-40B4-BE49-F238E27FC236}">
                <a16:creationId xmlns:a16="http://schemas.microsoft.com/office/drawing/2014/main" id="{270985E0-6413-0CF1-4DED-057763734CCF}"/>
              </a:ext>
            </a:extLst>
          </p:cNvPr>
          <p:cNvCxnSpPr>
            <a:cxnSpLocks/>
            <a:stCxn id="34" idx="5"/>
            <a:endCxn id="42" idx="2"/>
          </p:cNvCxnSpPr>
          <p:nvPr/>
        </p:nvCxnSpPr>
        <p:spPr>
          <a:xfrm rot="5400000" flipH="1" flipV="1">
            <a:off x="3488513" y="4611213"/>
            <a:ext cx="33936" cy="342033"/>
          </a:xfrm>
          <a:prstGeom prst="curvedConnector4">
            <a:avLst>
              <a:gd name="adj1" fmla="val -21918"/>
              <a:gd name="adj2" fmla="val 54420"/>
            </a:avLst>
          </a:prstGeom>
          <a:ln w="6350" cap="rnd" cmpd="sng" algn="ctr">
            <a:solidFill>
              <a:srgbClr val="29BA74"/>
            </a:solidFill>
            <a:prstDash val="solid"/>
            <a:round/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 61">
            <a:extLst>
              <a:ext uri="{FF2B5EF4-FFF2-40B4-BE49-F238E27FC236}">
                <a16:creationId xmlns:a16="http://schemas.microsoft.com/office/drawing/2014/main" id="{A6401046-5AA7-D53E-A189-42EBC87B77F0}"/>
              </a:ext>
            </a:extLst>
          </p:cNvPr>
          <p:cNvSpPr>
            <a:spLocks noEditPoints="1"/>
          </p:cNvSpPr>
          <p:nvPr/>
        </p:nvSpPr>
        <p:spPr bwMode="auto">
          <a:xfrm>
            <a:off x="3984721" y="4093500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E71C57"/>
          </a:solidFill>
          <a:ln w="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63" name="Donut 62">
            <a:extLst>
              <a:ext uri="{FF2B5EF4-FFF2-40B4-BE49-F238E27FC236}">
                <a16:creationId xmlns:a16="http://schemas.microsoft.com/office/drawing/2014/main" id="{33D31289-3E7A-B00B-ED2C-9C3C69675E0A}"/>
              </a:ext>
            </a:extLst>
          </p:cNvPr>
          <p:cNvSpPr/>
          <p:nvPr/>
        </p:nvSpPr>
        <p:spPr>
          <a:xfrm>
            <a:off x="3951902" y="4035038"/>
            <a:ext cx="206473" cy="206473"/>
          </a:xfrm>
          <a:prstGeom prst="donut">
            <a:avLst>
              <a:gd name="adj" fmla="val 2391"/>
            </a:avLst>
          </a:prstGeom>
          <a:solidFill>
            <a:srgbClr val="E71C57"/>
          </a:solidFill>
          <a:ln w="0" cap="rnd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66" name="Freeform 65">
            <a:extLst>
              <a:ext uri="{FF2B5EF4-FFF2-40B4-BE49-F238E27FC236}">
                <a16:creationId xmlns:a16="http://schemas.microsoft.com/office/drawing/2014/main" id="{F1650402-FA19-A864-090D-51215974AA43}"/>
              </a:ext>
            </a:extLst>
          </p:cNvPr>
          <p:cNvSpPr>
            <a:spLocks noEditPoints="1"/>
          </p:cNvSpPr>
          <p:nvPr/>
        </p:nvSpPr>
        <p:spPr bwMode="auto">
          <a:xfrm>
            <a:off x="4373033" y="3750462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E71C57"/>
          </a:solidFill>
          <a:ln w="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67" name="Donut 66">
            <a:extLst>
              <a:ext uri="{FF2B5EF4-FFF2-40B4-BE49-F238E27FC236}">
                <a16:creationId xmlns:a16="http://schemas.microsoft.com/office/drawing/2014/main" id="{B8F0BF7A-0D52-832D-BA7C-EFF0F0B12AF5}"/>
              </a:ext>
            </a:extLst>
          </p:cNvPr>
          <p:cNvSpPr/>
          <p:nvPr/>
        </p:nvSpPr>
        <p:spPr>
          <a:xfrm>
            <a:off x="4340214" y="3692001"/>
            <a:ext cx="206473" cy="206473"/>
          </a:xfrm>
          <a:prstGeom prst="donut">
            <a:avLst>
              <a:gd name="adj" fmla="val 2391"/>
            </a:avLst>
          </a:prstGeom>
          <a:solidFill>
            <a:srgbClr val="E71C57"/>
          </a:solidFill>
          <a:ln w="0" cap="rnd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70" name="Freeform 69">
            <a:extLst>
              <a:ext uri="{FF2B5EF4-FFF2-40B4-BE49-F238E27FC236}">
                <a16:creationId xmlns:a16="http://schemas.microsoft.com/office/drawing/2014/main" id="{C4F9F1F5-E140-C23B-6FD6-2712A6DCC80C}"/>
              </a:ext>
            </a:extLst>
          </p:cNvPr>
          <p:cNvSpPr>
            <a:spLocks noEditPoints="1"/>
          </p:cNvSpPr>
          <p:nvPr/>
        </p:nvSpPr>
        <p:spPr bwMode="auto">
          <a:xfrm>
            <a:off x="4070233" y="3524556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F18D1E"/>
          </a:solidFill>
          <a:ln w="0" cap="flat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71" name="Donut 70">
            <a:extLst>
              <a:ext uri="{FF2B5EF4-FFF2-40B4-BE49-F238E27FC236}">
                <a16:creationId xmlns:a16="http://schemas.microsoft.com/office/drawing/2014/main" id="{AFE8B12C-ACC7-C657-F1BB-04795F6FBDA1}"/>
              </a:ext>
            </a:extLst>
          </p:cNvPr>
          <p:cNvSpPr/>
          <p:nvPr/>
        </p:nvSpPr>
        <p:spPr>
          <a:xfrm>
            <a:off x="4037414" y="3466094"/>
            <a:ext cx="206473" cy="206473"/>
          </a:xfrm>
          <a:prstGeom prst="donut">
            <a:avLst>
              <a:gd name="adj" fmla="val 2391"/>
            </a:avLst>
          </a:prstGeom>
          <a:solidFill>
            <a:srgbClr val="F18D1E"/>
          </a:solidFill>
          <a:ln w="0" cap="rnd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74" name="Freeform 73">
            <a:extLst>
              <a:ext uri="{FF2B5EF4-FFF2-40B4-BE49-F238E27FC236}">
                <a16:creationId xmlns:a16="http://schemas.microsoft.com/office/drawing/2014/main" id="{44C0549D-BEC8-9A1A-2639-5D11FD46E7C1}"/>
              </a:ext>
            </a:extLst>
          </p:cNvPr>
          <p:cNvSpPr>
            <a:spLocks noEditPoints="1"/>
          </p:cNvSpPr>
          <p:nvPr/>
        </p:nvSpPr>
        <p:spPr bwMode="auto">
          <a:xfrm>
            <a:off x="3267028" y="3294554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75" name="Donut 74">
            <a:extLst>
              <a:ext uri="{FF2B5EF4-FFF2-40B4-BE49-F238E27FC236}">
                <a16:creationId xmlns:a16="http://schemas.microsoft.com/office/drawing/2014/main" id="{20E6D8B9-AEEE-5415-5333-28F318900D51}"/>
              </a:ext>
            </a:extLst>
          </p:cNvPr>
          <p:cNvSpPr/>
          <p:nvPr/>
        </p:nvSpPr>
        <p:spPr>
          <a:xfrm>
            <a:off x="3234209" y="3236092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E6B1F03-E905-D894-E172-DFD965801549}"/>
              </a:ext>
            </a:extLst>
          </p:cNvPr>
          <p:cNvCxnSpPr/>
          <p:nvPr/>
        </p:nvCxnSpPr>
        <p:spPr>
          <a:xfrm flipV="1">
            <a:off x="3364702" y="4562033"/>
            <a:ext cx="459687" cy="158454"/>
          </a:xfrm>
          <a:prstGeom prst="line">
            <a:avLst/>
          </a:prstGeom>
          <a:ln w="6350" cap="rnd" cmpd="sng" algn="ctr">
            <a:solidFill>
              <a:srgbClr val="29BA74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Freeform 82">
            <a:extLst>
              <a:ext uri="{FF2B5EF4-FFF2-40B4-BE49-F238E27FC236}">
                <a16:creationId xmlns:a16="http://schemas.microsoft.com/office/drawing/2014/main" id="{5D4C7FF8-0045-0FE5-8CCA-4DDCEF9BE51D}"/>
              </a:ext>
            </a:extLst>
          </p:cNvPr>
          <p:cNvSpPr>
            <a:spLocks noEditPoints="1"/>
          </p:cNvSpPr>
          <p:nvPr/>
        </p:nvSpPr>
        <p:spPr bwMode="auto">
          <a:xfrm>
            <a:off x="2119115" y="3509935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F18D1E"/>
          </a:solidFill>
          <a:ln w="0" cap="flat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84" name="Donut 83">
            <a:extLst>
              <a:ext uri="{FF2B5EF4-FFF2-40B4-BE49-F238E27FC236}">
                <a16:creationId xmlns:a16="http://schemas.microsoft.com/office/drawing/2014/main" id="{86F89E4B-7391-B8DC-21B7-25E3B2974857}"/>
              </a:ext>
            </a:extLst>
          </p:cNvPr>
          <p:cNvSpPr/>
          <p:nvPr/>
        </p:nvSpPr>
        <p:spPr>
          <a:xfrm>
            <a:off x="2086296" y="3451473"/>
            <a:ext cx="206473" cy="206473"/>
          </a:xfrm>
          <a:prstGeom prst="donut">
            <a:avLst>
              <a:gd name="adj" fmla="val 2391"/>
            </a:avLst>
          </a:prstGeom>
          <a:solidFill>
            <a:srgbClr val="F18D1E"/>
          </a:solidFill>
          <a:ln w="0" cap="rnd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D35137FE-4374-8D80-BAE3-1361BAA3F879}"/>
              </a:ext>
            </a:extLst>
          </p:cNvPr>
          <p:cNvSpPr>
            <a:spLocks noEditPoints="1"/>
          </p:cNvSpPr>
          <p:nvPr/>
        </p:nvSpPr>
        <p:spPr bwMode="auto">
          <a:xfrm>
            <a:off x="2865567" y="4444698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F18D1E"/>
          </a:solidFill>
          <a:ln w="0" cap="flat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88" name="Donut 87">
            <a:extLst>
              <a:ext uri="{FF2B5EF4-FFF2-40B4-BE49-F238E27FC236}">
                <a16:creationId xmlns:a16="http://schemas.microsoft.com/office/drawing/2014/main" id="{8ADA1853-6D06-FBA5-666A-C1CF343A2FE4}"/>
              </a:ext>
            </a:extLst>
          </p:cNvPr>
          <p:cNvSpPr/>
          <p:nvPr/>
        </p:nvSpPr>
        <p:spPr>
          <a:xfrm>
            <a:off x="2832748" y="4386236"/>
            <a:ext cx="206473" cy="206473"/>
          </a:xfrm>
          <a:prstGeom prst="donut">
            <a:avLst>
              <a:gd name="adj" fmla="val 2391"/>
            </a:avLst>
          </a:prstGeom>
          <a:solidFill>
            <a:srgbClr val="F18D1E"/>
          </a:solidFill>
          <a:ln w="0" cap="rnd" cmpd="sng" algn="ctr">
            <a:solidFill>
              <a:srgbClr val="F18D1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48E99975-25BE-7895-E985-97B549FD691F}"/>
              </a:ext>
            </a:extLst>
          </p:cNvPr>
          <p:cNvCxnSpPr>
            <a:cxnSpLocks/>
            <a:stCxn id="63" idx="7"/>
            <a:endCxn id="67" idx="3"/>
          </p:cNvCxnSpPr>
          <p:nvPr/>
        </p:nvCxnSpPr>
        <p:spPr>
          <a:xfrm flipV="1">
            <a:off x="4128138" y="3868237"/>
            <a:ext cx="242313" cy="197039"/>
          </a:xfrm>
          <a:prstGeom prst="line">
            <a:avLst/>
          </a:prstGeom>
          <a:ln w="6350" cap="rnd" cmpd="sng" algn="ctr">
            <a:solidFill>
              <a:srgbClr val="E71C57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196A9EC2-D71F-AD16-0ABA-732DEBBEAA87}"/>
              </a:ext>
            </a:extLst>
          </p:cNvPr>
          <p:cNvCxnSpPr>
            <a:stCxn id="34" idx="1"/>
          </p:cNvCxnSpPr>
          <p:nvPr/>
        </p:nvCxnSpPr>
        <p:spPr>
          <a:xfrm flipH="1" flipV="1">
            <a:off x="3006728" y="4549807"/>
            <a:ext cx="181739" cy="103391"/>
          </a:xfrm>
          <a:prstGeom prst="straightConnector1">
            <a:avLst/>
          </a:prstGeom>
          <a:ln w="6350" cap="rnd" cmpd="sng" algn="ctr">
            <a:solidFill>
              <a:srgbClr val="F18D1E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urved Connector 112">
            <a:extLst>
              <a:ext uri="{FF2B5EF4-FFF2-40B4-BE49-F238E27FC236}">
                <a16:creationId xmlns:a16="http://schemas.microsoft.com/office/drawing/2014/main" id="{CBC3A2AE-1D0C-629E-CE00-C4684B46BC4B}"/>
              </a:ext>
            </a:extLst>
          </p:cNvPr>
          <p:cNvCxnSpPr>
            <a:cxnSpLocks/>
            <a:stCxn id="34" idx="0"/>
            <a:endCxn id="63" idx="2"/>
          </p:cNvCxnSpPr>
          <p:nvPr/>
        </p:nvCxnSpPr>
        <p:spPr>
          <a:xfrm rot="5400000" flipH="1" flipV="1">
            <a:off x="3364340" y="4035400"/>
            <a:ext cx="484688" cy="690436"/>
          </a:xfrm>
          <a:prstGeom prst="curvedConnector2">
            <a:avLst/>
          </a:prstGeom>
          <a:ln w="6350" cap="rnd" cmpd="sng" algn="ctr">
            <a:solidFill>
              <a:srgbClr val="E71C57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Curved Connector 118">
            <a:extLst>
              <a:ext uri="{FF2B5EF4-FFF2-40B4-BE49-F238E27FC236}">
                <a16:creationId xmlns:a16="http://schemas.microsoft.com/office/drawing/2014/main" id="{EE3793D3-65DC-27D2-83AE-2131B552B848}"/>
              </a:ext>
            </a:extLst>
          </p:cNvPr>
          <p:cNvCxnSpPr>
            <a:cxnSpLocks/>
            <a:stCxn id="88" idx="2"/>
            <a:endCxn id="84" idx="6"/>
          </p:cNvCxnSpPr>
          <p:nvPr/>
        </p:nvCxnSpPr>
        <p:spPr>
          <a:xfrm rot="10800000">
            <a:off x="2292768" y="3554711"/>
            <a:ext cx="539980" cy="934763"/>
          </a:xfrm>
          <a:prstGeom prst="curvedConnector3">
            <a:avLst>
              <a:gd name="adj1" fmla="val 16678"/>
            </a:avLst>
          </a:prstGeom>
          <a:ln w="6350" cap="rnd" cmpd="sng" algn="ctr">
            <a:solidFill>
              <a:srgbClr val="F18D1E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urved Connector 129">
            <a:extLst>
              <a:ext uri="{FF2B5EF4-FFF2-40B4-BE49-F238E27FC236}">
                <a16:creationId xmlns:a16="http://schemas.microsoft.com/office/drawing/2014/main" id="{786EEF8F-80C5-4688-4B8F-05F784F67DF4}"/>
              </a:ext>
            </a:extLst>
          </p:cNvPr>
          <p:cNvCxnSpPr>
            <a:cxnSpLocks/>
            <a:stCxn id="63" idx="0"/>
            <a:endCxn id="71" idx="4"/>
          </p:cNvCxnSpPr>
          <p:nvPr/>
        </p:nvCxnSpPr>
        <p:spPr>
          <a:xfrm rot="5400000" flipH="1" flipV="1">
            <a:off x="3916659" y="3811047"/>
            <a:ext cx="362471" cy="85512"/>
          </a:xfrm>
          <a:prstGeom prst="curvedConnector3">
            <a:avLst>
              <a:gd name="adj1" fmla="val 50000"/>
            </a:avLst>
          </a:prstGeom>
          <a:ln w="6350" cap="rnd" cmpd="sng" algn="ctr">
            <a:solidFill>
              <a:srgbClr val="F18D1E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Freeform 211">
            <a:extLst>
              <a:ext uri="{FF2B5EF4-FFF2-40B4-BE49-F238E27FC236}">
                <a16:creationId xmlns:a16="http://schemas.microsoft.com/office/drawing/2014/main" id="{239D2FB4-8DE3-6D7D-9123-56A60D1BF55F}"/>
              </a:ext>
            </a:extLst>
          </p:cNvPr>
          <p:cNvSpPr>
            <a:spLocks noEditPoints="1"/>
          </p:cNvSpPr>
          <p:nvPr/>
        </p:nvSpPr>
        <p:spPr bwMode="auto">
          <a:xfrm>
            <a:off x="2995861" y="5183983"/>
            <a:ext cx="141160" cy="83900"/>
          </a:xfrm>
          <a:custGeom>
            <a:avLst/>
            <a:gdLst>
              <a:gd name="T0" fmla="*/ 135 w 880"/>
              <a:gd name="T1" fmla="*/ 157 h 523"/>
              <a:gd name="T2" fmla="*/ 393 w 880"/>
              <a:gd name="T3" fmla="*/ 146 h 523"/>
              <a:gd name="T4" fmla="*/ 403 w 880"/>
              <a:gd name="T5" fmla="*/ 393 h 523"/>
              <a:gd name="T6" fmla="*/ 465 w 880"/>
              <a:gd name="T7" fmla="*/ 157 h 523"/>
              <a:gd name="T8" fmla="*/ 722 w 880"/>
              <a:gd name="T9" fmla="*/ 146 h 523"/>
              <a:gd name="T10" fmla="*/ 732 w 880"/>
              <a:gd name="T11" fmla="*/ 393 h 523"/>
              <a:gd name="T12" fmla="*/ 810 w 880"/>
              <a:gd name="T13" fmla="*/ 393 h 523"/>
              <a:gd name="T14" fmla="*/ 810 w 880"/>
              <a:gd name="T15" fmla="*/ 11 h 523"/>
              <a:gd name="T16" fmla="*/ 80 w 880"/>
              <a:gd name="T17" fmla="*/ 0 h 523"/>
              <a:gd name="T18" fmla="*/ 70 w 880"/>
              <a:gd name="T19" fmla="*/ 328 h 523"/>
              <a:gd name="T20" fmla="*/ 91 w 880"/>
              <a:gd name="T21" fmla="*/ 393 h 523"/>
              <a:gd name="T22" fmla="*/ 630 w 880"/>
              <a:gd name="T23" fmla="*/ 62 h 523"/>
              <a:gd name="T24" fmla="*/ 722 w 880"/>
              <a:gd name="T25" fmla="*/ 51 h 523"/>
              <a:gd name="T26" fmla="*/ 732 w 880"/>
              <a:gd name="T27" fmla="*/ 95 h 523"/>
              <a:gd name="T28" fmla="*/ 640 w 880"/>
              <a:gd name="T29" fmla="*/ 105 h 523"/>
              <a:gd name="T30" fmla="*/ 630 w 880"/>
              <a:gd name="T31" fmla="*/ 62 h 523"/>
              <a:gd name="T32" fmla="*/ 476 w 880"/>
              <a:gd name="T33" fmla="*/ 51 h 523"/>
              <a:gd name="T34" fmla="*/ 568 w 880"/>
              <a:gd name="T35" fmla="*/ 62 h 523"/>
              <a:gd name="T36" fmla="*/ 557 w 880"/>
              <a:gd name="T37" fmla="*/ 105 h 523"/>
              <a:gd name="T38" fmla="*/ 465 w 880"/>
              <a:gd name="T39" fmla="*/ 95 h 523"/>
              <a:gd name="T40" fmla="*/ 300 w 880"/>
              <a:gd name="T41" fmla="*/ 62 h 523"/>
              <a:gd name="T42" fmla="*/ 392 w 880"/>
              <a:gd name="T43" fmla="*/ 51 h 523"/>
              <a:gd name="T44" fmla="*/ 403 w 880"/>
              <a:gd name="T45" fmla="*/ 95 h 523"/>
              <a:gd name="T46" fmla="*/ 310 w 880"/>
              <a:gd name="T47" fmla="*/ 105 h 523"/>
              <a:gd name="T48" fmla="*/ 300 w 880"/>
              <a:gd name="T49" fmla="*/ 62 h 523"/>
              <a:gd name="T50" fmla="*/ 146 w 880"/>
              <a:gd name="T51" fmla="*/ 51 h 523"/>
              <a:gd name="T52" fmla="*/ 238 w 880"/>
              <a:gd name="T53" fmla="*/ 62 h 523"/>
              <a:gd name="T54" fmla="*/ 227 w 880"/>
              <a:gd name="T55" fmla="*/ 105 h 523"/>
              <a:gd name="T56" fmla="*/ 135 w 880"/>
              <a:gd name="T57" fmla="*/ 95 h 523"/>
              <a:gd name="T58" fmla="*/ 880 w 880"/>
              <a:gd name="T59" fmla="*/ 473 h 523"/>
              <a:gd name="T60" fmla="*/ 869 w 880"/>
              <a:gd name="T61" fmla="*/ 523 h 523"/>
              <a:gd name="T62" fmla="*/ 0 w 880"/>
              <a:gd name="T63" fmla="*/ 513 h 523"/>
              <a:gd name="T64" fmla="*/ 11 w 880"/>
              <a:gd name="T65" fmla="*/ 462 h 523"/>
              <a:gd name="T66" fmla="*/ 42 w 880"/>
              <a:gd name="T67" fmla="*/ 448 h 523"/>
              <a:gd name="T68" fmla="*/ 70 w 880"/>
              <a:gd name="T69" fmla="*/ 437 h 523"/>
              <a:gd name="T70" fmla="*/ 149 w 880"/>
              <a:gd name="T71" fmla="*/ 437 h 523"/>
              <a:gd name="T72" fmla="*/ 479 w 880"/>
              <a:gd name="T73" fmla="*/ 437 h 523"/>
              <a:gd name="T74" fmla="*/ 789 w 880"/>
              <a:gd name="T75" fmla="*/ 437 h 523"/>
              <a:gd name="T76" fmla="*/ 828 w 880"/>
              <a:gd name="T77" fmla="*/ 437 h 523"/>
              <a:gd name="T78" fmla="*/ 838 w 880"/>
              <a:gd name="T79" fmla="*/ 462 h 523"/>
              <a:gd name="T80" fmla="*/ 880 w 880"/>
              <a:gd name="T81" fmla="*/ 47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0" h="523">
                <a:moveTo>
                  <a:pt x="135" y="393"/>
                </a:moveTo>
                <a:cubicBezTo>
                  <a:pt x="135" y="393"/>
                  <a:pt x="135" y="393"/>
                  <a:pt x="135" y="157"/>
                </a:cubicBezTo>
                <a:cubicBezTo>
                  <a:pt x="135" y="151"/>
                  <a:pt x="140" y="146"/>
                  <a:pt x="146" y="146"/>
                </a:cubicBezTo>
                <a:cubicBezTo>
                  <a:pt x="146" y="146"/>
                  <a:pt x="146" y="146"/>
                  <a:pt x="393" y="146"/>
                </a:cubicBezTo>
                <a:cubicBezTo>
                  <a:pt x="398" y="146"/>
                  <a:pt x="403" y="151"/>
                  <a:pt x="403" y="157"/>
                </a:cubicBezTo>
                <a:cubicBezTo>
                  <a:pt x="403" y="157"/>
                  <a:pt x="403" y="157"/>
                  <a:pt x="403" y="393"/>
                </a:cubicBezTo>
                <a:cubicBezTo>
                  <a:pt x="465" y="393"/>
                  <a:pt x="465" y="393"/>
                  <a:pt x="465" y="393"/>
                </a:cubicBezTo>
                <a:cubicBezTo>
                  <a:pt x="465" y="393"/>
                  <a:pt x="465" y="393"/>
                  <a:pt x="465" y="157"/>
                </a:cubicBezTo>
                <a:cubicBezTo>
                  <a:pt x="465" y="151"/>
                  <a:pt x="470" y="146"/>
                  <a:pt x="476" y="146"/>
                </a:cubicBezTo>
                <a:cubicBezTo>
                  <a:pt x="476" y="146"/>
                  <a:pt x="476" y="146"/>
                  <a:pt x="722" y="146"/>
                </a:cubicBezTo>
                <a:cubicBezTo>
                  <a:pt x="727" y="146"/>
                  <a:pt x="732" y="151"/>
                  <a:pt x="732" y="157"/>
                </a:cubicBezTo>
                <a:cubicBezTo>
                  <a:pt x="732" y="157"/>
                  <a:pt x="732" y="157"/>
                  <a:pt x="732" y="393"/>
                </a:cubicBezTo>
                <a:cubicBezTo>
                  <a:pt x="789" y="393"/>
                  <a:pt x="789" y="393"/>
                  <a:pt x="789" y="393"/>
                </a:cubicBezTo>
                <a:cubicBezTo>
                  <a:pt x="810" y="393"/>
                  <a:pt x="810" y="393"/>
                  <a:pt x="810" y="393"/>
                </a:cubicBezTo>
                <a:cubicBezTo>
                  <a:pt x="810" y="370"/>
                  <a:pt x="810" y="348"/>
                  <a:pt x="810" y="328"/>
                </a:cubicBezTo>
                <a:cubicBezTo>
                  <a:pt x="810" y="11"/>
                  <a:pt x="810" y="11"/>
                  <a:pt x="810" y="11"/>
                </a:cubicBezTo>
                <a:cubicBezTo>
                  <a:pt x="810" y="5"/>
                  <a:pt x="805" y="0"/>
                  <a:pt x="80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5" y="0"/>
                  <a:pt x="70" y="5"/>
                  <a:pt x="70" y="11"/>
                </a:cubicBezTo>
                <a:cubicBezTo>
                  <a:pt x="70" y="181"/>
                  <a:pt x="70" y="276"/>
                  <a:pt x="70" y="328"/>
                </a:cubicBezTo>
                <a:cubicBezTo>
                  <a:pt x="70" y="393"/>
                  <a:pt x="70" y="393"/>
                  <a:pt x="70" y="393"/>
                </a:cubicBezTo>
                <a:cubicBezTo>
                  <a:pt x="91" y="393"/>
                  <a:pt x="91" y="393"/>
                  <a:pt x="91" y="393"/>
                </a:cubicBezTo>
                <a:lnTo>
                  <a:pt x="135" y="393"/>
                </a:lnTo>
                <a:close/>
                <a:moveTo>
                  <a:pt x="630" y="62"/>
                </a:moveTo>
                <a:cubicBezTo>
                  <a:pt x="630" y="56"/>
                  <a:pt x="634" y="51"/>
                  <a:pt x="640" y="51"/>
                </a:cubicBezTo>
                <a:cubicBezTo>
                  <a:pt x="640" y="51"/>
                  <a:pt x="640" y="51"/>
                  <a:pt x="722" y="51"/>
                </a:cubicBezTo>
                <a:cubicBezTo>
                  <a:pt x="727" y="51"/>
                  <a:pt x="732" y="56"/>
                  <a:pt x="732" y="62"/>
                </a:cubicBezTo>
                <a:cubicBezTo>
                  <a:pt x="732" y="62"/>
                  <a:pt x="732" y="62"/>
                  <a:pt x="732" y="95"/>
                </a:cubicBezTo>
                <a:cubicBezTo>
                  <a:pt x="732" y="101"/>
                  <a:pt x="727" y="105"/>
                  <a:pt x="722" y="105"/>
                </a:cubicBezTo>
                <a:cubicBezTo>
                  <a:pt x="722" y="105"/>
                  <a:pt x="722" y="105"/>
                  <a:pt x="640" y="105"/>
                </a:cubicBezTo>
                <a:cubicBezTo>
                  <a:pt x="634" y="105"/>
                  <a:pt x="630" y="101"/>
                  <a:pt x="630" y="95"/>
                </a:cubicBezTo>
                <a:cubicBezTo>
                  <a:pt x="630" y="95"/>
                  <a:pt x="630" y="95"/>
                  <a:pt x="630" y="62"/>
                </a:cubicBezTo>
                <a:close/>
                <a:moveTo>
                  <a:pt x="465" y="62"/>
                </a:moveTo>
                <a:cubicBezTo>
                  <a:pt x="465" y="56"/>
                  <a:pt x="470" y="51"/>
                  <a:pt x="476" y="51"/>
                </a:cubicBezTo>
                <a:cubicBezTo>
                  <a:pt x="476" y="51"/>
                  <a:pt x="476" y="51"/>
                  <a:pt x="557" y="51"/>
                </a:cubicBezTo>
                <a:cubicBezTo>
                  <a:pt x="563" y="51"/>
                  <a:pt x="568" y="56"/>
                  <a:pt x="568" y="62"/>
                </a:cubicBezTo>
                <a:cubicBezTo>
                  <a:pt x="568" y="62"/>
                  <a:pt x="568" y="62"/>
                  <a:pt x="568" y="95"/>
                </a:cubicBezTo>
                <a:cubicBezTo>
                  <a:pt x="568" y="101"/>
                  <a:pt x="563" y="105"/>
                  <a:pt x="557" y="105"/>
                </a:cubicBezTo>
                <a:cubicBezTo>
                  <a:pt x="557" y="105"/>
                  <a:pt x="557" y="105"/>
                  <a:pt x="476" y="105"/>
                </a:cubicBezTo>
                <a:cubicBezTo>
                  <a:pt x="470" y="105"/>
                  <a:pt x="465" y="101"/>
                  <a:pt x="465" y="95"/>
                </a:cubicBezTo>
                <a:cubicBezTo>
                  <a:pt x="465" y="95"/>
                  <a:pt x="465" y="95"/>
                  <a:pt x="465" y="62"/>
                </a:cubicBezTo>
                <a:close/>
                <a:moveTo>
                  <a:pt x="300" y="62"/>
                </a:moveTo>
                <a:cubicBezTo>
                  <a:pt x="300" y="56"/>
                  <a:pt x="304" y="51"/>
                  <a:pt x="310" y="51"/>
                </a:cubicBezTo>
                <a:cubicBezTo>
                  <a:pt x="310" y="51"/>
                  <a:pt x="310" y="51"/>
                  <a:pt x="392" y="51"/>
                </a:cubicBezTo>
                <a:cubicBezTo>
                  <a:pt x="398" y="51"/>
                  <a:pt x="403" y="56"/>
                  <a:pt x="403" y="62"/>
                </a:cubicBezTo>
                <a:cubicBezTo>
                  <a:pt x="403" y="62"/>
                  <a:pt x="403" y="62"/>
                  <a:pt x="403" y="95"/>
                </a:cubicBezTo>
                <a:cubicBezTo>
                  <a:pt x="403" y="101"/>
                  <a:pt x="398" y="105"/>
                  <a:pt x="392" y="105"/>
                </a:cubicBezTo>
                <a:cubicBezTo>
                  <a:pt x="392" y="105"/>
                  <a:pt x="392" y="105"/>
                  <a:pt x="310" y="105"/>
                </a:cubicBezTo>
                <a:cubicBezTo>
                  <a:pt x="304" y="105"/>
                  <a:pt x="300" y="101"/>
                  <a:pt x="300" y="95"/>
                </a:cubicBezTo>
                <a:cubicBezTo>
                  <a:pt x="300" y="95"/>
                  <a:pt x="300" y="95"/>
                  <a:pt x="300" y="62"/>
                </a:cubicBezTo>
                <a:close/>
                <a:moveTo>
                  <a:pt x="135" y="62"/>
                </a:moveTo>
                <a:cubicBezTo>
                  <a:pt x="135" y="56"/>
                  <a:pt x="140" y="51"/>
                  <a:pt x="146" y="51"/>
                </a:cubicBezTo>
                <a:cubicBezTo>
                  <a:pt x="146" y="51"/>
                  <a:pt x="146" y="51"/>
                  <a:pt x="227" y="51"/>
                </a:cubicBezTo>
                <a:cubicBezTo>
                  <a:pt x="233" y="51"/>
                  <a:pt x="238" y="56"/>
                  <a:pt x="238" y="62"/>
                </a:cubicBezTo>
                <a:cubicBezTo>
                  <a:pt x="238" y="62"/>
                  <a:pt x="238" y="62"/>
                  <a:pt x="238" y="95"/>
                </a:cubicBezTo>
                <a:cubicBezTo>
                  <a:pt x="238" y="101"/>
                  <a:pt x="233" y="105"/>
                  <a:pt x="227" y="105"/>
                </a:cubicBezTo>
                <a:cubicBezTo>
                  <a:pt x="227" y="105"/>
                  <a:pt x="227" y="105"/>
                  <a:pt x="146" y="105"/>
                </a:cubicBezTo>
                <a:cubicBezTo>
                  <a:pt x="140" y="105"/>
                  <a:pt x="135" y="101"/>
                  <a:pt x="135" y="95"/>
                </a:cubicBezTo>
                <a:cubicBezTo>
                  <a:pt x="135" y="95"/>
                  <a:pt x="135" y="95"/>
                  <a:pt x="135" y="62"/>
                </a:cubicBezTo>
                <a:close/>
                <a:moveTo>
                  <a:pt x="880" y="473"/>
                </a:moveTo>
                <a:cubicBezTo>
                  <a:pt x="880" y="473"/>
                  <a:pt x="880" y="473"/>
                  <a:pt x="880" y="513"/>
                </a:cubicBezTo>
                <a:cubicBezTo>
                  <a:pt x="880" y="519"/>
                  <a:pt x="875" y="523"/>
                  <a:pt x="869" y="523"/>
                </a:cubicBezTo>
                <a:cubicBezTo>
                  <a:pt x="869" y="523"/>
                  <a:pt x="869" y="523"/>
                  <a:pt x="11" y="523"/>
                </a:cubicBezTo>
                <a:cubicBezTo>
                  <a:pt x="5" y="523"/>
                  <a:pt x="0" y="519"/>
                  <a:pt x="0" y="513"/>
                </a:cubicBezTo>
                <a:cubicBezTo>
                  <a:pt x="0" y="513"/>
                  <a:pt x="0" y="513"/>
                  <a:pt x="0" y="473"/>
                </a:cubicBezTo>
                <a:cubicBezTo>
                  <a:pt x="0" y="467"/>
                  <a:pt x="5" y="462"/>
                  <a:pt x="11" y="462"/>
                </a:cubicBezTo>
                <a:cubicBezTo>
                  <a:pt x="11" y="462"/>
                  <a:pt x="11" y="462"/>
                  <a:pt x="42" y="462"/>
                </a:cubicBezTo>
                <a:cubicBezTo>
                  <a:pt x="42" y="462"/>
                  <a:pt x="42" y="462"/>
                  <a:pt x="42" y="448"/>
                </a:cubicBezTo>
                <a:cubicBezTo>
                  <a:pt x="42" y="442"/>
                  <a:pt x="46" y="437"/>
                  <a:pt x="52" y="437"/>
                </a:cubicBezTo>
                <a:cubicBezTo>
                  <a:pt x="52" y="437"/>
                  <a:pt x="52" y="437"/>
                  <a:pt x="70" y="437"/>
                </a:cubicBezTo>
                <a:cubicBezTo>
                  <a:pt x="70" y="437"/>
                  <a:pt x="70" y="437"/>
                  <a:pt x="91" y="437"/>
                </a:cubicBezTo>
                <a:cubicBezTo>
                  <a:pt x="91" y="437"/>
                  <a:pt x="91" y="437"/>
                  <a:pt x="149" y="437"/>
                </a:cubicBezTo>
                <a:cubicBezTo>
                  <a:pt x="149" y="437"/>
                  <a:pt x="149" y="437"/>
                  <a:pt x="396" y="437"/>
                </a:cubicBezTo>
                <a:cubicBezTo>
                  <a:pt x="396" y="437"/>
                  <a:pt x="396" y="437"/>
                  <a:pt x="479" y="437"/>
                </a:cubicBezTo>
                <a:cubicBezTo>
                  <a:pt x="479" y="437"/>
                  <a:pt x="479" y="437"/>
                  <a:pt x="726" y="437"/>
                </a:cubicBezTo>
                <a:cubicBezTo>
                  <a:pt x="726" y="437"/>
                  <a:pt x="726" y="437"/>
                  <a:pt x="789" y="437"/>
                </a:cubicBezTo>
                <a:cubicBezTo>
                  <a:pt x="789" y="437"/>
                  <a:pt x="789" y="437"/>
                  <a:pt x="810" y="437"/>
                </a:cubicBezTo>
                <a:cubicBezTo>
                  <a:pt x="810" y="437"/>
                  <a:pt x="810" y="437"/>
                  <a:pt x="828" y="437"/>
                </a:cubicBezTo>
                <a:cubicBezTo>
                  <a:pt x="834" y="437"/>
                  <a:pt x="838" y="442"/>
                  <a:pt x="838" y="448"/>
                </a:cubicBezTo>
                <a:cubicBezTo>
                  <a:pt x="838" y="448"/>
                  <a:pt x="838" y="448"/>
                  <a:pt x="838" y="462"/>
                </a:cubicBezTo>
                <a:cubicBezTo>
                  <a:pt x="838" y="462"/>
                  <a:pt x="838" y="462"/>
                  <a:pt x="869" y="462"/>
                </a:cubicBezTo>
                <a:cubicBezTo>
                  <a:pt x="875" y="462"/>
                  <a:pt x="880" y="467"/>
                  <a:pt x="880" y="473"/>
                </a:cubicBezTo>
                <a:close/>
              </a:path>
            </a:pathLst>
          </a:custGeom>
          <a:solidFill>
            <a:srgbClr val="29BA74"/>
          </a:solidFill>
          <a:ln w="0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213" name="Donut 212">
            <a:extLst>
              <a:ext uri="{FF2B5EF4-FFF2-40B4-BE49-F238E27FC236}">
                <a16:creationId xmlns:a16="http://schemas.microsoft.com/office/drawing/2014/main" id="{9CE0C7EF-4307-F782-B2D6-8AF13BF1D4C4}"/>
              </a:ext>
            </a:extLst>
          </p:cNvPr>
          <p:cNvSpPr/>
          <p:nvPr/>
        </p:nvSpPr>
        <p:spPr>
          <a:xfrm>
            <a:off x="2963042" y="5125521"/>
            <a:ext cx="206473" cy="206473"/>
          </a:xfrm>
          <a:prstGeom prst="donut">
            <a:avLst>
              <a:gd name="adj" fmla="val 2391"/>
            </a:avLst>
          </a:prstGeom>
          <a:solidFill>
            <a:srgbClr val="29BA74"/>
          </a:solidFill>
          <a:ln w="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cxnSp>
        <p:nvCxnSpPr>
          <p:cNvPr id="215" name="Curved Connector 214">
            <a:extLst>
              <a:ext uri="{FF2B5EF4-FFF2-40B4-BE49-F238E27FC236}">
                <a16:creationId xmlns:a16="http://schemas.microsoft.com/office/drawing/2014/main" id="{0793EC20-D620-988E-3B24-990EFE730CEA}"/>
              </a:ext>
            </a:extLst>
          </p:cNvPr>
          <p:cNvCxnSpPr>
            <a:cxnSpLocks/>
            <a:stCxn id="34" idx="2"/>
            <a:endCxn id="213" idx="0"/>
          </p:cNvCxnSpPr>
          <p:nvPr/>
        </p:nvCxnSpPr>
        <p:spPr>
          <a:xfrm rot="10800000" flipV="1">
            <a:off x="3066279" y="4726198"/>
            <a:ext cx="91950" cy="399322"/>
          </a:xfrm>
          <a:prstGeom prst="curvedConnector2">
            <a:avLst/>
          </a:prstGeom>
          <a:ln w="6350" cap="rnd" cmpd="sng" algn="ctr">
            <a:solidFill>
              <a:srgbClr val="29BA74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0D3D26B-4650-AFDE-7AA8-9C5400DD0D2D}"/>
              </a:ext>
            </a:extLst>
          </p:cNvPr>
          <p:cNvSpPr txBox="1"/>
          <p:nvPr/>
        </p:nvSpPr>
        <p:spPr>
          <a:xfrm>
            <a:off x="1050323" y="2274555"/>
            <a:ext cx="1160166" cy="9249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  <a:cs typeface="Arial" panose="020B0604020202020204" pitchFamily="34" charset="0"/>
              </a:rPr>
              <a:t>Categoria</a:t>
            </a:r>
            <a:endParaRPr lang="en-US" sz="600" noProof="0">
              <a:solidFill>
                <a:srgbClr val="1F22CF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7A83435-2F9E-EAEC-045F-EA9C20D5E42A}"/>
              </a:ext>
            </a:extLst>
          </p:cNvPr>
          <p:cNvSpPr txBox="1"/>
          <p:nvPr/>
        </p:nvSpPr>
        <p:spPr>
          <a:xfrm>
            <a:off x="2381042" y="2274555"/>
            <a:ext cx="1160166" cy="9249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  <a:cs typeface="Arial" panose="020B0604020202020204" pitchFamily="34" charset="0"/>
              </a:rPr>
              <a:t>SKU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79EB9BB7-0FA7-4A1F-D9B5-0084B4C06798}"/>
              </a:ext>
            </a:extLst>
          </p:cNvPr>
          <p:cNvSpPr txBox="1"/>
          <p:nvPr/>
        </p:nvSpPr>
        <p:spPr>
          <a:xfrm>
            <a:off x="3711762" y="2274555"/>
            <a:ext cx="1160166" cy="9249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  <a:cs typeface="Arial" panose="020B0604020202020204" pitchFamily="34" charset="0"/>
              </a:rPr>
              <a:t>Métrica</a:t>
            </a:r>
            <a:endParaRPr lang="en-US" sz="600" noProof="0">
              <a:solidFill>
                <a:srgbClr val="1F22CF"/>
              </a:solidFill>
              <a:cs typeface="Arial" panose="020B0604020202020204" pitchFamily="34" charset="0"/>
            </a:endParaRPr>
          </a:p>
        </p:txBody>
      </p:sp>
      <p:sp>
        <p:nvSpPr>
          <p:cNvPr id="222" name="Rectangle: Rounded Corners 221">
            <a:extLst>
              <a:ext uri="{FF2B5EF4-FFF2-40B4-BE49-F238E27FC236}">
                <a16:creationId xmlns:a16="http://schemas.microsoft.com/office/drawing/2014/main" id="{355C2BCE-2743-C971-2412-46DC87D7BE79}"/>
              </a:ext>
            </a:extLst>
          </p:cNvPr>
          <p:cNvSpPr/>
          <p:nvPr/>
        </p:nvSpPr>
        <p:spPr>
          <a:xfrm>
            <a:off x="3711762" y="2422495"/>
            <a:ext cx="1160166" cy="113308"/>
          </a:xfrm>
          <a:prstGeom prst="roundRect">
            <a:avLst>
              <a:gd name="adj" fmla="val 40350"/>
            </a:avLst>
          </a:prstGeom>
          <a:solidFill>
            <a:srgbClr val="FFFFFF"/>
          </a:solidFill>
          <a:ln w="9525" cap="rnd" cmpd="sng" algn="ctr">
            <a:solidFill>
              <a:srgbClr val="7173E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Saúde do estoque</a:t>
            </a:r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27964DA9-DB67-9615-EF36-291DE1B7B04F}"/>
              </a:ext>
            </a:extLst>
          </p:cNvPr>
          <p:cNvSpPr/>
          <p:nvPr/>
        </p:nvSpPr>
        <p:spPr>
          <a:xfrm flipV="1">
            <a:off x="4726960" y="2461975"/>
            <a:ext cx="67999" cy="34349"/>
          </a:xfrm>
          <a:prstGeom prst="triangle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226" name="Rectangle: Rounded Corners 225">
            <a:extLst>
              <a:ext uri="{FF2B5EF4-FFF2-40B4-BE49-F238E27FC236}">
                <a16:creationId xmlns:a16="http://schemas.microsoft.com/office/drawing/2014/main" id="{A8283D64-F4D3-B6FB-7CC8-FC2CB6DDC27F}"/>
              </a:ext>
            </a:extLst>
          </p:cNvPr>
          <p:cNvSpPr/>
          <p:nvPr/>
        </p:nvSpPr>
        <p:spPr>
          <a:xfrm>
            <a:off x="3711762" y="2581831"/>
            <a:ext cx="1160166" cy="458932"/>
          </a:xfrm>
          <a:prstGeom prst="roundRect">
            <a:avLst>
              <a:gd name="adj" fmla="val 9962"/>
            </a:avLst>
          </a:prstGeom>
          <a:solidFill>
            <a:srgbClr val="FFFFFF"/>
          </a:solidFill>
          <a:ln w="9525" cap="rnd" cmpd="sng" algn="ctr">
            <a:solidFill>
              <a:srgbClr val="7173E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5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32FAB3F7-73FE-F202-CE6A-272DB9EDEA03}"/>
              </a:ext>
            </a:extLst>
          </p:cNvPr>
          <p:cNvSpPr/>
          <p:nvPr/>
        </p:nvSpPr>
        <p:spPr>
          <a:xfrm>
            <a:off x="3777856" y="2610224"/>
            <a:ext cx="1027979" cy="7425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Aging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FF5C3020-3435-C8CA-4E06-5DB8956B1094}"/>
              </a:ext>
            </a:extLst>
          </p:cNvPr>
          <p:cNvSpPr/>
          <p:nvPr/>
        </p:nvSpPr>
        <p:spPr>
          <a:xfrm>
            <a:off x="3777856" y="2722697"/>
            <a:ext cx="1027979" cy="7425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DDE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302A7445-A73C-FBC3-BD3C-0741FFC9F1E9}"/>
              </a:ext>
            </a:extLst>
          </p:cNvPr>
          <p:cNvSpPr/>
          <p:nvPr/>
        </p:nvSpPr>
        <p:spPr>
          <a:xfrm>
            <a:off x="3777856" y="2835170"/>
            <a:ext cx="1027979" cy="7425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 err="1">
                <a:solidFill>
                  <a:srgbClr val="575757"/>
                </a:solidFill>
                <a:cs typeface="Arial" panose="020B0604020202020204" pitchFamily="34" charset="0"/>
              </a:rPr>
              <a:t>Ruptura</a:t>
            </a:r>
            <a:endParaRPr lang="en-US" sz="5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D626AF10-2719-18FA-94E3-6FE43018A840}"/>
              </a:ext>
            </a:extLst>
          </p:cNvPr>
          <p:cNvSpPr/>
          <p:nvPr/>
        </p:nvSpPr>
        <p:spPr>
          <a:xfrm>
            <a:off x="3777856" y="2947642"/>
            <a:ext cx="1027979" cy="74253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00" noProof="0" err="1">
                <a:solidFill>
                  <a:srgbClr val="575757"/>
                </a:solidFill>
                <a:cs typeface="Arial" panose="020B0604020202020204" pitchFamily="34" charset="0"/>
              </a:rPr>
              <a:t>Saúde</a:t>
            </a:r>
            <a:r>
              <a:rPr lang="en-US" sz="500" noProof="0">
                <a:solidFill>
                  <a:srgbClr val="575757"/>
                </a:solidFill>
                <a:cs typeface="Arial" panose="020B0604020202020204" pitchFamily="34" charset="0"/>
              </a:rPr>
              <a:t> de estoque</a:t>
            </a:r>
          </a:p>
        </p:txBody>
      </p:sp>
      <p:cxnSp>
        <p:nvCxnSpPr>
          <p:cNvPr id="282" name="Straight Arrow Connector 281">
            <a:extLst>
              <a:ext uri="{FF2B5EF4-FFF2-40B4-BE49-F238E27FC236}">
                <a16:creationId xmlns:a16="http://schemas.microsoft.com/office/drawing/2014/main" id="{55E1621C-E436-BCA2-40DF-AFDEF5C8F0F7}"/>
              </a:ext>
            </a:extLst>
          </p:cNvPr>
          <p:cNvCxnSpPr>
            <a:cxnSpLocks/>
            <a:stCxn id="63" idx="1"/>
            <a:endCxn id="75" idx="5"/>
          </p:cNvCxnSpPr>
          <p:nvPr/>
        </p:nvCxnSpPr>
        <p:spPr>
          <a:xfrm flipH="1" flipV="1">
            <a:off x="3410444" y="3412327"/>
            <a:ext cx="571695" cy="652948"/>
          </a:xfrm>
          <a:prstGeom prst="straightConnector1">
            <a:avLst/>
          </a:prstGeom>
          <a:ln w="6350" cap="rnd" cmpd="sng" algn="ctr">
            <a:solidFill>
              <a:srgbClr val="29BA74"/>
            </a:solidFill>
            <a:prstDash val="solid"/>
            <a:round/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0" name="Oval 20">
            <a:extLst>
              <a:ext uri="{FF2B5EF4-FFF2-40B4-BE49-F238E27FC236}">
                <a16:creationId xmlns:a16="http://schemas.microsoft.com/office/drawing/2014/main" id="{CC9A6A2D-0CB4-13BF-A549-FFC85597157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86266" y="4178325"/>
            <a:ext cx="118328" cy="118328"/>
          </a:xfrm>
          <a:prstGeom prst="round2Diag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noProof="0">
                <a:solidFill>
                  <a:srgbClr val="FFFFFF">
                    <a:lumMod val="100000"/>
                  </a:srgbClr>
                </a:solidFill>
              </a:rPr>
              <a:t>1</a:t>
            </a:r>
          </a:p>
        </p:txBody>
      </p:sp>
      <p:sp>
        <p:nvSpPr>
          <p:cNvPr id="321" name="Oval 20">
            <a:extLst>
              <a:ext uri="{FF2B5EF4-FFF2-40B4-BE49-F238E27FC236}">
                <a16:creationId xmlns:a16="http://schemas.microsoft.com/office/drawing/2014/main" id="{4E7F0F8A-C47D-B555-AF48-B7746FE1801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183994" y="5290886"/>
            <a:ext cx="118328" cy="118328"/>
          </a:xfrm>
          <a:prstGeom prst="round2Diag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noProof="0">
                <a:solidFill>
                  <a:srgbClr val="FFFFFF">
                    <a:lumMod val="100000"/>
                  </a:srgbClr>
                </a:solidFill>
              </a:rPr>
              <a:t>2</a:t>
            </a:r>
          </a:p>
        </p:txBody>
      </p:sp>
      <p:sp>
        <p:nvSpPr>
          <p:cNvPr id="322" name="Oval 20">
            <a:extLst>
              <a:ext uri="{FF2B5EF4-FFF2-40B4-BE49-F238E27FC236}">
                <a16:creationId xmlns:a16="http://schemas.microsoft.com/office/drawing/2014/main" id="{49661416-5613-87CD-EAA8-A98989679A0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059951" y="3288657"/>
            <a:ext cx="118328" cy="118328"/>
          </a:xfrm>
          <a:prstGeom prst="round2Diag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noProof="0">
                <a:solidFill>
                  <a:srgbClr val="FFFFFF">
                    <a:lumMod val="100000"/>
                  </a:srgbClr>
                </a:solidFill>
              </a:rPr>
              <a:t>3</a:t>
            </a:r>
          </a:p>
        </p:txBody>
      </p:sp>
      <p:sp>
        <p:nvSpPr>
          <p:cNvPr id="326" name="Rectangle: Rounded Corners 325">
            <a:extLst>
              <a:ext uri="{FF2B5EF4-FFF2-40B4-BE49-F238E27FC236}">
                <a16:creationId xmlns:a16="http://schemas.microsoft.com/office/drawing/2014/main" id="{5F058A6F-22F8-7B1C-DB35-51F001AF0440}"/>
              </a:ext>
            </a:extLst>
          </p:cNvPr>
          <p:cNvSpPr/>
          <p:nvPr/>
        </p:nvSpPr>
        <p:spPr>
          <a:xfrm>
            <a:off x="736382" y="4976888"/>
            <a:ext cx="1877280" cy="383872"/>
          </a:xfrm>
          <a:prstGeom prst="roundRect">
            <a:avLst>
              <a:gd name="adj" fmla="val 24187"/>
            </a:avLst>
          </a:prstGeom>
          <a:solidFill>
            <a:srgbClr val="FFFFFF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noProof="0" dirty="0" err="1">
                <a:solidFill>
                  <a:srgbClr val="343434"/>
                </a:solidFill>
              </a:rPr>
              <a:t>Coloração</a:t>
            </a:r>
            <a:r>
              <a:rPr lang="en-US" sz="800" noProof="0" dirty="0">
                <a:solidFill>
                  <a:srgbClr val="343434"/>
                </a:solidFill>
              </a:rPr>
              <a:t> dos </a:t>
            </a:r>
            <a:r>
              <a:rPr lang="en-US" sz="800" noProof="0" dirty="0" err="1">
                <a:solidFill>
                  <a:srgbClr val="343434"/>
                </a:solidFill>
              </a:rPr>
              <a:t>estados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baseada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na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agregação</a:t>
            </a:r>
            <a:r>
              <a:rPr lang="en-US" sz="800" noProof="0" dirty="0">
                <a:solidFill>
                  <a:srgbClr val="343434"/>
                </a:solidFill>
              </a:rPr>
              <a:t> das </a:t>
            </a:r>
            <a:r>
              <a:rPr lang="en-US" sz="800" noProof="0" dirty="0" err="1">
                <a:solidFill>
                  <a:srgbClr val="343434"/>
                </a:solidFill>
              </a:rPr>
              <a:t>lojas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na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métrica</a:t>
            </a:r>
            <a:r>
              <a:rPr lang="en-US" sz="800" noProof="0" dirty="0">
                <a:solidFill>
                  <a:srgbClr val="343434"/>
                </a:solidFill>
              </a:rPr>
              <a:t> </a:t>
            </a:r>
            <a:r>
              <a:rPr lang="en-US" sz="800" noProof="0" dirty="0" err="1">
                <a:solidFill>
                  <a:srgbClr val="343434"/>
                </a:solidFill>
              </a:rPr>
              <a:t>selecionada</a:t>
            </a:r>
            <a:endParaRPr lang="en-US" sz="800" noProof="0" dirty="0">
              <a:solidFill>
                <a:srgbClr val="343434"/>
              </a:solidFill>
            </a:endParaRPr>
          </a:p>
        </p:txBody>
      </p:sp>
      <p:sp>
        <p:nvSpPr>
          <p:cNvPr id="216" name="Isosceles Triangle 215">
            <a:extLst>
              <a:ext uri="{FF2B5EF4-FFF2-40B4-BE49-F238E27FC236}">
                <a16:creationId xmlns:a16="http://schemas.microsoft.com/office/drawing/2014/main" id="{84C490C9-CC0D-5F4F-A85E-20864942B6FD}"/>
              </a:ext>
            </a:extLst>
          </p:cNvPr>
          <p:cNvSpPr/>
          <p:nvPr/>
        </p:nvSpPr>
        <p:spPr>
          <a:xfrm flipV="1">
            <a:off x="3396239" y="2461975"/>
            <a:ext cx="67999" cy="34349"/>
          </a:xfrm>
          <a:prstGeom prst="triangle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217" name="Isosceles Triangle 216">
            <a:extLst>
              <a:ext uri="{FF2B5EF4-FFF2-40B4-BE49-F238E27FC236}">
                <a16:creationId xmlns:a16="http://schemas.microsoft.com/office/drawing/2014/main" id="{43951926-FB82-2CDE-0122-243C585973F6}"/>
              </a:ext>
            </a:extLst>
          </p:cNvPr>
          <p:cNvSpPr/>
          <p:nvPr/>
        </p:nvSpPr>
        <p:spPr>
          <a:xfrm flipV="1">
            <a:off x="2065520" y="2461975"/>
            <a:ext cx="67999" cy="34349"/>
          </a:xfrm>
          <a:prstGeom prst="triangle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rgbClr val="FFFFFF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BB796D-E3DD-8107-FC1C-3D85815FF606}"/>
              </a:ext>
            </a:extLst>
          </p:cNvPr>
          <p:cNvSpPr txBox="1"/>
          <p:nvPr/>
        </p:nvSpPr>
        <p:spPr>
          <a:xfrm>
            <a:off x="736382" y="3100843"/>
            <a:ext cx="540253" cy="9249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  <a:cs typeface="Arial" panose="020B0604020202020204" pitchFamily="34" charset="0"/>
              </a:rPr>
              <a:t>Módulos</a:t>
            </a:r>
            <a:endParaRPr lang="en-US" sz="600" noProof="0">
              <a:solidFill>
                <a:srgbClr val="1F22CF"/>
              </a:solidFill>
              <a:cs typeface="Arial" panose="020B0604020202020204" pitchFamily="34" charset="0"/>
            </a:endParaRPr>
          </a:p>
        </p:txBody>
      </p:sp>
      <p:sp>
        <p:nvSpPr>
          <p:cNvPr id="135" name="Freeform 12">
            <a:extLst>
              <a:ext uri="{FF2B5EF4-FFF2-40B4-BE49-F238E27FC236}">
                <a16:creationId xmlns:a16="http://schemas.microsoft.com/office/drawing/2014/main" id="{6CCF8295-49BF-B1C2-AAA8-F0570B4961D5}"/>
              </a:ext>
            </a:extLst>
          </p:cNvPr>
          <p:cNvSpPr>
            <a:spLocks/>
          </p:cNvSpPr>
          <p:nvPr/>
        </p:nvSpPr>
        <p:spPr bwMode="auto">
          <a:xfrm>
            <a:off x="2071554" y="3686062"/>
            <a:ext cx="526678" cy="406005"/>
          </a:xfrm>
          <a:custGeom>
            <a:avLst/>
            <a:gdLst>
              <a:gd name="T0" fmla="*/ 335 w 447"/>
              <a:gd name="T1" fmla="*/ 72 h 361"/>
              <a:gd name="T2" fmla="*/ 335 w 447"/>
              <a:gd name="T3" fmla="*/ 88 h 361"/>
              <a:gd name="T4" fmla="*/ 339 w 447"/>
              <a:gd name="T5" fmla="*/ 107 h 361"/>
              <a:gd name="T6" fmla="*/ 337 w 447"/>
              <a:gd name="T7" fmla="*/ 123 h 361"/>
              <a:gd name="T8" fmla="*/ 335 w 447"/>
              <a:gd name="T9" fmla="*/ 142 h 361"/>
              <a:gd name="T10" fmla="*/ 339 w 447"/>
              <a:gd name="T11" fmla="*/ 172 h 361"/>
              <a:gd name="T12" fmla="*/ 342 w 447"/>
              <a:gd name="T13" fmla="*/ 191 h 361"/>
              <a:gd name="T14" fmla="*/ 421 w 447"/>
              <a:gd name="T15" fmla="*/ 198 h 361"/>
              <a:gd name="T16" fmla="*/ 437 w 447"/>
              <a:gd name="T17" fmla="*/ 207 h 361"/>
              <a:gd name="T18" fmla="*/ 430 w 447"/>
              <a:gd name="T19" fmla="*/ 228 h 361"/>
              <a:gd name="T20" fmla="*/ 437 w 447"/>
              <a:gd name="T21" fmla="*/ 254 h 361"/>
              <a:gd name="T22" fmla="*/ 447 w 447"/>
              <a:gd name="T23" fmla="*/ 284 h 361"/>
              <a:gd name="T24" fmla="*/ 430 w 447"/>
              <a:gd name="T25" fmla="*/ 314 h 361"/>
              <a:gd name="T26" fmla="*/ 414 w 447"/>
              <a:gd name="T27" fmla="*/ 337 h 361"/>
              <a:gd name="T28" fmla="*/ 381 w 447"/>
              <a:gd name="T29" fmla="*/ 356 h 361"/>
              <a:gd name="T30" fmla="*/ 356 w 447"/>
              <a:gd name="T31" fmla="*/ 351 h 361"/>
              <a:gd name="T32" fmla="*/ 328 w 447"/>
              <a:gd name="T33" fmla="*/ 354 h 361"/>
              <a:gd name="T34" fmla="*/ 309 w 447"/>
              <a:gd name="T35" fmla="*/ 342 h 361"/>
              <a:gd name="T36" fmla="*/ 293 w 447"/>
              <a:gd name="T37" fmla="*/ 328 h 361"/>
              <a:gd name="T38" fmla="*/ 270 w 447"/>
              <a:gd name="T39" fmla="*/ 324 h 361"/>
              <a:gd name="T40" fmla="*/ 258 w 447"/>
              <a:gd name="T41" fmla="*/ 317 h 361"/>
              <a:gd name="T42" fmla="*/ 244 w 447"/>
              <a:gd name="T43" fmla="*/ 300 h 361"/>
              <a:gd name="T44" fmla="*/ 221 w 447"/>
              <a:gd name="T45" fmla="*/ 298 h 361"/>
              <a:gd name="T46" fmla="*/ 195 w 447"/>
              <a:gd name="T47" fmla="*/ 289 h 361"/>
              <a:gd name="T48" fmla="*/ 177 w 447"/>
              <a:gd name="T49" fmla="*/ 293 h 361"/>
              <a:gd name="T50" fmla="*/ 158 w 447"/>
              <a:gd name="T51" fmla="*/ 289 h 361"/>
              <a:gd name="T52" fmla="*/ 153 w 447"/>
              <a:gd name="T53" fmla="*/ 275 h 361"/>
              <a:gd name="T54" fmla="*/ 137 w 447"/>
              <a:gd name="T55" fmla="*/ 270 h 361"/>
              <a:gd name="T56" fmla="*/ 123 w 447"/>
              <a:gd name="T57" fmla="*/ 261 h 361"/>
              <a:gd name="T58" fmla="*/ 114 w 447"/>
              <a:gd name="T59" fmla="*/ 244 h 361"/>
              <a:gd name="T60" fmla="*/ 109 w 447"/>
              <a:gd name="T61" fmla="*/ 237 h 361"/>
              <a:gd name="T62" fmla="*/ 97 w 447"/>
              <a:gd name="T63" fmla="*/ 223 h 361"/>
              <a:gd name="T64" fmla="*/ 95 w 447"/>
              <a:gd name="T65" fmla="*/ 207 h 361"/>
              <a:gd name="T66" fmla="*/ 95 w 447"/>
              <a:gd name="T67" fmla="*/ 186 h 361"/>
              <a:gd name="T68" fmla="*/ 90 w 447"/>
              <a:gd name="T69" fmla="*/ 168 h 361"/>
              <a:gd name="T70" fmla="*/ 95 w 447"/>
              <a:gd name="T71" fmla="*/ 154 h 361"/>
              <a:gd name="T72" fmla="*/ 95 w 447"/>
              <a:gd name="T73" fmla="*/ 128 h 361"/>
              <a:gd name="T74" fmla="*/ 81 w 447"/>
              <a:gd name="T75" fmla="*/ 119 h 361"/>
              <a:gd name="T76" fmla="*/ 65 w 447"/>
              <a:gd name="T77" fmla="*/ 119 h 361"/>
              <a:gd name="T78" fmla="*/ 51 w 447"/>
              <a:gd name="T79" fmla="*/ 123 h 361"/>
              <a:gd name="T80" fmla="*/ 28 w 447"/>
              <a:gd name="T81" fmla="*/ 126 h 361"/>
              <a:gd name="T82" fmla="*/ 11 w 447"/>
              <a:gd name="T83" fmla="*/ 116 h 361"/>
              <a:gd name="T84" fmla="*/ 28 w 447"/>
              <a:gd name="T85" fmla="*/ 98 h 361"/>
              <a:gd name="T86" fmla="*/ 56 w 447"/>
              <a:gd name="T87" fmla="*/ 98 h 361"/>
              <a:gd name="T88" fmla="*/ 72 w 447"/>
              <a:gd name="T89" fmla="*/ 102 h 361"/>
              <a:gd name="T90" fmla="*/ 88 w 447"/>
              <a:gd name="T91" fmla="*/ 93 h 361"/>
              <a:gd name="T92" fmla="*/ 102 w 447"/>
              <a:gd name="T93" fmla="*/ 88 h 361"/>
              <a:gd name="T94" fmla="*/ 114 w 447"/>
              <a:gd name="T95" fmla="*/ 91 h 361"/>
              <a:gd name="T96" fmla="*/ 121 w 447"/>
              <a:gd name="T97" fmla="*/ 74 h 361"/>
              <a:gd name="T98" fmla="*/ 144 w 447"/>
              <a:gd name="T99" fmla="*/ 65 h 361"/>
              <a:gd name="T100" fmla="*/ 163 w 447"/>
              <a:gd name="T101" fmla="*/ 63 h 361"/>
              <a:gd name="T102" fmla="*/ 172 w 447"/>
              <a:gd name="T103" fmla="*/ 46 h 361"/>
              <a:gd name="T104" fmla="*/ 181 w 447"/>
              <a:gd name="T105" fmla="*/ 35 h 361"/>
              <a:gd name="T106" fmla="*/ 188 w 447"/>
              <a:gd name="T107" fmla="*/ 21 h 361"/>
              <a:gd name="T108" fmla="*/ 205 w 447"/>
              <a:gd name="T109" fmla="*/ 12 h 361"/>
              <a:gd name="T110" fmla="*/ 260 w 447"/>
              <a:gd name="T111" fmla="*/ 2 h 361"/>
              <a:gd name="T112" fmla="*/ 274 w 447"/>
              <a:gd name="T113" fmla="*/ 23 h 361"/>
              <a:gd name="T114" fmla="*/ 286 w 447"/>
              <a:gd name="T115" fmla="*/ 35 h 361"/>
              <a:gd name="T116" fmla="*/ 300 w 447"/>
              <a:gd name="T117" fmla="*/ 49 h 361"/>
              <a:gd name="T118" fmla="*/ 316 w 447"/>
              <a:gd name="T119" fmla="*/ 49 h 361"/>
              <a:gd name="T120" fmla="*/ 333 w 447"/>
              <a:gd name="T121" fmla="*/ 44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7" h="361">
                <a:moveTo>
                  <a:pt x="333" y="49"/>
                </a:moveTo>
                <a:lnTo>
                  <a:pt x="335" y="49"/>
                </a:lnTo>
                <a:lnTo>
                  <a:pt x="337" y="51"/>
                </a:lnTo>
                <a:lnTo>
                  <a:pt x="339" y="53"/>
                </a:lnTo>
                <a:lnTo>
                  <a:pt x="339" y="56"/>
                </a:lnTo>
                <a:lnTo>
                  <a:pt x="339" y="58"/>
                </a:lnTo>
                <a:lnTo>
                  <a:pt x="337" y="63"/>
                </a:lnTo>
                <a:lnTo>
                  <a:pt x="335" y="67"/>
                </a:lnTo>
                <a:lnTo>
                  <a:pt x="335" y="70"/>
                </a:lnTo>
                <a:lnTo>
                  <a:pt x="335" y="72"/>
                </a:lnTo>
                <a:lnTo>
                  <a:pt x="337" y="74"/>
                </a:lnTo>
                <a:lnTo>
                  <a:pt x="337" y="77"/>
                </a:lnTo>
                <a:lnTo>
                  <a:pt x="335" y="77"/>
                </a:lnTo>
                <a:lnTo>
                  <a:pt x="335" y="79"/>
                </a:lnTo>
                <a:lnTo>
                  <a:pt x="333" y="79"/>
                </a:lnTo>
                <a:lnTo>
                  <a:pt x="333" y="81"/>
                </a:lnTo>
                <a:lnTo>
                  <a:pt x="333" y="84"/>
                </a:lnTo>
                <a:lnTo>
                  <a:pt x="333" y="86"/>
                </a:lnTo>
                <a:lnTo>
                  <a:pt x="335" y="86"/>
                </a:lnTo>
                <a:lnTo>
                  <a:pt x="335" y="88"/>
                </a:lnTo>
                <a:lnTo>
                  <a:pt x="337" y="88"/>
                </a:lnTo>
                <a:lnTo>
                  <a:pt x="337" y="91"/>
                </a:lnTo>
                <a:lnTo>
                  <a:pt x="337" y="93"/>
                </a:lnTo>
                <a:lnTo>
                  <a:pt x="337" y="100"/>
                </a:lnTo>
                <a:lnTo>
                  <a:pt x="339" y="100"/>
                </a:lnTo>
                <a:lnTo>
                  <a:pt x="339" y="102"/>
                </a:lnTo>
                <a:lnTo>
                  <a:pt x="342" y="102"/>
                </a:lnTo>
                <a:lnTo>
                  <a:pt x="342" y="105"/>
                </a:lnTo>
                <a:lnTo>
                  <a:pt x="339" y="105"/>
                </a:lnTo>
                <a:lnTo>
                  <a:pt x="339" y="107"/>
                </a:lnTo>
                <a:lnTo>
                  <a:pt x="339" y="109"/>
                </a:lnTo>
                <a:lnTo>
                  <a:pt x="337" y="109"/>
                </a:lnTo>
                <a:lnTo>
                  <a:pt x="335" y="109"/>
                </a:lnTo>
                <a:lnTo>
                  <a:pt x="337" y="112"/>
                </a:lnTo>
                <a:lnTo>
                  <a:pt x="337" y="114"/>
                </a:lnTo>
                <a:lnTo>
                  <a:pt x="337" y="116"/>
                </a:lnTo>
                <a:lnTo>
                  <a:pt x="339" y="119"/>
                </a:lnTo>
                <a:lnTo>
                  <a:pt x="339" y="121"/>
                </a:lnTo>
                <a:lnTo>
                  <a:pt x="337" y="121"/>
                </a:lnTo>
                <a:lnTo>
                  <a:pt x="337" y="123"/>
                </a:lnTo>
                <a:lnTo>
                  <a:pt x="337" y="126"/>
                </a:lnTo>
                <a:lnTo>
                  <a:pt x="337" y="128"/>
                </a:lnTo>
                <a:lnTo>
                  <a:pt x="337" y="130"/>
                </a:lnTo>
                <a:lnTo>
                  <a:pt x="335" y="130"/>
                </a:lnTo>
                <a:lnTo>
                  <a:pt x="335" y="133"/>
                </a:lnTo>
                <a:lnTo>
                  <a:pt x="335" y="135"/>
                </a:lnTo>
                <a:lnTo>
                  <a:pt x="335" y="137"/>
                </a:lnTo>
                <a:lnTo>
                  <a:pt x="337" y="137"/>
                </a:lnTo>
                <a:lnTo>
                  <a:pt x="337" y="140"/>
                </a:lnTo>
                <a:lnTo>
                  <a:pt x="335" y="142"/>
                </a:lnTo>
                <a:lnTo>
                  <a:pt x="335" y="144"/>
                </a:lnTo>
                <a:lnTo>
                  <a:pt x="337" y="144"/>
                </a:lnTo>
                <a:lnTo>
                  <a:pt x="339" y="151"/>
                </a:lnTo>
                <a:lnTo>
                  <a:pt x="342" y="154"/>
                </a:lnTo>
                <a:lnTo>
                  <a:pt x="342" y="156"/>
                </a:lnTo>
                <a:lnTo>
                  <a:pt x="342" y="161"/>
                </a:lnTo>
                <a:lnTo>
                  <a:pt x="342" y="163"/>
                </a:lnTo>
                <a:lnTo>
                  <a:pt x="342" y="168"/>
                </a:lnTo>
                <a:lnTo>
                  <a:pt x="339" y="170"/>
                </a:lnTo>
                <a:lnTo>
                  <a:pt x="339" y="172"/>
                </a:lnTo>
                <a:lnTo>
                  <a:pt x="342" y="172"/>
                </a:lnTo>
                <a:lnTo>
                  <a:pt x="342" y="175"/>
                </a:lnTo>
                <a:lnTo>
                  <a:pt x="342" y="177"/>
                </a:lnTo>
                <a:lnTo>
                  <a:pt x="339" y="177"/>
                </a:lnTo>
                <a:lnTo>
                  <a:pt x="339" y="179"/>
                </a:lnTo>
                <a:lnTo>
                  <a:pt x="339" y="182"/>
                </a:lnTo>
                <a:lnTo>
                  <a:pt x="339" y="184"/>
                </a:lnTo>
                <a:lnTo>
                  <a:pt x="339" y="188"/>
                </a:lnTo>
                <a:lnTo>
                  <a:pt x="339" y="191"/>
                </a:lnTo>
                <a:lnTo>
                  <a:pt x="342" y="191"/>
                </a:lnTo>
                <a:lnTo>
                  <a:pt x="407" y="191"/>
                </a:lnTo>
                <a:lnTo>
                  <a:pt x="409" y="191"/>
                </a:lnTo>
                <a:lnTo>
                  <a:pt x="409" y="193"/>
                </a:lnTo>
                <a:lnTo>
                  <a:pt x="407" y="193"/>
                </a:lnTo>
                <a:lnTo>
                  <a:pt x="409" y="195"/>
                </a:lnTo>
                <a:lnTo>
                  <a:pt x="412" y="198"/>
                </a:lnTo>
                <a:lnTo>
                  <a:pt x="414" y="198"/>
                </a:lnTo>
                <a:lnTo>
                  <a:pt x="416" y="195"/>
                </a:lnTo>
                <a:lnTo>
                  <a:pt x="419" y="195"/>
                </a:lnTo>
                <a:lnTo>
                  <a:pt x="421" y="198"/>
                </a:lnTo>
                <a:lnTo>
                  <a:pt x="423" y="198"/>
                </a:lnTo>
                <a:lnTo>
                  <a:pt x="426" y="198"/>
                </a:lnTo>
                <a:lnTo>
                  <a:pt x="428" y="198"/>
                </a:lnTo>
                <a:lnTo>
                  <a:pt x="430" y="198"/>
                </a:lnTo>
                <a:lnTo>
                  <a:pt x="433" y="198"/>
                </a:lnTo>
                <a:lnTo>
                  <a:pt x="433" y="200"/>
                </a:lnTo>
                <a:lnTo>
                  <a:pt x="435" y="200"/>
                </a:lnTo>
                <a:lnTo>
                  <a:pt x="437" y="200"/>
                </a:lnTo>
                <a:lnTo>
                  <a:pt x="437" y="205"/>
                </a:lnTo>
                <a:lnTo>
                  <a:pt x="437" y="207"/>
                </a:lnTo>
                <a:lnTo>
                  <a:pt x="440" y="209"/>
                </a:lnTo>
                <a:lnTo>
                  <a:pt x="442" y="214"/>
                </a:lnTo>
                <a:lnTo>
                  <a:pt x="442" y="216"/>
                </a:lnTo>
                <a:lnTo>
                  <a:pt x="440" y="219"/>
                </a:lnTo>
                <a:lnTo>
                  <a:pt x="437" y="219"/>
                </a:lnTo>
                <a:lnTo>
                  <a:pt x="437" y="221"/>
                </a:lnTo>
                <a:lnTo>
                  <a:pt x="437" y="223"/>
                </a:lnTo>
                <a:lnTo>
                  <a:pt x="435" y="223"/>
                </a:lnTo>
                <a:lnTo>
                  <a:pt x="435" y="226"/>
                </a:lnTo>
                <a:lnTo>
                  <a:pt x="430" y="228"/>
                </a:lnTo>
                <a:lnTo>
                  <a:pt x="430" y="230"/>
                </a:lnTo>
                <a:lnTo>
                  <a:pt x="428" y="233"/>
                </a:lnTo>
                <a:lnTo>
                  <a:pt x="430" y="240"/>
                </a:lnTo>
                <a:lnTo>
                  <a:pt x="430" y="242"/>
                </a:lnTo>
                <a:lnTo>
                  <a:pt x="430" y="244"/>
                </a:lnTo>
                <a:lnTo>
                  <a:pt x="430" y="247"/>
                </a:lnTo>
                <a:lnTo>
                  <a:pt x="433" y="249"/>
                </a:lnTo>
                <a:lnTo>
                  <a:pt x="435" y="249"/>
                </a:lnTo>
                <a:lnTo>
                  <a:pt x="437" y="249"/>
                </a:lnTo>
                <a:lnTo>
                  <a:pt x="437" y="254"/>
                </a:lnTo>
                <a:lnTo>
                  <a:pt x="440" y="256"/>
                </a:lnTo>
                <a:lnTo>
                  <a:pt x="440" y="258"/>
                </a:lnTo>
                <a:lnTo>
                  <a:pt x="442" y="263"/>
                </a:lnTo>
                <a:lnTo>
                  <a:pt x="442" y="270"/>
                </a:lnTo>
                <a:lnTo>
                  <a:pt x="442" y="272"/>
                </a:lnTo>
                <a:lnTo>
                  <a:pt x="444" y="272"/>
                </a:lnTo>
                <a:lnTo>
                  <a:pt x="444" y="277"/>
                </a:lnTo>
                <a:lnTo>
                  <a:pt x="447" y="279"/>
                </a:lnTo>
                <a:lnTo>
                  <a:pt x="447" y="282"/>
                </a:lnTo>
                <a:lnTo>
                  <a:pt x="447" y="284"/>
                </a:lnTo>
                <a:lnTo>
                  <a:pt x="442" y="296"/>
                </a:lnTo>
                <a:lnTo>
                  <a:pt x="437" y="300"/>
                </a:lnTo>
                <a:lnTo>
                  <a:pt x="435" y="300"/>
                </a:lnTo>
                <a:lnTo>
                  <a:pt x="435" y="303"/>
                </a:lnTo>
                <a:lnTo>
                  <a:pt x="435" y="305"/>
                </a:lnTo>
                <a:lnTo>
                  <a:pt x="435" y="307"/>
                </a:lnTo>
                <a:lnTo>
                  <a:pt x="435" y="310"/>
                </a:lnTo>
                <a:lnTo>
                  <a:pt x="433" y="310"/>
                </a:lnTo>
                <a:lnTo>
                  <a:pt x="433" y="312"/>
                </a:lnTo>
                <a:lnTo>
                  <a:pt x="430" y="314"/>
                </a:lnTo>
                <a:lnTo>
                  <a:pt x="430" y="317"/>
                </a:lnTo>
                <a:lnTo>
                  <a:pt x="426" y="317"/>
                </a:lnTo>
                <a:lnTo>
                  <a:pt x="423" y="317"/>
                </a:lnTo>
                <a:lnTo>
                  <a:pt x="423" y="319"/>
                </a:lnTo>
                <a:lnTo>
                  <a:pt x="421" y="321"/>
                </a:lnTo>
                <a:lnTo>
                  <a:pt x="419" y="324"/>
                </a:lnTo>
                <a:lnTo>
                  <a:pt x="419" y="326"/>
                </a:lnTo>
                <a:lnTo>
                  <a:pt x="419" y="328"/>
                </a:lnTo>
                <a:lnTo>
                  <a:pt x="414" y="335"/>
                </a:lnTo>
                <a:lnTo>
                  <a:pt x="414" y="337"/>
                </a:lnTo>
                <a:lnTo>
                  <a:pt x="414" y="340"/>
                </a:lnTo>
                <a:lnTo>
                  <a:pt x="414" y="342"/>
                </a:lnTo>
                <a:lnTo>
                  <a:pt x="412" y="344"/>
                </a:lnTo>
                <a:lnTo>
                  <a:pt x="412" y="347"/>
                </a:lnTo>
                <a:lnTo>
                  <a:pt x="405" y="351"/>
                </a:lnTo>
                <a:lnTo>
                  <a:pt x="395" y="358"/>
                </a:lnTo>
                <a:lnTo>
                  <a:pt x="393" y="361"/>
                </a:lnTo>
                <a:lnTo>
                  <a:pt x="391" y="361"/>
                </a:lnTo>
                <a:lnTo>
                  <a:pt x="386" y="358"/>
                </a:lnTo>
                <a:lnTo>
                  <a:pt x="381" y="356"/>
                </a:lnTo>
                <a:lnTo>
                  <a:pt x="379" y="354"/>
                </a:lnTo>
                <a:lnTo>
                  <a:pt x="374" y="354"/>
                </a:lnTo>
                <a:lnTo>
                  <a:pt x="372" y="354"/>
                </a:lnTo>
                <a:lnTo>
                  <a:pt x="372" y="351"/>
                </a:lnTo>
                <a:lnTo>
                  <a:pt x="370" y="349"/>
                </a:lnTo>
                <a:lnTo>
                  <a:pt x="365" y="351"/>
                </a:lnTo>
                <a:lnTo>
                  <a:pt x="365" y="354"/>
                </a:lnTo>
                <a:lnTo>
                  <a:pt x="360" y="354"/>
                </a:lnTo>
                <a:lnTo>
                  <a:pt x="358" y="354"/>
                </a:lnTo>
                <a:lnTo>
                  <a:pt x="356" y="351"/>
                </a:lnTo>
                <a:lnTo>
                  <a:pt x="353" y="351"/>
                </a:lnTo>
                <a:lnTo>
                  <a:pt x="351" y="351"/>
                </a:lnTo>
                <a:lnTo>
                  <a:pt x="346" y="354"/>
                </a:lnTo>
                <a:lnTo>
                  <a:pt x="344" y="354"/>
                </a:lnTo>
                <a:lnTo>
                  <a:pt x="342" y="354"/>
                </a:lnTo>
                <a:lnTo>
                  <a:pt x="339" y="354"/>
                </a:lnTo>
                <a:lnTo>
                  <a:pt x="337" y="351"/>
                </a:lnTo>
                <a:lnTo>
                  <a:pt x="333" y="354"/>
                </a:lnTo>
                <a:lnTo>
                  <a:pt x="330" y="354"/>
                </a:lnTo>
                <a:lnTo>
                  <a:pt x="328" y="354"/>
                </a:lnTo>
                <a:lnTo>
                  <a:pt x="326" y="354"/>
                </a:lnTo>
                <a:lnTo>
                  <a:pt x="323" y="354"/>
                </a:lnTo>
                <a:lnTo>
                  <a:pt x="321" y="354"/>
                </a:lnTo>
                <a:lnTo>
                  <a:pt x="319" y="349"/>
                </a:lnTo>
                <a:lnTo>
                  <a:pt x="316" y="349"/>
                </a:lnTo>
                <a:lnTo>
                  <a:pt x="316" y="347"/>
                </a:lnTo>
                <a:lnTo>
                  <a:pt x="314" y="344"/>
                </a:lnTo>
                <a:lnTo>
                  <a:pt x="312" y="344"/>
                </a:lnTo>
                <a:lnTo>
                  <a:pt x="312" y="342"/>
                </a:lnTo>
                <a:lnTo>
                  <a:pt x="309" y="342"/>
                </a:lnTo>
                <a:lnTo>
                  <a:pt x="307" y="337"/>
                </a:lnTo>
                <a:lnTo>
                  <a:pt x="305" y="337"/>
                </a:lnTo>
                <a:lnTo>
                  <a:pt x="305" y="335"/>
                </a:lnTo>
                <a:lnTo>
                  <a:pt x="305" y="330"/>
                </a:lnTo>
                <a:lnTo>
                  <a:pt x="302" y="330"/>
                </a:lnTo>
                <a:lnTo>
                  <a:pt x="300" y="328"/>
                </a:lnTo>
                <a:lnTo>
                  <a:pt x="300" y="330"/>
                </a:lnTo>
                <a:lnTo>
                  <a:pt x="298" y="328"/>
                </a:lnTo>
                <a:lnTo>
                  <a:pt x="295" y="328"/>
                </a:lnTo>
                <a:lnTo>
                  <a:pt x="293" y="328"/>
                </a:lnTo>
                <a:lnTo>
                  <a:pt x="293" y="330"/>
                </a:lnTo>
                <a:lnTo>
                  <a:pt x="291" y="328"/>
                </a:lnTo>
                <a:lnTo>
                  <a:pt x="291" y="330"/>
                </a:lnTo>
                <a:lnTo>
                  <a:pt x="286" y="330"/>
                </a:lnTo>
                <a:lnTo>
                  <a:pt x="286" y="328"/>
                </a:lnTo>
                <a:lnTo>
                  <a:pt x="284" y="328"/>
                </a:lnTo>
                <a:lnTo>
                  <a:pt x="281" y="326"/>
                </a:lnTo>
                <a:lnTo>
                  <a:pt x="279" y="326"/>
                </a:lnTo>
                <a:lnTo>
                  <a:pt x="277" y="326"/>
                </a:lnTo>
                <a:lnTo>
                  <a:pt x="270" y="324"/>
                </a:lnTo>
                <a:lnTo>
                  <a:pt x="270" y="321"/>
                </a:lnTo>
                <a:lnTo>
                  <a:pt x="270" y="319"/>
                </a:lnTo>
                <a:lnTo>
                  <a:pt x="267" y="319"/>
                </a:lnTo>
                <a:lnTo>
                  <a:pt x="265" y="319"/>
                </a:lnTo>
                <a:lnTo>
                  <a:pt x="265" y="321"/>
                </a:lnTo>
                <a:lnTo>
                  <a:pt x="263" y="321"/>
                </a:lnTo>
                <a:lnTo>
                  <a:pt x="260" y="321"/>
                </a:lnTo>
                <a:lnTo>
                  <a:pt x="260" y="319"/>
                </a:lnTo>
                <a:lnTo>
                  <a:pt x="258" y="319"/>
                </a:lnTo>
                <a:lnTo>
                  <a:pt x="258" y="317"/>
                </a:lnTo>
                <a:lnTo>
                  <a:pt x="256" y="317"/>
                </a:lnTo>
                <a:lnTo>
                  <a:pt x="253" y="312"/>
                </a:lnTo>
                <a:lnTo>
                  <a:pt x="251" y="312"/>
                </a:lnTo>
                <a:lnTo>
                  <a:pt x="249" y="312"/>
                </a:lnTo>
                <a:lnTo>
                  <a:pt x="249" y="310"/>
                </a:lnTo>
                <a:lnTo>
                  <a:pt x="246" y="310"/>
                </a:lnTo>
                <a:lnTo>
                  <a:pt x="246" y="307"/>
                </a:lnTo>
                <a:lnTo>
                  <a:pt x="244" y="305"/>
                </a:lnTo>
                <a:lnTo>
                  <a:pt x="244" y="303"/>
                </a:lnTo>
                <a:lnTo>
                  <a:pt x="244" y="300"/>
                </a:lnTo>
                <a:lnTo>
                  <a:pt x="242" y="298"/>
                </a:lnTo>
                <a:lnTo>
                  <a:pt x="239" y="298"/>
                </a:lnTo>
                <a:lnTo>
                  <a:pt x="237" y="298"/>
                </a:lnTo>
                <a:lnTo>
                  <a:pt x="237" y="300"/>
                </a:lnTo>
                <a:lnTo>
                  <a:pt x="235" y="300"/>
                </a:lnTo>
                <a:lnTo>
                  <a:pt x="232" y="303"/>
                </a:lnTo>
                <a:lnTo>
                  <a:pt x="228" y="303"/>
                </a:lnTo>
                <a:lnTo>
                  <a:pt x="225" y="300"/>
                </a:lnTo>
                <a:lnTo>
                  <a:pt x="223" y="300"/>
                </a:lnTo>
                <a:lnTo>
                  <a:pt x="221" y="298"/>
                </a:lnTo>
                <a:lnTo>
                  <a:pt x="218" y="298"/>
                </a:lnTo>
                <a:lnTo>
                  <a:pt x="218" y="296"/>
                </a:lnTo>
                <a:lnTo>
                  <a:pt x="218" y="293"/>
                </a:lnTo>
                <a:lnTo>
                  <a:pt x="216" y="293"/>
                </a:lnTo>
                <a:lnTo>
                  <a:pt x="214" y="293"/>
                </a:lnTo>
                <a:lnTo>
                  <a:pt x="211" y="293"/>
                </a:lnTo>
                <a:lnTo>
                  <a:pt x="209" y="291"/>
                </a:lnTo>
                <a:lnTo>
                  <a:pt x="207" y="289"/>
                </a:lnTo>
                <a:lnTo>
                  <a:pt x="198" y="289"/>
                </a:lnTo>
                <a:lnTo>
                  <a:pt x="195" y="289"/>
                </a:lnTo>
                <a:lnTo>
                  <a:pt x="193" y="289"/>
                </a:lnTo>
                <a:lnTo>
                  <a:pt x="191" y="291"/>
                </a:lnTo>
                <a:lnTo>
                  <a:pt x="191" y="293"/>
                </a:lnTo>
                <a:lnTo>
                  <a:pt x="188" y="293"/>
                </a:lnTo>
                <a:lnTo>
                  <a:pt x="186" y="293"/>
                </a:lnTo>
                <a:lnTo>
                  <a:pt x="184" y="293"/>
                </a:lnTo>
                <a:lnTo>
                  <a:pt x="181" y="291"/>
                </a:lnTo>
                <a:lnTo>
                  <a:pt x="179" y="291"/>
                </a:lnTo>
                <a:lnTo>
                  <a:pt x="177" y="291"/>
                </a:lnTo>
                <a:lnTo>
                  <a:pt x="177" y="293"/>
                </a:lnTo>
                <a:lnTo>
                  <a:pt x="174" y="293"/>
                </a:lnTo>
                <a:lnTo>
                  <a:pt x="174" y="291"/>
                </a:lnTo>
                <a:lnTo>
                  <a:pt x="172" y="291"/>
                </a:lnTo>
                <a:lnTo>
                  <a:pt x="172" y="289"/>
                </a:lnTo>
                <a:lnTo>
                  <a:pt x="170" y="291"/>
                </a:lnTo>
                <a:lnTo>
                  <a:pt x="167" y="291"/>
                </a:lnTo>
                <a:lnTo>
                  <a:pt x="165" y="289"/>
                </a:lnTo>
                <a:lnTo>
                  <a:pt x="163" y="289"/>
                </a:lnTo>
                <a:lnTo>
                  <a:pt x="160" y="289"/>
                </a:lnTo>
                <a:lnTo>
                  <a:pt x="158" y="289"/>
                </a:lnTo>
                <a:lnTo>
                  <a:pt x="158" y="286"/>
                </a:lnTo>
                <a:lnTo>
                  <a:pt x="156" y="286"/>
                </a:lnTo>
                <a:lnTo>
                  <a:pt x="156" y="284"/>
                </a:lnTo>
                <a:lnTo>
                  <a:pt x="153" y="284"/>
                </a:lnTo>
                <a:lnTo>
                  <a:pt x="153" y="282"/>
                </a:lnTo>
                <a:lnTo>
                  <a:pt x="153" y="279"/>
                </a:lnTo>
                <a:lnTo>
                  <a:pt x="156" y="279"/>
                </a:lnTo>
                <a:lnTo>
                  <a:pt x="156" y="277"/>
                </a:lnTo>
                <a:lnTo>
                  <a:pt x="153" y="277"/>
                </a:lnTo>
                <a:lnTo>
                  <a:pt x="153" y="275"/>
                </a:lnTo>
                <a:lnTo>
                  <a:pt x="151" y="275"/>
                </a:lnTo>
                <a:lnTo>
                  <a:pt x="149" y="275"/>
                </a:lnTo>
                <a:lnTo>
                  <a:pt x="146" y="275"/>
                </a:lnTo>
                <a:lnTo>
                  <a:pt x="144" y="272"/>
                </a:lnTo>
                <a:lnTo>
                  <a:pt x="142" y="272"/>
                </a:lnTo>
                <a:lnTo>
                  <a:pt x="142" y="270"/>
                </a:lnTo>
                <a:lnTo>
                  <a:pt x="142" y="268"/>
                </a:lnTo>
                <a:lnTo>
                  <a:pt x="139" y="268"/>
                </a:lnTo>
                <a:lnTo>
                  <a:pt x="139" y="270"/>
                </a:lnTo>
                <a:lnTo>
                  <a:pt x="137" y="270"/>
                </a:lnTo>
                <a:lnTo>
                  <a:pt x="137" y="268"/>
                </a:lnTo>
                <a:lnTo>
                  <a:pt x="135" y="265"/>
                </a:lnTo>
                <a:lnTo>
                  <a:pt x="135" y="263"/>
                </a:lnTo>
                <a:lnTo>
                  <a:pt x="132" y="263"/>
                </a:lnTo>
                <a:lnTo>
                  <a:pt x="130" y="261"/>
                </a:lnTo>
                <a:lnTo>
                  <a:pt x="130" y="263"/>
                </a:lnTo>
                <a:lnTo>
                  <a:pt x="128" y="263"/>
                </a:lnTo>
                <a:lnTo>
                  <a:pt x="128" y="261"/>
                </a:lnTo>
                <a:lnTo>
                  <a:pt x="125" y="261"/>
                </a:lnTo>
                <a:lnTo>
                  <a:pt x="123" y="261"/>
                </a:lnTo>
                <a:lnTo>
                  <a:pt x="121" y="261"/>
                </a:lnTo>
                <a:lnTo>
                  <a:pt x="121" y="258"/>
                </a:lnTo>
                <a:lnTo>
                  <a:pt x="121" y="256"/>
                </a:lnTo>
                <a:lnTo>
                  <a:pt x="121" y="254"/>
                </a:lnTo>
                <a:lnTo>
                  <a:pt x="118" y="254"/>
                </a:lnTo>
                <a:lnTo>
                  <a:pt x="118" y="251"/>
                </a:lnTo>
                <a:lnTo>
                  <a:pt x="118" y="249"/>
                </a:lnTo>
                <a:lnTo>
                  <a:pt x="116" y="247"/>
                </a:lnTo>
                <a:lnTo>
                  <a:pt x="116" y="244"/>
                </a:lnTo>
                <a:lnTo>
                  <a:pt x="114" y="244"/>
                </a:lnTo>
                <a:lnTo>
                  <a:pt x="114" y="242"/>
                </a:lnTo>
                <a:lnTo>
                  <a:pt x="111" y="242"/>
                </a:lnTo>
                <a:lnTo>
                  <a:pt x="111" y="247"/>
                </a:lnTo>
                <a:lnTo>
                  <a:pt x="109" y="247"/>
                </a:lnTo>
                <a:lnTo>
                  <a:pt x="107" y="244"/>
                </a:lnTo>
                <a:lnTo>
                  <a:pt x="107" y="242"/>
                </a:lnTo>
                <a:lnTo>
                  <a:pt x="107" y="240"/>
                </a:lnTo>
                <a:lnTo>
                  <a:pt x="109" y="240"/>
                </a:lnTo>
                <a:lnTo>
                  <a:pt x="107" y="237"/>
                </a:lnTo>
                <a:lnTo>
                  <a:pt x="109" y="237"/>
                </a:lnTo>
                <a:lnTo>
                  <a:pt x="109" y="235"/>
                </a:lnTo>
                <a:lnTo>
                  <a:pt x="107" y="235"/>
                </a:lnTo>
                <a:lnTo>
                  <a:pt x="104" y="233"/>
                </a:lnTo>
                <a:lnTo>
                  <a:pt x="107" y="233"/>
                </a:lnTo>
                <a:lnTo>
                  <a:pt x="107" y="230"/>
                </a:lnTo>
                <a:lnTo>
                  <a:pt x="104" y="230"/>
                </a:lnTo>
                <a:lnTo>
                  <a:pt x="102" y="228"/>
                </a:lnTo>
                <a:lnTo>
                  <a:pt x="102" y="230"/>
                </a:lnTo>
                <a:lnTo>
                  <a:pt x="100" y="228"/>
                </a:lnTo>
                <a:lnTo>
                  <a:pt x="97" y="223"/>
                </a:lnTo>
                <a:lnTo>
                  <a:pt x="97" y="221"/>
                </a:lnTo>
                <a:lnTo>
                  <a:pt x="97" y="219"/>
                </a:lnTo>
                <a:lnTo>
                  <a:pt x="97" y="216"/>
                </a:lnTo>
                <a:lnTo>
                  <a:pt x="95" y="216"/>
                </a:lnTo>
                <a:lnTo>
                  <a:pt x="95" y="214"/>
                </a:lnTo>
                <a:lnTo>
                  <a:pt x="95" y="212"/>
                </a:lnTo>
                <a:lnTo>
                  <a:pt x="95" y="209"/>
                </a:lnTo>
                <a:lnTo>
                  <a:pt x="93" y="209"/>
                </a:lnTo>
                <a:lnTo>
                  <a:pt x="93" y="207"/>
                </a:lnTo>
                <a:lnTo>
                  <a:pt x="95" y="207"/>
                </a:lnTo>
                <a:lnTo>
                  <a:pt x="97" y="205"/>
                </a:lnTo>
                <a:lnTo>
                  <a:pt x="97" y="202"/>
                </a:lnTo>
                <a:lnTo>
                  <a:pt x="97" y="200"/>
                </a:lnTo>
                <a:lnTo>
                  <a:pt x="97" y="198"/>
                </a:lnTo>
                <a:lnTo>
                  <a:pt x="100" y="198"/>
                </a:lnTo>
                <a:lnTo>
                  <a:pt x="100" y="195"/>
                </a:lnTo>
                <a:lnTo>
                  <a:pt x="97" y="195"/>
                </a:lnTo>
                <a:lnTo>
                  <a:pt x="97" y="188"/>
                </a:lnTo>
                <a:lnTo>
                  <a:pt x="97" y="186"/>
                </a:lnTo>
                <a:lnTo>
                  <a:pt x="95" y="186"/>
                </a:lnTo>
                <a:lnTo>
                  <a:pt x="93" y="186"/>
                </a:lnTo>
                <a:lnTo>
                  <a:pt x="93" y="184"/>
                </a:lnTo>
                <a:lnTo>
                  <a:pt x="93" y="182"/>
                </a:lnTo>
                <a:lnTo>
                  <a:pt x="93" y="179"/>
                </a:lnTo>
                <a:lnTo>
                  <a:pt x="93" y="177"/>
                </a:lnTo>
                <a:lnTo>
                  <a:pt x="93" y="175"/>
                </a:lnTo>
                <a:lnTo>
                  <a:pt x="90" y="175"/>
                </a:lnTo>
                <a:lnTo>
                  <a:pt x="90" y="172"/>
                </a:lnTo>
                <a:lnTo>
                  <a:pt x="90" y="170"/>
                </a:lnTo>
                <a:lnTo>
                  <a:pt x="90" y="168"/>
                </a:lnTo>
                <a:lnTo>
                  <a:pt x="88" y="168"/>
                </a:lnTo>
                <a:lnTo>
                  <a:pt x="90" y="165"/>
                </a:lnTo>
                <a:lnTo>
                  <a:pt x="88" y="165"/>
                </a:lnTo>
                <a:lnTo>
                  <a:pt x="88" y="163"/>
                </a:lnTo>
                <a:lnTo>
                  <a:pt x="90" y="163"/>
                </a:lnTo>
                <a:lnTo>
                  <a:pt x="93" y="161"/>
                </a:lnTo>
                <a:lnTo>
                  <a:pt x="93" y="158"/>
                </a:lnTo>
                <a:lnTo>
                  <a:pt x="93" y="156"/>
                </a:lnTo>
                <a:lnTo>
                  <a:pt x="93" y="154"/>
                </a:lnTo>
                <a:lnTo>
                  <a:pt x="95" y="154"/>
                </a:lnTo>
                <a:lnTo>
                  <a:pt x="97" y="151"/>
                </a:lnTo>
                <a:lnTo>
                  <a:pt x="97" y="149"/>
                </a:lnTo>
                <a:lnTo>
                  <a:pt x="97" y="147"/>
                </a:lnTo>
                <a:lnTo>
                  <a:pt x="97" y="144"/>
                </a:lnTo>
                <a:lnTo>
                  <a:pt x="97" y="142"/>
                </a:lnTo>
                <a:lnTo>
                  <a:pt x="97" y="140"/>
                </a:lnTo>
                <a:lnTo>
                  <a:pt x="95" y="137"/>
                </a:lnTo>
                <a:lnTo>
                  <a:pt x="95" y="133"/>
                </a:lnTo>
                <a:lnTo>
                  <a:pt x="95" y="130"/>
                </a:lnTo>
                <a:lnTo>
                  <a:pt x="95" y="128"/>
                </a:lnTo>
                <a:lnTo>
                  <a:pt x="97" y="123"/>
                </a:lnTo>
                <a:lnTo>
                  <a:pt x="95" y="121"/>
                </a:lnTo>
                <a:lnTo>
                  <a:pt x="93" y="119"/>
                </a:lnTo>
                <a:lnTo>
                  <a:pt x="93" y="116"/>
                </a:lnTo>
                <a:lnTo>
                  <a:pt x="93" y="114"/>
                </a:lnTo>
                <a:lnTo>
                  <a:pt x="90" y="114"/>
                </a:lnTo>
                <a:lnTo>
                  <a:pt x="88" y="112"/>
                </a:lnTo>
                <a:lnTo>
                  <a:pt x="86" y="114"/>
                </a:lnTo>
                <a:lnTo>
                  <a:pt x="83" y="116"/>
                </a:lnTo>
                <a:lnTo>
                  <a:pt x="81" y="119"/>
                </a:lnTo>
                <a:lnTo>
                  <a:pt x="81" y="121"/>
                </a:lnTo>
                <a:lnTo>
                  <a:pt x="79" y="121"/>
                </a:lnTo>
                <a:lnTo>
                  <a:pt x="79" y="123"/>
                </a:lnTo>
                <a:lnTo>
                  <a:pt x="77" y="123"/>
                </a:lnTo>
                <a:lnTo>
                  <a:pt x="74" y="121"/>
                </a:lnTo>
                <a:lnTo>
                  <a:pt x="72" y="121"/>
                </a:lnTo>
                <a:lnTo>
                  <a:pt x="70" y="121"/>
                </a:lnTo>
                <a:lnTo>
                  <a:pt x="70" y="119"/>
                </a:lnTo>
                <a:lnTo>
                  <a:pt x="67" y="119"/>
                </a:lnTo>
                <a:lnTo>
                  <a:pt x="65" y="119"/>
                </a:lnTo>
                <a:lnTo>
                  <a:pt x="65" y="116"/>
                </a:lnTo>
                <a:lnTo>
                  <a:pt x="65" y="119"/>
                </a:lnTo>
                <a:lnTo>
                  <a:pt x="65" y="121"/>
                </a:lnTo>
                <a:lnTo>
                  <a:pt x="63" y="121"/>
                </a:lnTo>
                <a:lnTo>
                  <a:pt x="63" y="119"/>
                </a:lnTo>
                <a:lnTo>
                  <a:pt x="60" y="121"/>
                </a:lnTo>
                <a:lnTo>
                  <a:pt x="58" y="121"/>
                </a:lnTo>
                <a:lnTo>
                  <a:pt x="56" y="121"/>
                </a:lnTo>
                <a:lnTo>
                  <a:pt x="53" y="121"/>
                </a:lnTo>
                <a:lnTo>
                  <a:pt x="51" y="123"/>
                </a:lnTo>
                <a:lnTo>
                  <a:pt x="49" y="123"/>
                </a:lnTo>
                <a:lnTo>
                  <a:pt x="46" y="121"/>
                </a:lnTo>
                <a:lnTo>
                  <a:pt x="44" y="121"/>
                </a:lnTo>
                <a:lnTo>
                  <a:pt x="44" y="123"/>
                </a:lnTo>
                <a:lnTo>
                  <a:pt x="44" y="121"/>
                </a:lnTo>
                <a:lnTo>
                  <a:pt x="39" y="123"/>
                </a:lnTo>
                <a:lnTo>
                  <a:pt x="37" y="126"/>
                </a:lnTo>
                <a:lnTo>
                  <a:pt x="35" y="126"/>
                </a:lnTo>
                <a:lnTo>
                  <a:pt x="30" y="126"/>
                </a:lnTo>
                <a:lnTo>
                  <a:pt x="28" y="126"/>
                </a:lnTo>
                <a:lnTo>
                  <a:pt x="25" y="128"/>
                </a:lnTo>
                <a:lnTo>
                  <a:pt x="23" y="128"/>
                </a:lnTo>
                <a:lnTo>
                  <a:pt x="18" y="128"/>
                </a:lnTo>
                <a:lnTo>
                  <a:pt x="11" y="130"/>
                </a:lnTo>
                <a:lnTo>
                  <a:pt x="0" y="128"/>
                </a:lnTo>
                <a:lnTo>
                  <a:pt x="2" y="123"/>
                </a:lnTo>
                <a:lnTo>
                  <a:pt x="4" y="123"/>
                </a:lnTo>
                <a:lnTo>
                  <a:pt x="4" y="121"/>
                </a:lnTo>
                <a:lnTo>
                  <a:pt x="7" y="121"/>
                </a:lnTo>
                <a:lnTo>
                  <a:pt x="11" y="116"/>
                </a:lnTo>
                <a:lnTo>
                  <a:pt x="14" y="114"/>
                </a:lnTo>
                <a:lnTo>
                  <a:pt x="18" y="114"/>
                </a:lnTo>
                <a:lnTo>
                  <a:pt x="18" y="112"/>
                </a:lnTo>
                <a:lnTo>
                  <a:pt x="21" y="112"/>
                </a:lnTo>
                <a:lnTo>
                  <a:pt x="21" y="109"/>
                </a:lnTo>
                <a:lnTo>
                  <a:pt x="25" y="105"/>
                </a:lnTo>
                <a:lnTo>
                  <a:pt x="25" y="102"/>
                </a:lnTo>
                <a:lnTo>
                  <a:pt x="25" y="100"/>
                </a:lnTo>
                <a:lnTo>
                  <a:pt x="25" y="98"/>
                </a:lnTo>
                <a:lnTo>
                  <a:pt x="28" y="98"/>
                </a:lnTo>
                <a:lnTo>
                  <a:pt x="30" y="98"/>
                </a:lnTo>
                <a:lnTo>
                  <a:pt x="32" y="98"/>
                </a:lnTo>
                <a:lnTo>
                  <a:pt x="35" y="98"/>
                </a:lnTo>
                <a:lnTo>
                  <a:pt x="37" y="98"/>
                </a:lnTo>
                <a:lnTo>
                  <a:pt x="42" y="98"/>
                </a:lnTo>
                <a:lnTo>
                  <a:pt x="44" y="98"/>
                </a:lnTo>
                <a:lnTo>
                  <a:pt x="51" y="95"/>
                </a:lnTo>
                <a:lnTo>
                  <a:pt x="53" y="95"/>
                </a:lnTo>
                <a:lnTo>
                  <a:pt x="53" y="98"/>
                </a:lnTo>
                <a:lnTo>
                  <a:pt x="56" y="98"/>
                </a:lnTo>
                <a:lnTo>
                  <a:pt x="58" y="100"/>
                </a:lnTo>
                <a:lnTo>
                  <a:pt x="60" y="102"/>
                </a:lnTo>
                <a:lnTo>
                  <a:pt x="63" y="102"/>
                </a:lnTo>
                <a:lnTo>
                  <a:pt x="65" y="105"/>
                </a:lnTo>
                <a:lnTo>
                  <a:pt x="65" y="107"/>
                </a:lnTo>
                <a:lnTo>
                  <a:pt x="67" y="107"/>
                </a:lnTo>
                <a:lnTo>
                  <a:pt x="70" y="107"/>
                </a:lnTo>
                <a:lnTo>
                  <a:pt x="70" y="105"/>
                </a:lnTo>
                <a:lnTo>
                  <a:pt x="72" y="105"/>
                </a:lnTo>
                <a:lnTo>
                  <a:pt x="72" y="102"/>
                </a:lnTo>
                <a:lnTo>
                  <a:pt x="72" y="100"/>
                </a:lnTo>
                <a:lnTo>
                  <a:pt x="74" y="100"/>
                </a:lnTo>
                <a:lnTo>
                  <a:pt x="74" y="98"/>
                </a:lnTo>
                <a:lnTo>
                  <a:pt x="79" y="95"/>
                </a:lnTo>
                <a:lnTo>
                  <a:pt x="81" y="95"/>
                </a:lnTo>
                <a:lnTo>
                  <a:pt x="83" y="98"/>
                </a:lnTo>
                <a:lnTo>
                  <a:pt x="86" y="98"/>
                </a:lnTo>
                <a:lnTo>
                  <a:pt x="86" y="95"/>
                </a:lnTo>
                <a:lnTo>
                  <a:pt x="88" y="95"/>
                </a:lnTo>
                <a:lnTo>
                  <a:pt x="88" y="93"/>
                </a:lnTo>
                <a:lnTo>
                  <a:pt x="90" y="93"/>
                </a:lnTo>
                <a:lnTo>
                  <a:pt x="90" y="91"/>
                </a:lnTo>
                <a:lnTo>
                  <a:pt x="93" y="91"/>
                </a:lnTo>
                <a:lnTo>
                  <a:pt x="97" y="88"/>
                </a:lnTo>
                <a:lnTo>
                  <a:pt x="97" y="86"/>
                </a:lnTo>
                <a:lnTo>
                  <a:pt x="100" y="86"/>
                </a:lnTo>
                <a:lnTo>
                  <a:pt x="100" y="84"/>
                </a:lnTo>
                <a:lnTo>
                  <a:pt x="102" y="84"/>
                </a:lnTo>
                <a:lnTo>
                  <a:pt x="102" y="86"/>
                </a:lnTo>
                <a:lnTo>
                  <a:pt x="102" y="88"/>
                </a:lnTo>
                <a:lnTo>
                  <a:pt x="104" y="88"/>
                </a:lnTo>
                <a:lnTo>
                  <a:pt x="104" y="91"/>
                </a:lnTo>
                <a:lnTo>
                  <a:pt x="104" y="93"/>
                </a:lnTo>
                <a:lnTo>
                  <a:pt x="104" y="95"/>
                </a:lnTo>
                <a:lnTo>
                  <a:pt x="107" y="95"/>
                </a:lnTo>
                <a:lnTo>
                  <a:pt x="109" y="95"/>
                </a:lnTo>
                <a:lnTo>
                  <a:pt x="111" y="95"/>
                </a:lnTo>
                <a:lnTo>
                  <a:pt x="111" y="93"/>
                </a:lnTo>
                <a:lnTo>
                  <a:pt x="114" y="93"/>
                </a:lnTo>
                <a:lnTo>
                  <a:pt x="114" y="91"/>
                </a:lnTo>
                <a:lnTo>
                  <a:pt x="116" y="88"/>
                </a:lnTo>
                <a:lnTo>
                  <a:pt x="116" y="86"/>
                </a:lnTo>
                <a:lnTo>
                  <a:pt x="118" y="86"/>
                </a:lnTo>
                <a:lnTo>
                  <a:pt x="118" y="84"/>
                </a:lnTo>
                <a:lnTo>
                  <a:pt x="121" y="84"/>
                </a:lnTo>
                <a:lnTo>
                  <a:pt x="121" y="81"/>
                </a:lnTo>
                <a:lnTo>
                  <a:pt x="121" y="79"/>
                </a:lnTo>
                <a:lnTo>
                  <a:pt x="118" y="77"/>
                </a:lnTo>
                <a:lnTo>
                  <a:pt x="118" y="74"/>
                </a:lnTo>
                <a:lnTo>
                  <a:pt x="121" y="74"/>
                </a:lnTo>
                <a:lnTo>
                  <a:pt x="121" y="72"/>
                </a:lnTo>
                <a:lnTo>
                  <a:pt x="123" y="70"/>
                </a:lnTo>
                <a:lnTo>
                  <a:pt x="128" y="67"/>
                </a:lnTo>
                <a:lnTo>
                  <a:pt x="130" y="65"/>
                </a:lnTo>
                <a:lnTo>
                  <a:pt x="130" y="67"/>
                </a:lnTo>
                <a:lnTo>
                  <a:pt x="132" y="67"/>
                </a:lnTo>
                <a:lnTo>
                  <a:pt x="135" y="67"/>
                </a:lnTo>
                <a:lnTo>
                  <a:pt x="139" y="67"/>
                </a:lnTo>
                <a:lnTo>
                  <a:pt x="142" y="67"/>
                </a:lnTo>
                <a:lnTo>
                  <a:pt x="144" y="65"/>
                </a:lnTo>
                <a:lnTo>
                  <a:pt x="146" y="65"/>
                </a:lnTo>
                <a:lnTo>
                  <a:pt x="146" y="63"/>
                </a:lnTo>
                <a:lnTo>
                  <a:pt x="149" y="63"/>
                </a:lnTo>
                <a:lnTo>
                  <a:pt x="149" y="65"/>
                </a:lnTo>
                <a:lnTo>
                  <a:pt x="151" y="65"/>
                </a:lnTo>
                <a:lnTo>
                  <a:pt x="153" y="63"/>
                </a:lnTo>
                <a:lnTo>
                  <a:pt x="156" y="63"/>
                </a:lnTo>
                <a:lnTo>
                  <a:pt x="158" y="63"/>
                </a:lnTo>
                <a:lnTo>
                  <a:pt x="160" y="63"/>
                </a:lnTo>
                <a:lnTo>
                  <a:pt x="163" y="63"/>
                </a:lnTo>
                <a:lnTo>
                  <a:pt x="165" y="63"/>
                </a:lnTo>
                <a:lnTo>
                  <a:pt x="167" y="63"/>
                </a:lnTo>
                <a:lnTo>
                  <a:pt x="170" y="63"/>
                </a:lnTo>
                <a:lnTo>
                  <a:pt x="170" y="58"/>
                </a:lnTo>
                <a:lnTo>
                  <a:pt x="170" y="56"/>
                </a:lnTo>
                <a:lnTo>
                  <a:pt x="170" y="53"/>
                </a:lnTo>
                <a:lnTo>
                  <a:pt x="170" y="51"/>
                </a:lnTo>
                <a:lnTo>
                  <a:pt x="170" y="49"/>
                </a:lnTo>
                <a:lnTo>
                  <a:pt x="170" y="46"/>
                </a:lnTo>
                <a:lnTo>
                  <a:pt x="172" y="46"/>
                </a:lnTo>
                <a:lnTo>
                  <a:pt x="174" y="46"/>
                </a:lnTo>
                <a:lnTo>
                  <a:pt x="177" y="46"/>
                </a:lnTo>
                <a:lnTo>
                  <a:pt x="177" y="44"/>
                </a:lnTo>
                <a:lnTo>
                  <a:pt x="179" y="44"/>
                </a:lnTo>
                <a:lnTo>
                  <a:pt x="179" y="42"/>
                </a:lnTo>
                <a:lnTo>
                  <a:pt x="181" y="40"/>
                </a:lnTo>
                <a:lnTo>
                  <a:pt x="181" y="37"/>
                </a:lnTo>
                <a:lnTo>
                  <a:pt x="184" y="37"/>
                </a:lnTo>
                <a:lnTo>
                  <a:pt x="184" y="35"/>
                </a:lnTo>
                <a:lnTo>
                  <a:pt x="181" y="35"/>
                </a:lnTo>
                <a:lnTo>
                  <a:pt x="181" y="33"/>
                </a:lnTo>
                <a:lnTo>
                  <a:pt x="179" y="33"/>
                </a:lnTo>
                <a:lnTo>
                  <a:pt x="179" y="30"/>
                </a:lnTo>
                <a:lnTo>
                  <a:pt x="177" y="30"/>
                </a:lnTo>
                <a:lnTo>
                  <a:pt x="179" y="28"/>
                </a:lnTo>
                <a:lnTo>
                  <a:pt x="181" y="26"/>
                </a:lnTo>
                <a:lnTo>
                  <a:pt x="181" y="23"/>
                </a:lnTo>
                <a:lnTo>
                  <a:pt x="184" y="21"/>
                </a:lnTo>
                <a:lnTo>
                  <a:pt x="186" y="21"/>
                </a:lnTo>
                <a:lnTo>
                  <a:pt x="188" y="21"/>
                </a:lnTo>
                <a:lnTo>
                  <a:pt x="191" y="19"/>
                </a:lnTo>
                <a:lnTo>
                  <a:pt x="193" y="19"/>
                </a:lnTo>
                <a:lnTo>
                  <a:pt x="193" y="16"/>
                </a:lnTo>
                <a:lnTo>
                  <a:pt x="193" y="14"/>
                </a:lnTo>
                <a:lnTo>
                  <a:pt x="195" y="14"/>
                </a:lnTo>
                <a:lnTo>
                  <a:pt x="195" y="12"/>
                </a:lnTo>
                <a:lnTo>
                  <a:pt x="198" y="12"/>
                </a:lnTo>
                <a:lnTo>
                  <a:pt x="200" y="12"/>
                </a:lnTo>
                <a:lnTo>
                  <a:pt x="202" y="12"/>
                </a:lnTo>
                <a:lnTo>
                  <a:pt x="205" y="12"/>
                </a:lnTo>
                <a:lnTo>
                  <a:pt x="205" y="9"/>
                </a:lnTo>
                <a:lnTo>
                  <a:pt x="202" y="7"/>
                </a:lnTo>
                <a:lnTo>
                  <a:pt x="202" y="5"/>
                </a:lnTo>
                <a:lnTo>
                  <a:pt x="205" y="5"/>
                </a:lnTo>
                <a:lnTo>
                  <a:pt x="205" y="2"/>
                </a:lnTo>
                <a:lnTo>
                  <a:pt x="207" y="0"/>
                </a:lnTo>
                <a:lnTo>
                  <a:pt x="246" y="0"/>
                </a:lnTo>
                <a:lnTo>
                  <a:pt x="253" y="0"/>
                </a:lnTo>
                <a:lnTo>
                  <a:pt x="258" y="2"/>
                </a:lnTo>
                <a:lnTo>
                  <a:pt x="260" y="2"/>
                </a:lnTo>
                <a:lnTo>
                  <a:pt x="263" y="7"/>
                </a:lnTo>
                <a:lnTo>
                  <a:pt x="263" y="9"/>
                </a:lnTo>
                <a:lnTo>
                  <a:pt x="265" y="14"/>
                </a:lnTo>
                <a:lnTo>
                  <a:pt x="267" y="14"/>
                </a:lnTo>
                <a:lnTo>
                  <a:pt x="270" y="16"/>
                </a:lnTo>
                <a:lnTo>
                  <a:pt x="270" y="19"/>
                </a:lnTo>
                <a:lnTo>
                  <a:pt x="272" y="19"/>
                </a:lnTo>
                <a:lnTo>
                  <a:pt x="272" y="21"/>
                </a:lnTo>
                <a:lnTo>
                  <a:pt x="272" y="23"/>
                </a:lnTo>
                <a:lnTo>
                  <a:pt x="274" y="23"/>
                </a:lnTo>
                <a:lnTo>
                  <a:pt x="274" y="21"/>
                </a:lnTo>
                <a:lnTo>
                  <a:pt x="277" y="21"/>
                </a:lnTo>
                <a:lnTo>
                  <a:pt x="279" y="21"/>
                </a:lnTo>
                <a:lnTo>
                  <a:pt x="281" y="23"/>
                </a:lnTo>
                <a:lnTo>
                  <a:pt x="284" y="23"/>
                </a:lnTo>
                <a:lnTo>
                  <a:pt x="284" y="26"/>
                </a:lnTo>
                <a:lnTo>
                  <a:pt x="284" y="28"/>
                </a:lnTo>
                <a:lnTo>
                  <a:pt x="286" y="30"/>
                </a:lnTo>
                <a:lnTo>
                  <a:pt x="286" y="33"/>
                </a:lnTo>
                <a:lnTo>
                  <a:pt x="286" y="35"/>
                </a:lnTo>
                <a:lnTo>
                  <a:pt x="288" y="37"/>
                </a:lnTo>
                <a:lnTo>
                  <a:pt x="291" y="37"/>
                </a:lnTo>
                <a:lnTo>
                  <a:pt x="293" y="37"/>
                </a:lnTo>
                <a:lnTo>
                  <a:pt x="295" y="37"/>
                </a:lnTo>
                <a:lnTo>
                  <a:pt x="295" y="40"/>
                </a:lnTo>
                <a:lnTo>
                  <a:pt x="298" y="42"/>
                </a:lnTo>
                <a:lnTo>
                  <a:pt x="298" y="44"/>
                </a:lnTo>
                <a:lnTo>
                  <a:pt x="298" y="46"/>
                </a:lnTo>
                <a:lnTo>
                  <a:pt x="298" y="49"/>
                </a:lnTo>
                <a:lnTo>
                  <a:pt x="300" y="49"/>
                </a:lnTo>
                <a:lnTo>
                  <a:pt x="302" y="49"/>
                </a:lnTo>
                <a:lnTo>
                  <a:pt x="307" y="51"/>
                </a:lnTo>
                <a:lnTo>
                  <a:pt x="309" y="53"/>
                </a:lnTo>
                <a:lnTo>
                  <a:pt x="312" y="53"/>
                </a:lnTo>
                <a:lnTo>
                  <a:pt x="312" y="56"/>
                </a:lnTo>
                <a:lnTo>
                  <a:pt x="314" y="56"/>
                </a:lnTo>
                <a:lnTo>
                  <a:pt x="314" y="53"/>
                </a:lnTo>
                <a:lnTo>
                  <a:pt x="316" y="53"/>
                </a:lnTo>
                <a:lnTo>
                  <a:pt x="316" y="51"/>
                </a:lnTo>
                <a:lnTo>
                  <a:pt x="316" y="49"/>
                </a:lnTo>
                <a:lnTo>
                  <a:pt x="316" y="46"/>
                </a:lnTo>
                <a:lnTo>
                  <a:pt x="319" y="46"/>
                </a:lnTo>
                <a:lnTo>
                  <a:pt x="321" y="46"/>
                </a:lnTo>
                <a:lnTo>
                  <a:pt x="321" y="44"/>
                </a:lnTo>
                <a:lnTo>
                  <a:pt x="323" y="44"/>
                </a:lnTo>
                <a:lnTo>
                  <a:pt x="323" y="42"/>
                </a:lnTo>
                <a:lnTo>
                  <a:pt x="326" y="42"/>
                </a:lnTo>
                <a:lnTo>
                  <a:pt x="328" y="44"/>
                </a:lnTo>
                <a:lnTo>
                  <a:pt x="330" y="44"/>
                </a:lnTo>
                <a:lnTo>
                  <a:pt x="333" y="44"/>
                </a:lnTo>
                <a:lnTo>
                  <a:pt x="333" y="49"/>
                </a:lnTo>
                <a:close/>
              </a:path>
            </a:pathLst>
          </a:custGeom>
          <a:solidFill>
            <a:srgbClr val="EEE89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CDA1E9EF-E2C7-DE23-AD03-650342857AD8}"/>
              </a:ext>
            </a:extLst>
          </p:cNvPr>
          <p:cNvSpPr/>
          <p:nvPr/>
        </p:nvSpPr>
        <p:spPr>
          <a:xfrm>
            <a:off x="1805951" y="3718607"/>
            <a:ext cx="807711" cy="73726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noProof="0">
              <a:solidFill>
                <a:srgbClr val="FFFFFF"/>
              </a:solidFill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097C01C9-18D8-0D31-7357-75847E868C04}"/>
              </a:ext>
            </a:extLst>
          </p:cNvPr>
          <p:cNvSpPr/>
          <p:nvPr/>
        </p:nvSpPr>
        <p:spPr>
          <a:xfrm>
            <a:off x="1813908" y="3738283"/>
            <a:ext cx="791796" cy="9364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00" b="1" noProof="0">
                <a:solidFill>
                  <a:srgbClr val="FFFFFF"/>
                </a:solidFill>
                <a:cs typeface="Arial" panose="020B0604020202020204" pitchFamily="34" charset="0"/>
              </a:rPr>
              <a:t>CD 2600 – Manaus (AM)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C11D699E-075C-A1E3-055F-0861FF1BEC69}"/>
              </a:ext>
            </a:extLst>
          </p:cNvPr>
          <p:cNvGrpSpPr/>
          <p:nvPr/>
        </p:nvGrpSpPr>
        <p:grpSpPr>
          <a:xfrm rot="5400000">
            <a:off x="2155248" y="3649615"/>
            <a:ext cx="66793" cy="66793"/>
            <a:chOff x="2950276" y="4840032"/>
            <a:chExt cx="107570" cy="107570"/>
          </a:xfrm>
        </p:grpSpPr>
        <p:sp>
          <p:nvSpPr>
            <p:cNvPr id="89" name="Oval 50">
              <a:extLst>
                <a:ext uri="{FF2B5EF4-FFF2-40B4-BE49-F238E27FC236}">
                  <a16:creationId xmlns:a16="http://schemas.microsoft.com/office/drawing/2014/main" id="{3FCE1FB2-532F-BBEC-DC71-C01BD433D2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0276" y="4840032"/>
              <a:ext cx="107570" cy="107570"/>
            </a:xfrm>
            <a:prstGeom prst="ellipse">
              <a:avLst/>
            </a:prstGeom>
            <a:solidFill>
              <a:srgbClr val="F18D1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noProof="0">
                <a:solidFill>
                  <a:schemeClr val="bg1"/>
                </a:solidFill>
              </a:endParaRPr>
            </a:p>
          </p:txBody>
        </p:sp>
        <p:sp>
          <p:nvSpPr>
            <p:cNvPr id="90" name="Freeform 51">
              <a:extLst>
                <a:ext uri="{FF2B5EF4-FFF2-40B4-BE49-F238E27FC236}">
                  <a16:creationId xmlns:a16="http://schemas.microsoft.com/office/drawing/2014/main" id="{1D7C335E-6E44-CD10-31A3-BC3FBF0A7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0140" y="4859015"/>
              <a:ext cx="38598" cy="69604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158" name="Rounded Rectangle 286">
            <a:extLst>
              <a:ext uri="{FF2B5EF4-FFF2-40B4-BE49-F238E27FC236}">
                <a16:creationId xmlns:a16="http://schemas.microsoft.com/office/drawing/2014/main" id="{36F72F50-218B-32F3-7077-D141362371AE}"/>
              </a:ext>
            </a:extLst>
          </p:cNvPr>
          <p:cNvSpPr/>
          <p:nvPr/>
        </p:nvSpPr>
        <p:spPr>
          <a:xfrm>
            <a:off x="736382" y="3948713"/>
            <a:ext cx="540253" cy="267873"/>
          </a:xfrm>
          <a:prstGeom prst="rect">
            <a:avLst/>
          </a:prstGeom>
          <a:noFill/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noProof="0">
                <a:solidFill>
                  <a:srgbClr val="7173E9"/>
                </a:solidFill>
              </a:rPr>
              <a:t>CDs</a:t>
            </a:r>
          </a:p>
        </p:txBody>
      </p:sp>
      <p:sp>
        <p:nvSpPr>
          <p:cNvPr id="159" name="Rounded Rectangle 287">
            <a:extLst>
              <a:ext uri="{FF2B5EF4-FFF2-40B4-BE49-F238E27FC236}">
                <a16:creationId xmlns:a16="http://schemas.microsoft.com/office/drawing/2014/main" id="{E5061510-19B6-7CE2-E363-F0479C64BE47}"/>
              </a:ext>
            </a:extLst>
          </p:cNvPr>
          <p:cNvSpPr/>
          <p:nvPr/>
        </p:nvSpPr>
        <p:spPr>
          <a:xfrm>
            <a:off x="736382" y="3605088"/>
            <a:ext cx="540253" cy="267873"/>
          </a:xfrm>
          <a:prstGeom prst="rect">
            <a:avLst/>
          </a:prstGeom>
          <a:noFill/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noProof="0">
                <a:solidFill>
                  <a:srgbClr val="7173E9"/>
                </a:solidFill>
              </a:rPr>
              <a:t>Lojas</a:t>
            </a:r>
          </a:p>
        </p:txBody>
      </p:sp>
      <p:sp>
        <p:nvSpPr>
          <p:cNvPr id="157" name="Rounded Rectangle 285">
            <a:extLst>
              <a:ext uri="{FF2B5EF4-FFF2-40B4-BE49-F238E27FC236}">
                <a16:creationId xmlns:a16="http://schemas.microsoft.com/office/drawing/2014/main" id="{BA1F2EFA-286F-71F2-52AF-629B4A8850F3}"/>
              </a:ext>
            </a:extLst>
          </p:cNvPr>
          <p:cNvSpPr/>
          <p:nvPr/>
        </p:nvSpPr>
        <p:spPr>
          <a:xfrm>
            <a:off x="736382" y="3261464"/>
            <a:ext cx="540253" cy="267873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b="1" noProof="0" err="1">
                <a:solidFill>
                  <a:schemeClr val="tx2"/>
                </a:solidFill>
              </a:rPr>
              <a:t>Alocação</a:t>
            </a:r>
            <a:endParaRPr lang="en-US" sz="800" b="1" noProof="0">
              <a:solidFill>
                <a:schemeClr val="tx2"/>
              </a:solidFill>
            </a:endParaRPr>
          </a:p>
        </p:txBody>
      </p:sp>
      <p:sp>
        <p:nvSpPr>
          <p:cNvPr id="156" name="Rounded Rectangle 284">
            <a:extLst>
              <a:ext uri="{FF2B5EF4-FFF2-40B4-BE49-F238E27FC236}">
                <a16:creationId xmlns:a16="http://schemas.microsoft.com/office/drawing/2014/main" id="{EA0A12B4-F81E-4E92-D0D6-78E20E9647F2}"/>
              </a:ext>
            </a:extLst>
          </p:cNvPr>
          <p:cNvSpPr/>
          <p:nvPr/>
        </p:nvSpPr>
        <p:spPr>
          <a:xfrm>
            <a:off x="736382" y="4292337"/>
            <a:ext cx="540253" cy="267873"/>
          </a:xfrm>
          <a:prstGeom prst="rect">
            <a:avLst/>
          </a:prstGeom>
          <a:noFill/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noProof="0">
                <a:solidFill>
                  <a:srgbClr val="7173E9"/>
                </a:solidFill>
              </a:rPr>
              <a:t>Produtos</a:t>
            </a:r>
          </a:p>
        </p:txBody>
      </p:sp>
      <p:grpSp>
        <p:nvGrpSpPr>
          <p:cNvPr id="125" name="bcgIcons_Interactive Hand ">
            <a:extLst>
              <a:ext uri="{FF2B5EF4-FFF2-40B4-BE49-F238E27FC236}">
                <a16:creationId xmlns:a16="http://schemas.microsoft.com/office/drawing/2014/main" id="{791A9C58-4A6A-D703-61F7-A2691DB32F8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87002" y="2955389"/>
            <a:ext cx="193717" cy="193897"/>
            <a:chOff x="1682" y="0"/>
            <a:chExt cx="4316" cy="4320"/>
          </a:xfrm>
        </p:grpSpPr>
        <p:sp>
          <p:nvSpPr>
            <p:cNvPr id="126" name="AutoShape 13">
              <a:extLst>
                <a:ext uri="{FF2B5EF4-FFF2-40B4-BE49-F238E27FC236}">
                  <a16:creationId xmlns:a16="http://schemas.microsoft.com/office/drawing/2014/main" id="{6E4B6EA0-C281-803B-B52B-592DFEC3AD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5">
              <a:extLst>
                <a:ext uri="{FF2B5EF4-FFF2-40B4-BE49-F238E27FC236}">
                  <a16:creationId xmlns:a16="http://schemas.microsoft.com/office/drawing/2014/main" id="{5314BFE9-F57C-B9A3-E8E8-160AA19AE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5" y="821"/>
              <a:ext cx="2120" cy="2351"/>
            </a:xfrm>
            <a:custGeom>
              <a:avLst/>
              <a:gdLst>
                <a:gd name="T0" fmla="*/ 1012 w 1132"/>
                <a:gd name="T1" fmla="*/ 516 h 1254"/>
                <a:gd name="T2" fmla="*/ 931 w 1132"/>
                <a:gd name="T3" fmla="*/ 548 h 1254"/>
                <a:gd name="T4" fmla="*/ 816 w 1132"/>
                <a:gd name="T5" fmla="*/ 462 h 1254"/>
                <a:gd name="T6" fmla="*/ 735 w 1132"/>
                <a:gd name="T7" fmla="*/ 492 h 1254"/>
                <a:gd name="T8" fmla="*/ 620 w 1132"/>
                <a:gd name="T9" fmla="*/ 404 h 1254"/>
                <a:gd name="T10" fmla="*/ 544 w 1132"/>
                <a:gd name="T11" fmla="*/ 431 h 1254"/>
                <a:gd name="T12" fmla="*/ 544 w 1132"/>
                <a:gd name="T13" fmla="*/ 120 h 1254"/>
                <a:gd name="T14" fmla="*/ 424 w 1132"/>
                <a:gd name="T15" fmla="*/ 0 h 1254"/>
                <a:gd name="T16" fmla="*/ 304 w 1132"/>
                <a:gd name="T17" fmla="*/ 120 h 1254"/>
                <a:gd name="T18" fmla="*/ 304 w 1132"/>
                <a:gd name="T19" fmla="*/ 774 h 1254"/>
                <a:gd name="T20" fmla="*/ 231 w 1132"/>
                <a:gd name="T21" fmla="*/ 670 h 1254"/>
                <a:gd name="T22" fmla="*/ 72 w 1132"/>
                <a:gd name="T23" fmla="*/ 637 h 1254"/>
                <a:gd name="T24" fmla="*/ 30 w 1132"/>
                <a:gd name="T25" fmla="*/ 794 h 1254"/>
                <a:gd name="T26" fmla="*/ 278 w 1132"/>
                <a:gd name="T27" fmla="*/ 1254 h 1254"/>
                <a:gd name="T28" fmla="*/ 312 w 1132"/>
                <a:gd name="T29" fmla="*/ 1225 h 1254"/>
                <a:gd name="T30" fmla="*/ 68 w 1132"/>
                <a:gd name="T31" fmla="*/ 774 h 1254"/>
                <a:gd name="T32" fmla="*/ 95 w 1132"/>
                <a:gd name="T33" fmla="*/ 675 h 1254"/>
                <a:gd name="T34" fmla="*/ 195 w 1132"/>
                <a:gd name="T35" fmla="*/ 695 h 1254"/>
                <a:gd name="T36" fmla="*/ 308 w 1132"/>
                <a:gd name="T37" fmla="*/ 856 h 1254"/>
                <a:gd name="T38" fmla="*/ 332 w 1132"/>
                <a:gd name="T39" fmla="*/ 865 h 1254"/>
                <a:gd name="T40" fmla="*/ 348 w 1132"/>
                <a:gd name="T41" fmla="*/ 844 h 1254"/>
                <a:gd name="T42" fmla="*/ 348 w 1132"/>
                <a:gd name="T43" fmla="*/ 120 h 1254"/>
                <a:gd name="T44" fmla="*/ 424 w 1132"/>
                <a:gd name="T45" fmla="*/ 44 h 1254"/>
                <a:gd name="T46" fmla="*/ 500 w 1132"/>
                <a:gd name="T47" fmla="*/ 120 h 1254"/>
                <a:gd name="T48" fmla="*/ 500 w 1132"/>
                <a:gd name="T49" fmla="*/ 524 h 1254"/>
                <a:gd name="T50" fmla="*/ 500 w 1132"/>
                <a:gd name="T51" fmla="*/ 636 h 1254"/>
                <a:gd name="T52" fmla="*/ 500 w 1132"/>
                <a:gd name="T53" fmla="*/ 647 h 1254"/>
                <a:gd name="T54" fmla="*/ 522 w 1132"/>
                <a:gd name="T55" fmla="*/ 669 h 1254"/>
                <a:gd name="T56" fmla="*/ 544 w 1132"/>
                <a:gd name="T57" fmla="*/ 647 h 1254"/>
                <a:gd name="T58" fmla="*/ 544 w 1132"/>
                <a:gd name="T59" fmla="*/ 636 h 1254"/>
                <a:gd name="T60" fmla="*/ 544 w 1132"/>
                <a:gd name="T61" fmla="*/ 524 h 1254"/>
                <a:gd name="T62" fmla="*/ 620 w 1132"/>
                <a:gd name="T63" fmla="*/ 448 h 1254"/>
                <a:gd name="T64" fmla="*/ 696 w 1132"/>
                <a:gd name="T65" fmla="*/ 524 h 1254"/>
                <a:gd name="T66" fmla="*/ 696 w 1132"/>
                <a:gd name="T67" fmla="*/ 582 h 1254"/>
                <a:gd name="T68" fmla="*/ 696 w 1132"/>
                <a:gd name="T69" fmla="*/ 621 h 1254"/>
                <a:gd name="T70" fmla="*/ 696 w 1132"/>
                <a:gd name="T71" fmla="*/ 665 h 1254"/>
                <a:gd name="T72" fmla="*/ 718 w 1132"/>
                <a:gd name="T73" fmla="*/ 687 h 1254"/>
                <a:gd name="T74" fmla="*/ 740 w 1132"/>
                <a:gd name="T75" fmla="*/ 665 h 1254"/>
                <a:gd name="T76" fmla="*/ 740 w 1132"/>
                <a:gd name="T77" fmla="*/ 621 h 1254"/>
                <a:gd name="T78" fmla="*/ 740 w 1132"/>
                <a:gd name="T79" fmla="*/ 582 h 1254"/>
                <a:gd name="T80" fmla="*/ 816 w 1132"/>
                <a:gd name="T81" fmla="*/ 506 h 1254"/>
                <a:gd name="T82" fmla="*/ 892 w 1132"/>
                <a:gd name="T83" fmla="*/ 582 h 1254"/>
                <a:gd name="T84" fmla="*/ 892 w 1132"/>
                <a:gd name="T85" fmla="*/ 636 h 1254"/>
                <a:gd name="T86" fmla="*/ 892 w 1132"/>
                <a:gd name="T87" fmla="*/ 672 h 1254"/>
                <a:gd name="T88" fmla="*/ 892 w 1132"/>
                <a:gd name="T89" fmla="*/ 691 h 1254"/>
                <a:gd name="T90" fmla="*/ 914 w 1132"/>
                <a:gd name="T91" fmla="*/ 713 h 1254"/>
                <a:gd name="T92" fmla="*/ 936 w 1132"/>
                <a:gd name="T93" fmla="*/ 691 h 1254"/>
                <a:gd name="T94" fmla="*/ 936 w 1132"/>
                <a:gd name="T95" fmla="*/ 672 h 1254"/>
                <a:gd name="T96" fmla="*/ 936 w 1132"/>
                <a:gd name="T97" fmla="*/ 636 h 1254"/>
                <a:gd name="T98" fmla="*/ 1012 w 1132"/>
                <a:gd name="T99" fmla="*/ 560 h 1254"/>
                <a:gd name="T100" fmla="*/ 1088 w 1132"/>
                <a:gd name="T101" fmla="*/ 636 h 1254"/>
                <a:gd name="T102" fmla="*/ 1088 w 1132"/>
                <a:gd name="T103" fmla="*/ 981 h 1254"/>
                <a:gd name="T104" fmla="*/ 1001 w 1132"/>
                <a:gd name="T105" fmla="*/ 1224 h 1254"/>
                <a:gd name="T106" fmla="*/ 1035 w 1132"/>
                <a:gd name="T107" fmla="*/ 1252 h 1254"/>
                <a:gd name="T108" fmla="*/ 1132 w 1132"/>
                <a:gd name="T109" fmla="*/ 981 h 1254"/>
                <a:gd name="T110" fmla="*/ 1132 w 1132"/>
                <a:gd name="T111" fmla="*/ 636 h 1254"/>
                <a:gd name="T112" fmla="*/ 1012 w 1132"/>
                <a:gd name="T113" fmla="*/ 516 h 1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32" h="1254">
                  <a:moveTo>
                    <a:pt x="1012" y="516"/>
                  </a:moveTo>
                  <a:cubicBezTo>
                    <a:pt x="981" y="516"/>
                    <a:pt x="952" y="528"/>
                    <a:pt x="931" y="548"/>
                  </a:cubicBezTo>
                  <a:cubicBezTo>
                    <a:pt x="916" y="498"/>
                    <a:pt x="870" y="462"/>
                    <a:pt x="816" y="462"/>
                  </a:cubicBezTo>
                  <a:cubicBezTo>
                    <a:pt x="785" y="462"/>
                    <a:pt x="757" y="473"/>
                    <a:pt x="735" y="492"/>
                  </a:cubicBezTo>
                  <a:cubicBezTo>
                    <a:pt x="722" y="442"/>
                    <a:pt x="675" y="404"/>
                    <a:pt x="620" y="404"/>
                  </a:cubicBezTo>
                  <a:cubicBezTo>
                    <a:pt x="591" y="404"/>
                    <a:pt x="564" y="414"/>
                    <a:pt x="544" y="431"/>
                  </a:cubicBezTo>
                  <a:cubicBezTo>
                    <a:pt x="544" y="120"/>
                    <a:pt x="544" y="120"/>
                    <a:pt x="544" y="120"/>
                  </a:cubicBezTo>
                  <a:cubicBezTo>
                    <a:pt x="544" y="54"/>
                    <a:pt x="490" y="0"/>
                    <a:pt x="424" y="0"/>
                  </a:cubicBezTo>
                  <a:cubicBezTo>
                    <a:pt x="357" y="0"/>
                    <a:pt x="304" y="54"/>
                    <a:pt x="304" y="120"/>
                  </a:cubicBezTo>
                  <a:cubicBezTo>
                    <a:pt x="304" y="774"/>
                    <a:pt x="304" y="774"/>
                    <a:pt x="304" y="774"/>
                  </a:cubicBezTo>
                  <a:cubicBezTo>
                    <a:pt x="231" y="670"/>
                    <a:pt x="231" y="670"/>
                    <a:pt x="231" y="670"/>
                  </a:cubicBezTo>
                  <a:cubicBezTo>
                    <a:pt x="195" y="619"/>
                    <a:pt x="125" y="605"/>
                    <a:pt x="72" y="637"/>
                  </a:cubicBezTo>
                  <a:cubicBezTo>
                    <a:pt x="18" y="670"/>
                    <a:pt x="0" y="739"/>
                    <a:pt x="30" y="794"/>
                  </a:cubicBezTo>
                  <a:cubicBezTo>
                    <a:pt x="278" y="1254"/>
                    <a:pt x="278" y="1254"/>
                    <a:pt x="278" y="1254"/>
                  </a:cubicBezTo>
                  <a:cubicBezTo>
                    <a:pt x="285" y="1241"/>
                    <a:pt x="298" y="1230"/>
                    <a:pt x="312" y="1225"/>
                  </a:cubicBezTo>
                  <a:cubicBezTo>
                    <a:pt x="68" y="774"/>
                    <a:pt x="68" y="774"/>
                    <a:pt x="68" y="774"/>
                  </a:cubicBezTo>
                  <a:cubicBezTo>
                    <a:pt x="50" y="739"/>
                    <a:pt x="61" y="695"/>
                    <a:pt x="95" y="675"/>
                  </a:cubicBezTo>
                  <a:cubicBezTo>
                    <a:pt x="128" y="654"/>
                    <a:pt x="172" y="664"/>
                    <a:pt x="195" y="695"/>
                  </a:cubicBezTo>
                  <a:cubicBezTo>
                    <a:pt x="308" y="856"/>
                    <a:pt x="308" y="856"/>
                    <a:pt x="308" y="856"/>
                  </a:cubicBezTo>
                  <a:cubicBezTo>
                    <a:pt x="313" y="864"/>
                    <a:pt x="323" y="868"/>
                    <a:pt x="332" y="865"/>
                  </a:cubicBezTo>
                  <a:cubicBezTo>
                    <a:pt x="341" y="862"/>
                    <a:pt x="348" y="853"/>
                    <a:pt x="348" y="844"/>
                  </a:cubicBezTo>
                  <a:cubicBezTo>
                    <a:pt x="348" y="120"/>
                    <a:pt x="348" y="120"/>
                    <a:pt x="348" y="120"/>
                  </a:cubicBezTo>
                  <a:cubicBezTo>
                    <a:pt x="348" y="78"/>
                    <a:pt x="382" y="44"/>
                    <a:pt x="424" y="44"/>
                  </a:cubicBezTo>
                  <a:cubicBezTo>
                    <a:pt x="466" y="44"/>
                    <a:pt x="500" y="78"/>
                    <a:pt x="500" y="120"/>
                  </a:cubicBezTo>
                  <a:cubicBezTo>
                    <a:pt x="500" y="524"/>
                    <a:pt x="500" y="524"/>
                    <a:pt x="500" y="524"/>
                  </a:cubicBezTo>
                  <a:cubicBezTo>
                    <a:pt x="500" y="636"/>
                    <a:pt x="500" y="636"/>
                    <a:pt x="500" y="636"/>
                  </a:cubicBezTo>
                  <a:cubicBezTo>
                    <a:pt x="500" y="647"/>
                    <a:pt x="500" y="647"/>
                    <a:pt x="500" y="647"/>
                  </a:cubicBezTo>
                  <a:cubicBezTo>
                    <a:pt x="500" y="659"/>
                    <a:pt x="510" y="669"/>
                    <a:pt x="522" y="669"/>
                  </a:cubicBezTo>
                  <a:cubicBezTo>
                    <a:pt x="534" y="669"/>
                    <a:pt x="544" y="659"/>
                    <a:pt x="544" y="647"/>
                  </a:cubicBezTo>
                  <a:cubicBezTo>
                    <a:pt x="544" y="636"/>
                    <a:pt x="544" y="636"/>
                    <a:pt x="544" y="636"/>
                  </a:cubicBezTo>
                  <a:cubicBezTo>
                    <a:pt x="544" y="524"/>
                    <a:pt x="544" y="524"/>
                    <a:pt x="544" y="524"/>
                  </a:cubicBezTo>
                  <a:cubicBezTo>
                    <a:pt x="544" y="482"/>
                    <a:pt x="578" y="448"/>
                    <a:pt x="620" y="448"/>
                  </a:cubicBezTo>
                  <a:cubicBezTo>
                    <a:pt x="662" y="448"/>
                    <a:pt x="696" y="482"/>
                    <a:pt x="696" y="524"/>
                  </a:cubicBezTo>
                  <a:cubicBezTo>
                    <a:pt x="696" y="582"/>
                    <a:pt x="696" y="582"/>
                    <a:pt x="696" y="582"/>
                  </a:cubicBezTo>
                  <a:cubicBezTo>
                    <a:pt x="696" y="621"/>
                    <a:pt x="696" y="621"/>
                    <a:pt x="696" y="621"/>
                  </a:cubicBezTo>
                  <a:cubicBezTo>
                    <a:pt x="696" y="665"/>
                    <a:pt x="696" y="665"/>
                    <a:pt x="696" y="665"/>
                  </a:cubicBezTo>
                  <a:cubicBezTo>
                    <a:pt x="696" y="677"/>
                    <a:pt x="706" y="687"/>
                    <a:pt x="718" y="687"/>
                  </a:cubicBezTo>
                  <a:cubicBezTo>
                    <a:pt x="730" y="687"/>
                    <a:pt x="740" y="677"/>
                    <a:pt x="740" y="665"/>
                  </a:cubicBezTo>
                  <a:cubicBezTo>
                    <a:pt x="740" y="621"/>
                    <a:pt x="740" y="621"/>
                    <a:pt x="740" y="621"/>
                  </a:cubicBezTo>
                  <a:cubicBezTo>
                    <a:pt x="740" y="582"/>
                    <a:pt x="740" y="582"/>
                    <a:pt x="740" y="582"/>
                  </a:cubicBezTo>
                  <a:cubicBezTo>
                    <a:pt x="740" y="540"/>
                    <a:pt x="774" y="506"/>
                    <a:pt x="816" y="506"/>
                  </a:cubicBezTo>
                  <a:cubicBezTo>
                    <a:pt x="858" y="506"/>
                    <a:pt x="892" y="540"/>
                    <a:pt x="892" y="582"/>
                  </a:cubicBezTo>
                  <a:cubicBezTo>
                    <a:pt x="892" y="636"/>
                    <a:pt x="892" y="636"/>
                    <a:pt x="892" y="636"/>
                  </a:cubicBezTo>
                  <a:cubicBezTo>
                    <a:pt x="892" y="672"/>
                    <a:pt x="892" y="672"/>
                    <a:pt x="892" y="672"/>
                  </a:cubicBezTo>
                  <a:cubicBezTo>
                    <a:pt x="892" y="691"/>
                    <a:pt x="892" y="691"/>
                    <a:pt x="892" y="691"/>
                  </a:cubicBezTo>
                  <a:cubicBezTo>
                    <a:pt x="892" y="704"/>
                    <a:pt x="902" y="713"/>
                    <a:pt x="914" y="713"/>
                  </a:cubicBezTo>
                  <a:cubicBezTo>
                    <a:pt x="926" y="713"/>
                    <a:pt x="936" y="704"/>
                    <a:pt x="936" y="691"/>
                  </a:cubicBezTo>
                  <a:cubicBezTo>
                    <a:pt x="936" y="672"/>
                    <a:pt x="936" y="672"/>
                    <a:pt x="936" y="672"/>
                  </a:cubicBezTo>
                  <a:cubicBezTo>
                    <a:pt x="936" y="636"/>
                    <a:pt x="936" y="636"/>
                    <a:pt x="936" y="636"/>
                  </a:cubicBezTo>
                  <a:cubicBezTo>
                    <a:pt x="936" y="594"/>
                    <a:pt x="970" y="560"/>
                    <a:pt x="1012" y="560"/>
                  </a:cubicBezTo>
                  <a:cubicBezTo>
                    <a:pt x="1054" y="560"/>
                    <a:pt x="1088" y="594"/>
                    <a:pt x="1088" y="636"/>
                  </a:cubicBezTo>
                  <a:cubicBezTo>
                    <a:pt x="1088" y="981"/>
                    <a:pt x="1088" y="981"/>
                    <a:pt x="1088" y="981"/>
                  </a:cubicBezTo>
                  <a:cubicBezTo>
                    <a:pt x="1088" y="1014"/>
                    <a:pt x="1088" y="1110"/>
                    <a:pt x="1001" y="1224"/>
                  </a:cubicBezTo>
                  <a:cubicBezTo>
                    <a:pt x="1015" y="1229"/>
                    <a:pt x="1027" y="1239"/>
                    <a:pt x="1035" y="1252"/>
                  </a:cubicBezTo>
                  <a:cubicBezTo>
                    <a:pt x="1100" y="1167"/>
                    <a:pt x="1132" y="1078"/>
                    <a:pt x="1132" y="981"/>
                  </a:cubicBezTo>
                  <a:cubicBezTo>
                    <a:pt x="1132" y="636"/>
                    <a:pt x="1132" y="636"/>
                    <a:pt x="1132" y="636"/>
                  </a:cubicBezTo>
                  <a:cubicBezTo>
                    <a:pt x="1132" y="570"/>
                    <a:pt x="1078" y="516"/>
                    <a:pt x="1012" y="5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6">
              <a:extLst>
                <a:ext uri="{FF2B5EF4-FFF2-40B4-BE49-F238E27FC236}">
                  <a16:creationId xmlns:a16="http://schemas.microsoft.com/office/drawing/2014/main" id="{388ADCE8-0FF9-6E24-DE7C-FCF4BEAE7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5" y="420"/>
              <a:ext cx="1523" cy="3456"/>
            </a:xfrm>
            <a:custGeom>
              <a:avLst/>
              <a:gdLst>
                <a:gd name="T0" fmla="*/ 472 w 813"/>
                <a:gd name="T1" fmla="*/ 236 h 1843"/>
                <a:gd name="T2" fmla="*/ 401 w 813"/>
                <a:gd name="T3" fmla="*/ 405 h 1843"/>
                <a:gd name="T4" fmla="*/ 401 w 813"/>
                <a:gd name="T5" fmla="*/ 334 h 1843"/>
                <a:gd name="T6" fmla="*/ 237 w 813"/>
                <a:gd name="T7" fmla="*/ 170 h 1843"/>
                <a:gd name="T8" fmla="*/ 73 w 813"/>
                <a:gd name="T9" fmla="*/ 334 h 1843"/>
                <a:gd name="T10" fmla="*/ 73 w 813"/>
                <a:gd name="T11" fmla="*/ 407 h 1843"/>
                <a:gd name="T12" fmla="*/ 0 w 813"/>
                <a:gd name="T13" fmla="*/ 236 h 1843"/>
                <a:gd name="T14" fmla="*/ 236 w 813"/>
                <a:gd name="T15" fmla="*/ 0 h 1843"/>
                <a:gd name="T16" fmla="*/ 472 w 813"/>
                <a:gd name="T17" fmla="*/ 236 h 1843"/>
                <a:gd name="T18" fmla="*/ 813 w 813"/>
                <a:gd name="T19" fmla="*/ 1500 h 1843"/>
                <a:gd name="T20" fmla="*/ 791 w 813"/>
                <a:gd name="T21" fmla="*/ 1478 h 1843"/>
                <a:gd name="T22" fmla="*/ 149 w 813"/>
                <a:gd name="T23" fmla="*/ 1478 h 1843"/>
                <a:gd name="T24" fmla="*/ 127 w 813"/>
                <a:gd name="T25" fmla="*/ 1500 h 1843"/>
                <a:gd name="T26" fmla="*/ 127 w 813"/>
                <a:gd name="T27" fmla="*/ 1821 h 1843"/>
                <a:gd name="T28" fmla="*/ 149 w 813"/>
                <a:gd name="T29" fmla="*/ 1843 h 1843"/>
                <a:gd name="T30" fmla="*/ 791 w 813"/>
                <a:gd name="T31" fmla="*/ 1843 h 1843"/>
                <a:gd name="T32" fmla="*/ 813 w 813"/>
                <a:gd name="T33" fmla="*/ 1821 h 1843"/>
                <a:gd name="T34" fmla="*/ 813 w 813"/>
                <a:gd name="T35" fmla="*/ 1500 h 1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3" h="1843">
                  <a:moveTo>
                    <a:pt x="472" y="236"/>
                  </a:moveTo>
                  <a:cubicBezTo>
                    <a:pt x="472" y="302"/>
                    <a:pt x="445" y="362"/>
                    <a:pt x="401" y="405"/>
                  </a:cubicBezTo>
                  <a:cubicBezTo>
                    <a:pt x="401" y="334"/>
                    <a:pt x="401" y="334"/>
                    <a:pt x="401" y="334"/>
                  </a:cubicBezTo>
                  <a:cubicBezTo>
                    <a:pt x="401" y="244"/>
                    <a:pt x="327" y="170"/>
                    <a:pt x="237" y="170"/>
                  </a:cubicBezTo>
                  <a:cubicBezTo>
                    <a:pt x="146" y="170"/>
                    <a:pt x="73" y="244"/>
                    <a:pt x="73" y="334"/>
                  </a:cubicBezTo>
                  <a:cubicBezTo>
                    <a:pt x="73" y="407"/>
                    <a:pt x="73" y="407"/>
                    <a:pt x="73" y="407"/>
                  </a:cubicBezTo>
                  <a:cubicBezTo>
                    <a:pt x="28" y="364"/>
                    <a:pt x="0" y="303"/>
                    <a:pt x="0" y="236"/>
                  </a:cubicBezTo>
                  <a:cubicBezTo>
                    <a:pt x="0" y="106"/>
                    <a:pt x="106" y="0"/>
                    <a:pt x="236" y="0"/>
                  </a:cubicBezTo>
                  <a:cubicBezTo>
                    <a:pt x="366" y="0"/>
                    <a:pt x="472" y="106"/>
                    <a:pt x="472" y="236"/>
                  </a:cubicBezTo>
                  <a:close/>
                  <a:moveTo>
                    <a:pt x="813" y="1500"/>
                  </a:moveTo>
                  <a:cubicBezTo>
                    <a:pt x="813" y="1488"/>
                    <a:pt x="803" y="1478"/>
                    <a:pt x="791" y="1478"/>
                  </a:cubicBezTo>
                  <a:cubicBezTo>
                    <a:pt x="149" y="1478"/>
                    <a:pt x="149" y="1478"/>
                    <a:pt x="149" y="1478"/>
                  </a:cubicBezTo>
                  <a:cubicBezTo>
                    <a:pt x="136" y="1478"/>
                    <a:pt x="127" y="1488"/>
                    <a:pt x="127" y="1500"/>
                  </a:cubicBezTo>
                  <a:cubicBezTo>
                    <a:pt x="127" y="1821"/>
                    <a:pt x="127" y="1821"/>
                    <a:pt x="127" y="1821"/>
                  </a:cubicBezTo>
                  <a:cubicBezTo>
                    <a:pt x="127" y="1833"/>
                    <a:pt x="136" y="1843"/>
                    <a:pt x="149" y="1843"/>
                  </a:cubicBezTo>
                  <a:cubicBezTo>
                    <a:pt x="791" y="1843"/>
                    <a:pt x="791" y="1843"/>
                    <a:pt x="791" y="1843"/>
                  </a:cubicBezTo>
                  <a:cubicBezTo>
                    <a:pt x="803" y="1843"/>
                    <a:pt x="813" y="1833"/>
                    <a:pt x="813" y="1821"/>
                  </a:cubicBezTo>
                  <a:lnTo>
                    <a:pt x="813" y="15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9" name="Freeform 30">
            <a:extLst>
              <a:ext uri="{FF2B5EF4-FFF2-40B4-BE49-F238E27FC236}">
                <a16:creationId xmlns:a16="http://schemas.microsoft.com/office/drawing/2014/main" id="{859E9282-C999-C594-2EEF-AA915B485DF3}"/>
              </a:ext>
            </a:extLst>
          </p:cNvPr>
          <p:cNvSpPr>
            <a:spLocks/>
          </p:cNvSpPr>
          <p:nvPr/>
        </p:nvSpPr>
        <p:spPr bwMode="auto">
          <a:xfrm>
            <a:off x="2193101" y="2701511"/>
            <a:ext cx="493687" cy="520721"/>
          </a:xfrm>
          <a:custGeom>
            <a:avLst/>
            <a:gdLst>
              <a:gd name="T0" fmla="*/ 340 w 419"/>
              <a:gd name="T1" fmla="*/ 23 h 463"/>
              <a:gd name="T2" fmla="*/ 331 w 419"/>
              <a:gd name="T3" fmla="*/ 47 h 463"/>
              <a:gd name="T4" fmla="*/ 338 w 419"/>
              <a:gd name="T5" fmla="*/ 54 h 463"/>
              <a:gd name="T6" fmla="*/ 359 w 419"/>
              <a:gd name="T7" fmla="*/ 61 h 463"/>
              <a:gd name="T8" fmla="*/ 359 w 419"/>
              <a:gd name="T9" fmla="*/ 75 h 463"/>
              <a:gd name="T10" fmla="*/ 373 w 419"/>
              <a:gd name="T11" fmla="*/ 91 h 463"/>
              <a:gd name="T12" fmla="*/ 370 w 419"/>
              <a:gd name="T13" fmla="*/ 102 h 463"/>
              <a:gd name="T14" fmla="*/ 352 w 419"/>
              <a:gd name="T15" fmla="*/ 119 h 463"/>
              <a:gd name="T16" fmla="*/ 352 w 419"/>
              <a:gd name="T17" fmla="*/ 135 h 463"/>
              <a:gd name="T18" fmla="*/ 342 w 419"/>
              <a:gd name="T19" fmla="*/ 156 h 463"/>
              <a:gd name="T20" fmla="*/ 345 w 419"/>
              <a:gd name="T21" fmla="*/ 189 h 463"/>
              <a:gd name="T22" fmla="*/ 354 w 419"/>
              <a:gd name="T23" fmla="*/ 207 h 463"/>
              <a:gd name="T24" fmla="*/ 359 w 419"/>
              <a:gd name="T25" fmla="*/ 226 h 463"/>
              <a:gd name="T26" fmla="*/ 363 w 419"/>
              <a:gd name="T27" fmla="*/ 240 h 463"/>
              <a:gd name="T28" fmla="*/ 373 w 419"/>
              <a:gd name="T29" fmla="*/ 249 h 463"/>
              <a:gd name="T30" fmla="*/ 389 w 419"/>
              <a:gd name="T31" fmla="*/ 263 h 463"/>
              <a:gd name="T32" fmla="*/ 340 w 419"/>
              <a:gd name="T33" fmla="*/ 352 h 463"/>
              <a:gd name="T34" fmla="*/ 326 w 419"/>
              <a:gd name="T35" fmla="*/ 368 h 463"/>
              <a:gd name="T36" fmla="*/ 319 w 419"/>
              <a:gd name="T37" fmla="*/ 389 h 463"/>
              <a:gd name="T38" fmla="*/ 319 w 419"/>
              <a:gd name="T39" fmla="*/ 410 h 463"/>
              <a:gd name="T40" fmla="*/ 305 w 419"/>
              <a:gd name="T41" fmla="*/ 421 h 463"/>
              <a:gd name="T42" fmla="*/ 289 w 419"/>
              <a:gd name="T43" fmla="*/ 419 h 463"/>
              <a:gd name="T44" fmla="*/ 272 w 419"/>
              <a:gd name="T45" fmla="*/ 403 h 463"/>
              <a:gd name="T46" fmla="*/ 256 w 419"/>
              <a:gd name="T47" fmla="*/ 405 h 463"/>
              <a:gd name="T48" fmla="*/ 235 w 419"/>
              <a:gd name="T49" fmla="*/ 419 h 463"/>
              <a:gd name="T50" fmla="*/ 233 w 419"/>
              <a:gd name="T51" fmla="*/ 442 h 463"/>
              <a:gd name="T52" fmla="*/ 224 w 419"/>
              <a:gd name="T53" fmla="*/ 461 h 463"/>
              <a:gd name="T54" fmla="*/ 205 w 419"/>
              <a:gd name="T55" fmla="*/ 449 h 463"/>
              <a:gd name="T56" fmla="*/ 184 w 419"/>
              <a:gd name="T57" fmla="*/ 433 h 463"/>
              <a:gd name="T58" fmla="*/ 172 w 419"/>
              <a:gd name="T59" fmla="*/ 414 h 463"/>
              <a:gd name="T60" fmla="*/ 179 w 419"/>
              <a:gd name="T61" fmla="*/ 400 h 463"/>
              <a:gd name="T62" fmla="*/ 170 w 419"/>
              <a:gd name="T63" fmla="*/ 379 h 463"/>
              <a:gd name="T64" fmla="*/ 168 w 419"/>
              <a:gd name="T65" fmla="*/ 361 h 463"/>
              <a:gd name="T66" fmla="*/ 168 w 419"/>
              <a:gd name="T67" fmla="*/ 335 h 463"/>
              <a:gd name="T68" fmla="*/ 172 w 419"/>
              <a:gd name="T69" fmla="*/ 312 h 463"/>
              <a:gd name="T70" fmla="*/ 161 w 419"/>
              <a:gd name="T71" fmla="*/ 272 h 463"/>
              <a:gd name="T72" fmla="*/ 147 w 419"/>
              <a:gd name="T73" fmla="*/ 258 h 463"/>
              <a:gd name="T74" fmla="*/ 154 w 419"/>
              <a:gd name="T75" fmla="*/ 237 h 463"/>
              <a:gd name="T76" fmla="*/ 133 w 419"/>
              <a:gd name="T77" fmla="*/ 228 h 463"/>
              <a:gd name="T78" fmla="*/ 121 w 419"/>
              <a:gd name="T79" fmla="*/ 219 h 463"/>
              <a:gd name="T80" fmla="*/ 105 w 419"/>
              <a:gd name="T81" fmla="*/ 207 h 463"/>
              <a:gd name="T82" fmla="*/ 65 w 419"/>
              <a:gd name="T83" fmla="*/ 200 h 463"/>
              <a:gd name="T84" fmla="*/ 61 w 419"/>
              <a:gd name="T85" fmla="*/ 182 h 463"/>
              <a:gd name="T86" fmla="*/ 44 w 419"/>
              <a:gd name="T87" fmla="*/ 142 h 463"/>
              <a:gd name="T88" fmla="*/ 35 w 419"/>
              <a:gd name="T89" fmla="*/ 114 h 463"/>
              <a:gd name="T90" fmla="*/ 9 w 419"/>
              <a:gd name="T91" fmla="*/ 88 h 463"/>
              <a:gd name="T92" fmla="*/ 5 w 419"/>
              <a:gd name="T93" fmla="*/ 75 h 463"/>
              <a:gd name="T94" fmla="*/ 47 w 419"/>
              <a:gd name="T95" fmla="*/ 84 h 463"/>
              <a:gd name="T96" fmla="*/ 65 w 419"/>
              <a:gd name="T97" fmla="*/ 98 h 463"/>
              <a:gd name="T98" fmla="*/ 91 w 419"/>
              <a:gd name="T99" fmla="*/ 100 h 463"/>
              <a:gd name="T100" fmla="*/ 112 w 419"/>
              <a:gd name="T101" fmla="*/ 100 h 463"/>
              <a:gd name="T102" fmla="*/ 137 w 419"/>
              <a:gd name="T103" fmla="*/ 121 h 463"/>
              <a:gd name="T104" fmla="*/ 147 w 419"/>
              <a:gd name="T105" fmla="*/ 102 h 463"/>
              <a:gd name="T106" fmla="*/ 149 w 419"/>
              <a:gd name="T107" fmla="*/ 88 h 463"/>
              <a:gd name="T108" fmla="*/ 165 w 419"/>
              <a:gd name="T109" fmla="*/ 79 h 463"/>
              <a:gd name="T110" fmla="*/ 203 w 419"/>
              <a:gd name="T111" fmla="*/ 79 h 463"/>
              <a:gd name="T112" fmla="*/ 224 w 419"/>
              <a:gd name="T113" fmla="*/ 72 h 463"/>
              <a:gd name="T114" fmla="*/ 238 w 419"/>
              <a:gd name="T115" fmla="*/ 61 h 463"/>
              <a:gd name="T116" fmla="*/ 254 w 419"/>
              <a:gd name="T117" fmla="*/ 54 h 463"/>
              <a:gd name="T118" fmla="*/ 275 w 419"/>
              <a:gd name="T119" fmla="*/ 44 h 463"/>
              <a:gd name="T120" fmla="*/ 293 w 419"/>
              <a:gd name="T121" fmla="*/ 7 h 463"/>
              <a:gd name="T122" fmla="*/ 307 w 419"/>
              <a:gd name="T123" fmla="*/ 7 h 463"/>
              <a:gd name="T124" fmla="*/ 328 w 419"/>
              <a:gd name="T125" fmla="*/ 2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19" h="463">
                <a:moveTo>
                  <a:pt x="335" y="7"/>
                </a:moveTo>
                <a:lnTo>
                  <a:pt x="335" y="9"/>
                </a:lnTo>
                <a:lnTo>
                  <a:pt x="338" y="9"/>
                </a:lnTo>
                <a:lnTo>
                  <a:pt x="340" y="12"/>
                </a:lnTo>
                <a:lnTo>
                  <a:pt x="342" y="12"/>
                </a:lnTo>
                <a:lnTo>
                  <a:pt x="342" y="14"/>
                </a:lnTo>
                <a:lnTo>
                  <a:pt x="340" y="19"/>
                </a:lnTo>
                <a:lnTo>
                  <a:pt x="340" y="21"/>
                </a:lnTo>
                <a:lnTo>
                  <a:pt x="340" y="23"/>
                </a:lnTo>
                <a:lnTo>
                  <a:pt x="340" y="26"/>
                </a:lnTo>
                <a:lnTo>
                  <a:pt x="340" y="30"/>
                </a:lnTo>
                <a:lnTo>
                  <a:pt x="338" y="33"/>
                </a:lnTo>
                <a:lnTo>
                  <a:pt x="338" y="37"/>
                </a:lnTo>
                <a:lnTo>
                  <a:pt x="338" y="40"/>
                </a:lnTo>
                <a:lnTo>
                  <a:pt x="335" y="44"/>
                </a:lnTo>
                <a:lnTo>
                  <a:pt x="335" y="47"/>
                </a:lnTo>
                <a:lnTo>
                  <a:pt x="333" y="47"/>
                </a:lnTo>
                <a:lnTo>
                  <a:pt x="331" y="47"/>
                </a:lnTo>
                <a:lnTo>
                  <a:pt x="328" y="49"/>
                </a:lnTo>
                <a:lnTo>
                  <a:pt x="328" y="51"/>
                </a:lnTo>
                <a:lnTo>
                  <a:pt x="331" y="51"/>
                </a:lnTo>
                <a:lnTo>
                  <a:pt x="331" y="54"/>
                </a:lnTo>
                <a:lnTo>
                  <a:pt x="333" y="54"/>
                </a:lnTo>
                <a:lnTo>
                  <a:pt x="333" y="51"/>
                </a:lnTo>
                <a:lnTo>
                  <a:pt x="335" y="51"/>
                </a:lnTo>
                <a:lnTo>
                  <a:pt x="335" y="54"/>
                </a:lnTo>
                <a:lnTo>
                  <a:pt x="338" y="54"/>
                </a:lnTo>
                <a:lnTo>
                  <a:pt x="340" y="54"/>
                </a:lnTo>
                <a:lnTo>
                  <a:pt x="342" y="54"/>
                </a:lnTo>
                <a:lnTo>
                  <a:pt x="345" y="54"/>
                </a:lnTo>
                <a:lnTo>
                  <a:pt x="347" y="56"/>
                </a:lnTo>
                <a:lnTo>
                  <a:pt x="349" y="56"/>
                </a:lnTo>
                <a:lnTo>
                  <a:pt x="352" y="56"/>
                </a:lnTo>
                <a:lnTo>
                  <a:pt x="354" y="56"/>
                </a:lnTo>
                <a:lnTo>
                  <a:pt x="356" y="58"/>
                </a:lnTo>
                <a:lnTo>
                  <a:pt x="359" y="61"/>
                </a:lnTo>
                <a:lnTo>
                  <a:pt x="361" y="61"/>
                </a:lnTo>
                <a:lnTo>
                  <a:pt x="361" y="63"/>
                </a:lnTo>
                <a:lnTo>
                  <a:pt x="363" y="63"/>
                </a:lnTo>
                <a:lnTo>
                  <a:pt x="363" y="65"/>
                </a:lnTo>
                <a:lnTo>
                  <a:pt x="361" y="68"/>
                </a:lnTo>
                <a:lnTo>
                  <a:pt x="359" y="70"/>
                </a:lnTo>
                <a:lnTo>
                  <a:pt x="361" y="70"/>
                </a:lnTo>
                <a:lnTo>
                  <a:pt x="359" y="72"/>
                </a:lnTo>
                <a:lnTo>
                  <a:pt x="359" y="75"/>
                </a:lnTo>
                <a:lnTo>
                  <a:pt x="361" y="77"/>
                </a:lnTo>
                <a:lnTo>
                  <a:pt x="366" y="79"/>
                </a:lnTo>
                <a:lnTo>
                  <a:pt x="366" y="81"/>
                </a:lnTo>
                <a:lnTo>
                  <a:pt x="366" y="84"/>
                </a:lnTo>
                <a:lnTo>
                  <a:pt x="368" y="86"/>
                </a:lnTo>
                <a:lnTo>
                  <a:pt x="368" y="88"/>
                </a:lnTo>
                <a:lnTo>
                  <a:pt x="370" y="88"/>
                </a:lnTo>
                <a:lnTo>
                  <a:pt x="370" y="91"/>
                </a:lnTo>
                <a:lnTo>
                  <a:pt x="373" y="91"/>
                </a:lnTo>
                <a:lnTo>
                  <a:pt x="373" y="93"/>
                </a:lnTo>
                <a:lnTo>
                  <a:pt x="375" y="93"/>
                </a:lnTo>
                <a:lnTo>
                  <a:pt x="373" y="93"/>
                </a:lnTo>
                <a:lnTo>
                  <a:pt x="373" y="95"/>
                </a:lnTo>
                <a:lnTo>
                  <a:pt x="370" y="95"/>
                </a:lnTo>
                <a:lnTo>
                  <a:pt x="370" y="98"/>
                </a:lnTo>
                <a:lnTo>
                  <a:pt x="368" y="100"/>
                </a:lnTo>
                <a:lnTo>
                  <a:pt x="370" y="100"/>
                </a:lnTo>
                <a:lnTo>
                  <a:pt x="370" y="102"/>
                </a:lnTo>
                <a:lnTo>
                  <a:pt x="368" y="105"/>
                </a:lnTo>
                <a:lnTo>
                  <a:pt x="366" y="105"/>
                </a:lnTo>
                <a:lnTo>
                  <a:pt x="363" y="107"/>
                </a:lnTo>
                <a:lnTo>
                  <a:pt x="363" y="109"/>
                </a:lnTo>
                <a:lnTo>
                  <a:pt x="363" y="112"/>
                </a:lnTo>
                <a:lnTo>
                  <a:pt x="361" y="112"/>
                </a:lnTo>
                <a:lnTo>
                  <a:pt x="359" y="114"/>
                </a:lnTo>
                <a:lnTo>
                  <a:pt x="352" y="116"/>
                </a:lnTo>
                <a:lnTo>
                  <a:pt x="352" y="119"/>
                </a:lnTo>
                <a:lnTo>
                  <a:pt x="352" y="121"/>
                </a:lnTo>
                <a:lnTo>
                  <a:pt x="354" y="123"/>
                </a:lnTo>
                <a:lnTo>
                  <a:pt x="354" y="126"/>
                </a:lnTo>
                <a:lnTo>
                  <a:pt x="352" y="128"/>
                </a:lnTo>
                <a:lnTo>
                  <a:pt x="352" y="130"/>
                </a:lnTo>
                <a:lnTo>
                  <a:pt x="354" y="128"/>
                </a:lnTo>
                <a:lnTo>
                  <a:pt x="354" y="133"/>
                </a:lnTo>
                <a:lnTo>
                  <a:pt x="354" y="135"/>
                </a:lnTo>
                <a:lnTo>
                  <a:pt x="352" y="135"/>
                </a:lnTo>
                <a:lnTo>
                  <a:pt x="352" y="137"/>
                </a:lnTo>
                <a:lnTo>
                  <a:pt x="349" y="140"/>
                </a:lnTo>
                <a:lnTo>
                  <a:pt x="347" y="144"/>
                </a:lnTo>
                <a:lnTo>
                  <a:pt x="347" y="147"/>
                </a:lnTo>
                <a:lnTo>
                  <a:pt x="347" y="149"/>
                </a:lnTo>
                <a:lnTo>
                  <a:pt x="347" y="151"/>
                </a:lnTo>
                <a:lnTo>
                  <a:pt x="345" y="151"/>
                </a:lnTo>
                <a:lnTo>
                  <a:pt x="345" y="154"/>
                </a:lnTo>
                <a:lnTo>
                  <a:pt x="342" y="156"/>
                </a:lnTo>
                <a:lnTo>
                  <a:pt x="342" y="158"/>
                </a:lnTo>
                <a:lnTo>
                  <a:pt x="342" y="161"/>
                </a:lnTo>
                <a:lnTo>
                  <a:pt x="342" y="163"/>
                </a:lnTo>
                <a:lnTo>
                  <a:pt x="342" y="170"/>
                </a:lnTo>
                <a:lnTo>
                  <a:pt x="340" y="179"/>
                </a:lnTo>
                <a:lnTo>
                  <a:pt x="342" y="182"/>
                </a:lnTo>
                <a:lnTo>
                  <a:pt x="342" y="186"/>
                </a:lnTo>
                <a:lnTo>
                  <a:pt x="342" y="189"/>
                </a:lnTo>
                <a:lnTo>
                  <a:pt x="345" y="189"/>
                </a:lnTo>
                <a:lnTo>
                  <a:pt x="345" y="191"/>
                </a:lnTo>
                <a:lnTo>
                  <a:pt x="345" y="193"/>
                </a:lnTo>
                <a:lnTo>
                  <a:pt x="347" y="196"/>
                </a:lnTo>
                <a:lnTo>
                  <a:pt x="347" y="198"/>
                </a:lnTo>
                <a:lnTo>
                  <a:pt x="347" y="200"/>
                </a:lnTo>
                <a:lnTo>
                  <a:pt x="347" y="203"/>
                </a:lnTo>
                <a:lnTo>
                  <a:pt x="349" y="205"/>
                </a:lnTo>
                <a:lnTo>
                  <a:pt x="352" y="205"/>
                </a:lnTo>
                <a:lnTo>
                  <a:pt x="354" y="207"/>
                </a:lnTo>
                <a:lnTo>
                  <a:pt x="356" y="207"/>
                </a:lnTo>
                <a:lnTo>
                  <a:pt x="356" y="210"/>
                </a:lnTo>
                <a:lnTo>
                  <a:pt x="359" y="210"/>
                </a:lnTo>
                <a:lnTo>
                  <a:pt x="359" y="212"/>
                </a:lnTo>
                <a:lnTo>
                  <a:pt x="359" y="214"/>
                </a:lnTo>
                <a:lnTo>
                  <a:pt x="359" y="219"/>
                </a:lnTo>
                <a:lnTo>
                  <a:pt x="359" y="221"/>
                </a:lnTo>
                <a:lnTo>
                  <a:pt x="359" y="224"/>
                </a:lnTo>
                <a:lnTo>
                  <a:pt x="359" y="226"/>
                </a:lnTo>
                <a:lnTo>
                  <a:pt x="359" y="228"/>
                </a:lnTo>
                <a:lnTo>
                  <a:pt x="359" y="230"/>
                </a:lnTo>
                <a:lnTo>
                  <a:pt x="359" y="233"/>
                </a:lnTo>
                <a:lnTo>
                  <a:pt x="356" y="235"/>
                </a:lnTo>
                <a:lnTo>
                  <a:pt x="356" y="237"/>
                </a:lnTo>
                <a:lnTo>
                  <a:pt x="359" y="237"/>
                </a:lnTo>
                <a:lnTo>
                  <a:pt x="359" y="240"/>
                </a:lnTo>
                <a:lnTo>
                  <a:pt x="361" y="237"/>
                </a:lnTo>
                <a:lnTo>
                  <a:pt x="363" y="240"/>
                </a:lnTo>
                <a:lnTo>
                  <a:pt x="366" y="240"/>
                </a:lnTo>
                <a:lnTo>
                  <a:pt x="363" y="242"/>
                </a:lnTo>
                <a:lnTo>
                  <a:pt x="363" y="244"/>
                </a:lnTo>
                <a:lnTo>
                  <a:pt x="366" y="247"/>
                </a:lnTo>
                <a:lnTo>
                  <a:pt x="368" y="249"/>
                </a:lnTo>
                <a:lnTo>
                  <a:pt x="368" y="247"/>
                </a:lnTo>
                <a:lnTo>
                  <a:pt x="370" y="247"/>
                </a:lnTo>
                <a:lnTo>
                  <a:pt x="373" y="247"/>
                </a:lnTo>
                <a:lnTo>
                  <a:pt x="373" y="249"/>
                </a:lnTo>
                <a:lnTo>
                  <a:pt x="375" y="251"/>
                </a:lnTo>
                <a:lnTo>
                  <a:pt x="377" y="254"/>
                </a:lnTo>
                <a:lnTo>
                  <a:pt x="379" y="256"/>
                </a:lnTo>
                <a:lnTo>
                  <a:pt x="382" y="258"/>
                </a:lnTo>
                <a:lnTo>
                  <a:pt x="382" y="261"/>
                </a:lnTo>
                <a:lnTo>
                  <a:pt x="384" y="261"/>
                </a:lnTo>
                <a:lnTo>
                  <a:pt x="386" y="261"/>
                </a:lnTo>
                <a:lnTo>
                  <a:pt x="386" y="263"/>
                </a:lnTo>
                <a:lnTo>
                  <a:pt x="389" y="263"/>
                </a:lnTo>
                <a:lnTo>
                  <a:pt x="389" y="265"/>
                </a:lnTo>
                <a:lnTo>
                  <a:pt x="391" y="270"/>
                </a:lnTo>
                <a:lnTo>
                  <a:pt x="393" y="272"/>
                </a:lnTo>
                <a:lnTo>
                  <a:pt x="398" y="272"/>
                </a:lnTo>
                <a:lnTo>
                  <a:pt x="410" y="275"/>
                </a:lnTo>
                <a:lnTo>
                  <a:pt x="412" y="277"/>
                </a:lnTo>
                <a:lnTo>
                  <a:pt x="419" y="352"/>
                </a:lnTo>
                <a:lnTo>
                  <a:pt x="356" y="349"/>
                </a:lnTo>
                <a:lnTo>
                  <a:pt x="340" y="352"/>
                </a:lnTo>
                <a:lnTo>
                  <a:pt x="338" y="352"/>
                </a:lnTo>
                <a:lnTo>
                  <a:pt x="338" y="354"/>
                </a:lnTo>
                <a:lnTo>
                  <a:pt x="335" y="354"/>
                </a:lnTo>
                <a:lnTo>
                  <a:pt x="335" y="356"/>
                </a:lnTo>
                <a:lnTo>
                  <a:pt x="333" y="356"/>
                </a:lnTo>
                <a:lnTo>
                  <a:pt x="331" y="359"/>
                </a:lnTo>
                <a:lnTo>
                  <a:pt x="331" y="361"/>
                </a:lnTo>
                <a:lnTo>
                  <a:pt x="328" y="366"/>
                </a:lnTo>
                <a:lnTo>
                  <a:pt x="326" y="368"/>
                </a:lnTo>
                <a:lnTo>
                  <a:pt x="326" y="370"/>
                </a:lnTo>
                <a:lnTo>
                  <a:pt x="324" y="372"/>
                </a:lnTo>
                <a:lnTo>
                  <a:pt x="324" y="375"/>
                </a:lnTo>
                <a:lnTo>
                  <a:pt x="324" y="377"/>
                </a:lnTo>
                <a:lnTo>
                  <a:pt x="321" y="379"/>
                </a:lnTo>
                <a:lnTo>
                  <a:pt x="319" y="379"/>
                </a:lnTo>
                <a:lnTo>
                  <a:pt x="319" y="382"/>
                </a:lnTo>
                <a:lnTo>
                  <a:pt x="319" y="386"/>
                </a:lnTo>
                <a:lnTo>
                  <a:pt x="319" y="389"/>
                </a:lnTo>
                <a:lnTo>
                  <a:pt x="317" y="391"/>
                </a:lnTo>
                <a:lnTo>
                  <a:pt x="317" y="393"/>
                </a:lnTo>
                <a:lnTo>
                  <a:pt x="317" y="396"/>
                </a:lnTo>
                <a:lnTo>
                  <a:pt x="314" y="396"/>
                </a:lnTo>
                <a:lnTo>
                  <a:pt x="314" y="398"/>
                </a:lnTo>
                <a:lnTo>
                  <a:pt x="314" y="400"/>
                </a:lnTo>
                <a:lnTo>
                  <a:pt x="314" y="403"/>
                </a:lnTo>
                <a:lnTo>
                  <a:pt x="319" y="407"/>
                </a:lnTo>
                <a:lnTo>
                  <a:pt x="319" y="410"/>
                </a:lnTo>
                <a:lnTo>
                  <a:pt x="319" y="412"/>
                </a:lnTo>
                <a:lnTo>
                  <a:pt x="319" y="414"/>
                </a:lnTo>
                <a:lnTo>
                  <a:pt x="317" y="414"/>
                </a:lnTo>
                <a:lnTo>
                  <a:pt x="314" y="414"/>
                </a:lnTo>
                <a:lnTo>
                  <a:pt x="310" y="417"/>
                </a:lnTo>
                <a:lnTo>
                  <a:pt x="307" y="417"/>
                </a:lnTo>
                <a:lnTo>
                  <a:pt x="307" y="419"/>
                </a:lnTo>
                <a:lnTo>
                  <a:pt x="307" y="421"/>
                </a:lnTo>
                <a:lnTo>
                  <a:pt x="305" y="421"/>
                </a:lnTo>
                <a:lnTo>
                  <a:pt x="305" y="424"/>
                </a:lnTo>
                <a:lnTo>
                  <a:pt x="303" y="421"/>
                </a:lnTo>
                <a:lnTo>
                  <a:pt x="300" y="424"/>
                </a:lnTo>
                <a:lnTo>
                  <a:pt x="298" y="424"/>
                </a:lnTo>
                <a:lnTo>
                  <a:pt x="296" y="424"/>
                </a:lnTo>
                <a:lnTo>
                  <a:pt x="291" y="424"/>
                </a:lnTo>
                <a:lnTo>
                  <a:pt x="289" y="424"/>
                </a:lnTo>
                <a:lnTo>
                  <a:pt x="289" y="421"/>
                </a:lnTo>
                <a:lnTo>
                  <a:pt x="289" y="419"/>
                </a:lnTo>
                <a:lnTo>
                  <a:pt x="289" y="417"/>
                </a:lnTo>
                <a:lnTo>
                  <a:pt x="286" y="414"/>
                </a:lnTo>
                <a:lnTo>
                  <a:pt x="284" y="412"/>
                </a:lnTo>
                <a:lnTo>
                  <a:pt x="282" y="410"/>
                </a:lnTo>
                <a:lnTo>
                  <a:pt x="279" y="407"/>
                </a:lnTo>
                <a:lnTo>
                  <a:pt x="277" y="405"/>
                </a:lnTo>
                <a:lnTo>
                  <a:pt x="277" y="403"/>
                </a:lnTo>
                <a:lnTo>
                  <a:pt x="275" y="403"/>
                </a:lnTo>
                <a:lnTo>
                  <a:pt x="272" y="403"/>
                </a:lnTo>
                <a:lnTo>
                  <a:pt x="268" y="403"/>
                </a:lnTo>
                <a:lnTo>
                  <a:pt x="268" y="400"/>
                </a:lnTo>
                <a:lnTo>
                  <a:pt x="265" y="400"/>
                </a:lnTo>
                <a:lnTo>
                  <a:pt x="263" y="400"/>
                </a:lnTo>
                <a:lnTo>
                  <a:pt x="261" y="400"/>
                </a:lnTo>
                <a:lnTo>
                  <a:pt x="258" y="400"/>
                </a:lnTo>
                <a:lnTo>
                  <a:pt x="256" y="400"/>
                </a:lnTo>
                <a:lnTo>
                  <a:pt x="256" y="403"/>
                </a:lnTo>
                <a:lnTo>
                  <a:pt x="256" y="405"/>
                </a:lnTo>
                <a:lnTo>
                  <a:pt x="254" y="405"/>
                </a:lnTo>
                <a:lnTo>
                  <a:pt x="249" y="407"/>
                </a:lnTo>
                <a:lnTo>
                  <a:pt x="247" y="407"/>
                </a:lnTo>
                <a:lnTo>
                  <a:pt x="242" y="410"/>
                </a:lnTo>
                <a:lnTo>
                  <a:pt x="240" y="410"/>
                </a:lnTo>
                <a:lnTo>
                  <a:pt x="240" y="412"/>
                </a:lnTo>
                <a:lnTo>
                  <a:pt x="238" y="414"/>
                </a:lnTo>
                <a:lnTo>
                  <a:pt x="235" y="417"/>
                </a:lnTo>
                <a:lnTo>
                  <a:pt x="235" y="419"/>
                </a:lnTo>
                <a:lnTo>
                  <a:pt x="235" y="424"/>
                </a:lnTo>
                <a:lnTo>
                  <a:pt x="233" y="426"/>
                </a:lnTo>
                <a:lnTo>
                  <a:pt x="233" y="428"/>
                </a:lnTo>
                <a:lnTo>
                  <a:pt x="233" y="431"/>
                </a:lnTo>
                <a:lnTo>
                  <a:pt x="235" y="435"/>
                </a:lnTo>
                <a:lnTo>
                  <a:pt x="235" y="438"/>
                </a:lnTo>
                <a:lnTo>
                  <a:pt x="233" y="438"/>
                </a:lnTo>
                <a:lnTo>
                  <a:pt x="233" y="440"/>
                </a:lnTo>
                <a:lnTo>
                  <a:pt x="233" y="442"/>
                </a:lnTo>
                <a:lnTo>
                  <a:pt x="233" y="445"/>
                </a:lnTo>
                <a:lnTo>
                  <a:pt x="233" y="449"/>
                </a:lnTo>
                <a:lnTo>
                  <a:pt x="231" y="454"/>
                </a:lnTo>
                <a:lnTo>
                  <a:pt x="233" y="461"/>
                </a:lnTo>
                <a:lnTo>
                  <a:pt x="233" y="463"/>
                </a:lnTo>
                <a:lnTo>
                  <a:pt x="231" y="463"/>
                </a:lnTo>
                <a:lnTo>
                  <a:pt x="228" y="461"/>
                </a:lnTo>
                <a:lnTo>
                  <a:pt x="226" y="461"/>
                </a:lnTo>
                <a:lnTo>
                  <a:pt x="224" y="461"/>
                </a:lnTo>
                <a:lnTo>
                  <a:pt x="221" y="459"/>
                </a:lnTo>
                <a:lnTo>
                  <a:pt x="219" y="459"/>
                </a:lnTo>
                <a:lnTo>
                  <a:pt x="217" y="461"/>
                </a:lnTo>
                <a:lnTo>
                  <a:pt x="214" y="461"/>
                </a:lnTo>
                <a:lnTo>
                  <a:pt x="214" y="459"/>
                </a:lnTo>
                <a:lnTo>
                  <a:pt x="210" y="452"/>
                </a:lnTo>
                <a:lnTo>
                  <a:pt x="207" y="452"/>
                </a:lnTo>
                <a:lnTo>
                  <a:pt x="207" y="449"/>
                </a:lnTo>
                <a:lnTo>
                  <a:pt x="205" y="449"/>
                </a:lnTo>
                <a:lnTo>
                  <a:pt x="205" y="447"/>
                </a:lnTo>
                <a:lnTo>
                  <a:pt x="203" y="445"/>
                </a:lnTo>
                <a:lnTo>
                  <a:pt x="200" y="442"/>
                </a:lnTo>
                <a:lnTo>
                  <a:pt x="196" y="440"/>
                </a:lnTo>
                <a:lnTo>
                  <a:pt x="193" y="440"/>
                </a:lnTo>
                <a:lnTo>
                  <a:pt x="191" y="438"/>
                </a:lnTo>
                <a:lnTo>
                  <a:pt x="189" y="433"/>
                </a:lnTo>
                <a:lnTo>
                  <a:pt x="186" y="433"/>
                </a:lnTo>
                <a:lnTo>
                  <a:pt x="184" y="433"/>
                </a:lnTo>
                <a:lnTo>
                  <a:pt x="184" y="431"/>
                </a:lnTo>
                <a:lnTo>
                  <a:pt x="177" y="426"/>
                </a:lnTo>
                <a:lnTo>
                  <a:pt x="177" y="424"/>
                </a:lnTo>
                <a:lnTo>
                  <a:pt x="175" y="424"/>
                </a:lnTo>
                <a:lnTo>
                  <a:pt x="170" y="421"/>
                </a:lnTo>
                <a:lnTo>
                  <a:pt x="170" y="419"/>
                </a:lnTo>
                <a:lnTo>
                  <a:pt x="170" y="417"/>
                </a:lnTo>
                <a:lnTo>
                  <a:pt x="170" y="414"/>
                </a:lnTo>
                <a:lnTo>
                  <a:pt x="172" y="414"/>
                </a:lnTo>
                <a:lnTo>
                  <a:pt x="175" y="414"/>
                </a:lnTo>
                <a:lnTo>
                  <a:pt x="177" y="417"/>
                </a:lnTo>
                <a:lnTo>
                  <a:pt x="179" y="417"/>
                </a:lnTo>
                <a:lnTo>
                  <a:pt x="179" y="414"/>
                </a:lnTo>
                <a:lnTo>
                  <a:pt x="182" y="412"/>
                </a:lnTo>
                <a:lnTo>
                  <a:pt x="184" y="410"/>
                </a:lnTo>
                <a:lnTo>
                  <a:pt x="182" y="403"/>
                </a:lnTo>
                <a:lnTo>
                  <a:pt x="182" y="400"/>
                </a:lnTo>
                <a:lnTo>
                  <a:pt x="179" y="400"/>
                </a:lnTo>
                <a:lnTo>
                  <a:pt x="179" y="398"/>
                </a:lnTo>
                <a:lnTo>
                  <a:pt x="179" y="393"/>
                </a:lnTo>
                <a:lnTo>
                  <a:pt x="179" y="391"/>
                </a:lnTo>
                <a:lnTo>
                  <a:pt x="177" y="389"/>
                </a:lnTo>
                <a:lnTo>
                  <a:pt x="177" y="386"/>
                </a:lnTo>
                <a:lnTo>
                  <a:pt x="175" y="384"/>
                </a:lnTo>
                <a:lnTo>
                  <a:pt x="172" y="384"/>
                </a:lnTo>
                <a:lnTo>
                  <a:pt x="170" y="382"/>
                </a:lnTo>
                <a:lnTo>
                  <a:pt x="170" y="379"/>
                </a:lnTo>
                <a:lnTo>
                  <a:pt x="168" y="375"/>
                </a:lnTo>
                <a:lnTo>
                  <a:pt x="168" y="372"/>
                </a:lnTo>
                <a:lnTo>
                  <a:pt x="165" y="372"/>
                </a:lnTo>
                <a:lnTo>
                  <a:pt x="165" y="370"/>
                </a:lnTo>
                <a:lnTo>
                  <a:pt x="163" y="370"/>
                </a:lnTo>
                <a:lnTo>
                  <a:pt x="163" y="368"/>
                </a:lnTo>
                <a:lnTo>
                  <a:pt x="163" y="366"/>
                </a:lnTo>
                <a:lnTo>
                  <a:pt x="165" y="366"/>
                </a:lnTo>
                <a:lnTo>
                  <a:pt x="168" y="361"/>
                </a:lnTo>
                <a:lnTo>
                  <a:pt x="168" y="359"/>
                </a:lnTo>
                <a:lnTo>
                  <a:pt x="165" y="356"/>
                </a:lnTo>
                <a:lnTo>
                  <a:pt x="165" y="352"/>
                </a:lnTo>
                <a:lnTo>
                  <a:pt x="165" y="349"/>
                </a:lnTo>
                <a:lnTo>
                  <a:pt x="168" y="347"/>
                </a:lnTo>
                <a:lnTo>
                  <a:pt x="168" y="345"/>
                </a:lnTo>
                <a:lnTo>
                  <a:pt x="165" y="340"/>
                </a:lnTo>
                <a:lnTo>
                  <a:pt x="168" y="338"/>
                </a:lnTo>
                <a:lnTo>
                  <a:pt x="168" y="335"/>
                </a:lnTo>
                <a:lnTo>
                  <a:pt x="170" y="335"/>
                </a:lnTo>
                <a:lnTo>
                  <a:pt x="170" y="333"/>
                </a:lnTo>
                <a:lnTo>
                  <a:pt x="170" y="331"/>
                </a:lnTo>
                <a:lnTo>
                  <a:pt x="165" y="321"/>
                </a:lnTo>
                <a:lnTo>
                  <a:pt x="165" y="319"/>
                </a:lnTo>
                <a:lnTo>
                  <a:pt x="165" y="317"/>
                </a:lnTo>
                <a:lnTo>
                  <a:pt x="168" y="317"/>
                </a:lnTo>
                <a:lnTo>
                  <a:pt x="170" y="314"/>
                </a:lnTo>
                <a:lnTo>
                  <a:pt x="172" y="312"/>
                </a:lnTo>
                <a:lnTo>
                  <a:pt x="170" y="310"/>
                </a:lnTo>
                <a:lnTo>
                  <a:pt x="168" y="303"/>
                </a:lnTo>
                <a:lnTo>
                  <a:pt x="168" y="296"/>
                </a:lnTo>
                <a:lnTo>
                  <a:pt x="165" y="293"/>
                </a:lnTo>
                <a:lnTo>
                  <a:pt x="165" y="291"/>
                </a:lnTo>
                <a:lnTo>
                  <a:pt x="163" y="289"/>
                </a:lnTo>
                <a:lnTo>
                  <a:pt x="163" y="286"/>
                </a:lnTo>
                <a:lnTo>
                  <a:pt x="161" y="275"/>
                </a:lnTo>
                <a:lnTo>
                  <a:pt x="161" y="272"/>
                </a:lnTo>
                <a:lnTo>
                  <a:pt x="158" y="270"/>
                </a:lnTo>
                <a:lnTo>
                  <a:pt x="158" y="268"/>
                </a:lnTo>
                <a:lnTo>
                  <a:pt x="156" y="268"/>
                </a:lnTo>
                <a:lnTo>
                  <a:pt x="154" y="268"/>
                </a:lnTo>
                <a:lnTo>
                  <a:pt x="154" y="265"/>
                </a:lnTo>
                <a:lnTo>
                  <a:pt x="151" y="265"/>
                </a:lnTo>
                <a:lnTo>
                  <a:pt x="151" y="263"/>
                </a:lnTo>
                <a:lnTo>
                  <a:pt x="149" y="261"/>
                </a:lnTo>
                <a:lnTo>
                  <a:pt x="147" y="258"/>
                </a:lnTo>
                <a:lnTo>
                  <a:pt x="147" y="256"/>
                </a:lnTo>
                <a:lnTo>
                  <a:pt x="149" y="254"/>
                </a:lnTo>
                <a:lnTo>
                  <a:pt x="149" y="251"/>
                </a:lnTo>
                <a:lnTo>
                  <a:pt x="151" y="249"/>
                </a:lnTo>
                <a:lnTo>
                  <a:pt x="151" y="247"/>
                </a:lnTo>
                <a:lnTo>
                  <a:pt x="151" y="244"/>
                </a:lnTo>
                <a:lnTo>
                  <a:pt x="151" y="242"/>
                </a:lnTo>
                <a:lnTo>
                  <a:pt x="151" y="240"/>
                </a:lnTo>
                <a:lnTo>
                  <a:pt x="154" y="237"/>
                </a:lnTo>
                <a:lnTo>
                  <a:pt x="154" y="235"/>
                </a:lnTo>
                <a:lnTo>
                  <a:pt x="151" y="233"/>
                </a:lnTo>
                <a:lnTo>
                  <a:pt x="149" y="233"/>
                </a:lnTo>
                <a:lnTo>
                  <a:pt x="144" y="230"/>
                </a:lnTo>
                <a:lnTo>
                  <a:pt x="142" y="228"/>
                </a:lnTo>
                <a:lnTo>
                  <a:pt x="140" y="228"/>
                </a:lnTo>
                <a:lnTo>
                  <a:pt x="137" y="228"/>
                </a:lnTo>
                <a:lnTo>
                  <a:pt x="135" y="228"/>
                </a:lnTo>
                <a:lnTo>
                  <a:pt x="133" y="228"/>
                </a:lnTo>
                <a:lnTo>
                  <a:pt x="133" y="230"/>
                </a:lnTo>
                <a:lnTo>
                  <a:pt x="133" y="228"/>
                </a:lnTo>
                <a:lnTo>
                  <a:pt x="130" y="228"/>
                </a:lnTo>
                <a:lnTo>
                  <a:pt x="128" y="228"/>
                </a:lnTo>
                <a:lnTo>
                  <a:pt x="128" y="226"/>
                </a:lnTo>
                <a:lnTo>
                  <a:pt x="123" y="224"/>
                </a:lnTo>
                <a:lnTo>
                  <a:pt x="123" y="221"/>
                </a:lnTo>
                <a:lnTo>
                  <a:pt x="123" y="219"/>
                </a:lnTo>
                <a:lnTo>
                  <a:pt x="121" y="219"/>
                </a:lnTo>
                <a:lnTo>
                  <a:pt x="119" y="219"/>
                </a:lnTo>
                <a:lnTo>
                  <a:pt x="116" y="219"/>
                </a:lnTo>
                <a:lnTo>
                  <a:pt x="114" y="221"/>
                </a:lnTo>
                <a:lnTo>
                  <a:pt x="112" y="221"/>
                </a:lnTo>
                <a:lnTo>
                  <a:pt x="110" y="219"/>
                </a:lnTo>
                <a:lnTo>
                  <a:pt x="105" y="217"/>
                </a:lnTo>
                <a:lnTo>
                  <a:pt x="105" y="214"/>
                </a:lnTo>
                <a:lnTo>
                  <a:pt x="105" y="212"/>
                </a:lnTo>
                <a:lnTo>
                  <a:pt x="105" y="207"/>
                </a:lnTo>
                <a:lnTo>
                  <a:pt x="105" y="205"/>
                </a:lnTo>
                <a:lnTo>
                  <a:pt x="107" y="203"/>
                </a:lnTo>
                <a:lnTo>
                  <a:pt x="105" y="203"/>
                </a:lnTo>
                <a:lnTo>
                  <a:pt x="96" y="203"/>
                </a:lnTo>
                <a:lnTo>
                  <a:pt x="91" y="203"/>
                </a:lnTo>
                <a:lnTo>
                  <a:pt x="82" y="203"/>
                </a:lnTo>
                <a:lnTo>
                  <a:pt x="77" y="203"/>
                </a:lnTo>
                <a:lnTo>
                  <a:pt x="72" y="203"/>
                </a:lnTo>
                <a:lnTo>
                  <a:pt x="65" y="200"/>
                </a:lnTo>
                <a:lnTo>
                  <a:pt x="61" y="200"/>
                </a:lnTo>
                <a:lnTo>
                  <a:pt x="58" y="200"/>
                </a:lnTo>
                <a:lnTo>
                  <a:pt x="58" y="198"/>
                </a:lnTo>
                <a:lnTo>
                  <a:pt x="58" y="196"/>
                </a:lnTo>
                <a:lnTo>
                  <a:pt x="61" y="191"/>
                </a:lnTo>
                <a:lnTo>
                  <a:pt x="61" y="189"/>
                </a:lnTo>
                <a:lnTo>
                  <a:pt x="61" y="186"/>
                </a:lnTo>
                <a:lnTo>
                  <a:pt x="61" y="184"/>
                </a:lnTo>
                <a:lnTo>
                  <a:pt x="61" y="182"/>
                </a:lnTo>
                <a:lnTo>
                  <a:pt x="58" y="177"/>
                </a:lnTo>
                <a:lnTo>
                  <a:pt x="54" y="168"/>
                </a:lnTo>
                <a:lnTo>
                  <a:pt x="51" y="163"/>
                </a:lnTo>
                <a:lnTo>
                  <a:pt x="49" y="161"/>
                </a:lnTo>
                <a:lnTo>
                  <a:pt x="47" y="158"/>
                </a:lnTo>
                <a:lnTo>
                  <a:pt x="44" y="154"/>
                </a:lnTo>
                <a:lnTo>
                  <a:pt x="44" y="151"/>
                </a:lnTo>
                <a:lnTo>
                  <a:pt x="44" y="147"/>
                </a:lnTo>
                <a:lnTo>
                  <a:pt x="44" y="142"/>
                </a:lnTo>
                <a:lnTo>
                  <a:pt x="42" y="135"/>
                </a:lnTo>
                <a:lnTo>
                  <a:pt x="42" y="133"/>
                </a:lnTo>
                <a:lnTo>
                  <a:pt x="44" y="130"/>
                </a:lnTo>
                <a:lnTo>
                  <a:pt x="44" y="128"/>
                </a:lnTo>
                <a:lnTo>
                  <a:pt x="47" y="126"/>
                </a:lnTo>
                <a:lnTo>
                  <a:pt x="47" y="123"/>
                </a:lnTo>
                <a:lnTo>
                  <a:pt x="44" y="121"/>
                </a:lnTo>
                <a:lnTo>
                  <a:pt x="40" y="119"/>
                </a:lnTo>
                <a:lnTo>
                  <a:pt x="35" y="114"/>
                </a:lnTo>
                <a:lnTo>
                  <a:pt x="35" y="112"/>
                </a:lnTo>
                <a:lnTo>
                  <a:pt x="30" y="112"/>
                </a:lnTo>
                <a:lnTo>
                  <a:pt x="28" y="109"/>
                </a:lnTo>
                <a:lnTo>
                  <a:pt x="21" y="105"/>
                </a:lnTo>
                <a:lnTo>
                  <a:pt x="19" y="100"/>
                </a:lnTo>
                <a:lnTo>
                  <a:pt x="16" y="98"/>
                </a:lnTo>
                <a:lnTo>
                  <a:pt x="14" y="95"/>
                </a:lnTo>
                <a:lnTo>
                  <a:pt x="12" y="95"/>
                </a:lnTo>
                <a:lnTo>
                  <a:pt x="9" y="88"/>
                </a:lnTo>
                <a:lnTo>
                  <a:pt x="7" y="86"/>
                </a:lnTo>
                <a:lnTo>
                  <a:pt x="7" y="84"/>
                </a:lnTo>
                <a:lnTo>
                  <a:pt x="5" y="84"/>
                </a:lnTo>
                <a:lnTo>
                  <a:pt x="2" y="81"/>
                </a:lnTo>
                <a:lnTo>
                  <a:pt x="0" y="79"/>
                </a:lnTo>
                <a:lnTo>
                  <a:pt x="0" y="77"/>
                </a:lnTo>
                <a:lnTo>
                  <a:pt x="0" y="75"/>
                </a:lnTo>
                <a:lnTo>
                  <a:pt x="2" y="75"/>
                </a:lnTo>
                <a:lnTo>
                  <a:pt x="5" y="75"/>
                </a:lnTo>
                <a:lnTo>
                  <a:pt x="9" y="77"/>
                </a:lnTo>
                <a:lnTo>
                  <a:pt x="12" y="79"/>
                </a:lnTo>
                <a:lnTo>
                  <a:pt x="14" y="81"/>
                </a:lnTo>
                <a:lnTo>
                  <a:pt x="14" y="84"/>
                </a:lnTo>
                <a:lnTo>
                  <a:pt x="14" y="86"/>
                </a:lnTo>
                <a:lnTo>
                  <a:pt x="16" y="86"/>
                </a:lnTo>
                <a:lnTo>
                  <a:pt x="33" y="84"/>
                </a:lnTo>
                <a:lnTo>
                  <a:pt x="42" y="84"/>
                </a:lnTo>
                <a:lnTo>
                  <a:pt x="47" y="84"/>
                </a:lnTo>
                <a:lnTo>
                  <a:pt x="49" y="86"/>
                </a:lnTo>
                <a:lnTo>
                  <a:pt x="51" y="88"/>
                </a:lnTo>
                <a:lnTo>
                  <a:pt x="51" y="91"/>
                </a:lnTo>
                <a:lnTo>
                  <a:pt x="54" y="95"/>
                </a:lnTo>
                <a:lnTo>
                  <a:pt x="54" y="100"/>
                </a:lnTo>
                <a:lnTo>
                  <a:pt x="56" y="102"/>
                </a:lnTo>
                <a:lnTo>
                  <a:pt x="58" y="102"/>
                </a:lnTo>
                <a:lnTo>
                  <a:pt x="61" y="100"/>
                </a:lnTo>
                <a:lnTo>
                  <a:pt x="65" y="98"/>
                </a:lnTo>
                <a:lnTo>
                  <a:pt x="68" y="95"/>
                </a:lnTo>
                <a:lnTo>
                  <a:pt x="70" y="95"/>
                </a:lnTo>
                <a:lnTo>
                  <a:pt x="72" y="98"/>
                </a:lnTo>
                <a:lnTo>
                  <a:pt x="75" y="98"/>
                </a:lnTo>
                <a:lnTo>
                  <a:pt x="77" y="98"/>
                </a:lnTo>
                <a:lnTo>
                  <a:pt x="79" y="95"/>
                </a:lnTo>
                <a:lnTo>
                  <a:pt x="82" y="95"/>
                </a:lnTo>
                <a:lnTo>
                  <a:pt x="86" y="98"/>
                </a:lnTo>
                <a:lnTo>
                  <a:pt x="91" y="100"/>
                </a:lnTo>
                <a:lnTo>
                  <a:pt x="93" y="102"/>
                </a:lnTo>
                <a:lnTo>
                  <a:pt x="96" y="102"/>
                </a:lnTo>
                <a:lnTo>
                  <a:pt x="98" y="98"/>
                </a:lnTo>
                <a:lnTo>
                  <a:pt x="98" y="95"/>
                </a:lnTo>
                <a:lnTo>
                  <a:pt x="100" y="93"/>
                </a:lnTo>
                <a:lnTo>
                  <a:pt x="103" y="93"/>
                </a:lnTo>
                <a:lnTo>
                  <a:pt x="105" y="95"/>
                </a:lnTo>
                <a:lnTo>
                  <a:pt x="110" y="98"/>
                </a:lnTo>
                <a:lnTo>
                  <a:pt x="112" y="100"/>
                </a:lnTo>
                <a:lnTo>
                  <a:pt x="116" y="105"/>
                </a:lnTo>
                <a:lnTo>
                  <a:pt x="121" y="107"/>
                </a:lnTo>
                <a:lnTo>
                  <a:pt x="128" y="116"/>
                </a:lnTo>
                <a:lnTo>
                  <a:pt x="128" y="119"/>
                </a:lnTo>
                <a:lnTo>
                  <a:pt x="130" y="119"/>
                </a:lnTo>
                <a:lnTo>
                  <a:pt x="130" y="121"/>
                </a:lnTo>
                <a:lnTo>
                  <a:pt x="133" y="121"/>
                </a:lnTo>
                <a:lnTo>
                  <a:pt x="135" y="121"/>
                </a:lnTo>
                <a:lnTo>
                  <a:pt x="137" y="121"/>
                </a:lnTo>
                <a:lnTo>
                  <a:pt x="140" y="121"/>
                </a:lnTo>
                <a:lnTo>
                  <a:pt x="142" y="119"/>
                </a:lnTo>
                <a:lnTo>
                  <a:pt x="144" y="119"/>
                </a:lnTo>
                <a:lnTo>
                  <a:pt x="147" y="116"/>
                </a:lnTo>
                <a:lnTo>
                  <a:pt x="147" y="114"/>
                </a:lnTo>
                <a:lnTo>
                  <a:pt x="147" y="112"/>
                </a:lnTo>
                <a:lnTo>
                  <a:pt x="147" y="109"/>
                </a:lnTo>
                <a:lnTo>
                  <a:pt x="147" y="107"/>
                </a:lnTo>
                <a:lnTo>
                  <a:pt x="147" y="102"/>
                </a:lnTo>
                <a:lnTo>
                  <a:pt x="144" y="102"/>
                </a:lnTo>
                <a:lnTo>
                  <a:pt x="144" y="100"/>
                </a:lnTo>
                <a:lnTo>
                  <a:pt x="144" y="98"/>
                </a:lnTo>
                <a:lnTo>
                  <a:pt x="144" y="95"/>
                </a:lnTo>
                <a:lnTo>
                  <a:pt x="147" y="93"/>
                </a:lnTo>
                <a:lnTo>
                  <a:pt x="144" y="91"/>
                </a:lnTo>
                <a:lnTo>
                  <a:pt x="144" y="88"/>
                </a:lnTo>
                <a:lnTo>
                  <a:pt x="147" y="88"/>
                </a:lnTo>
                <a:lnTo>
                  <a:pt x="149" y="88"/>
                </a:lnTo>
                <a:lnTo>
                  <a:pt x="151" y="88"/>
                </a:lnTo>
                <a:lnTo>
                  <a:pt x="158" y="88"/>
                </a:lnTo>
                <a:lnTo>
                  <a:pt x="161" y="88"/>
                </a:lnTo>
                <a:lnTo>
                  <a:pt x="161" y="86"/>
                </a:lnTo>
                <a:lnTo>
                  <a:pt x="161" y="84"/>
                </a:lnTo>
                <a:lnTo>
                  <a:pt x="161" y="81"/>
                </a:lnTo>
                <a:lnTo>
                  <a:pt x="163" y="81"/>
                </a:lnTo>
                <a:lnTo>
                  <a:pt x="165" y="81"/>
                </a:lnTo>
                <a:lnTo>
                  <a:pt x="165" y="79"/>
                </a:lnTo>
                <a:lnTo>
                  <a:pt x="168" y="79"/>
                </a:lnTo>
                <a:lnTo>
                  <a:pt x="170" y="77"/>
                </a:lnTo>
                <a:lnTo>
                  <a:pt x="172" y="79"/>
                </a:lnTo>
                <a:lnTo>
                  <a:pt x="186" y="84"/>
                </a:lnTo>
                <a:lnTo>
                  <a:pt x="189" y="84"/>
                </a:lnTo>
                <a:lnTo>
                  <a:pt x="191" y="84"/>
                </a:lnTo>
                <a:lnTo>
                  <a:pt x="198" y="79"/>
                </a:lnTo>
                <a:lnTo>
                  <a:pt x="200" y="79"/>
                </a:lnTo>
                <a:lnTo>
                  <a:pt x="203" y="79"/>
                </a:lnTo>
                <a:lnTo>
                  <a:pt x="205" y="79"/>
                </a:lnTo>
                <a:lnTo>
                  <a:pt x="207" y="79"/>
                </a:lnTo>
                <a:lnTo>
                  <a:pt x="210" y="79"/>
                </a:lnTo>
                <a:lnTo>
                  <a:pt x="212" y="77"/>
                </a:lnTo>
                <a:lnTo>
                  <a:pt x="214" y="75"/>
                </a:lnTo>
                <a:lnTo>
                  <a:pt x="217" y="72"/>
                </a:lnTo>
                <a:lnTo>
                  <a:pt x="219" y="72"/>
                </a:lnTo>
                <a:lnTo>
                  <a:pt x="221" y="72"/>
                </a:lnTo>
                <a:lnTo>
                  <a:pt x="224" y="72"/>
                </a:lnTo>
                <a:lnTo>
                  <a:pt x="226" y="72"/>
                </a:lnTo>
                <a:lnTo>
                  <a:pt x="228" y="72"/>
                </a:lnTo>
                <a:lnTo>
                  <a:pt x="231" y="72"/>
                </a:lnTo>
                <a:lnTo>
                  <a:pt x="233" y="72"/>
                </a:lnTo>
                <a:lnTo>
                  <a:pt x="233" y="70"/>
                </a:lnTo>
                <a:lnTo>
                  <a:pt x="233" y="68"/>
                </a:lnTo>
                <a:lnTo>
                  <a:pt x="233" y="63"/>
                </a:lnTo>
                <a:lnTo>
                  <a:pt x="235" y="61"/>
                </a:lnTo>
                <a:lnTo>
                  <a:pt x="238" y="61"/>
                </a:lnTo>
                <a:lnTo>
                  <a:pt x="240" y="61"/>
                </a:lnTo>
                <a:lnTo>
                  <a:pt x="242" y="61"/>
                </a:lnTo>
                <a:lnTo>
                  <a:pt x="244" y="61"/>
                </a:lnTo>
                <a:lnTo>
                  <a:pt x="247" y="61"/>
                </a:lnTo>
                <a:lnTo>
                  <a:pt x="249" y="58"/>
                </a:lnTo>
                <a:lnTo>
                  <a:pt x="249" y="56"/>
                </a:lnTo>
                <a:lnTo>
                  <a:pt x="247" y="54"/>
                </a:lnTo>
                <a:lnTo>
                  <a:pt x="249" y="54"/>
                </a:lnTo>
                <a:lnTo>
                  <a:pt x="254" y="54"/>
                </a:lnTo>
                <a:lnTo>
                  <a:pt x="256" y="54"/>
                </a:lnTo>
                <a:lnTo>
                  <a:pt x="258" y="56"/>
                </a:lnTo>
                <a:lnTo>
                  <a:pt x="258" y="54"/>
                </a:lnTo>
                <a:lnTo>
                  <a:pt x="263" y="54"/>
                </a:lnTo>
                <a:lnTo>
                  <a:pt x="270" y="54"/>
                </a:lnTo>
                <a:lnTo>
                  <a:pt x="272" y="51"/>
                </a:lnTo>
                <a:lnTo>
                  <a:pt x="275" y="49"/>
                </a:lnTo>
                <a:lnTo>
                  <a:pt x="275" y="47"/>
                </a:lnTo>
                <a:lnTo>
                  <a:pt x="275" y="44"/>
                </a:lnTo>
                <a:lnTo>
                  <a:pt x="277" y="40"/>
                </a:lnTo>
                <a:lnTo>
                  <a:pt x="279" y="40"/>
                </a:lnTo>
                <a:lnTo>
                  <a:pt x="286" y="35"/>
                </a:lnTo>
                <a:lnTo>
                  <a:pt x="289" y="33"/>
                </a:lnTo>
                <a:lnTo>
                  <a:pt x="293" y="30"/>
                </a:lnTo>
                <a:lnTo>
                  <a:pt x="298" y="26"/>
                </a:lnTo>
                <a:lnTo>
                  <a:pt x="298" y="21"/>
                </a:lnTo>
                <a:lnTo>
                  <a:pt x="298" y="19"/>
                </a:lnTo>
                <a:lnTo>
                  <a:pt x="293" y="7"/>
                </a:lnTo>
                <a:lnTo>
                  <a:pt x="291" y="5"/>
                </a:lnTo>
                <a:lnTo>
                  <a:pt x="289" y="5"/>
                </a:lnTo>
                <a:lnTo>
                  <a:pt x="291" y="2"/>
                </a:lnTo>
                <a:lnTo>
                  <a:pt x="293" y="2"/>
                </a:lnTo>
                <a:lnTo>
                  <a:pt x="298" y="5"/>
                </a:lnTo>
                <a:lnTo>
                  <a:pt x="300" y="5"/>
                </a:lnTo>
                <a:lnTo>
                  <a:pt x="305" y="5"/>
                </a:lnTo>
                <a:lnTo>
                  <a:pt x="307" y="5"/>
                </a:lnTo>
                <a:lnTo>
                  <a:pt x="307" y="7"/>
                </a:lnTo>
                <a:lnTo>
                  <a:pt x="310" y="7"/>
                </a:lnTo>
                <a:lnTo>
                  <a:pt x="310" y="5"/>
                </a:lnTo>
                <a:lnTo>
                  <a:pt x="312" y="5"/>
                </a:lnTo>
                <a:lnTo>
                  <a:pt x="317" y="5"/>
                </a:lnTo>
                <a:lnTo>
                  <a:pt x="319" y="5"/>
                </a:lnTo>
                <a:lnTo>
                  <a:pt x="321" y="0"/>
                </a:lnTo>
                <a:lnTo>
                  <a:pt x="324" y="0"/>
                </a:lnTo>
                <a:lnTo>
                  <a:pt x="326" y="0"/>
                </a:lnTo>
                <a:lnTo>
                  <a:pt x="328" y="2"/>
                </a:lnTo>
                <a:lnTo>
                  <a:pt x="331" y="0"/>
                </a:lnTo>
                <a:lnTo>
                  <a:pt x="333" y="2"/>
                </a:lnTo>
                <a:lnTo>
                  <a:pt x="335" y="7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80" name="Freeform 31">
            <a:extLst>
              <a:ext uri="{FF2B5EF4-FFF2-40B4-BE49-F238E27FC236}">
                <a16:creationId xmlns:a16="http://schemas.microsoft.com/office/drawing/2014/main" id="{8FBD5B84-427D-9BBC-BF74-800DB7F954EF}"/>
              </a:ext>
            </a:extLst>
          </p:cNvPr>
          <p:cNvSpPr>
            <a:spLocks noEditPoints="1"/>
          </p:cNvSpPr>
          <p:nvPr/>
        </p:nvSpPr>
        <p:spPr bwMode="auto">
          <a:xfrm>
            <a:off x="3021410" y="2788109"/>
            <a:ext cx="400605" cy="434122"/>
          </a:xfrm>
          <a:custGeom>
            <a:avLst/>
            <a:gdLst>
              <a:gd name="T0" fmla="*/ 319 w 340"/>
              <a:gd name="T1" fmla="*/ 261 h 386"/>
              <a:gd name="T2" fmla="*/ 321 w 340"/>
              <a:gd name="T3" fmla="*/ 249 h 386"/>
              <a:gd name="T4" fmla="*/ 328 w 340"/>
              <a:gd name="T5" fmla="*/ 242 h 386"/>
              <a:gd name="T6" fmla="*/ 307 w 340"/>
              <a:gd name="T7" fmla="*/ 167 h 386"/>
              <a:gd name="T8" fmla="*/ 303 w 340"/>
              <a:gd name="T9" fmla="*/ 184 h 386"/>
              <a:gd name="T10" fmla="*/ 305 w 340"/>
              <a:gd name="T11" fmla="*/ 167 h 386"/>
              <a:gd name="T12" fmla="*/ 300 w 340"/>
              <a:gd name="T13" fmla="*/ 165 h 386"/>
              <a:gd name="T14" fmla="*/ 258 w 340"/>
              <a:gd name="T15" fmla="*/ 56 h 386"/>
              <a:gd name="T16" fmla="*/ 263 w 340"/>
              <a:gd name="T17" fmla="*/ 70 h 386"/>
              <a:gd name="T18" fmla="*/ 270 w 340"/>
              <a:gd name="T19" fmla="*/ 105 h 386"/>
              <a:gd name="T20" fmla="*/ 277 w 340"/>
              <a:gd name="T21" fmla="*/ 121 h 386"/>
              <a:gd name="T22" fmla="*/ 282 w 340"/>
              <a:gd name="T23" fmla="*/ 137 h 386"/>
              <a:gd name="T24" fmla="*/ 286 w 340"/>
              <a:gd name="T25" fmla="*/ 158 h 386"/>
              <a:gd name="T26" fmla="*/ 279 w 340"/>
              <a:gd name="T27" fmla="*/ 167 h 386"/>
              <a:gd name="T28" fmla="*/ 296 w 340"/>
              <a:gd name="T29" fmla="*/ 177 h 386"/>
              <a:gd name="T30" fmla="*/ 310 w 340"/>
              <a:gd name="T31" fmla="*/ 186 h 386"/>
              <a:gd name="T32" fmla="*/ 337 w 340"/>
              <a:gd name="T33" fmla="*/ 198 h 386"/>
              <a:gd name="T34" fmla="*/ 337 w 340"/>
              <a:gd name="T35" fmla="*/ 223 h 386"/>
              <a:gd name="T36" fmla="*/ 319 w 340"/>
              <a:gd name="T37" fmla="*/ 230 h 386"/>
              <a:gd name="T38" fmla="*/ 337 w 340"/>
              <a:gd name="T39" fmla="*/ 233 h 386"/>
              <a:gd name="T40" fmla="*/ 321 w 340"/>
              <a:gd name="T41" fmla="*/ 244 h 386"/>
              <a:gd name="T42" fmla="*/ 296 w 340"/>
              <a:gd name="T43" fmla="*/ 268 h 386"/>
              <a:gd name="T44" fmla="*/ 254 w 340"/>
              <a:gd name="T45" fmla="*/ 305 h 386"/>
              <a:gd name="T46" fmla="*/ 235 w 340"/>
              <a:gd name="T47" fmla="*/ 314 h 386"/>
              <a:gd name="T48" fmla="*/ 223 w 340"/>
              <a:gd name="T49" fmla="*/ 337 h 386"/>
              <a:gd name="T50" fmla="*/ 214 w 340"/>
              <a:gd name="T51" fmla="*/ 347 h 386"/>
              <a:gd name="T52" fmla="*/ 200 w 340"/>
              <a:gd name="T53" fmla="*/ 377 h 386"/>
              <a:gd name="T54" fmla="*/ 182 w 340"/>
              <a:gd name="T55" fmla="*/ 384 h 386"/>
              <a:gd name="T56" fmla="*/ 158 w 340"/>
              <a:gd name="T57" fmla="*/ 377 h 386"/>
              <a:gd name="T58" fmla="*/ 154 w 340"/>
              <a:gd name="T59" fmla="*/ 361 h 386"/>
              <a:gd name="T60" fmla="*/ 144 w 340"/>
              <a:gd name="T61" fmla="*/ 344 h 386"/>
              <a:gd name="T62" fmla="*/ 133 w 340"/>
              <a:gd name="T63" fmla="*/ 314 h 386"/>
              <a:gd name="T64" fmla="*/ 119 w 340"/>
              <a:gd name="T65" fmla="*/ 293 h 386"/>
              <a:gd name="T66" fmla="*/ 109 w 340"/>
              <a:gd name="T67" fmla="*/ 263 h 386"/>
              <a:gd name="T68" fmla="*/ 100 w 340"/>
              <a:gd name="T69" fmla="*/ 244 h 386"/>
              <a:gd name="T70" fmla="*/ 91 w 340"/>
              <a:gd name="T71" fmla="*/ 221 h 386"/>
              <a:gd name="T72" fmla="*/ 84 w 340"/>
              <a:gd name="T73" fmla="*/ 212 h 386"/>
              <a:gd name="T74" fmla="*/ 77 w 340"/>
              <a:gd name="T75" fmla="*/ 202 h 386"/>
              <a:gd name="T76" fmla="*/ 65 w 340"/>
              <a:gd name="T77" fmla="*/ 202 h 386"/>
              <a:gd name="T78" fmla="*/ 51 w 340"/>
              <a:gd name="T79" fmla="*/ 195 h 386"/>
              <a:gd name="T80" fmla="*/ 40 w 340"/>
              <a:gd name="T81" fmla="*/ 184 h 386"/>
              <a:gd name="T82" fmla="*/ 26 w 340"/>
              <a:gd name="T83" fmla="*/ 177 h 386"/>
              <a:gd name="T84" fmla="*/ 5 w 340"/>
              <a:gd name="T85" fmla="*/ 174 h 386"/>
              <a:gd name="T86" fmla="*/ 2 w 340"/>
              <a:gd name="T87" fmla="*/ 149 h 386"/>
              <a:gd name="T88" fmla="*/ 2 w 340"/>
              <a:gd name="T89" fmla="*/ 126 h 386"/>
              <a:gd name="T90" fmla="*/ 14 w 340"/>
              <a:gd name="T91" fmla="*/ 137 h 386"/>
              <a:gd name="T92" fmla="*/ 33 w 340"/>
              <a:gd name="T93" fmla="*/ 149 h 386"/>
              <a:gd name="T94" fmla="*/ 54 w 340"/>
              <a:gd name="T95" fmla="*/ 147 h 386"/>
              <a:gd name="T96" fmla="*/ 70 w 340"/>
              <a:gd name="T97" fmla="*/ 140 h 386"/>
              <a:gd name="T98" fmla="*/ 88 w 340"/>
              <a:gd name="T99" fmla="*/ 144 h 386"/>
              <a:gd name="T100" fmla="*/ 105 w 340"/>
              <a:gd name="T101" fmla="*/ 142 h 386"/>
              <a:gd name="T102" fmla="*/ 133 w 340"/>
              <a:gd name="T103" fmla="*/ 149 h 386"/>
              <a:gd name="T104" fmla="*/ 156 w 340"/>
              <a:gd name="T105" fmla="*/ 130 h 386"/>
              <a:gd name="T106" fmla="*/ 170 w 340"/>
              <a:gd name="T107" fmla="*/ 102 h 386"/>
              <a:gd name="T108" fmla="*/ 184 w 340"/>
              <a:gd name="T109" fmla="*/ 79 h 386"/>
              <a:gd name="T110" fmla="*/ 205 w 340"/>
              <a:gd name="T111" fmla="*/ 46 h 386"/>
              <a:gd name="T112" fmla="*/ 228 w 340"/>
              <a:gd name="T113" fmla="*/ 25 h 386"/>
              <a:gd name="T114" fmla="*/ 240 w 340"/>
              <a:gd name="T115" fmla="*/ 28 h 386"/>
              <a:gd name="T116" fmla="*/ 258 w 340"/>
              <a:gd name="T117" fmla="*/ 21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40" h="386">
                <a:moveTo>
                  <a:pt x="321" y="251"/>
                </a:moveTo>
                <a:lnTo>
                  <a:pt x="323" y="251"/>
                </a:lnTo>
                <a:lnTo>
                  <a:pt x="326" y="251"/>
                </a:lnTo>
                <a:lnTo>
                  <a:pt x="328" y="251"/>
                </a:lnTo>
                <a:lnTo>
                  <a:pt x="326" y="254"/>
                </a:lnTo>
                <a:lnTo>
                  <a:pt x="326" y="256"/>
                </a:lnTo>
                <a:lnTo>
                  <a:pt x="323" y="256"/>
                </a:lnTo>
                <a:lnTo>
                  <a:pt x="323" y="258"/>
                </a:lnTo>
                <a:lnTo>
                  <a:pt x="321" y="261"/>
                </a:lnTo>
                <a:lnTo>
                  <a:pt x="319" y="261"/>
                </a:lnTo>
                <a:lnTo>
                  <a:pt x="316" y="261"/>
                </a:lnTo>
                <a:lnTo>
                  <a:pt x="314" y="261"/>
                </a:lnTo>
                <a:lnTo>
                  <a:pt x="312" y="261"/>
                </a:lnTo>
                <a:lnTo>
                  <a:pt x="310" y="261"/>
                </a:lnTo>
                <a:lnTo>
                  <a:pt x="307" y="258"/>
                </a:lnTo>
                <a:lnTo>
                  <a:pt x="310" y="256"/>
                </a:lnTo>
                <a:lnTo>
                  <a:pt x="312" y="254"/>
                </a:lnTo>
                <a:lnTo>
                  <a:pt x="316" y="251"/>
                </a:lnTo>
                <a:lnTo>
                  <a:pt x="319" y="251"/>
                </a:lnTo>
                <a:lnTo>
                  <a:pt x="321" y="249"/>
                </a:lnTo>
                <a:lnTo>
                  <a:pt x="321" y="251"/>
                </a:lnTo>
                <a:close/>
                <a:moveTo>
                  <a:pt x="326" y="249"/>
                </a:moveTo>
                <a:lnTo>
                  <a:pt x="323" y="249"/>
                </a:lnTo>
                <a:lnTo>
                  <a:pt x="321" y="249"/>
                </a:lnTo>
                <a:lnTo>
                  <a:pt x="321" y="247"/>
                </a:lnTo>
                <a:lnTo>
                  <a:pt x="323" y="247"/>
                </a:lnTo>
                <a:lnTo>
                  <a:pt x="326" y="247"/>
                </a:lnTo>
                <a:lnTo>
                  <a:pt x="326" y="244"/>
                </a:lnTo>
                <a:lnTo>
                  <a:pt x="328" y="244"/>
                </a:lnTo>
                <a:lnTo>
                  <a:pt x="328" y="242"/>
                </a:lnTo>
                <a:lnTo>
                  <a:pt x="330" y="242"/>
                </a:lnTo>
                <a:lnTo>
                  <a:pt x="333" y="242"/>
                </a:lnTo>
                <a:lnTo>
                  <a:pt x="335" y="240"/>
                </a:lnTo>
                <a:lnTo>
                  <a:pt x="335" y="242"/>
                </a:lnTo>
                <a:lnTo>
                  <a:pt x="333" y="244"/>
                </a:lnTo>
                <a:lnTo>
                  <a:pt x="330" y="247"/>
                </a:lnTo>
                <a:lnTo>
                  <a:pt x="328" y="249"/>
                </a:lnTo>
                <a:lnTo>
                  <a:pt x="326" y="249"/>
                </a:lnTo>
                <a:close/>
                <a:moveTo>
                  <a:pt x="307" y="165"/>
                </a:moveTo>
                <a:lnTo>
                  <a:pt x="307" y="167"/>
                </a:lnTo>
                <a:lnTo>
                  <a:pt x="310" y="170"/>
                </a:lnTo>
                <a:lnTo>
                  <a:pt x="310" y="172"/>
                </a:lnTo>
                <a:lnTo>
                  <a:pt x="310" y="174"/>
                </a:lnTo>
                <a:lnTo>
                  <a:pt x="312" y="174"/>
                </a:lnTo>
                <a:lnTo>
                  <a:pt x="312" y="177"/>
                </a:lnTo>
                <a:lnTo>
                  <a:pt x="312" y="179"/>
                </a:lnTo>
                <a:lnTo>
                  <a:pt x="310" y="181"/>
                </a:lnTo>
                <a:lnTo>
                  <a:pt x="307" y="184"/>
                </a:lnTo>
                <a:lnTo>
                  <a:pt x="305" y="184"/>
                </a:lnTo>
                <a:lnTo>
                  <a:pt x="303" y="184"/>
                </a:lnTo>
                <a:lnTo>
                  <a:pt x="300" y="181"/>
                </a:lnTo>
                <a:lnTo>
                  <a:pt x="300" y="177"/>
                </a:lnTo>
                <a:lnTo>
                  <a:pt x="298" y="177"/>
                </a:lnTo>
                <a:lnTo>
                  <a:pt x="298" y="174"/>
                </a:lnTo>
                <a:lnTo>
                  <a:pt x="298" y="172"/>
                </a:lnTo>
                <a:lnTo>
                  <a:pt x="298" y="170"/>
                </a:lnTo>
                <a:lnTo>
                  <a:pt x="298" y="167"/>
                </a:lnTo>
                <a:lnTo>
                  <a:pt x="300" y="167"/>
                </a:lnTo>
                <a:lnTo>
                  <a:pt x="303" y="167"/>
                </a:lnTo>
                <a:lnTo>
                  <a:pt x="305" y="167"/>
                </a:lnTo>
                <a:lnTo>
                  <a:pt x="307" y="165"/>
                </a:lnTo>
                <a:close/>
                <a:moveTo>
                  <a:pt x="298" y="160"/>
                </a:moveTo>
                <a:lnTo>
                  <a:pt x="300" y="160"/>
                </a:lnTo>
                <a:lnTo>
                  <a:pt x="303" y="160"/>
                </a:lnTo>
                <a:lnTo>
                  <a:pt x="303" y="163"/>
                </a:lnTo>
                <a:lnTo>
                  <a:pt x="305" y="163"/>
                </a:lnTo>
                <a:lnTo>
                  <a:pt x="305" y="165"/>
                </a:lnTo>
                <a:lnTo>
                  <a:pt x="303" y="165"/>
                </a:lnTo>
                <a:lnTo>
                  <a:pt x="300" y="167"/>
                </a:lnTo>
                <a:lnTo>
                  <a:pt x="300" y="165"/>
                </a:lnTo>
                <a:lnTo>
                  <a:pt x="300" y="167"/>
                </a:lnTo>
                <a:lnTo>
                  <a:pt x="298" y="165"/>
                </a:lnTo>
                <a:lnTo>
                  <a:pt x="298" y="163"/>
                </a:lnTo>
                <a:lnTo>
                  <a:pt x="296" y="163"/>
                </a:lnTo>
                <a:lnTo>
                  <a:pt x="298" y="160"/>
                </a:lnTo>
                <a:close/>
                <a:moveTo>
                  <a:pt x="261" y="30"/>
                </a:moveTo>
                <a:lnTo>
                  <a:pt x="261" y="37"/>
                </a:lnTo>
                <a:lnTo>
                  <a:pt x="258" y="44"/>
                </a:lnTo>
                <a:lnTo>
                  <a:pt x="258" y="53"/>
                </a:lnTo>
                <a:lnTo>
                  <a:pt x="258" y="56"/>
                </a:lnTo>
                <a:lnTo>
                  <a:pt x="258" y="53"/>
                </a:lnTo>
                <a:lnTo>
                  <a:pt x="261" y="51"/>
                </a:lnTo>
                <a:lnTo>
                  <a:pt x="261" y="44"/>
                </a:lnTo>
                <a:lnTo>
                  <a:pt x="263" y="42"/>
                </a:lnTo>
                <a:lnTo>
                  <a:pt x="265" y="39"/>
                </a:lnTo>
                <a:lnTo>
                  <a:pt x="268" y="39"/>
                </a:lnTo>
                <a:lnTo>
                  <a:pt x="265" y="51"/>
                </a:lnTo>
                <a:lnTo>
                  <a:pt x="265" y="60"/>
                </a:lnTo>
                <a:lnTo>
                  <a:pt x="265" y="67"/>
                </a:lnTo>
                <a:lnTo>
                  <a:pt x="263" y="70"/>
                </a:lnTo>
                <a:lnTo>
                  <a:pt x="263" y="74"/>
                </a:lnTo>
                <a:lnTo>
                  <a:pt x="268" y="86"/>
                </a:lnTo>
                <a:lnTo>
                  <a:pt x="268" y="88"/>
                </a:lnTo>
                <a:lnTo>
                  <a:pt x="265" y="91"/>
                </a:lnTo>
                <a:lnTo>
                  <a:pt x="268" y="93"/>
                </a:lnTo>
                <a:lnTo>
                  <a:pt x="268" y="95"/>
                </a:lnTo>
                <a:lnTo>
                  <a:pt x="268" y="98"/>
                </a:lnTo>
                <a:lnTo>
                  <a:pt x="268" y="100"/>
                </a:lnTo>
                <a:lnTo>
                  <a:pt x="268" y="102"/>
                </a:lnTo>
                <a:lnTo>
                  <a:pt x="270" y="105"/>
                </a:lnTo>
                <a:lnTo>
                  <a:pt x="270" y="107"/>
                </a:lnTo>
                <a:lnTo>
                  <a:pt x="270" y="109"/>
                </a:lnTo>
                <a:lnTo>
                  <a:pt x="272" y="109"/>
                </a:lnTo>
                <a:lnTo>
                  <a:pt x="272" y="112"/>
                </a:lnTo>
                <a:lnTo>
                  <a:pt x="272" y="114"/>
                </a:lnTo>
                <a:lnTo>
                  <a:pt x="272" y="116"/>
                </a:lnTo>
                <a:lnTo>
                  <a:pt x="275" y="116"/>
                </a:lnTo>
                <a:lnTo>
                  <a:pt x="275" y="119"/>
                </a:lnTo>
                <a:lnTo>
                  <a:pt x="275" y="121"/>
                </a:lnTo>
                <a:lnTo>
                  <a:pt x="277" y="121"/>
                </a:lnTo>
                <a:lnTo>
                  <a:pt x="277" y="123"/>
                </a:lnTo>
                <a:lnTo>
                  <a:pt x="277" y="126"/>
                </a:lnTo>
                <a:lnTo>
                  <a:pt x="277" y="128"/>
                </a:lnTo>
                <a:lnTo>
                  <a:pt x="279" y="130"/>
                </a:lnTo>
                <a:lnTo>
                  <a:pt x="279" y="135"/>
                </a:lnTo>
                <a:lnTo>
                  <a:pt x="279" y="137"/>
                </a:lnTo>
                <a:lnTo>
                  <a:pt x="277" y="137"/>
                </a:lnTo>
                <a:lnTo>
                  <a:pt x="279" y="140"/>
                </a:lnTo>
                <a:lnTo>
                  <a:pt x="279" y="137"/>
                </a:lnTo>
                <a:lnTo>
                  <a:pt x="282" y="137"/>
                </a:lnTo>
                <a:lnTo>
                  <a:pt x="282" y="140"/>
                </a:lnTo>
                <a:lnTo>
                  <a:pt x="282" y="142"/>
                </a:lnTo>
                <a:lnTo>
                  <a:pt x="282" y="144"/>
                </a:lnTo>
                <a:lnTo>
                  <a:pt x="284" y="144"/>
                </a:lnTo>
                <a:lnTo>
                  <a:pt x="284" y="147"/>
                </a:lnTo>
                <a:lnTo>
                  <a:pt x="284" y="149"/>
                </a:lnTo>
                <a:lnTo>
                  <a:pt x="284" y="151"/>
                </a:lnTo>
                <a:lnTo>
                  <a:pt x="284" y="153"/>
                </a:lnTo>
                <a:lnTo>
                  <a:pt x="284" y="156"/>
                </a:lnTo>
                <a:lnTo>
                  <a:pt x="286" y="158"/>
                </a:lnTo>
                <a:lnTo>
                  <a:pt x="286" y="160"/>
                </a:lnTo>
                <a:lnTo>
                  <a:pt x="286" y="163"/>
                </a:lnTo>
                <a:lnTo>
                  <a:pt x="284" y="163"/>
                </a:lnTo>
                <a:lnTo>
                  <a:pt x="282" y="163"/>
                </a:lnTo>
                <a:lnTo>
                  <a:pt x="279" y="163"/>
                </a:lnTo>
                <a:lnTo>
                  <a:pt x="279" y="160"/>
                </a:lnTo>
                <a:lnTo>
                  <a:pt x="279" y="163"/>
                </a:lnTo>
                <a:lnTo>
                  <a:pt x="282" y="163"/>
                </a:lnTo>
                <a:lnTo>
                  <a:pt x="282" y="165"/>
                </a:lnTo>
                <a:lnTo>
                  <a:pt x="279" y="167"/>
                </a:lnTo>
                <a:lnTo>
                  <a:pt x="279" y="170"/>
                </a:lnTo>
                <a:lnTo>
                  <a:pt x="282" y="170"/>
                </a:lnTo>
                <a:lnTo>
                  <a:pt x="282" y="167"/>
                </a:lnTo>
                <a:lnTo>
                  <a:pt x="284" y="165"/>
                </a:lnTo>
                <a:lnTo>
                  <a:pt x="286" y="163"/>
                </a:lnTo>
                <a:lnTo>
                  <a:pt x="289" y="165"/>
                </a:lnTo>
                <a:lnTo>
                  <a:pt x="291" y="165"/>
                </a:lnTo>
                <a:lnTo>
                  <a:pt x="293" y="167"/>
                </a:lnTo>
                <a:lnTo>
                  <a:pt x="293" y="172"/>
                </a:lnTo>
                <a:lnTo>
                  <a:pt x="296" y="177"/>
                </a:lnTo>
                <a:lnTo>
                  <a:pt x="296" y="179"/>
                </a:lnTo>
                <a:lnTo>
                  <a:pt x="298" y="179"/>
                </a:lnTo>
                <a:lnTo>
                  <a:pt x="298" y="181"/>
                </a:lnTo>
                <a:lnTo>
                  <a:pt x="298" y="184"/>
                </a:lnTo>
                <a:lnTo>
                  <a:pt x="298" y="186"/>
                </a:lnTo>
                <a:lnTo>
                  <a:pt x="300" y="186"/>
                </a:lnTo>
                <a:lnTo>
                  <a:pt x="303" y="188"/>
                </a:lnTo>
                <a:lnTo>
                  <a:pt x="305" y="188"/>
                </a:lnTo>
                <a:lnTo>
                  <a:pt x="307" y="188"/>
                </a:lnTo>
                <a:lnTo>
                  <a:pt x="310" y="186"/>
                </a:lnTo>
                <a:lnTo>
                  <a:pt x="312" y="188"/>
                </a:lnTo>
                <a:lnTo>
                  <a:pt x="314" y="188"/>
                </a:lnTo>
                <a:lnTo>
                  <a:pt x="316" y="188"/>
                </a:lnTo>
                <a:lnTo>
                  <a:pt x="319" y="188"/>
                </a:lnTo>
                <a:lnTo>
                  <a:pt x="321" y="188"/>
                </a:lnTo>
                <a:lnTo>
                  <a:pt x="323" y="188"/>
                </a:lnTo>
                <a:lnTo>
                  <a:pt x="326" y="191"/>
                </a:lnTo>
                <a:lnTo>
                  <a:pt x="333" y="193"/>
                </a:lnTo>
                <a:lnTo>
                  <a:pt x="335" y="195"/>
                </a:lnTo>
                <a:lnTo>
                  <a:pt x="337" y="198"/>
                </a:lnTo>
                <a:lnTo>
                  <a:pt x="337" y="200"/>
                </a:lnTo>
                <a:lnTo>
                  <a:pt x="337" y="202"/>
                </a:lnTo>
                <a:lnTo>
                  <a:pt x="337" y="205"/>
                </a:lnTo>
                <a:lnTo>
                  <a:pt x="337" y="207"/>
                </a:lnTo>
                <a:lnTo>
                  <a:pt x="337" y="209"/>
                </a:lnTo>
                <a:lnTo>
                  <a:pt x="340" y="214"/>
                </a:lnTo>
                <a:lnTo>
                  <a:pt x="340" y="216"/>
                </a:lnTo>
                <a:lnTo>
                  <a:pt x="340" y="219"/>
                </a:lnTo>
                <a:lnTo>
                  <a:pt x="340" y="221"/>
                </a:lnTo>
                <a:lnTo>
                  <a:pt x="337" y="223"/>
                </a:lnTo>
                <a:lnTo>
                  <a:pt x="337" y="226"/>
                </a:lnTo>
                <a:lnTo>
                  <a:pt x="335" y="226"/>
                </a:lnTo>
                <a:lnTo>
                  <a:pt x="335" y="228"/>
                </a:lnTo>
                <a:lnTo>
                  <a:pt x="330" y="228"/>
                </a:lnTo>
                <a:lnTo>
                  <a:pt x="328" y="228"/>
                </a:lnTo>
                <a:lnTo>
                  <a:pt x="326" y="230"/>
                </a:lnTo>
                <a:lnTo>
                  <a:pt x="323" y="230"/>
                </a:lnTo>
                <a:lnTo>
                  <a:pt x="321" y="230"/>
                </a:lnTo>
                <a:lnTo>
                  <a:pt x="319" y="228"/>
                </a:lnTo>
                <a:lnTo>
                  <a:pt x="319" y="230"/>
                </a:lnTo>
                <a:lnTo>
                  <a:pt x="321" y="230"/>
                </a:lnTo>
                <a:lnTo>
                  <a:pt x="321" y="233"/>
                </a:lnTo>
                <a:lnTo>
                  <a:pt x="323" y="230"/>
                </a:lnTo>
                <a:lnTo>
                  <a:pt x="326" y="233"/>
                </a:lnTo>
                <a:lnTo>
                  <a:pt x="328" y="230"/>
                </a:lnTo>
                <a:lnTo>
                  <a:pt x="330" y="230"/>
                </a:lnTo>
                <a:lnTo>
                  <a:pt x="330" y="233"/>
                </a:lnTo>
                <a:lnTo>
                  <a:pt x="333" y="230"/>
                </a:lnTo>
                <a:lnTo>
                  <a:pt x="335" y="230"/>
                </a:lnTo>
                <a:lnTo>
                  <a:pt x="337" y="233"/>
                </a:lnTo>
                <a:lnTo>
                  <a:pt x="337" y="235"/>
                </a:lnTo>
                <a:lnTo>
                  <a:pt x="335" y="237"/>
                </a:lnTo>
                <a:lnTo>
                  <a:pt x="333" y="240"/>
                </a:lnTo>
                <a:lnTo>
                  <a:pt x="330" y="240"/>
                </a:lnTo>
                <a:lnTo>
                  <a:pt x="328" y="240"/>
                </a:lnTo>
                <a:lnTo>
                  <a:pt x="326" y="237"/>
                </a:lnTo>
                <a:lnTo>
                  <a:pt x="326" y="240"/>
                </a:lnTo>
                <a:lnTo>
                  <a:pt x="326" y="242"/>
                </a:lnTo>
                <a:lnTo>
                  <a:pt x="323" y="244"/>
                </a:lnTo>
                <a:lnTo>
                  <a:pt x="321" y="244"/>
                </a:lnTo>
                <a:lnTo>
                  <a:pt x="319" y="249"/>
                </a:lnTo>
                <a:lnTo>
                  <a:pt x="316" y="249"/>
                </a:lnTo>
                <a:lnTo>
                  <a:pt x="312" y="251"/>
                </a:lnTo>
                <a:lnTo>
                  <a:pt x="310" y="254"/>
                </a:lnTo>
                <a:lnTo>
                  <a:pt x="307" y="256"/>
                </a:lnTo>
                <a:lnTo>
                  <a:pt x="303" y="261"/>
                </a:lnTo>
                <a:lnTo>
                  <a:pt x="303" y="263"/>
                </a:lnTo>
                <a:lnTo>
                  <a:pt x="298" y="265"/>
                </a:lnTo>
                <a:lnTo>
                  <a:pt x="296" y="265"/>
                </a:lnTo>
                <a:lnTo>
                  <a:pt x="296" y="268"/>
                </a:lnTo>
                <a:lnTo>
                  <a:pt x="293" y="272"/>
                </a:lnTo>
                <a:lnTo>
                  <a:pt x="286" y="279"/>
                </a:lnTo>
                <a:lnTo>
                  <a:pt x="284" y="284"/>
                </a:lnTo>
                <a:lnTo>
                  <a:pt x="277" y="291"/>
                </a:lnTo>
                <a:lnTo>
                  <a:pt x="270" y="298"/>
                </a:lnTo>
                <a:lnTo>
                  <a:pt x="268" y="298"/>
                </a:lnTo>
                <a:lnTo>
                  <a:pt x="265" y="298"/>
                </a:lnTo>
                <a:lnTo>
                  <a:pt x="261" y="298"/>
                </a:lnTo>
                <a:lnTo>
                  <a:pt x="258" y="300"/>
                </a:lnTo>
                <a:lnTo>
                  <a:pt x="254" y="305"/>
                </a:lnTo>
                <a:lnTo>
                  <a:pt x="251" y="309"/>
                </a:lnTo>
                <a:lnTo>
                  <a:pt x="249" y="309"/>
                </a:lnTo>
                <a:lnTo>
                  <a:pt x="249" y="312"/>
                </a:lnTo>
                <a:lnTo>
                  <a:pt x="244" y="309"/>
                </a:lnTo>
                <a:lnTo>
                  <a:pt x="242" y="312"/>
                </a:lnTo>
                <a:lnTo>
                  <a:pt x="240" y="312"/>
                </a:lnTo>
                <a:lnTo>
                  <a:pt x="237" y="314"/>
                </a:lnTo>
                <a:lnTo>
                  <a:pt x="233" y="312"/>
                </a:lnTo>
                <a:lnTo>
                  <a:pt x="233" y="314"/>
                </a:lnTo>
                <a:lnTo>
                  <a:pt x="235" y="314"/>
                </a:lnTo>
                <a:lnTo>
                  <a:pt x="235" y="316"/>
                </a:lnTo>
                <a:lnTo>
                  <a:pt x="237" y="316"/>
                </a:lnTo>
                <a:lnTo>
                  <a:pt x="233" y="321"/>
                </a:lnTo>
                <a:lnTo>
                  <a:pt x="230" y="326"/>
                </a:lnTo>
                <a:lnTo>
                  <a:pt x="228" y="328"/>
                </a:lnTo>
                <a:lnTo>
                  <a:pt x="228" y="330"/>
                </a:lnTo>
                <a:lnTo>
                  <a:pt x="228" y="333"/>
                </a:lnTo>
                <a:lnTo>
                  <a:pt x="226" y="333"/>
                </a:lnTo>
                <a:lnTo>
                  <a:pt x="223" y="335"/>
                </a:lnTo>
                <a:lnTo>
                  <a:pt x="223" y="337"/>
                </a:lnTo>
                <a:lnTo>
                  <a:pt x="223" y="340"/>
                </a:lnTo>
                <a:lnTo>
                  <a:pt x="221" y="340"/>
                </a:lnTo>
                <a:lnTo>
                  <a:pt x="219" y="342"/>
                </a:lnTo>
                <a:lnTo>
                  <a:pt x="216" y="342"/>
                </a:lnTo>
                <a:lnTo>
                  <a:pt x="214" y="342"/>
                </a:lnTo>
                <a:lnTo>
                  <a:pt x="214" y="344"/>
                </a:lnTo>
                <a:lnTo>
                  <a:pt x="212" y="344"/>
                </a:lnTo>
                <a:lnTo>
                  <a:pt x="214" y="344"/>
                </a:lnTo>
                <a:lnTo>
                  <a:pt x="216" y="344"/>
                </a:lnTo>
                <a:lnTo>
                  <a:pt x="214" y="347"/>
                </a:lnTo>
                <a:lnTo>
                  <a:pt x="209" y="351"/>
                </a:lnTo>
                <a:lnTo>
                  <a:pt x="207" y="354"/>
                </a:lnTo>
                <a:lnTo>
                  <a:pt x="205" y="356"/>
                </a:lnTo>
                <a:lnTo>
                  <a:pt x="205" y="358"/>
                </a:lnTo>
                <a:lnTo>
                  <a:pt x="202" y="358"/>
                </a:lnTo>
                <a:lnTo>
                  <a:pt x="202" y="365"/>
                </a:lnTo>
                <a:lnTo>
                  <a:pt x="202" y="372"/>
                </a:lnTo>
                <a:lnTo>
                  <a:pt x="202" y="375"/>
                </a:lnTo>
                <a:lnTo>
                  <a:pt x="202" y="377"/>
                </a:lnTo>
                <a:lnTo>
                  <a:pt x="200" y="377"/>
                </a:lnTo>
                <a:lnTo>
                  <a:pt x="198" y="379"/>
                </a:lnTo>
                <a:lnTo>
                  <a:pt x="195" y="379"/>
                </a:lnTo>
                <a:lnTo>
                  <a:pt x="195" y="382"/>
                </a:lnTo>
                <a:lnTo>
                  <a:pt x="193" y="382"/>
                </a:lnTo>
                <a:lnTo>
                  <a:pt x="188" y="384"/>
                </a:lnTo>
                <a:lnTo>
                  <a:pt x="186" y="382"/>
                </a:lnTo>
                <a:lnTo>
                  <a:pt x="186" y="384"/>
                </a:lnTo>
                <a:lnTo>
                  <a:pt x="184" y="382"/>
                </a:lnTo>
                <a:lnTo>
                  <a:pt x="184" y="384"/>
                </a:lnTo>
                <a:lnTo>
                  <a:pt x="182" y="384"/>
                </a:lnTo>
                <a:lnTo>
                  <a:pt x="179" y="384"/>
                </a:lnTo>
                <a:lnTo>
                  <a:pt x="179" y="386"/>
                </a:lnTo>
                <a:lnTo>
                  <a:pt x="177" y="386"/>
                </a:lnTo>
                <a:lnTo>
                  <a:pt x="177" y="384"/>
                </a:lnTo>
                <a:lnTo>
                  <a:pt x="175" y="384"/>
                </a:lnTo>
                <a:lnTo>
                  <a:pt x="175" y="382"/>
                </a:lnTo>
                <a:lnTo>
                  <a:pt x="165" y="382"/>
                </a:lnTo>
                <a:lnTo>
                  <a:pt x="163" y="379"/>
                </a:lnTo>
                <a:lnTo>
                  <a:pt x="161" y="377"/>
                </a:lnTo>
                <a:lnTo>
                  <a:pt x="158" y="377"/>
                </a:lnTo>
                <a:lnTo>
                  <a:pt x="158" y="375"/>
                </a:lnTo>
                <a:lnTo>
                  <a:pt x="158" y="372"/>
                </a:lnTo>
                <a:lnTo>
                  <a:pt x="158" y="370"/>
                </a:lnTo>
                <a:lnTo>
                  <a:pt x="156" y="370"/>
                </a:lnTo>
                <a:lnTo>
                  <a:pt x="156" y="368"/>
                </a:lnTo>
                <a:lnTo>
                  <a:pt x="158" y="365"/>
                </a:lnTo>
                <a:lnTo>
                  <a:pt x="158" y="363"/>
                </a:lnTo>
                <a:lnTo>
                  <a:pt x="156" y="363"/>
                </a:lnTo>
                <a:lnTo>
                  <a:pt x="156" y="361"/>
                </a:lnTo>
                <a:lnTo>
                  <a:pt x="154" y="361"/>
                </a:lnTo>
                <a:lnTo>
                  <a:pt x="149" y="363"/>
                </a:lnTo>
                <a:lnTo>
                  <a:pt x="149" y="361"/>
                </a:lnTo>
                <a:lnTo>
                  <a:pt x="149" y="358"/>
                </a:lnTo>
                <a:lnTo>
                  <a:pt x="149" y="356"/>
                </a:lnTo>
                <a:lnTo>
                  <a:pt x="149" y="354"/>
                </a:lnTo>
                <a:lnTo>
                  <a:pt x="149" y="351"/>
                </a:lnTo>
                <a:lnTo>
                  <a:pt x="149" y="349"/>
                </a:lnTo>
                <a:lnTo>
                  <a:pt x="149" y="347"/>
                </a:lnTo>
                <a:lnTo>
                  <a:pt x="147" y="344"/>
                </a:lnTo>
                <a:lnTo>
                  <a:pt x="144" y="344"/>
                </a:lnTo>
                <a:lnTo>
                  <a:pt x="142" y="344"/>
                </a:lnTo>
                <a:lnTo>
                  <a:pt x="142" y="342"/>
                </a:lnTo>
                <a:lnTo>
                  <a:pt x="142" y="340"/>
                </a:lnTo>
                <a:lnTo>
                  <a:pt x="142" y="337"/>
                </a:lnTo>
                <a:lnTo>
                  <a:pt x="142" y="335"/>
                </a:lnTo>
                <a:lnTo>
                  <a:pt x="142" y="328"/>
                </a:lnTo>
                <a:lnTo>
                  <a:pt x="140" y="326"/>
                </a:lnTo>
                <a:lnTo>
                  <a:pt x="137" y="323"/>
                </a:lnTo>
                <a:lnTo>
                  <a:pt x="133" y="316"/>
                </a:lnTo>
                <a:lnTo>
                  <a:pt x="133" y="314"/>
                </a:lnTo>
                <a:lnTo>
                  <a:pt x="130" y="314"/>
                </a:lnTo>
                <a:lnTo>
                  <a:pt x="128" y="314"/>
                </a:lnTo>
                <a:lnTo>
                  <a:pt x="126" y="314"/>
                </a:lnTo>
                <a:lnTo>
                  <a:pt x="123" y="314"/>
                </a:lnTo>
                <a:lnTo>
                  <a:pt x="121" y="302"/>
                </a:lnTo>
                <a:lnTo>
                  <a:pt x="119" y="300"/>
                </a:lnTo>
                <a:lnTo>
                  <a:pt x="119" y="298"/>
                </a:lnTo>
                <a:lnTo>
                  <a:pt x="116" y="298"/>
                </a:lnTo>
                <a:lnTo>
                  <a:pt x="119" y="295"/>
                </a:lnTo>
                <a:lnTo>
                  <a:pt x="119" y="293"/>
                </a:lnTo>
                <a:lnTo>
                  <a:pt x="119" y="291"/>
                </a:lnTo>
                <a:lnTo>
                  <a:pt x="116" y="286"/>
                </a:lnTo>
                <a:lnTo>
                  <a:pt x="116" y="284"/>
                </a:lnTo>
                <a:lnTo>
                  <a:pt x="114" y="282"/>
                </a:lnTo>
                <a:lnTo>
                  <a:pt x="112" y="275"/>
                </a:lnTo>
                <a:lnTo>
                  <a:pt x="112" y="272"/>
                </a:lnTo>
                <a:lnTo>
                  <a:pt x="112" y="270"/>
                </a:lnTo>
                <a:lnTo>
                  <a:pt x="112" y="268"/>
                </a:lnTo>
                <a:lnTo>
                  <a:pt x="109" y="265"/>
                </a:lnTo>
                <a:lnTo>
                  <a:pt x="109" y="263"/>
                </a:lnTo>
                <a:lnTo>
                  <a:pt x="112" y="261"/>
                </a:lnTo>
                <a:lnTo>
                  <a:pt x="112" y="258"/>
                </a:lnTo>
                <a:lnTo>
                  <a:pt x="112" y="254"/>
                </a:lnTo>
                <a:lnTo>
                  <a:pt x="114" y="254"/>
                </a:lnTo>
                <a:lnTo>
                  <a:pt x="114" y="251"/>
                </a:lnTo>
                <a:lnTo>
                  <a:pt x="112" y="251"/>
                </a:lnTo>
                <a:lnTo>
                  <a:pt x="112" y="249"/>
                </a:lnTo>
                <a:lnTo>
                  <a:pt x="105" y="247"/>
                </a:lnTo>
                <a:lnTo>
                  <a:pt x="102" y="247"/>
                </a:lnTo>
                <a:lnTo>
                  <a:pt x="100" y="244"/>
                </a:lnTo>
                <a:lnTo>
                  <a:pt x="98" y="242"/>
                </a:lnTo>
                <a:lnTo>
                  <a:pt x="98" y="240"/>
                </a:lnTo>
                <a:lnTo>
                  <a:pt x="93" y="237"/>
                </a:lnTo>
                <a:lnTo>
                  <a:pt x="93" y="235"/>
                </a:lnTo>
                <a:lnTo>
                  <a:pt x="93" y="233"/>
                </a:lnTo>
                <a:lnTo>
                  <a:pt x="93" y="230"/>
                </a:lnTo>
                <a:lnTo>
                  <a:pt x="91" y="230"/>
                </a:lnTo>
                <a:lnTo>
                  <a:pt x="91" y="228"/>
                </a:lnTo>
                <a:lnTo>
                  <a:pt x="91" y="223"/>
                </a:lnTo>
                <a:lnTo>
                  <a:pt x="91" y="221"/>
                </a:lnTo>
                <a:lnTo>
                  <a:pt x="91" y="219"/>
                </a:lnTo>
                <a:lnTo>
                  <a:pt x="93" y="219"/>
                </a:lnTo>
                <a:lnTo>
                  <a:pt x="93" y="216"/>
                </a:lnTo>
                <a:lnTo>
                  <a:pt x="93" y="214"/>
                </a:lnTo>
                <a:lnTo>
                  <a:pt x="91" y="214"/>
                </a:lnTo>
                <a:lnTo>
                  <a:pt x="91" y="212"/>
                </a:lnTo>
                <a:lnTo>
                  <a:pt x="88" y="214"/>
                </a:lnTo>
                <a:lnTo>
                  <a:pt x="86" y="214"/>
                </a:lnTo>
                <a:lnTo>
                  <a:pt x="84" y="214"/>
                </a:lnTo>
                <a:lnTo>
                  <a:pt x="84" y="212"/>
                </a:lnTo>
                <a:lnTo>
                  <a:pt x="86" y="212"/>
                </a:lnTo>
                <a:lnTo>
                  <a:pt x="84" y="209"/>
                </a:lnTo>
                <a:lnTo>
                  <a:pt x="84" y="207"/>
                </a:lnTo>
                <a:lnTo>
                  <a:pt x="84" y="205"/>
                </a:lnTo>
                <a:lnTo>
                  <a:pt x="81" y="205"/>
                </a:lnTo>
                <a:lnTo>
                  <a:pt x="79" y="205"/>
                </a:lnTo>
                <a:lnTo>
                  <a:pt x="77" y="205"/>
                </a:lnTo>
                <a:lnTo>
                  <a:pt x="77" y="202"/>
                </a:lnTo>
                <a:lnTo>
                  <a:pt x="77" y="200"/>
                </a:lnTo>
                <a:lnTo>
                  <a:pt x="77" y="202"/>
                </a:lnTo>
                <a:lnTo>
                  <a:pt x="74" y="202"/>
                </a:lnTo>
                <a:lnTo>
                  <a:pt x="72" y="202"/>
                </a:lnTo>
                <a:lnTo>
                  <a:pt x="72" y="200"/>
                </a:lnTo>
                <a:lnTo>
                  <a:pt x="74" y="200"/>
                </a:lnTo>
                <a:lnTo>
                  <a:pt x="72" y="200"/>
                </a:lnTo>
                <a:lnTo>
                  <a:pt x="72" y="202"/>
                </a:lnTo>
                <a:lnTo>
                  <a:pt x="70" y="202"/>
                </a:lnTo>
                <a:lnTo>
                  <a:pt x="67" y="202"/>
                </a:lnTo>
                <a:lnTo>
                  <a:pt x="67" y="200"/>
                </a:lnTo>
                <a:lnTo>
                  <a:pt x="65" y="202"/>
                </a:lnTo>
                <a:lnTo>
                  <a:pt x="63" y="202"/>
                </a:lnTo>
                <a:lnTo>
                  <a:pt x="60" y="202"/>
                </a:lnTo>
                <a:lnTo>
                  <a:pt x="60" y="200"/>
                </a:lnTo>
                <a:lnTo>
                  <a:pt x="58" y="200"/>
                </a:lnTo>
                <a:lnTo>
                  <a:pt x="58" y="198"/>
                </a:lnTo>
                <a:lnTo>
                  <a:pt x="58" y="195"/>
                </a:lnTo>
                <a:lnTo>
                  <a:pt x="56" y="195"/>
                </a:lnTo>
                <a:lnTo>
                  <a:pt x="56" y="193"/>
                </a:lnTo>
                <a:lnTo>
                  <a:pt x="54" y="193"/>
                </a:lnTo>
                <a:lnTo>
                  <a:pt x="51" y="195"/>
                </a:lnTo>
                <a:lnTo>
                  <a:pt x="49" y="195"/>
                </a:lnTo>
                <a:lnTo>
                  <a:pt x="49" y="193"/>
                </a:lnTo>
                <a:lnTo>
                  <a:pt x="49" y="191"/>
                </a:lnTo>
                <a:lnTo>
                  <a:pt x="47" y="191"/>
                </a:lnTo>
                <a:lnTo>
                  <a:pt x="47" y="188"/>
                </a:lnTo>
                <a:lnTo>
                  <a:pt x="47" y="186"/>
                </a:lnTo>
                <a:lnTo>
                  <a:pt x="44" y="186"/>
                </a:lnTo>
                <a:lnTo>
                  <a:pt x="44" y="184"/>
                </a:lnTo>
                <a:lnTo>
                  <a:pt x="42" y="184"/>
                </a:lnTo>
                <a:lnTo>
                  <a:pt x="40" y="184"/>
                </a:lnTo>
                <a:lnTo>
                  <a:pt x="40" y="181"/>
                </a:lnTo>
                <a:lnTo>
                  <a:pt x="37" y="181"/>
                </a:lnTo>
                <a:lnTo>
                  <a:pt x="37" y="179"/>
                </a:lnTo>
                <a:lnTo>
                  <a:pt x="35" y="179"/>
                </a:lnTo>
                <a:lnTo>
                  <a:pt x="33" y="179"/>
                </a:lnTo>
                <a:lnTo>
                  <a:pt x="33" y="177"/>
                </a:lnTo>
                <a:lnTo>
                  <a:pt x="30" y="177"/>
                </a:lnTo>
                <a:lnTo>
                  <a:pt x="28" y="177"/>
                </a:lnTo>
                <a:lnTo>
                  <a:pt x="26" y="174"/>
                </a:lnTo>
                <a:lnTo>
                  <a:pt x="26" y="177"/>
                </a:lnTo>
                <a:lnTo>
                  <a:pt x="23" y="177"/>
                </a:lnTo>
                <a:lnTo>
                  <a:pt x="21" y="177"/>
                </a:lnTo>
                <a:lnTo>
                  <a:pt x="19" y="177"/>
                </a:lnTo>
                <a:lnTo>
                  <a:pt x="19" y="174"/>
                </a:lnTo>
                <a:lnTo>
                  <a:pt x="16" y="174"/>
                </a:lnTo>
                <a:lnTo>
                  <a:pt x="14" y="174"/>
                </a:lnTo>
                <a:lnTo>
                  <a:pt x="12" y="174"/>
                </a:lnTo>
                <a:lnTo>
                  <a:pt x="9" y="174"/>
                </a:lnTo>
                <a:lnTo>
                  <a:pt x="7" y="174"/>
                </a:lnTo>
                <a:lnTo>
                  <a:pt x="5" y="174"/>
                </a:lnTo>
                <a:lnTo>
                  <a:pt x="2" y="172"/>
                </a:lnTo>
                <a:lnTo>
                  <a:pt x="2" y="167"/>
                </a:lnTo>
                <a:lnTo>
                  <a:pt x="2" y="165"/>
                </a:lnTo>
                <a:lnTo>
                  <a:pt x="2" y="160"/>
                </a:lnTo>
                <a:lnTo>
                  <a:pt x="2" y="158"/>
                </a:lnTo>
                <a:lnTo>
                  <a:pt x="0" y="158"/>
                </a:lnTo>
                <a:lnTo>
                  <a:pt x="0" y="156"/>
                </a:lnTo>
                <a:lnTo>
                  <a:pt x="2" y="153"/>
                </a:lnTo>
                <a:lnTo>
                  <a:pt x="2" y="151"/>
                </a:lnTo>
                <a:lnTo>
                  <a:pt x="2" y="149"/>
                </a:lnTo>
                <a:lnTo>
                  <a:pt x="0" y="149"/>
                </a:lnTo>
                <a:lnTo>
                  <a:pt x="2" y="147"/>
                </a:lnTo>
                <a:lnTo>
                  <a:pt x="5" y="144"/>
                </a:lnTo>
                <a:lnTo>
                  <a:pt x="5" y="142"/>
                </a:lnTo>
                <a:lnTo>
                  <a:pt x="7" y="140"/>
                </a:lnTo>
                <a:lnTo>
                  <a:pt x="7" y="137"/>
                </a:lnTo>
                <a:lnTo>
                  <a:pt x="5" y="133"/>
                </a:lnTo>
                <a:lnTo>
                  <a:pt x="5" y="130"/>
                </a:lnTo>
                <a:lnTo>
                  <a:pt x="5" y="128"/>
                </a:lnTo>
                <a:lnTo>
                  <a:pt x="2" y="126"/>
                </a:lnTo>
                <a:lnTo>
                  <a:pt x="5" y="126"/>
                </a:lnTo>
                <a:lnTo>
                  <a:pt x="7" y="126"/>
                </a:lnTo>
                <a:lnTo>
                  <a:pt x="7" y="128"/>
                </a:lnTo>
                <a:lnTo>
                  <a:pt x="7" y="130"/>
                </a:lnTo>
                <a:lnTo>
                  <a:pt x="7" y="133"/>
                </a:lnTo>
                <a:lnTo>
                  <a:pt x="7" y="135"/>
                </a:lnTo>
                <a:lnTo>
                  <a:pt x="7" y="137"/>
                </a:lnTo>
                <a:lnTo>
                  <a:pt x="9" y="137"/>
                </a:lnTo>
                <a:lnTo>
                  <a:pt x="12" y="137"/>
                </a:lnTo>
                <a:lnTo>
                  <a:pt x="14" y="137"/>
                </a:lnTo>
                <a:lnTo>
                  <a:pt x="16" y="137"/>
                </a:lnTo>
                <a:lnTo>
                  <a:pt x="19" y="137"/>
                </a:lnTo>
                <a:lnTo>
                  <a:pt x="19" y="140"/>
                </a:lnTo>
                <a:lnTo>
                  <a:pt x="21" y="142"/>
                </a:lnTo>
                <a:lnTo>
                  <a:pt x="21" y="144"/>
                </a:lnTo>
                <a:lnTo>
                  <a:pt x="23" y="144"/>
                </a:lnTo>
                <a:lnTo>
                  <a:pt x="26" y="144"/>
                </a:lnTo>
                <a:lnTo>
                  <a:pt x="28" y="147"/>
                </a:lnTo>
                <a:lnTo>
                  <a:pt x="30" y="147"/>
                </a:lnTo>
                <a:lnTo>
                  <a:pt x="33" y="149"/>
                </a:lnTo>
                <a:lnTo>
                  <a:pt x="35" y="149"/>
                </a:lnTo>
                <a:lnTo>
                  <a:pt x="37" y="149"/>
                </a:lnTo>
                <a:lnTo>
                  <a:pt x="40" y="149"/>
                </a:lnTo>
                <a:lnTo>
                  <a:pt x="42" y="149"/>
                </a:lnTo>
                <a:lnTo>
                  <a:pt x="44" y="151"/>
                </a:lnTo>
                <a:lnTo>
                  <a:pt x="47" y="151"/>
                </a:lnTo>
                <a:lnTo>
                  <a:pt x="49" y="151"/>
                </a:lnTo>
                <a:lnTo>
                  <a:pt x="51" y="149"/>
                </a:lnTo>
                <a:lnTo>
                  <a:pt x="51" y="147"/>
                </a:lnTo>
                <a:lnTo>
                  <a:pt x="54" y="147"/>
                </a:lnTo>
                <a:lnTo>
                  <a:pt x="54" y="149"/>
                </a:lnTo>
                <a:lnTo>
                  <a:pt x="56" y="147"/>
                </a:lnTo>
                <a:lnTo>
                  <a:pt x="58" y="147"/>
                </a:lnTo>
                <a:lnTo>
                  <a:pt x="60" y="144"/>
                </a:lnTo>
                <a:lnTo>
                  <a:pt x="60" y="142"/>
                </a:lnTo>
                <a:lnTo>
                  <a:pt x="63" y="142"/>
                </a:lnTo>
                <a:lnTo>
                  <a:pt x="65" y="142"/>
                </a:lnTo>
                <a:lnTo>
                  <a:pt x="65" y="140"/>
                </a:lnTo>
                <a:lnTo>
                  <a:pt x="67" y="140"/>
                </a:lnTo>
                <a:lnTo>
                  <a:pt x="70" y="140"/>
                </a:lnTo>
                <a:lnTo>
                  <a:pt x="70" y="137"/>
                </a:lnTo>
                <a:lnTo>
                  <a:pt x="72" y="135"/>
                </a:lnTo>
                <a:lnTo>
                  <a:pt x="74" y="135"/>
                </a:lnTo>
                <a:lnTo>
                  <a:pt x="74" y="137"/>
                </a:lnTo>
                <a:lnTo>
                  <a:pt x="74" y="140"/>
                </a:lnTo>
                <a:lnTo>
                  <a:pt x="77" y="140"/>
                </a:lnTo>
                <a:lnTo>
                  <a:pt x="81" y="142"/>
                </a:lnTo>
                <a:lnTo>
                  <a:pt x="84" y="142"/>
                </a:lnTo>
                <a:lnTo>
                  <a:pt x="86" y="142"/>
                </a:lnTo>
                <a:lnTo>
                  <a:pt x="88" y="144"/>
                </a:lnTo>
                <a:lnTo>
                  <a:pt x="91" y="144"/>
                </a:lnTo>
                <a:lnTo>
                  <a:pt x="93" y="144"/>
                </a:lnTo>
                <a:lnTo>
                  <a:pt x="95" y="142"/>
                </a:lnTo>
                <a:lnTo>
                  <a:pt x="98" y="142"/>
                </a:lnTo>
                <a:lnTo>
                  <a:pt x="100" y="142"/>
                </a:lnTo>
                <a:lnTo>
                  <a:pt x="102" y="140"/>
                </a:lnTo>
                <a:lnTo>
                  <a:pt x="102" y="137"/>
                </a:lnTo>
                <a:lnTo>
                  <a:pt x="102" y="140"/>
                </a:lnTo>
                <a:lnTo>
                  <a:pt x="105" y="140"/>
                </a:lnTo>
                <a:lnTo>
                  <a:pt x="105" y="142"/>
                </a:lnTo>
                <a:lnTo>
                  <a:pt x="109" y="147"/>
                </a:lnTo>
                <a:lnTo>
                  <a:pt x="107" y="147"/>
                </a:lnTo>
                <a:lnTo>
                  <a:pt x="107" y="149"/>
                </a:lnTo>
                <a:lnTo>
                  <a:pt x="116" y="149"/>
                </a:lnTo>
                <a:lnTo>
                  <a:pt x="119" y="149"/>
                </a:lnTo>
                <a:lnTo>
                  <a:pt x="121" y="151"/>
                </a:lnTo>
                <a:lnTo>
                  <a:pt x="123" y="151"/>
                </a:lnTo>
                <a:lnTo>
                  <a:pt x="128" y="151"/>
                </a:lnTo>
                <a:lnTo>
                  <a:pt x="130" y="151"/>
                </a:lnTo>
                <a:lnTo>
                  <a:pt x="133" y="149"/>
                </a:lnTo>
                <a:lnTo>
                  <a:pt x="133" y="147"/>
                </a:lnTo>
                <a:lnTo>
                  <a:pt x="135" y="147"/>
                </a:lnTo>
                <a:lnTo>
                  <a:pt x="135" y="144"/>
                </a:lnTo>
                <a:lnTo>
                  <a:pt x="140" y="144"/>
                </a:lnTo>
                <a:lnTo>
                  <a:pt x="147" y="140"/>
                </a:lnTo>
                <a:lnTo>
                  <a:pt x="149" y="140"/>
                </a:lnTo>
                <a:lnTo>
                  <a:pt x="149" y="137"/>
                </a:lnTo>
                <a:lnTo>
                  <a:pt x="151" y="135"/>
                </a:lnTo>
                <a:lnTo>
                  <a:pt x="154" y="133"/>
                </a:lnTo>
                <a:lnTo>
                  <a:pt x="156" y="130"/>
                </a:lnTo>
                <a:lnTo>
                  <a:pt x="156" y="128"/>
                </a:lnTo>
                <a:lnTo>
                  <a:pt x="158" y="126"/>
                </a:lnTo>
                <a:lnTo>
                  <a:pt x="158" y="123"/>
                </a:lnTo>
                <a:lnTo>
                  <a:pt x="156" y="121"/>
                </a:lnTo>
                <a:lnTo>
                  <a:pt x="158" y="121"/>
                </a:lnTo>
                <a:lnTo>
                  <a:pt x="161" y="119"/>
                </a:lnTo>
                <a:lnTo>
                  <a:pt x="165" y="105"/>
                </a:lnTo>
                <a:lnTo>
                  <a:pt x="168" y="105"/>
                </a:lnTo>
                <a:lnTo>
                  <a:pt x="170" y="105"/>
                </a:lnTo>
                <a:lnTo>
                  <a:pt x="170" y="102"/>
                </a:lnTo>
                <a:lnTo>
                  <a:pt x="168" y="102"/>
                </a:lnTo>
                <a:lnTo>
                  <a:pt x="170" y="100"/>
                </a:lnTo>
                <a:lnTo>
                  <a:pt x="175" y="93"/>
                </a:lnTo>
                <a:lnTo>
                  <a:pt x="175" y="88"/>
                </a:lnTo>
                <a:lnTo>
                  <a:pt x="175" y="86"/>
                </a:lnTo>
                <a:lnTo>
                  <a:pt x="177" y="84"/>
                </a:lnTo>
                <a:lnTo>
                  <a:pt x="179" y="81"/>
                </a:lnTo>
                <a:lnTo>
                  <a:pt x="179" y="79"/>
                </a:lnTo>
                <a:lnTo>
                  <a:pt x="182" y="79"/>
                </a:lnTo>
                <a:lnTo>
                  <a:pt x="184" y="79"/>
                </a:lnTo>
                <a:lnTo>
                  <a:pt x="193" y="65"/>
                </a:lnTo>
                <a:lnTo>
                  <a:pt x="193" y="63"/>
                </a:lnTo>
                <a:lnTo>
                  <a:pt x="195" y="63"/>
                </a:lnTo>
                <a:lnTo>
                  <a:pt x="195" y="60"/>
                </a:lnTo>
                <a:lnTo>
                  <a:pt x="198" y="58"/>
                </a:lnTo>
                <a:lnTo>
                  <a:pt x="200" y="56"/>
                </a:lnTo>
                <a:lnTo>
                  <a:pt x="200" y="53"/>
                </a:lnTo>
                <a:lnTo>
                  <a:pt x="202" y="51"/>
                </a:lnTo>
                <a:lnTo>
                  <a:pt x="202" y="49"/>
                </a:lnTo>
                <a:lnTo>
                  <a:pt x="205" y="46"/>
                </a:lnTo>
                <a:lnTo>
                  <a:pt x="205" y="44"/>
                </a:lnTo>
                <a:lnTo>
                  <a:pt x="207" y="44"/>
                </a:lnTo>
                <a:lnTo>
                  <a:pt x="209" y="42"/>
                </a:lnTo>
                <a:lnTo>
                  <a:pt x="214" y="37"/>
                </a:lnTo>
                <a:lnTo>
                  <a:pt x="216" y="35"/>
                </a:lnTo>
                <a:lnTo>
                  <a:pt x="216" y="32"/>
                </a:lnTo>
                <a:lnTo>
                  <a:pt x="219" y="30"/>
                </a:lnTo>
                <a:lnTo>
                  <a:pt x="219" y="28"/>
                </a:lnTo>
                <a:lnTo>
                  <a:pt x="226" y="25"/>
                </a:lnTo>
                <a:lnTo>
                  <a:pt x="228" y="25"/>
                </a:lnTo>
                <a:lnTo>
                  <a:pt x="233" y="18"/>
                </a:lnTo>
                <a:lnTo>
                  <a:pt x="233" y="14"/>
                </a:lnTo>
                <a:lnTo>
                  <a:pt x="235" y="14"/>
                </a:lnTo>
                <a:lnTo>
                  <a:pt x="235" y="16"/>
                </a:lnTo>
                <a:lnTo>
                  <a:pt x="235" y="18"/>
                </a:lnTo>
                <a:lnTo>
                  <a:pt x="237" y="25"/>
                </a:lnTo>
                <a:lnTo>
                  <a:pt x="242" y="32"/>
                </a:lnTo>
                <a:lnTo>
                  <a:pt x="242" y="35"/>
                </a:lnTo>
                <a:lnTo>
                  <a:pt x="242" y="32"/>
                </a:lnTo>
                <a:lnTo>
                  <a:pt x="240" y="28"/>
                </a:lnTo>
                <a:lnTo>
                  <a:pt x="237" y="23"/>
                </a:lnTo>
                <a:lnTo>
                  <a:pt x="235" y="11"/>
                </a:lnTo>
                <a:lnTo>
                  <a:pt x="235" y="4"/>
                </a:lnTo>
                <a:lnTo>
                  <a:pt x="235" y="0"/>
                </a:lnTo>
                <a:lnTo>
                  <a:pt x="237" y="0"/>
                </a:lnTo>
                <a:lnTo>
                  <a:pt x="240" y="0"/>
                </a:lnTo>
                <a:lnTo>
                  <a:pt x="242" y="2"/>
                </a:lnTo>
                <a:lnTo>
                  <a:pt x="247" y="4"/>
                </a:lnTo>
                <a:lnTo>
                  <a:pt x="254" y="14"/>
                </a:lnTo>
                <a:lnTo>
                  <a:pt x="258" y="21"/>
                </a:lnTo>
                <a:lnTo>
                  <a:pt x="261" y="25"/>
                </a:lnTo>
                <a:lnTo>
                  <a:pt x="261" y="30"/>
                </a:lnTo>
                <a:close/>
              </a:path>
            </a:pathLst>
          </a:custGeom>
          <a:solidFill>
            <a:srgbClr val="C9E7CA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noProof="0"/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FCC13577-3EE7-5449-DEF6-0672974F2F3F}"/>
              </a:ext>
            </a:extLst>
          </p:cNvPr>
          <p:cNvSpPr/>
          <p:nvPr/>
        </p:nvSpPr>
        <p:spPr>
          <a:xfrm>
            <a:off x="1836274" y="3871628"/>
            <a:ext cx="397752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00" noProof="0">
                <a:solidFill>
                  <a:srgbClr val="575757"/>
                </a:solidFill>
                <a:cs typeface="Arial" panose="020B0604020202020204" pitchFamily="34" charset="0"/>
              </a:rPr>
              <a:t>Aging 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ED85BECD-14C4-856A-8B74-677D4D714BD5}"/>
              </a:ext>
            </a:extLst>
          </p:cNvPr>
          <p:cNvSpPr/>
          <p:nvPr/>
        </p:nvSpPr>
        <p:spPr>
          <a:xfrm>
            <a:off x="2283588" y="3871628"/>
            <a:ext cx="204044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C9E7C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400" noProof="0">
                <a:solidFill>
                  <a:srgbClr val="585858"/>
                </a:solidFill>
                <a:cs typeface="Arial" panose="020B0604020202020204" pitchFamily="34" charset="0"/>
              </a:rPr>
              <a:t>R$ 1,8M</a:t>
            </a:r>
          </a:p>
        </p:txBody>
      </p:sp>
      <p:sp>
        <p:nvSpPr>
          <p:cNvPr id="266" name="Freeform 19">
            <a:extLst>
              <a:ext uri="{FF2B5EF4-FFF2-40B4-BE49-F238E27FC236}">
                <a16:creationId xmlns:a16="http://schemas.microsoft.com/office/drawing/2014/main" id="{5A834D90-70B6-7D9E-B591-D3A997C83EAF}"/>
              </a:ext>
            </a:extLst>
          </p:cNvPr>
          <p:cNvSpPr>
            <a:spLocks/>
          </p:cNvSpPr>
          <p:nvPr/>
        </p:nvSpPr>
        <p:spPr bwMode="auto">
          <a:xfrm>
            <a:off x="2530411" y="3886384"/>
            <a:ext cx="40524" cy="44970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E71C5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noProof="0"/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451D28F9-2E6E-D47F-966E-EF2512BDED38}"/>
              </a:ext>
            </a:extLst>
          </p:cNvPr>
          <p:cNvSpPr/>
          <p:nvPr/>
        </p:nvSpPr>
        <p:spPr>
          <a:xfrm>
            <a:off x="1836274" y="4106812"/>
            <a:ext cx="397752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00" noProof="0" err="1">
                <a:solidFill>
                  <a:srgbClr val="575757"/>
                </a:solidFill>
                <a:cs typeface="Arial" panose="020B0604020202020204" pitchFamily="34" charset="0"/>
              </a:rPr>
              <a:t>Ruptura</a:t>
            </a:r>
            <a:r>
              <a:rPr lang="en-US" sz="400" noProof="0">
                <a:solidFill>
                  <a:srgbClr val="575757"/>
                </a:solidFill>
                <a:cs typeface="Arial" panose="020B0604020202020204" pitchFamily="34" charset="0"/>
              </a:rPr>
              <a:t> </a:t>
            </a:r>
            <a:r>
              <a:rPr lang="en-US" sz="300" noProof="0">
                <a:solidFill>
                  <a:srgbClr val="575757"/>
                </a:solidFill>
                <a:cs typeface="Arial" panose="020B0604020202020204" pitchFamily="34" charset="0"/>
              </a:rPr>
              <a:t>($)</a:t>
            </a:r>
            <a:endParaRPr lang="en-US" sz="4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1195721F-9A6E-7194-D157-50DC509C7C3C}"/>
              </a:ext>
            </a:extLst>
          </p:cNvPr>
          <p:cNvSpPr/>
          <p:nvPr/>
        </p:nvSpPr>
        <p:spPr>
          <a:xfrm>
            <a:off x="2283588" y="4106812"/>
            <a:ext cx="204044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400" noProof="0">
                <a:solidFill>
                  <a:srgbClr val="E71C57"/>
                </a:solidFill>
                <a:cs typeface="Arial" panose="020B0604020202020204" pitchFamily="34" charset="0"/>
              </a:rPr>
              <a:t>25%</a:t>
            </a:r>
          </a:p>
        </p:txBody>
      </p:sp>
      <p:sp>
        <p:nvSpPr>
          <p:cNvPr id="267" name="Freeform 19">
            <a:extLst>
              <a:ext uri="{FF2B5EF4-FFF2-40B4-BE49-F238E27FC236}">
                <a16:creationId xmlns:a16="http://schemas.microsoft.com/office/drawing/2014/main" id="{8DCCBBBC-E410-B00C-6074-8935D6CC9BE7}"/>
              </a:ext>
            </a:extLst>
          </p:cNvPr>
          <p:cNvSpPr>
            <a:spLocks/>
          </p:cNvSpPr>
          <p:nvPr/>
        </p:nvSpPr>
        <p:spPr bwMode="auto">
          <a:xfrm>
            <a:off x="2530411" y="4121570"/>
            <a:ext cx="40524" cy="44969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E71C5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noProof="0"/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243F72D7-DBFE-10CD-E385-544E0002D1D7}"/>
              </a:ext>
            </a:extLst>
          </p:cNvPr>
          <p:cNvSpPr/>
          <p:nvPr/>
        </p:nvSpPr>
        <p:spPr>
          <a:xfrm>
            <a:off x="1836274" y="3989220"/>
            <a:ext cx="397752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00" noProof="0">
                <a:solidFill>
                  <a:srgbClr val="575757"/>
                </a:solidFill>
                <a:cs typeface="Arial" panose="020B0604020202020204" pitchFamily="34" charset="0"/>
              </a:rPr>
              <a:t>DDE </a:t>
            </a:r>
            <a:r>
              <a:rPr lang="en-US" sz="400" noProof="0" err="1">
                <a:solidFill>
                  <a:srgbClr val="575757"/>
                </a:solidFill>
                <a:cs typeface="Arial" panose="020B0604020202020204" pitchFamily="34" charset="0"/>
              </a:rPr>
              <a:t>médio</a:t>
            </a:r>
            <a:endParaRPr lang="en-US" sz="4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78839599-5864-B7E4-FD3A-93A10F68FC30}"/>
              </a:ext>
            </a:extLst>
          </p:cNvPr>
          <p:cNvSpPr/>
          <p:nvPr/>
        </p:nvSpPr>
        <p:spPr>
          <a:xfrm>
            <a:off x="2283588" y="3989220"/>
            <a:ext cx="204044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400" noProof="0">
                <a:solidFill>
                  <a:srgbClr val="F18D1E"/>
                </a:solidFill>
                <a:cs typeface="Arial" panose="020B0604020202020204" pitchFamily="34" charset="0"/>
              </a:rPr>
              <a:t>8 </a:t>
            </a:r>
            <a:r>
              <a:rPr lang="en-US" sz="400" noProof="0" err="1">
                <a:solidFill>
                  <a:srgbClr val="F18D1E"/>
                </a:solidFill>
                <a:cs typeface="Arial" panose="020B0604020202020204" pitchFamily="34" charset="0"/>
              </a:rPr>
              <a:t>dias</a:t>
            </a:r>
            <a:endParaRPr lang="en-US" sz="400" noProof="0">
              <a:solidFill>
                <a:srgbClr val="F18D1E"/>
              </a:solidFill>
              <a:cs typeface="Arial" panose="020B0604020202020204" pitchFamily="34" charset="0"/>
            </a:endParaRPr>
          </a:p>
        </p:txBody>
      </p:sp>
      <p:sp>
        <p:nvSpPr>
          <p:cNvPr id="270" name="Freeform 9">
            <a:extLst>
              <a:ext uri="{FF2B5EF4-FFF2-40B4-BE49-F238E27FC236}">
                <a16:creationId xmlns:a16="http://schemas.microsoft.com/office/drawing/2014/main" id="{0FCA6C9A-0F04-065E-C80C-54570A9F8523}"/>
              </a:ext>
            </a:extLst>
          </p:cNvPr>
          <p:cNvSpPr>
            <a:spLocks noEditPoints="1"/>
          </p:cNvSpPr>
          <p:nvPr/>
        </p:nvSpPr>
        <p:spPr bwMode="auto">
          <a:xfrm>
            <a:off x="2518009" y="3998144"/>
            <a:ext cx="65330" cy="56634"/>
          </a:xfrm>
          <a:custGeom>
            <a:avLst/>
            <a:gdLst>
              <a:gd name="T0" fmla="*/ 866 w 874"/>
              <a:gd name="T1" fmla="*/ 724 h 757"/>
              <a:gd name="T2" fmla="*/ 456 w 874"/>
              <a:gd name="T3" fmla="*/ 14 h 757"/>
              <a:gd name="T4" fmla="*/ 418 w 874"/>
              <a:gd name="T5" fmla="*/ 14 h 757"/>
              <a:gd name="T6" fmla="*/ 8 w 874"/>
              <a:gd name="T7" fmla="*/ 724 h 757"/>
              <a:gd name="T8" fmla="*/ 27 w 874"/>
              <a:gd name="T9" fmla="*/ 757 h 757"/>
              <a:gd name="T10" fmla="*/ 847 w 874"/>
              <a:gd name="T11" fmla="*/ 757 h 757"/>
              <a:gd name="T12" fmla="*/ 866 w 874"/>
              <a:gd name="T13" fmla="*/ 724 h 757"/>
              <a:gd name="T14" fmla="*/ 397 w 874"/>
              <a:gd name="T15" fmla="*/ 206 h 757"/>
              <a:gd name="T16" fmla="*/ 477 w 874"/>
              <a:gd name="T17" fmla="*/ 206 h 757"/>
              <a:gd name="T18" fmla="*/ 477 w 874"/>
              <a:gd name="T19" fmla="*/ 332 h 757"/>
              <a:gd name="T20" fmla="*/ 453 w 874"/>
              <a:gd name="T21" fmla="*/ 548 h 757"/>
              <a:gd name="T22" fmla="*/ 421 w 874"/>
              <a:gd name="T23" fmla="*/ 548 h 757"/>
              <a:gd name="T24" fmla="*/ 397 w 874"/>
              <a:gd name="T25" fmla="*/ 332 h 757"/>
              <a:gd name="T26" fmla="*/ 397 w 874"/>
              <a:gd name="T27" fmla="*/ 206 h 757"/>
              <a:gd name="T28" fmla="*/ 473 w 874"/>
              <a:gd name="T29" fmla="*/ 658 h 757"/>
              <a:gd name="T30" fmla="*/ 438 w 874"/>
              <a:gd name="T31" fmla="*/ 673 h 757"/>
              <a:gd name="T32" fmla="*/ 402 w 874"/>
              <a:gd name="T33" fmla="*/ 658 h 757"/>
              <a:gd name="T34" fmla="*/ 386 w 874"/>
              <a:gd name="T35" fmla="*/ 622 h 757"/>
              <a:gd name="T36" fmla="*/ 402 w 874"/>
              <a:gd name="T37" fmla="*/ 586 h 757"/>
              <a:gd name="T38" fmla="*/ 438 w 874"/>
              <a:gd name="T39" fmla="*/ 571 h 757"/>
              <a:gd name="T40" fmla="*/ 473 w 874"/>
              <a:gd name="T41" fmla="*/ 586 h 757"/>
              <a:gd name="T42" fmla="*/ 488 w 874"/>
              <a:gd name="T43" fmla="*/ 622 h 757"/>
              <a:gd name="T44" fmla="*/ 473 w 874"/>
              <a:gd name="T45" fmla="*/ 658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74" h="757">
                <a:moveTo>
                  <a:pt x="866" y="724"/>
                </a:moveTo>
                <a:cubicBezTo>
                  <a:pt x="456" y="14"/>
                  <a:pt x="456" y="14"/>
                  <a:pt x="456" y="14"/>
                </a:cubicBezTo>
                <a:cubicBezTo>
                  <a:pt x="448" y="0"/>
                  <a:pt x="426" y="0"/>
                  <a:pt x="418" y="14"/>
                </a:cubicBezTo>
                <a:cubicBezTo>
                  <a:pt x="8" y="724"/>
                  <a:pt x="8" y="724"/>
                  <a:pt x="8" y="724"/>
                </a:cubicBezTo>
                <a:cubicBezTo>
                  <a:pt x="0" y="738"/>
                  <a:pt x="10" y="757"/>
                  <a:pt x="27" y="757"/>
                </a:cubicBezTo>
                <a:cubicBezTo>
                  <a:pt x="847" y="757"/>
                  <a:pt x="847" y="757"/>
                  <a:pt x="847" y="757"/>
                </a:cubicBezTo>
                <a:cubicBezTo>
                  <a:pt x="864" y="757"/>
                  <a:pt x="874" y="738"/>
                  <a:pt x="866" y="724"/>
                </a:cubicBezTo>
                <a:close/>
                <a:moveTo>
                  <a:pt x="397" y="206"/>
                </a:moveTo>
                <a:cubicBezTo>
                  <a:pt x="477" y="206"/>
                  <a:pt x="477" y="206"/>
                  <a:pt x="477" y="206"/>
                </a:cubicBezTo>
                <a:cubicBezTo>
                  <a:pt x="477" y="332"/>
                  <a:pt x="477" y="332"/>
                  <a:pt x="477" y="332"/>
                </a:cubicBezTo>
                <a:cubicBezTo>
                  <a:pt x="477" y="373"/>
                  <a:pt x="470" y="446"/>
                  <a:pt x="453" y="548"/>
                </a:cubicBezTo>
                <a:cubicBezTo>
                  <a:pt x="421" y="548"/>
                  <a:pt x="421" y="548"/>
                  <a:pt x="421" y="548"/>
                </a:cubicBezTo>
                <a:cubicBezTo>
                  <a:pt x="405" y="446"/>
                  <a:pt x="397" y="373"/>
                  <a:pt x="397" y="332"/>
                </a:cubicBezTo>
                <a:lnTo>
                  <a:pt x="397" y="206"/>
                </a:lnTo>
                <a:close/>
                <a:moveTo>
                  <a:pt x="473" y="658"/>
                </a:moveTo>
                <a:cubicBezTo>
                  <a:pt x="464" y="668"/>
                  <a:pt x="452" y="673"/>
                  <a:pt x="438" y="673"/>
                </a:cubicBezTo>
                <a:cubicBezTo>
                  <a:pt x="423" y="673"/>
                  <a:pt x="411" y="668"/>
                  <a:pt x="402" y="658"/>
                </a:cubicBezTo>
                <a:cubicBezTo>
                  <a:pt x="392" y="648"/>
                  <a:pt x="386" y="636"/>
                  <a:pt x="386" y="622"/>
                </a:cubicBezTo>
                <a:cubicBezTo>
                  <a:pt x="386" y="608"/>
                  <a:pt x="392" y="596"/>
                  <a:pt x="402" y="586"/>
                </a:cubicBezTo>
                <a:cubicBezTo>
                  <a:pt x="411" y="576"/>
                  <a:pt x="423" y="571"/>
                  <a:pt x="438" y="571"/>
                </a:cubicBezTo>
                <a:cubicBezTo>
                  <a:pt x="452" y="571"/>
                  <a:pt x="464" y="576"/>
                  <a:pt x="473" y="586"/>
                </a:cubicBezTo>
                <a:cubicBezTo>
                  <a:pt x="483" y="596"/>
                  <a:pt x="488" y="608"/>
                  <a:pt x="488" y="622"/>
                </a:cubicBezTo>
                <a:cubicBezTo>
                  <a:pt x="488" y="636"/>
                  <a:pt x="483" y="648"/>
                  <a:pt x="473" y="658"/>
                </a:cubicBezTo>
                <a:close/>
              </a:path>
            </a:pathLst>
          </a:custGeom>
          <a:solidFill>
            <a:srgbClr val="F18D1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noProof="0"/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B014A7F9-E2CB-E95E-F12C-DF46F93B047E}"/>
              </a:ext>
            </a:extLst>
          </p:cNvPr>
          <p:cNvSpPr/>
          <p:nvPr/>
        </p:nvSpPr>
        <p:spPr>
          <a:xfrm>
            <a:off x="1836274" y="4341994"/>
            <a:ext cx="397752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00" noProof="0" err="1">
                <a:solidFill>
                  <a:srgbClr val="575757"/>
                </a:solidFill>
                <a:cs typeface="Arial" panose="020B0604020202020204" pitchFamily="34" charset="0"/>
              </a:rPr>
              <a:t>Nível</a:t>
            </a:r>
            <a:r>
              <a:rPr lang="en-US" sz="400" noProof="0">
                <a:solidFill>
                  <a:srgbClr val="575757"/>
                </a:solidFill>
                <a:cs typeface="Arial" panose="020B0604020202020204" pitchFamily="34" charset="0"/>
              </a:rPr>
              <a:t> de </a:t>
            </a:r>
            <a:r>
              <a:rPr lang="en-US" sz="400" noProof="0" err="1">
                <a:solidFill>
                  <a:srgbClr val="575757"/>
                </a:solidFill>
                <a:cs typeface="Arial" panose="020B0604020202020204" pitchFamily="34" charset="0"/>
              </a:rPr>
              <a:t>saúde</a:t>
            </a:r>
            <a:endParaRPr lang="en-US" sz="4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DC3F94B4-5D7E-739A-D15C-841A9255D6B9}"/>
              </a:ext>
            </a:extLst>
          </p:cNvPr>
          <p:cNvSpPr/>
          <p:nvPr/>
        </p:nvSpPr>
        <p:spPr>
          <a:xfrm>
            <a:off x="2283587" y="4341994"/>
            <a:ext cx="283099" cy="840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400" noProof="0" err="1">
                <a:solidFill>
                  <a:srgbClr val="F18D1E"/>
                </a:solidFill>
                <a:cs typeface="Arial" panose="020B0604020202020204" pitchFamily="34" charset="0"/>
              </a:rPr>
              <a:t>Médio</a:t>
            </a:r>
            <a:endParaRPr lang="en-US" sz="400" noProof="0">
              <a:solidFill>
                <a:srgbClr val="F18D1E"/>
              </a:solidFill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A5DC39-08C0-82AA-37EA-DE989AFDDED8}"/>
              </a:ext>
            </a:extLst>
          </p:cNvPr>
          <p:cNvSpPr/>
          <p:nvPr/>
        </p:nvSpPr>
        <p:spPr>
          <a:xfrm>
            <a:off x="1836274" y="4224403"/>
            <a:ext cx="397752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00" noProof="0" err="1">
                <a:solidFill>
                  <a:srgbClr val="575757"/>
                </a:solidFill>
                <a:cs typeface="Arial" panose="020B0604020202020204" pitchFamily="34" charset="0"/>
              </a:rPr>
              <a:t>Cobertura</a:t>
            </a:r>
            <a:r>
              <a:rPr lang="en-US" sz="400" noProof="0">
                <a:solidFill>
                  <a:srgbClr val="575757"/>
                </a:solidFill>
                <a:cs typeface="Arial" panose="020B0604020202020204" pitchFamily="34" charset="0"/>
              </a:rPr>
              <a:t> </a:t>
            </a:r>
            <a:r>
              <a:rPr lang="en-US" sz="300" noProof="0">
                <a:solidFill>
                  <a:srgbClr val="575757"/>
                </a:solidFill>
                <a:cs typeface="Arial" panose="020B0604020202020204" pitchFamily="34" charset="0"/>
              </a:rPr>
              <a:t>(</a:t>
            </a:r>
            <a:r>
              <a:rPr lang="en-US" sz="300" noProof="0" err="1">
                <a:solidFill>
                  <a:srgbClr val="575757"/>
                </a:solidFill>
                <a:cs typeface="Arial" panose="020B0604020202020204" pitchFamily="34" charset="0"/>
              </a:rPr>
              <a:t>futuro</a:t>
            </a:r>
            <a:r>
              <a:rPr lang="en-US" sz="300" noProof="0">
                <a:solidFill>
                  <a:srgbClr val="575757"/>
                </a:solidFill>
                <a:cs typeface="Arial" panose="020B0604020202020204" pitchFamily="34" charset="0"/>
              </a:rPr>
              <a:t>)</a:t>
            </a:r>
            <a:endParaRPr lang="en-US" sz="4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BC9794-EF23-6682-810C-DB7046BC4972}"/>
              </a:ext>
            </a:extLst>
          </p:cNvPr>
          <p:cNvSpPr/>
          <p:nvPr/>
        </p:nvSpPr>
        <p:spPr>
          <a:xfrm>
            <a:off x="2283588" y="4224403"/>
            <a:ext cx="204044" cy="744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400" noProof="0">
                <a:solidFill>
                  <a:srgbClr val="29BA74"/>
                </a:solidFill>
                <a:cs typeface="Arial" panose="020B0604020202020204" pitchFamily="34" charset="0"/>
              </a:rPr>
              <a:t>14 </a:t>
            </a:r>
            <a:r>
              <a:rPr lang="en-US" sz="400" noProof="0" err="1">
                <a:solidFill>
                  <a:srgbClr val="29BA74"/>
                </a:solidFill>
                <a:cs typeface="Arial" panose="020B0604020202020204" pitchFamily="34" charset="0"/>
              </a:rPr>
              <a:t>dias</a:t>
            </a:r>
            <a:endParaRPr lang="en-US" sz="400" noProof="0">
              <a:solidFill>
                <a:srgbClr val="29BA74"/>
              </a:solidFill>
              <a:cs typeface="Arial" panose="020B0604020202020204" pitchFamily="34" charset="0"/>
            </a:endParaRPr>
          </a:p>
        </p:txBody>
      </p:sp>
      <p:sp>
        <p:nvSpPr>
          <p:cNvPr id="26" name="Freeform 19">
            <a:extLst>
              <a:ext uri="{FF2B5EF4-FFF2-40B4-BE49-F238E27FC236}">
                <a16:creationId xmlns:a16="http://schemas.microsoft.com/office/drawing/2014/main" id="{E70CABE9-8DEC-D7D4-76EF-3396E0EDB6E4}"/>
              </a:ext>
            </a:extLst>
          </p:cNvPr>
          <p:cNvSpPr>
            <a:spLocks/>
          </p:cNvSpPr>
          <p:nvPr/>
        </p:nvSpPr>
        <p:spPr bwMode="auto">
          <a:xfrm>
            <a:off x="2530411" y="4239161"/>
            <a:ext cx="40524" cy="44969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29BA7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noProof="0"/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A3C6D4C5-3934-66F1-F85A-073589BAAF74}"/>
              </a:ext>
            </a:extLst>
          </p:cNvPr>
          <p:cNvCxnSpPr>
            <a:cxnSpLocks/>
          </p:cNvCxnSpPr>
          <p:nvPr/>
        </p:nvCxnSpPr>
        <p:spPr>
          <a:xfrm>
            <a:off x="1836274" y="3967665"/>
            <a:ext cx="730412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05F1CB0E-9D26-6F5B-A956-390849138B6C}"/>
              </a:ext>
            </a:extLst>
          </p:cNvPr>
          <p:cNvCxnSpPr>
            <a:cxnSpLocks/>
          </p:cNvCxnSpPr>
          <p:nvPr/>
        </p:nvCxnSpPr>
        <p:spPr>
          <a:xfrm>
            <a:off x="1836274" y="4085257"/>
            <a:ext cx="730412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EA1DCBF6-92EE-F1A9-49D1-F0AA391C003C}"/>
              </a:ext>
            </a:extLst>
          </p:cNvPr>
          <p:cNvCxnSpPr>
            <a:cxnSpLocks/>
          </p:cNvCxnSpPr>
          <p:nvPr/>
        </p:nvCxnSpPr>
        <p:spPr>
          <a:xfrm>
            <a:off x="1836274" y="4202849"/>
            <a:ext cx="730412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513E4965-8D87-9011-5B38-9973B6348027}"/>
              </a:ext>
            </a:extLst>
          </p:cNvPr>
          <p:cNvCxnSpPr>
            <a:cxnSpLocks/>
          </p:cNvCxnSpPr>
          <p:nvPr/>
        </p:nvCxnSpPr>
        <p:spPr>
          <a:xfrm>
            <a:off x="1836274" y="4320439"/>
            <a:ext cx="730412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tangle 218">
            <a:extLst>
              <a:ext uri="{FF2B5EF4-FFF2-40B4-BE49-F238E27FC236}">
                <a16:creationId xmlns:a16="http://schemas.microsoft.com/office/drawing/2014/main" id="{07550CAB-5C70-9694-1089-86B729AF1821}"/>
              </a:ext>
            </a:extLst>
          </p:cNvPr>
          <p:cNvSpPr>
            <a:spLocks/>
          </p:cNvSpPr>
          <p:nvPr/>
        </p:nvSpPr>
        <p:spPr>
          <a:xfrm>
            <a:off x="9813501" y="3036918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120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1,3%)</a:t>
            </a: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48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224" name="Freeform 19">
            <a:extLst>
              <a:ext uri="{FF2B5EF4-FFF2-40B4-BE49-F238E27FC236}">
                <a16:creationId xmlns:a16="http://schemas.microsoft.com/office/drawing/2014/main" id="{A712ABEE-9BD2-8E0C-EACA-6BE363AB4C18}"/>
              </a:ext>
            </a:extLst>
          </p:cNvPr>
          <p:cNvSpPr>
            <a:spLocks/>
          </p:cNvSpPr>
          <p:nvPr/>
        </p:nvSpPr>
        <p:spPr bwMode="auto">
          <a:xfrm rot="10800000">
            <a:off x="10384941" y="3174430"/>
            <a:ext cx="32674" cy="46414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1F22C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noProof="0"/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7B7F1D12-1900-2F6F-19BA-952BAC35CCE0}"/>
              </a:ext>
            </a:extLst>
          </p:cNvPr>
          <p:cNvSpPr>
            <a:spLocks/>
          </p:cNvSpPr>
          <p:nvPr/>
        </p:nvSpPr>
        <p:spPr>
          <a:xfrm>
            <a:off x="10643912" y="3036918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7%</a:t>
            </a:r>
          </a:p>
          <a:p>
            <a:pPr algn="ctr"/>
            <a:r>
              <a:rPr lang="en-US" sz="300" noProof="0">
                <a:solidFill>
                  <a:srgbClr val="E71A3A"/>
                </a:solidFill>
              </a:rPr>
              <a:t>(+0,3pp)</a:t>
            </a: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48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308" name="Freeform 19">
            <a:extLst>
              <a:ext uri="{FF2B5EF4-FFF2-40B4-BE49-F238E27FC236}">
                <a16:creationId xmlns:a16="http://schemas.microsoft.com/office/drawing/2014/main" id="{21F59FE6-CF73-DFB8-7B7D-E2B9F1F366D5}"/>
              </a:ext>
            </a:extLst>
          </p:cNvPr>
          <p:cNvSpPr>
            <a:spLocks/>
          </p:cNvSpPr>
          <p:nvPr/>
        </p:nvSpPr>
        <p:spPr bwMode="auto">
          <a:xfrm>
            <a:off x="11128008" y="3174430"/>
            <a:ext cx="32674" cy="46414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E71A3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noProof="0">
              <a:solidFill>
                <a:srgbClr val="B2122D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EAF86EF7-19AA-A6B1-1B1C-67687171FDF9}"/>
              </a:ext>
            </a:extLst>
          </p:cNvPr>
          <p:cNvSpPr>
            <a:spLocks/>
          </p:cNvSpPr>
          <p:nvPr/>
        </p:nvSpPr>
        <p:spPr>
          <a:xfrm>
            <a:off x="8152678" y="3036918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750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10,6%)</a:t>
            </a: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820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110" name="Freeform 19">
            <a:extLst>
              <a:ext uri="{FF2B5EF4-FFF2-40B4-BE49-F238E27FC236}">
                <a16:creationId xmlns:a16="http://schemas.microsoft.com/office/drawing/2014/main" id="{96763B0B-F2AD-8206-4E3A-766CC23AF1C3}"/>
              </a:ext>
            </a:extLst>
          </p:cNvPr>
          <p:cNvSpPr>
            <a:spLocks/>
          </p:cNvSpPr>
          <p:nvPr/>
        </p:nvSpPr>
        <p:spPr bwMode="auto">
          <a:xfrm rot="10800000">
            <a:off x="8713355" y="3174430"/>
            <a:ext cx="32674" cy="46414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1F22C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noProof="0"/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4B545E97-65EC-6770-1096-CB89F9D0AE9F}"/>
              </a:ext>
            </a:extLst>
          </p:cNvPr>
          <p:cNvSpPr>
            <a:spLocks/>
          </p:cNvSpPr>
          <p:nvPr/>
        </p:nvSpPr>
        <p:spPr>
          <a:xfrm>
            <a:off x="8983077" y="3036918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42 </a:t>
            </a:r>
            <a:r>
              <a:rPr lang="en-US" sz="1000" noProof="0" err="1">
                <a:solidFill>
                  <a:schemeClr val="tx1"/>
                </a:solidFill>
              </a:rPr>
              <a:t>dias</a:t>
            </a:r>
            <a:r>
              <a:rPr lang="en-US" sz="1000" noProof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3,2%)</a:t>
            </a: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44d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210" name="Freeform 19">
            <a:extLst>
              <a:ext uri="{FF2B5EF4-FFF2-40B4-BE49-F238E27FC236}">
                <a16:creationId xmlns:a16="http://schemas.microsoft.com/office/drawing/2014/main" id="{7829869C-6CFC-8D39-46F4-29016D8EA337}"/>
              </a:ext>
            </a:extLst>
          </p:cNvPr>
          <p:cNvSpPr>
            <a:spLocks/>
          </p:cNvSpPr>
          <p:nvPr/>
        </p:nvSpPr>
        <p:spPr bwMode="auto">
          <a:xfrm rot="10800000">
            <a:off x="9549463" y="3174430"/>
            <a:ext cx="32674" cy="46414"/>
          </a:xfrm>
          <a:custGeom>
            <a:avLst/>
            <a:gdLst>
              <a:gd name="T0" fmla="*/ 298 w 596"/>
              <a:gd name="T1" fmla="*/ 880 h 880"/>
              <a:gd name="T2" fmla="*/ 234 w 596"/>
              <a:gd name="T3" fmla="*/ 816 h 880"/>
              <a:gd name="T4" fmla="*/ 234 w 596"/>
              <a:gd name="T5" fmla="*/ 217 h 880"/>
              <a:gd name="T6" fmla="*/ 109 w 596"/>
              <a:gd name="T7" fmla="*/ 343 h 880"/>
              <a:gd name="T8" fmla="*/ 64 w 596"/>
              <a:gd name="T9" fmla="*/ 362 h 880"/>
              <a:gd name="T10" fmla="*/ 19 w 596"/>
              <a:gd name="T11" fmla="*/ 343 h 880"/>
              <a:gd name="T12" fmla="*/ 0 w 596"/>
              <a:gd name="T13" fmla="*/ 298 h 880"/>
              <a:gd name="T14" fmla="*/ 19 w 596"/>
              <a:gd name="T15" fmla="*/ 253 h 880"/>
              <a:gd name="T16" fmla="*/ 253 w 596"/>
              <a:gd name="T17" fmla="*/ 19 h 880"/>
              <a:gd name="T18" fmla="*/ 262 w 596"/>
              <a:gd name="T19" fmla="*/ 11 h 880"/>
              <a:gd name="T20" fmla="*/ 263 w 596"/>
              <a:gd name="T21" fmla="*/ 10 h 880"/>
              <a:gd name="T22" fmla="*/ 264 w 596"/>
              <a:gd name="T23" fmla="*/ 10 h 880"/>
              <a:gd name="T24" fmla="*/ 273 w 596"/>
              <a:gd name="T25" fmla="*/ 5 h 880"/>
              <a:gd name="T26" fmla="*/ 275 w 596"/>
              <a:gd name="T27" fmla="*/ 4 h 880"/>
              <a:gd name="T28" fmla="*/ 276 w 596"/>
              <a:gd name="T29" fmla="*/ 4 h 880"/>
              <a:gd name="T30" fmla="*/ 286 w 596"/>
              <a:gd name="T31" fmla="*/ 1 h 880"/>
              <a:gd name="T32" fmla="*/ 287 w 596"/>
              <a:gd name="T33" fmla="*/ 1 h 880"/>
              <a:gd name="T34" fmla="*/ 287 w 596"/>
              <a:gd name="T35" fmla="*/ 1 h 880"/>
              <a:gd name="T36" fmla="*/ 298 w 596"/>
              <a:gd name="T37" fmla="*/ 0 h 880"/>
              <a:gd name="T38" fmla="*/ 309 w 596"/>
              <a:gd name="T39" fmla="*/ 1 h 880"/>
              <a:gd name="T40" fmla="*/ 310 w 596"/>
              <a:gd name="T41" fmla="*/ 1 h 880"/>
              <a:gd name="T42" fmla="*/ 320 w 596"/>
              <a:gd name="T43" fmla="*/ 4 h 880"/>
              <a:gd name="T44" fmla="*/ 321 w 596"/>
              <a:gd name="T45" fmla="*/ 4 h 880"/>
              <a:gd name="T46" fmla="*/ 323 w 596"/>
              <a:gd name="T47" fmla="*/ 5 h 880"/>
              <a:gd name="T48" fmla="*/ 332 w 596"/>
              <a:gd name="T49" fmla="*/ 10 h 880"/>
              <a:gd name="T50" fmla="*/ 333 w 596"/>
              <a:gd name="T51" fmla="*/ 10 h 880"/>
              <a:gd name="T52" fmla="*/ 334 w 596"/>
              <a:gd name="T53" fmla="*/ 11 h 880"/>
              <a:gd name="T54" fmla="*/ 343 w 596"/>
              <a:gd name="T55" fmla="*/ 19 h 880"/>
              <a:gd name="T56" fmla="*/ 577 w 596"/>
              <a:gd name="T57" fmla="*/ 253 h 880"/>
              <a:gd name="T58" fmla="*/ 596 w 596"/>
              <a:gd name="T59" fmla="*/ 298 h 880"/>
              <a:gd name="T60" fmla="*/ 577 w 596"/>
              <a:gd name="T61" fmla="*/ 343 h 880"/>
              <a:gd name="T62" fmla="*/ 532 w 596"/>
              <a:gd name="T63" fmla="*/ 362 h 880"/>
              <a:gd name="T64" fmla="*/ 487 w 596"/>
              <a:gd name="T65" fmla="*/ 343 h 880"/>
              <a:gd name="T66" fmla="*/ 362 w 596"/>
              <a:gd name="T67" fmla="*/ 217 h 880"/>
              <a:gd name="T68" fmla="*/ 362 w 596"/>
              <a:gd name="T69" fmla="*/ 816 h 880"/>
              <a:gd name="T70" fmla="*/ 298 w 596"/>
              <a:gd name="T71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96" h="880">
                <a:moveTo>
                  <a:pt x="298" y="880"/>
                </a:moveTo>
                <a:cubicBezTo>
                  <a:pt x="263" y="880"/>
                  <a:pt x="234" y="851"/>
                  <a:pt x="234" y="816"/>
                </a:cubicBezTo>
                <a:cubicBezTo>
                  <a:pt x="234" y="217"/>
                  <a:pt x="234" y="217"/>
                  <a:pt x="234" y="217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97" y="355"/>
                  <a:pt x="81" y="362"/>
                  <a:pt x="64" y="362"/>
                </a:cubicBezTo>
                <a:cubicBezTo>
                  <a:pt x="47" y="362"/>
                  <a:pt x="31" y="355"/>
                  <a:pt x="19" y="343"/>
                </a:cubicBezTo>
                <a:cubicBezTo>
                  <a:pt x="7" y="331"/>
                  <a:pt x="0" y="315"/>
                  <a:pt x="0" y="298"/>
                </a:cubicBezTo>
                <a:cubicBezTo>
                  <a:pt x="0" y="281"/>
                  <a:pt x="7" y="265"/>
                  <a:pt x="19" y="253"/>
                </a:cubicBezTo>
                <a:cubicBezTo>
                  <a:pt x="253" y="19"/>
                  <a:pt x="253" y="19"/>
                  <a:pt x="253" y="19"/>
                </a:cubicBezTo>
                <a:cubicBezTo>
                  <a:pt x="256" y="16"/>
                  <a:pt x="259" y="13"/>
                  <a:pt x="262" y="11"/>
                </a:cubicBezTo>
                <a:cubicBezTo>
                  <a:pt x="263" y="10"/>
                  <a:pt x="263" y="10"/>
                  <a:pt x="263" y="10"/>
                </a:cubicBezTo>
                <a:cubicBezTo>
                  <a:pt x="264" y="10"/>
                  <a:pt x="264" y="10"/>
                  <a:pt x="264" y="10"/>
                </a:cubicBezTo>
                <a:cubicBezTo>
                  <a:pt x="267" y="8"/>
                  <a:pt x="270" y="6"/>
                  <a:pt x="273" y="5"/>
                </a:cubicBezTo>
                <a:cubicBezTo>
                  <a:pt x="275" y="4"/>
                  <a:pt x="275" y="4"/>
                  <a:pt x="275" y="4"/>
                </a:cubicBezTo>
                <a:cubicBezTo>
                  <a:pt x="276" y="4"/>
                  <a:pt x="276" y="4"/>
                  <a:pt x="276" y="4"/>
                </a:cubicBezTo>
                <a:cubicBezTo>
                  <a:pt x="279" y="3"/>
                  <a:pt x="282" y="2"/>
                  <a:pt x="286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87" y="1"/>
                  <a:pt x="287" y="1"/>
                  <a:pt x="287" y="1"/>
                </a:cubicBezTo>
                <a:cubicBezTo>
                  <a:pt x="291" y="0"/>
                  <a:pt x="294" y="0"/>
                  <a:pt x="298" y="0"/>
                </a:cubicBezTo>
                <a:cubicBezTo>
                  <a:pt x="302" y="0"/>
                  <a:pt x="305" y="0"/>
                  <a:pt x="309" y="1"/>
                </a:cubicBezTo>
                <a:cubicBezTo>
                  <a:pt x="310" y="1"/>
                  <a:pt x="310" y="1"/>
                  <a:pt x="310" y="1"/>
                </a:cubicBezTo>
                <a:cubicBezTo>
                  <a:pt x="314" y="2"/>
                  <a:pt x="317" y="3"/>
                  <a:pt x="320" y="4"/>
                </a:cubicBezTo>
                <a:cubicBezTo>
                  <a:pt x="321" y="4"/>
                  <a:pt x="321" y="4"/>
                  <a:pt x="321" y="4"/>
                </a:cubicBezTo>
                <a:cubicBezTo>
                  <a:pt x="323" y="5"/>
                  <a:pt x="323" y="5"/>
                  <a:pt x="323" y="5"/>
                </a:cubicBezTo>
                <a:cubicBezTo>
                  <a:pt x="326" y="6"/>
                  <a:pt x="329" y="8"/>
                  <a:pt x="332" y="10"/>
                </a:cubicBezTo>
                <a:cubicBezTo>
                  <a:pt x="333" y="10"/>
                  <a:pt x="333" y="10"/>
                  <a:pt x="333" y="10"/>
                </a:cubicBezTo>
                <a:cubicBezTo>
                  <a:pt x="334" y="11"/>
                  <a:pt x="334" y="11"/>
                  <a:pt x="334" y="11"/>
                </a:cubicBezTo>
                <a:cubicBezTo>
                  <a:pt x="337" y="13"/>
                  <a:pt x="340" y="16"/>
                  <a:pt x="343" y="19"/>
                </a:cubicBezTo>
                <a:cubicBezTo>
                  <a:pt x="577" y="253"/>
                  <a:pt x="577" y="253"/>
                  <a:pt x="577" y="253"/>
                </a:cubicBezTo>
                <a:cubicBezTo>
                  <a:pt x="589" y="265"/>
                  <a:pt x="596" y="281"/>
                  <a:pt x="596" y="298"/>
                </a:cubicBezTo>
                <a:cubicBezTo>
                  <a:pt x="596" y="315"/>
                  <a:pt x="589" y="331"/>
                  <a:pt x="577" y="343"/>
                </a:cubicBezTo>
                <a:cubicBezTo>
                  <a:pt x="565" y="355"/>
                  <a:pt x="549" y="362"/>
                  <a:pt x="532" y="362"/>
                </a:cubicBezTo>
                <a:cubicBezTo>
                  <a:pt x="515" y="362"/>
                  <a:pt x="499" y="355"/>
                  <a:pt x="487" y="343"/>
                </a:cubicBezTo>
                <a:cubicBezTo>
                  <a:pt x="362" y="217"/>
                  <a:pt x="362" y="217"/>
                  <a:pt x="362" y="217"/>
                </a:cubicBezTo>
                <a:cubicBezTo>
                  <a:pt x="362" y="816"/>
                  <a:pt x="362" y="816"/>
                  <a:pt x="362" y="816"/>
                </a:cubicBezTo>
                <a:cubicBezTo>
                  <a:pt x="362" y="851"/>
                  <a:pt x="333" y="880"/>
                  <a:pt x="298" y="880"/>
                </a:cubicBezTo>
                <a:close/>
              </a:path>
            </a:pathLst>
          </a:custGeom>
          <a:solidFill>
            <a:srgbClr val="1F22C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noProof="0"/>
          </a:p>
        </p:txBody>
      </p:sp>
      <p:sp>
        <p:nvSpPr>
          <p:cNvPr id="191" name="Rounded Rectangle 354">
            <a:extLst>
              <a:ext uri="{FF2B5EF4-FFF2-40B4-BE49-F238E27FC236}">
                <a16:creationId xmlns:a16="http://schemas.microsoft.com/office/drawing/2014/main" id="{9C457844-8414-A733-C6B8-7A4B99B3C850}"/>
              </a:ext>
            </a:extLst>
          </p:cNvPr>
          <p:cNvSpPr>
            <a:spLocks/>
          </p:cNvSpPr>
          <p:nvPr/>
        </p:nvSpPr>
        <p:spPr>
          <a:xfrm>
            <a:off x="8097714" y="2973682"/>
            <a:ext cx="765407" cy="380388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192" name="Rounded Rectangle 382">
            <a:extLst>
              <a:ext uri="{FF2B5EF4-FFF2-40B4-BE49-F238E27FC236}">
                <a16:creationId xmlns:a16="http://schemas.microsoft.com/office/drawing/2014/main" id="{1FCC86D5-F5F5-FEA0-233C-5886C0561141}"/>
              </a:ext>
            </a:extLst>
          </p:cNvPr>
          <p:cNvSpPr>
            <a:spLocks/>
          </p:cNvSpPr>
          <p:nvPr/>
        </p:nvSpPr>
        <p:spPr>
          <a:xfrm>
            <a:off x="8928114" y="2973682"/>
            <a:ext cx="765407" cy="380388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193" name="Rounded Rectangle 389">
            <a:extLst>
              <a:ext uri="{FF2B5EF4-FFF2-40B4-BE49-F238E27FC236}">
                <a16:creationId xmlns:a16="http://schemas.microsoft.com/office/drawing/2014/main" id="{6E4A8977-36C2-DFC1-B934-7052406F41C4}"/>
              </a:ext>
            </a:extLst>
          </p:cNvPr>
          <p:cNvSpPr>
            <a:spLocks/>
          </p:cNvSpPr>
          <p:nvPr/>
        </p:nvSpPr>
        <p:spPr>
          <a:xfrm>
            <a:off x="9758538" y="2973682"/>
            <a:ext cx="765407" cy="380388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194" name="Rounded Rectangle 396">
            <a:extLst>
              <a:ext uri="{FF2B5EF4-FFF2-40B4-BE49-F238E27FC236}">
                <a16:creationId xmlns:a16="http://schemas.microsoft.com/office/drawing/2014/main" id="{CD889603-4DB9-3532-8094-FCB7F59C67BC}"/>
              </a:ext>
            </a:extLst>
          </p:cNvPr>
          <p:cNvSpPr>
            <a:spLocks/>
          </p:cNvSpPr>
          <p:nvPr/>
        </p:nvSpPr>
        <p:spPr>
          <a:xfrm>
            <a:off x="10588948" y="2973682"/>
            <a:ext cx="765407" cy="380388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170" name="Rectangle: Rounded Corners 169">
            <a:extLst>
              <a:ext uri="{FF2B5EF4-FFF2-40B4-BE49-F238E27FC236}">
                <a16:creationId xmlns:a16="http://schemas.microsoft.com/office/drawing/2014/main" id="{BFDC6ACB-0DE3-9E1A-7EB6-F2DCE8B53E38}"/>
              </a:ext>
            </a:extLst>
          </p:cNvPr>
          <p:cNvSpPr/>
          <p:nvPr/>
        </p:nvSpPr>
        <p:spPr>
          <a:xfrm>
            <a:off x="7981045" y="3521907"/>
            <a:ext cx="3467766" cy="793697"/>
          </a:xfrm>
          <a:prstGeom prst="roundRect">
            <a:avLst>
              <a:gd name="adj" fmla="val 12459"/>
            </a:avLst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51" name="Rectangle: Rounded Corners 238">
            <a:extLst>
              <a:ext uri="{FF2B5EF4-FFF2-40B4-BE49-F238E27FC236}">
                <a16:creationId xmlns:a16="http://schemas.microsoft.com/office/drawing/2014/main" id="{A7E0BDC4-F15F-2FBD-B9BD-83BB5A636428}"/>
              </a:ext>
            </a:extLst>
          </p:cNvPr>
          <p:cNvSpPr>
            <a:spLocks/>
          </p:cNvSpPr>
          <p:nvPr/>
        </p:nvSpPr>
        <p:spPr>
          <a:xfrm>
            <a:off x="8048372" y="3560011"/>
            <a:ext cx="3355320" cy="1508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noProof="0">
                <a:solidFill>
                  <a:schemeClr val="bg1"/>
                </a:solidFill>
              </a:rPr>
              <a:t>Localização do estoque</a:t>
            </a:r>
          </a:p>
        </p:txBody>
      </p:sp>
      <p:sp>
        <p:nvSpPr>
          <p:cNvPr id="355" name="Rounded Rectangle 354">
            <a:extLst>
              <a:ext uri="{FF2B5EF4-FFF2-40B4-BE49-F238E27FC236}">
                <a16:creationId xmlns:a16="http://schemas.microsoft.com/office/drawing/2014/main" id="{A3B72912-1351-A5E9-E5FD-97826006266A}"/>
              </a:ext>
            </a:extLst>
          </p:cNvPr>
          <p:cNvSpPr>
            <a:spLocks/>
          </p:cNvSpPr>
          <p:nvPr/>
        </p:nvSpPr>
        <p:spPr>
          <a:xfrm>
            <a:off x="8097714" y="3783673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3DAD90A3-0043-6AFB-F4FA-3CC6AE194B2D}"/>
              </a:ext>
            </a:extLst>
          </p:cNvPr>
          <p:cNvSpPr txBox="1">
            <a:spLocks/>
          </p:cNvSpPr>
          <p:nvPr/>
        </p:nvSpPr>
        <p:spPr>
          <a:xfrm>
            <a:off x="8357374" y="3818483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Em </a:t>
            </a:r>
            <a:r>
              <a:rPr lang="en-US" sz="600" noProof="0" err="1">
                <a:solidFill>
                  <a:srgbClr val="1F22CF"/>
                </a:solidFill>
              </a:rPr>
              <a:t>trânsito</a:t>
            </a:r>
            <a:endParaRPr lang="en-US" sz="600" noProof="0">
              <a:solidFill>
                <a:srgbClr val="1F22CF"/>
              </a:solidFill>
            </a:endParaRP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E5C6CB5A-B70E-2151-4C77-A42E4769D204}"/>
              </a:ext>
            </a:extLst>
          </p:cNvPr>
          <p:cNvSpPr txBox="1">
            <a:spLocks/>
          </p:cNvSpPr>
          <p:nvPr/>
        </p:nvSpPr>
        <p:spPr>
          <a:xfrm>
            <a:off x="8152678" y="3953683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120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8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42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383" name="Rounded Rectangle 382">
            <a:extLst>
              <a:ext uri="{FF2B5EF4-FFF2-40B4-BE49-F238E27FC236}">
                <a16:creationId xmlns:a16="http://schemas.microsoft.com/office/drawing/2014/main" id="{7257D204-8106-C690-4B4C-4F1C077A2159}"/>
              </a:ext>
            </a:extLst>
          </p:cNvPr>
          <p:cNvSpPr>
            <a:spLocks/>
          </p:cNvSpPr>
          <p:nvPr/>
        </p:nvSpPr>
        <p:spPr>
          <a:xfrm>
            <a:off x="8928114" y="3783673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386" name="TextBox 385">
            <a:extLst>
              <a:ext uri="{FF2B5EF4-FFF2-40B4-BE49-F238E27FC236}">
                <a16:creationId xmlns:a16="http://schemas.microsoft.com/office/drawing/2014/main" id="{E49D6385-6D3B-BAE5-5E13-B94482FDC864}"/>
              </a:ext>
            </a:extLst>
          </p:cNvPr>
          <p:cNvSpPr txBox="1">
            <a:spLocks/>
          </p:cNvSpPr>
          <p:nvPr/>
        </p:nvSpPr>
        <p:spPr>
          <a:xfrm>
            <a:off x="8983077" y="3953683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448M </a:t>
            </a:r>
          </a:p>
          <a:p>
            <a:pPr algn="ctr"/>
            <a:r>
              <a:rPr lang="en-US" sz="300" noProof="0">
                <a:solidFill>
                  <a:srgbClr val="E71A3A"/>
                </a:solidFill>
              </a:rPr>
              <a:t>(+3,4%)</a:t>
            </a:r>
            <a:endParaRPr lang="en-US" sz="1600" noProof="0">
              <a:solidFill>
                <a:srgbClr val="E71A3A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432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C0702ADC-8FD8-61FE-36DF-73E47C05DD8C}"/>
              </a:ext>
            </a:extLst>
          </p:cNvPr>
          <p:cNvSpPr txBox="1">
            <a:spLocks/>
          </p:cNvSpPr>
          <p:nvPr/>
        </p:nvSpPr>
        <p:spPr>
          <a:xfrm>
            <a:off x="9187773" y="3818484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Em Lojas</a:t>
            </a:r>
          </a:p>
        </p:txBody>
      </p:sp>
      <p:sp>
        <p:nvSpPr>
          <p:cNvPr id="390" name="Rounded Rectangle 389">
            <a:extLst>
              <a:ext uri="{FF2B5EF4-FFF2-40B4-BE49-F238E27FC236}">
                <a16:creationId xmlns:a16="http://schemas.microsoft.com/office/drawing/2014/main" id="{FF91AD3B-2C5A-0758-CBDB-9F3D4F285395}"/>
              </a:ext>
            </a:extLst>
          </p:cNvPr>
          <p:cNvSpPr>
            <a:spLocks/>
          </p:cNvSpPr>
          <p:nvPr/>
        </p:nvSpPr>
        <p:spPr>
          <a:xfrm>
            <a:off x="9758538" y="3783673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895A39AB-9501-7EBB-A923-4F7C74E38800}"/>
              </a:ext>
            </a:extLst>
          </p:cNvPr>
          <p:cNvSpPr txBox="1">
            <a:spLocks/>
          </p:cNvSpPr>
          <p:nvPr/>
        </p:nvSpPr>
        <p:spPr>
          <a:xfrm>
            <a:off x="10018196" y="3818483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Em CDs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7DBEC855-65CB-FE31-8B15-76DB53165091}"/>
              </a:ext>
            </a:extLst>
          </p:cNvPr>
          <p:cNvSpPr txBox="1">
            <a:spLocks/>
          </p:cNvSpPr>
          <p:nvPr/>
        </p:nvSpPr>
        <p:spPr>
          <a:xfrm>
            <a:off x="9813500" y="3953683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182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8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93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397" name="Rounded Rectangle 396">
            <a:extLst>
              <a:ext uri="{FF2B5EF4-FFF2-40B4-BE49-F238E27FC236}">
                <a16:creationId xmlns:a16="http://schemas.microsoft.com/office/drawing/2014/main" id="{AE9DC0A8-1A8F-80C7-3C09-6651AD03413A}"/>
              </a:ext>
            </a:extLst>
          </p:cNvPr>
          <p:cNvSpPr>
            <a:spLocks/>
          </p:cNvSpPr>
          <p:nvPr/>
        </p:nvSpPr>
        <p:spPr>
          <a:xfrm>
            <a:off x="10588948" y="3783673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1F1CEBBD-B4A6-7D25-4FDB-10259D2276B1}"/>
              </a:ext>
            </a:extLst>
          </p:cNvPr>
          <p:cNvSpPr txBox="1">
            <a:spLocks/>
          </p:cNvSpPr>
          <p:nvPr/>
        </p:nvSpPr>
        <p:spPr>
          <a:xfrm>
            <a:off x="10848608" y="3818483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</a:rPr>
              <a:t>Agendado</a:t>
            </a:r>
            <a:endParaRPr lang="en-US" sz="600" noProof="0">
              <a:solidFill>
                <a:srgbClr val="1F22CF"/>
              </a:solidFill>
            </a:endParaRP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3CB5822F-DE2E-BD28-968D-725D4E9A1693}"/>
              </a:ext>
            </a:extLst>
          </p:cNvPr>
          <p:cNvSpPr txBox="1">
            <a:spLocks/>
          </p:cNvSpPr>
          <p:nvPr/>
        </p:nvSpPr>
        <p:spPr>
          <a:xfrm>
            <a:off x="10643912" y="3953683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320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1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324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grpSp>
        <p:nvGrpSpPr>
          <p:cNvPr id="196" name="bcgIcons_Long truck ">
            <a:extLst>
              <a:ext uri="{FF2B5EF4-FFF2-40B4-BE49-F238E27FC236}">
                <a16:creationId xmlns:a16="http://schemas.microsoft.com/office/drawing/2014/main" id="{6FFEFE40-957B-7CB9-6C8B-0E84E96AB020}"/>
              </a:ext>
            </a:extLst>
          </p:cNvPr>
          <p:cNvGrpSpPr>
            <a:grpSpLocks noChangeAspect="1"/>
          </p:cNvGrpSpPr>
          <p:nvPr/>
        </p:nvGrpSpPr>
        <p:grpSpPr>
          <a:xfrm>
            <a:off x="8152678" y="3801925"/>
            <a:ext cx="125450" cy="125450"/>
            <a:chOff x="5273675" y="2606675"/>
            <a:chExt cx="1644650" cy="1644650"/>
          </a:xfrm>
        </p:grpSpPr>
        <p:sp>
          <p:nvSpPr>
            <p:cNvPr id="197" name="AutoShape 3">
              <a:extLst>
                <a:ext uri="{FF2B5EF4-FFF2-40B4-BE49-F238E27FC236}">
                  <a16:creationId xmlns:a16="http://schemas.microsoft.com/office/drawing/2014/main" id="{BB9EAD10-47FD-08C1-4B68-333BC5DDA0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40434577-6324-5042-2001-8D2D147B9294}"/>
                </a:ext>
              </a:extLst>
            </p:cNvPr>
            <p:cNvGrpSpPr/>
            <p:nvPr/>
          </p:nvGrpSpPr>
          <p:grpSpPr>
            <a:xfrm>
              <a:off x="5341938" y="3120232"/>
              <a:ext cx="1508125" cy="617537"/>
              <a:chOff x="5341938" y="3201988"/>
              <a:chExt cx="1508125" cy="617537"/>
            </a:xfrm>
          </p:grpSpPr>
          <p:sp>
            <p:nvSpPr>
              <p:cNvPr id="205" name="Freeform 5">
                <a:extLst>
                  <a:ext uri="{FF2B5EF4-FFF2-40B4-BE49-F238E27FC236}">
                    <a16:creationId xmlns:a16="http://schemas.microsoft.com/office/drawing/2014/main" id="{249E6A43-5387-CD2B-1678-95F89908A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938" y="3201988"/>
                <a:ext cx="1431214" cy="569913"/>
              </a:xfrm>
              <a:custGeom>
                <a:avLst/>
                <a:gdLst>
                  <a:gd name="connsiteX0" fmla="*/ 391682 w 1431214"/>
                  <a:gd name="connsiteY0" fmla="*/ 512762 h 569913"/>
                  <a:gd name="connsiteX1" fmla="*/ 420688 w 1431214"/>
                  <a:gd name="connsiteY1" fmla="*/ 541337 h 569913"/>
                  <a:gd name="connsiteX2" fmla="*/ 391682 w 1431214"/>
                  <a:gd name="connsiteY2" fmla="*/ 569912 h 569913"/>
                  <a:gd name="connsiteX3" fmla="*/ 361950 w 1431214"/>
                  <a:gd name="connsiteY3" fmla="*/ 541337 h 569913"/>
                  <a:gd name="connsiteX4" fmla="*/ 391682 w 1431214"/>
                  <a:gd name="connsiteY4" fmla="*/ 512762 h 569913"/>
                  <a:gd name="connsiteX5" fmla="*/ 158750 w 1431214"/>
                  <a:gd name="connsiteY5" fmla="*/ 512762 h 569913"/>
                  <a:gd name="connsiteX6" fmla="*/ 187325 w 1431214"/>
                  <a:gd name="connsiteY6" fmla="*/ 541337 h 569913"/>
                  <a:gd name="connsiteX7" fmla="*/ 158750 w 1431214"/>
                  <a:gd name="connsiteY7" fmla="*/ 569912 h 569913"/>
                  <a:gd name="connsiteX8" fmla="*/ 130175 w 1431214"/>
                  <a:gd name="connsiteY8" fmla="*/ 541337 h 569913"/>
                  <a:gd name="connsiteX9" fmla="*/ 158750 w 1431214"/>
                  <a:gd name="connsiteY9" fmla="*/ 512762 h 569913"/>
                  <a:gd name="connsiteX10" fmla="*/ 1316831 w 1431214"/>
                  <a:gd name="connsiteY10" fmla="*/ 511175 h 569913"/>
                  <a:gd name="connsiteX11" fmla="*/ 1346200 w 1431214"/>
                  <a:gd name="connsiteY11" fmla="*/ 540544 h 569913"/>
                  <a:gd name="connsiteX12" fmla="*/ 1316831 w 1431214"/>
                  <a:gd name="connsiteY12" fmla="*/ 569913 h 569913"/>
                  <a:gd name="connsiteX13" fmla="*/ 1287462 w 1431214"/>
                  <a:gd name="connsiteY13" fmla="*/ 540544 h 569913"/>
                  <a:gd name="connsiteX14" fmla="*/ 1316831 w 1431214"/>
                  <a:gd name="connsiteY14" fmla="*/ 511175 h 569913"/>
                  <a:gd name="connsiteX15" fmla="*/ 1023937 w 1431214"/>
                  <a:gd name="connsiteY15" fmla="*/ 511175 h 569913"/>
                  <a:gd name="connsiteX16" fmla="*/ 1052512 w 1431214"/>
                  <a:gd name="connsiteY16" fmla="*/ 540544 h 569913"/>
                  <a:gd name="connsiteX17" fmla="*/ 1023937 w 1431214"/>
                  <a:gd name="connsiteY17" fmla="*/ 569913 h 569913"/>
                  <a:gd name="connsiteX18" fmla="*/ 995362 w 1431214"/>
                  <a:gd name="connsiteY18" fmla="*/ 540544 h 569913"/>
                  <a:gd name="connsiteX19" fmla="*/ 1023937 w 1431214"/>
                  <a:gd name="connsiteY19" fmla="*/ 511175 h 569913"/>
                  <a:gd name="connsiteX20" fmla="*/ 1226474 w 1431214"/>
                  <a:gd name="connsiteY20" fmla="*/ 176212 h 569913"/>
                  <a:gd name="connsiteX21" fmla="*/ 1346617 w 1431214"/>
                  <a:gd name="connsiteY21" fmla="*/ 176212 h 569913"/>
                  <a:gd name="connsiteX22" fmla="*/ 1357991 w 1431214"/>
                  <a:gd name="connsiteY22" fmla="*/ 187611 h 569913"/>
                  <a:gd name="connsiteX23" fmla="*/ 1429082 w 1431214"/>
                  <a:gd name="connsiteY23" fmla="*/ 300176 h 569913"/>
                  <a:gd name="connsiteX24" fmla="*/ 1429082 w 1431214"/>
                  <a:gd name="connsiteY24" fmla="*/ 315137 h 569913"/>
                  <a:gd name="connsiteX25" fmla="*/ 1413442 w 1431214"/>
                  <a:gd name="connsiteY25" fmla="*/ 322262 h 569913"/>
                  <a:gd name="connsiteX26" fmla="*/ 1226474 w 1431214"/>
                  <a:gd name="connsiteY26" fmla="*/ 322262 h 569913"/>
                  <a:gd name="connsiteX27" fmla="*/ 1220787 w 1431214"/>
                  <a:gd name="connsiteY27" fmla="*/ 315850 h 569913"/>
                  <a:gd name="connsiteX28" fmla="*/ 1220787 w 1431214"/>
                  <a:gd name="connsiteY28" fmla="*/ 181911 h 569913"/>
                  <a:gd name="connsiteX29" fmla="*/ 1226474 w 1431214"/>
                  <a:gd name="connsiteY29" fmla="*/ 176212 h 569913"/>
                  <a:gd name="connsiteX30" fmla="*/ 17855 w 1431214"/>
                  <a:gd name="connsiteY30" fmla="*/ 0 h 569913"/>
                  <a:gd name="connsiteX31" fmla="*/ 1101333 w 1431214"/>
                  <a:gd name="connsiteY31" fmla="*/ 0 h 569913"/>
                  <a:gd name="connsiteX32" fmla="*/ 1119188 w 1431214"/>
                  <a:gd name="connsiteY32" fmla="*/ 17855 h 569913"/>
                  <a:gd name="connsiteX33" fmla="*/ 1119188 w 1431214"/>
                  <a:gd name="connsiteY33" fmla="*/ 377825 h 569913"/>
                  <a:gd name="connsiteX34" fmla="*/ 17855 w 1431214"/>
                  <a:gd name="connsiteY34" fmla="*/ 377825 h 569913"/>
                  <a:gd name="connsiteX35" fmla="*/ 0 w 1431214"/>
                  <a:gd name="connsiteY35" fmla="*/ 359255 h 569913"/>
                  <a:gd name="connsiteX36" fmla="*/ 0 w 1431214"/>
                  <a:gd name="connsiteY36" fmla="*/ 17855 h 569913"/>
                  <a:gd name="connsiteX37" fmla="*/ 17855 w 1431214"/>
                  <a:gd name="connsiteY37" fmla="*/ 0 h 569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31214" h="569913">
                    <a:moveTo>
                      <a:pt x="391682" y="512762"/>
                    </a:moveTo>
                    <a:cubicBezTo>
                      <a:pt x="407635" y="512762"/>
                      <a:pt x="420688" y="525621"/>
                      <a:pt x="420688" y="541337"/>
                    </a:cubicBezTo>
                    <a:cubicBezTo>
                      <a:pt x="420688" y="557768"/>
                      <a:pt x="407635" y="569912"/>
                      <a:pt x="391682" y="569912"/>
                    </a:cubicBezTo>
                    <a:cubicBezTo>
                      <a:pt x="374278" y="569912"/>
                      <a:pt x="361950" y="557768"/>
                      <a:pt x="361950" y="541337"/>
                    </a:cubicBezTo>
                    <a:cubicBezTo>
                      <a:pt x="361950" y="525621"/>
                      <a:pt x="374278" y="512762"/>
                      <a:pt x="391682" y="512762"/>
                    </a:cubicBezTo>
                    <a:close/>
                    <a:moveTo>
                      <a:pt x="158750" y="512762"/>
                    </a:moveTo>
                    <a:cubicBezTo>
                      <a:pt x="174532" y="512762"/>
                      <a:pt x="187325" y="525555"/>
                      <a:pt x="187325" y="541337"/>
                    </a:cubicBezTo>
                    <a:cubicBezTo>
                      <a:pt x="187325" y="557119"/>
                      <a:pt x="174532" y="569912"/>
                      <a:pt x="158750" y="569912"/>
                    </a:cubicBezTo>
                    <a:cubicBezTo>
                      <a:pt x="142968" y="569912"/>
                      <a:pt x="130175" y="557119"/>
                      <a:pt x="130175" y="541337"/>
                    </a:cubicBezTo>
                    <a:cubicBezTo>
                      <a:pt x="130175" y="525555"/>
                      <a:pt x="142968" y="512762"/>
                      <a:pt x="158750" y="512762"/>
                    </a:cubicBezTo>
                    <a:close/>
                    <a:moveTo>
                      <a:pt x="1316831" y="511175"/>
                    </a:moveTo>
                    <a:cubicBezTo>
                      <a:pt x="1333051" y="511175"/>
                      <a:pt x="1346200" y="524324"/>
                      <a:pt x="1346200" y="540544"/>
                    </a:cubicBezTo>
                    <a:cubicBezTo>
                      <a:pt x="1346200" y="556764"/>
                      <a:pt x="1333051" y="569913"/>
                      <a:pt x="1316831" y="569913"/>
                    </a:cubicBezTo>
                    <a:cubicBezTo>
                      <a:pt x="1300611" y="569913"/>
                      <a:pt x="1287462" y="556764"/>
                      <a:pt x="1287462" y="540544"/>
                    </a:cubicBezTo>
                    <a:cubicBezTo>
                      <a:pt x="1287462" y="524324"/>
                      <a:pt x="1300611" y="511175"/>
                      <a:pt x="1316831" y="511175"/>
                    </a:cubicBezTo>
                    <a:close/>
                    <a:moveTo>
                      <a:pt x="1023937" y="511175"/>
                    </a:moveTo>
                    <a:cubicBezTo>
                      <a:pt x="1039719" y="511175"/>
                      <a:pt x="1052512" y="524324"/>
                      <a:pt x="1052512" y="540544"/>
                    </a:cubicBezTo>
                    <a:cubicBezTo>
                      <a:pt x="1052512" y="556764"/>
                      <a:pt x="1039719" y="569913"/>
                      <a:pt x="1023937" y="569913"/>
                    </a:cubicBezTo>
                    <a:cubicBezTo>
                      <a:pt x="1008155" y="569913"/>
                      <a:pt x="995362" y="556764"/>
                      <a:pt x="995362" y="540544"/>
                    </a:cubicBezTo>
                    <a:cubicBezTo>
                      <a:pt x="995362" y="524324"/>
                      <a:pt x="1008155" y="511175"/>
                      <a:pt x="1023937" y="511175"/>
                    </a:cubicBezTo>
                    <a:close/>
                    <a:moveTo>
                      <a:pt x="1226474" y="176212"/>
                    </a:moveTo>
                    <a:cubicBezTo>
                      <a:pt x="1226474" y="176212"/>
                      <a:pt x="1226474" y="176212"/>
                      <a:pt x="1346617" y="176212"/>
                    </a:cubicBezTo>
                    <a:cubicBezTo>
                      <a:pt x="1352304" y="176212"/>
                      <a:pt x="1355148" y="181199"/>
                      <a:pt x="1357991" y="187611"/>
                    </a:cubicBezTo>
                    <a:cubicBezTo>
                      <a:pt x="1357991" y="187611"/>
                      <a:pt x="1357991" y="187611"/>
                      <a:pt x="1429082" y="300176"/>
                    </a:cubicBezTo>
                    <a:cubicBezTo>
                      <a:pt x="1431925" y="305163"/>
                      <a:pt x="1431925" y="311575"/>
                      <a:pt x="1429082" y="315137"/>
                    </a:cubicBezTo>
                    <a:cubicBezTo>
                      <a:pt x="1426238" y="320125"/>
                      <a:pt x="1416285" y="322262"/>
                      <a:pt x="1413442" y="322262"/>
                    </a:cubicBezTo>
                    <a:cubicBezTo>
                      <a:pt x="1413442" y="322262"/>
                      <a:pt x="1413442" y="322262"/>
                      <a:pt x="1226474" y="322262"/>
                    </a:cubicBezTo>
                    <a:cubicBezTo>
                      <a:pt x="1223631" y="322262"/>
                      <a:pt x="1220787" y="319412"/>
                      <a:pt x="1220787" y="315850"/>
                    </a:cubicBezTo>
                    <a:cubicBezTo>
                      <a:pt x="1220787" y="315850"/>
                      <a:pt x="1220787" y="315850"/>
                      <a:pt x="1220787" y="181911"/>
                    </a:cubicBezTo>
                    <a:cubicBezTo>
                      <a:pt x="1220787" y="179062"/>
                      <a:pt x="1223631" y="176212"/>
                      <a:pt x="1226474" y="176212"/>
                    </a:cubicBezTo>
                    <a:close/>
                    <a:moveTo>
                      <a:pt x="17855" y="0"/>
                    </a:moveTo>
                    <a:cubicBezTo>
                      <a:pt x="17855" y="0"/>
                      <a:pt x="17855" y="0"/>
                      <a:pt x="1101333" y="0"/>
                    </a:cubicBezTo>
                    <a:cubicBezTo>
                      <a:pt x="1110618" y="0"/>
                      <a:pt x="1119188" y="7856"/>
                      <a:pt x="1119188" y="17855"/>
                    </a:cubicBezTo>
                    <a:cubicBezTo>
                      <a:pt x="1119188" y="17855"/>
                      <a:pt x="1119188" y="17855"/>
                      <a:pt x="1119188" y="377825"/>
                    </a:cubicBezTo>
                    <a:cubicBezTo>
                      <a:pt x="1119188" y="377825"/>
                      <a:pt x="1119188" y="377825"/>
                      <a:pt x="17855" y="377825"/>
                    </a:cubicBezTo>
                    <a:cubicBezTo>
                      <a:pt x="7856" y="377825"/>
                      <a:pt x="0" y="369254"/>
                      <a:pt x="0" y="359255"/>
                    </a:cubicBezTo>
                    <a:cubicBezTo>
                      <a:pt x="0" y="359255"/>
                      <a:pt x="0" y="359255"/>
                      <a:pt x="0" y="17855"/>
                    </a:cubicBezTo>
                    <a:cubicBezTo>
                      <a:pt x="0" y="7856"/>
                      <a:pt x="7856" y="0"/>
                      <a:pt x="1785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07" name="Freeform 6">
                <a:extLst>
                  <a:ext uri="{FF2B5EF4-FFF2-40B4-BE49-F238E27FC236}">
                    <a16:creationId xmlns:a16="http://schemas.microsoft.com/office/drawing/2014/main" id="{F44409F7-26D3-57AD-5EE4-9BE7E49980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5113" y="3317875"/>
                <a:ext cx="1504950" cy="501650"/>
              </a:xfrm>
              <a:custGeom>
                <a:avLst/>
                <a:gdLst>
                  <a:gd name="connsiteX0" fmla="*/ 1312069 w 1504950"/>
                  <a:gd name="connsiteY0" fmla="*/ 373063 h 501650"/>
                  <a:gd name="connsiteX1" fmla="*/ 1260475 w 1504950"/>
                  <a:gd name="connsiteY1" fmla="*/ 423863 h 501650"/>
                  <a:gd name="connsiteX2" fmla="*/ 1312069 w 1504950"/>
                  <a:gd name="connsiteY2" fmla="*/ 474663 h 501650"/>
                  <a:gd name="connsiteX3" fmla="*/ 1363663 w 1504950"/>
                  <a:gd name="connsiteY3" fmla="*/ 423863 h 501650"/>
                  <a:gd name="connsiteX4" fmla="*/ 1312069 w 1504950"/>
                  <a:gd name="connsiteY4" fmla="*/ 373063 h 501650"/>
                  <a:gd name="connsiteX5" fmla="*/ 1019969 w 1504950"/>
                  <a:gd name="connsiteY5" fmla="*/ 373063 h 501650"/>
                  <a:gd name="connsiteX6" fmla="*/ 968375 w 1504950"/>
                  <a:gd name="connsiteY6" fmla="*/ 423863 h 501650"/>
                  <a:gd name="connsiteX7" fmla="*/ 1019969 w 1504950"/>
                  <a:gd name="connsiteY7" fmla="*/ 474663 h 501650"/>
                  <a:gd name="connsiteX8" fmla="*/ 1071563 w 1504950"/>
                  <a:gd name="connsiteY8" fmla="*/ 423863 h 501650"/>
                  <a:gd name="connsiteX9" fmla="*/ 1019969 w 1504950"/>
                  <a:gd name="connsiteY9" fmla="*/ 373063 h 501650"/>
                  <a:gd name="connsiteX10" fmla="*/ 386556 w 1504950"/>
                  <a:gd name="connsiteY10" fmla="*/ 373063 h 501650"/>
                  <a:gd name="connsiteX11" fmla="*/ 334962 w 1504950"/>
                  <a:gd name="connsiteY11" fmla="*/ 423863 h 501650"/>
                  <a:gd name="connsiteX12" fmla="*/ 386556 w 1504950"/>
                  <a:gd name="connsiteY12" fmla="*/ 474663 h 501650"/>
                  <a:gd name="connsiteX13" fmla="*/ 438150 w 1504950"/>
                  <a:gd name="connsiteY13" fmla="*/ 423863 h 501650"/>
                  <a:gd name="connsiteX14" fmla="*/ 386556 w 1504950"/>
                  <a:gd name="connsiteY14" fmla="*/ 373063 h 501650"/>
                  <a:gd name="connsiteX15" fmla="*/ 153987 w 1504950"/>
                  <a:gd name="connsiteY15" fmla="*/ 373063 h 501650"/>
                  <a:gd name="connsiteX16" fmla="*/ 103187 w 1504950"/>
                  <a:gd name="connsiteY16" fmla="*/ 423863 h 501650"/>
                  <a:gd name="connsiteX17" fmla="*/ 153987 w 1504950"/>
                  <a:gd name="connsiteY17" fmla="*/ 474663 h 501650"/>
                  <a:gd name="connsiteX18" fmla="*/ 204787 w 1504950"/>
                  <a:gd name="connsiteY18" fmla="*/ 423863 h 501650"/>
                  <a:gd name="connsiteX19" fmla="*/ 153987 w 1504950"/>
                  <a:gd name="connsiteY19" fmla="*/ 373063 h 501650"/>
                  <a:gd name="connsiteX20" fmla="*/ 1311710 w 1504950"/>
                  <a:gd name="connsiteY20" fmla="*/ 346075 h 501650"/>
                  <a:gd name="connsiteX21" fmla="*/ 1390650 w 1504950"/>
                  <a:gd name="connsiteY21" fmla="*/ 423863 h 501650"/>
                  <a:gd name="connsiteX22" fmla="*/ 1314580 w 1504950"/>
                  <a:gd name="connsiteY22" fmla="*/ 501650 h 501650"/>
                  <a:gd name="connsiteX23" fmla="*/ 1233487 w 1504950"/>
                  <a:gd name="connsiteY23" fmla="*/ 423863 h 501650"/>
                  <a:gd name="connsiteX24" fmla="*/ 1311710 w 1504950"/>
                  <a:gd name="connsiteY24" fmla="*/ 346075 h 501650"/>
                  <a:gd name="connsiteX25" fmla="*/ 1020328 w 1504950"/>
                  <a:gd name="connsiteY25" fmla="*/ 346075 h 501650"/>
                  <a:gd name="connsiteX26" fmla="*/ 1098550 w 1504950"/>
                  <a:gd name="connsiteY26" fmla="*/ 423863 h 501650"/>
                  <a:gd name="connsiteX27" fmla="*/ 1022480 w 1504950"/>
                  <a:gd name="connsiteY27" fmla="*/ 501650 h 501650"/>
                  <a:gd name="connsiteX28" fmla="*/ 941387 w 1504950"/>
                  <a:gd name="connsiteY28" fmla="*/ 423863 h 501650"/>
                  <a:gd name="connsiteX29" fmla="*/ 1020328 w 1504950"/>
                  <a:gd name="connsiteY29" fmla="*/ 346075 h 501650"/>
                  <a:gd name="connsiteX30" fmla="*/ 387271 w 1504950"/>
                  <a:gd name="connsiteY30" fmla="*/ 346075 h 501650"/>
                  <a:gd name="connsiteX31" fmla="*/ 465138 w 1504950"/>
                  <a:gd name="connsiteY31" fmla="*/ 423507 h 501650"/>
                  <a:gd name="connsiteX32" fmla="*/ 389414 w 1504950"/>
                  <a:gd name="connsiteY32" fmla="*/ 501650 h 501650"/>
                  <a:gd name="connsiteX33" fmla="*/ 307975 w 1504950"/>
                  <a:gd name="connsiteY33" fmla="*/ 423507 h 501650"/>
                  <a:gd name="connsiteX34" fmla="*/ 387271 w 1504950"/>
                  <a:gd name="connsiteY34" fmla="*/ 346075 h 501650"/>
                  <a:gd name="connsiteX35" fmla="*/ 154343 w 1504950"/>
                  <a:gd name="connsiteY35" fmla="*/ 346075 h 501650"/>
                  <a:gd name="connsiteX36" fmla="*/ 231775 w 1504950"/>
                  <a:gd name="connsiteY36" fmla="*/ 423507 h 501650"/>
                  <a:gd name="connsiteX37" fmla="*/ 157184 w 1504950"/>
                  <a:gd name="connsiteY37" fmla="*/ 501650 h 501650"/>
                  <a:gd name="connsiteX38" fmla="*/ 76200 w 1504950"/>
                  <a:gd name="connsiteY38" fmla="*/ 423507 h 501650"/>
                  <a:gd name="connsiteX39" fmla="*/ 154343 w 1504950"/>
                  <a:gd name="connsiteY39" fmla="*/ 346075 h 501650"/>
                  <a:gd name="connsiteX40" fmla="*/ 17854 w 1504950"/>
                  <a:gd name="connsiteY40" fmla="*/ 277813 h 501650"/>
                  <a:gd name="connsiteX41" fmla="*/ 523484 w 1504950"/>
                  <a:gd name="connsiteY41" fmla="*/ 277813 h 501650"/>
                  <a:gd name="connsiteX42" fmla="*/ 541338 w 1504950"/>
                  <a:gd name="connsiteY42" fmla="*/ 296375 h 501650"/>
                  <a:gd name="connsiteX43" fmla="*/ 541338 w 1504950"/>
                  <a:gd name="connsiteY43" fmla="*/ 380615 h 501650"/>
                  <a:gd name="connsiteX44" fmla="*/ 523484 w 1504950"/>
                  <a:gd name="connsiteY44" fmla="*/ 398463 h 501650"/>
                  <a:gd name="connsiteX45" fmla="*/ 487062 w 1504950"/>
                  <a:gd name="connsiteY45" fmla="*/ 398463 h 501650"/>
                  <a:gd name="connsiteX46" fmla="*/ 387078 w 1504950"/>
                  <a:gd name="connsiteY46" fmla="*/ 321361 h 501650"/>
                  <a:gd name="connsiteX47" fmla="*/ 287095 w 1504950"/>
                  <a:gd name="connsiteY47" fmla="*/ 398463 h 501650"/>
                  <a:gd name="connsiteX48" fmla="*/ 254243 w 1504950"/>
                  <a:gd name="connsiteY48" fmla="*/ 398463 h 501650"/>
                  <a:gd name="connsiteX49" fmla="*/ 154260 w 1504950"/>
                  <a:gd name="connsiteY49" fmla="*/ 321361 h 501650"/>
                  <a:gd name="connsiteX50" fmla="*/ 54277 w 1504950"/>
                  <a:gd name="connsiteY50" fmla="*/ 398463 h 501650"/>
                  <a:gd name="connsiteX51" fmla="*/ 17854 w 1504950"/>
                  <a:gd name="connsiteY51" fmla="*/ 398463 h 501650"/>
                  <a:gd name="connsiteX52" fmla="*/ 0 w 1504950"/>
                  <a:gd name="connsiteY52" fmla="*/ 380615 h 501650"/>
                  <a:gd name="connsiteX53" fmla="*/ 0 w 1504950"/>
                  <a:gd name="connsiteY53" fmla="*/ 296375 h 501650"/>
                  <a:gd name="connsiteX54" fmla="*/ 17854 w 1504950"/>
                  <a:gd name="connsiteY54" fmla="*/ 277813 h 501650"/>
                  <a:gd name="connsiteX55" fmla="*/ 1163436 w 1504950"/>
                  <a:gd name="connsiteY55" fmla="*/ 0 h 501650"/>
                  <a:gd name="connsiteX56" fmla="*/ 1371345 w 1504950"/>
                  <a:gd name="connsiteY56" fmla="*/ 0 h 501650"/>
                  <a:gd name="connsiteX57" fmla="*/ 1387064 w 1504950"/>
                  <a:gd name="connsiteY57" fmla="*/ 8572 h 501650"/>
                  <a:gd name="connsiteX58" fmla="*/ 1502807 w 1504950"/>
                  <a:gd name="connsiteY58" fmla="*/ 185737 h 501650"/>
                  <a:gd name="connsiteX59" fmla="*/ 1504950 w 1504950"/>
                  <a:gd name="connsiteY59" fmla="*/ 195024 h 501650"/>
                  <a:gd name="connsiteX60" fmla="*/ 1504950 w 1504950"/>
                  <a:gd name="connsiteY60" fmla="*/ 370046 h 501650"/>
                  <a:gd name="connsiteX61" fmla="*/ 1474943 w 1504950"/>
                  <a:gd name="connsiteY61" fmla="*/ 400050 h 501650"/>
                  <a:gd name="connsiteX62" fmla="*/ 1412070 w 1504950"/>
                  <a:gd name="connsiteY62" fmla="*/ 400050 h 501650"/>
                  <a:gd name="connsiteX63" fmla="*/ 1395637 w 1504950"/>
                  <a:gd name="connsiteY63" fmla="*/ 363617 h 501650"/>
                  <a:gd name="connsiteX64" fmla="*/ 1468513 w 1504950"/>
                  <a:gd name="connsiteY64" fmla="*/ 363617 h 501650"/>
                  <a:gd name="connsiteX65" fmla="*/ 1468513 w 1504950"/>
                  <a:gd name="connsiteY65" fmla="*/ 200025 h 501650"/>
                  <a:gd name="connsiteX66" fmla="*/ 1361343 w 1504950"/>
                  <a:gd name="connsiteY66" fmla="*/ 37147 h 501650"/>
                  <a:gd name="connsiteX67" fmla="*/ 1169152 w 1504950"/>
                  <a:gd name="connsiteY67" fmla="*/ 37147 h 501650"/>
                  <a:gd name="connsiteX68" fmla="*/ 1169152 w 1504950"/>
                  <a:gd name="connsiteY68" fmla="*/ 363617 h 501650"/>
                  <a:gd name="connsiteX69" fmla="*/ 1229167 w 1504950"/>
                  <a:gd name="connsiteY69" fmla="*/ 363617 h 501650"/>
                  <a:gd name="connsiteX70" fmla="*/ 1212734 w 1504950"/>
                  <a:gd name="connsiteY70" fmla="*/ 400050 h 501650"/>
                  <a:gd name="connsiteX71" fmla="*/ 1132714 w 1504950"/>
                  <a:gd name="connsiteY71" fmla="*/ 399336 h 501650"/>
                  <a:gd name="connsiteX72" fmla="*/ 1119139 w 1504950"/>
                  <a:gd name="connsiteY72" fmla="*/ 399336 h 501650"/>
                  <a:gd name="connsiteX73" fmla="*/ 1019829 w 1504950"/>
                  <a:gd name="connsiteY73" fmla="*/ 321469 h 501650"/>
                  <a:gd name="connsiteX74" fmla="*/ 919804 w 1504950"/>
                  <a:gd name="connsiteY74" fmla="*/ 399336 h 501650"/>
                  <a:gd name="connsiteX75" fmla="*/ 886224 w 1504950"/>
                  <a:gd name="connsiteY75" fmla="*/ 399336 h 501650"/>
                  <a:gd name="connsiteX76" fmla="*/ 868362 w 1504950"/>
                  <a:gd name="connsiteY76" fmla="*/ 381476 h 501650"/>
                  <a:gd name="connsiteX77" fmla="*/ 868362 w 1504950"/>
                  <a:gd name="connsiteY77" fmla="*/ 297180 h 501650"/>
                  <a:gd name="connsiteX78" fmla="*/ 886224 w 1504950"/>
                  <a:gd name="connsiteY78" fmla="*/ 278606 h 501650"/>
                  <a:gd name="connsiteX79" fmla="*/ 1132714 w 1504950"/>
                  <a:gd name="connsiteY79" fmla="*/ 278606 h 501650"/>
                  <a:gd name="connsiteX80" fmla="*/ 1132714 w 1504950"/>
                  <a:gd name="connsiteY80" fmla="*/ 30004 h 501650"/>
                  <a:gd name="connsiteX81" fmla="*/ 1163436 w 1504950"/>
                  <a:gd name="connsiteY81" fmla="*/ 0 h 50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1504950" h="501650">
                    <a:moveTo>
                      <a:pt x="1312069" y="373063"/>
                    </a:moveTo>
                    <a:cubicBezTo>
                      <a:pt x="1283574" y="373063"/>
                      <a:pt x="1260475" y="395807"/>
                      <a:pt x="1260475" y="423863"/>
                    </a:cubicBezTo>
                    <a:cubicBezTo>
                      <a:pt x="1260475" y="451919"/>
                      <a:pt x="1283574" y="474663"/>
                      <a:pt x="1312069" y="474663"/>
                    </a:cubicBezTo>
                    <a:cubicBezTo>
                      <a:pt x="1340564" y="474663"/>
                      <a:pt x="1363663" y="451919"/>
                      <a:pt x="1363663" y="423863"/>
                    </a:cubicBezTo>
                    <a:cubicBezTo>
                      <a:pt x="1363663" y="395807"/>
                      <a:pt x="1340564" y="373063"/>
                      <a:pt x="1312069" y="373063"/>
                    </a:cubicBezTo>
                    <a:close/>
                    <a:moveTo>
                      <a:pt x="1019969" y="373063"/>
                    </a:moveTo>
                    <a:cubicBezTo>
                      <a:pt x="991474" y="373063"/>
                      <a:pt x="968375" y="395807"/>
                      <a:pt x="968375" y="423863"/>
                    </a:cubicBezTo>
                    <a:cubicBezTo>
                      <a:pt x="968375" y="451919"/>
                      <a:pt x="991474" y="474663"/>
                      <a:pt x="1019969" y="474663"/>
                    </a:cubicBezTo>
                    <a:cubicBezTo>
                      <a:pt x="1048464" y="474663"/>
                      <a:pt x="1071563" y="451919"/>
                      <a:pt x="1071563" y="423863"/>
                    </a:cubicBezTo>
                    <a:cubicBezTo>
                      <a:pt x="1071563" y="395807"/>
                      <a:pt x="1048464" y="373063"/>
                      <a:pt x="1019969" y="373063"/>
                    </a:cubicBezTo>
                    <a:close/>
                    <a:moveTo>
                      <a:pt x="386556" y="373063"/>
                    </a:moveTo>
                    <a:cubicBezTo>
                      <a:pt x="358061" y="373063"/>
                      <a:pt x="334962" y="395807"/>
                      <a:pt x="334962" y="423863"/>
                    </a:cubicBezTo>
                    <a:cubicBezTo>
                      <a:pt x="334962" y="451919"/>
                      <a:pt x="358061" y="474663"/>
                      <a:pt x="386556" y="474663"/>
                    </a:cubicBezTo>
                    <a:cubicBezTo>
                      <a:pt x="415051" y="474663"/>
                      <a:pt x="438150" y="451919"/>
                      <a:pt x="438150" y="423863"/>
                    </a:cubicBezTo>
                    <a:cubicBezTo>
                      <a:pt x="438150" y="395807"/>
                      <a:pt x="415051" y="373063"/>
                      <a:pt x="386556" y="373063"/>
                    </a:cubicBezTo>
                    <a:close/>
                    <a:moveTo>
                      <a:pt x="153987" y="373063"/>
                    </a:moveTo>
                    <a:cubicBezTo>
                      <a:pt x="125931" y="373063"/>
                      <a:pt x="103187" y="395807"/>
                      <a:pt x="103187" y="423863"/>
                    </a:cubicBezTo>
                    <a:cubicBezTo>
                      <a:pt x="103187" y="451919"/>
                      <a:pt x="125931" y="474663"/>
                      <a:pt x="153987" y="474663"/>
                    </a:cubicBezTo>
                    <a:cubicBezTo>
                      <a:pt x="182043" y="474663"/>
                      <a:pt x="204787" y="451919"/>
                      <a:pt x="204787" y="423863"/>
                    </a:cubicBezTo>
                    <a:cubicBezTo>
                      <a:pt x="204787" y="395807"/>
                      <a:pt x="182043" y="373063"/>
                      <a:pt x="153987" y="373063"/>
                    </a:cubicBezTo>
                    <a:close/>
                    <a:moveTo>
                      <a:pt x="1311710" y="346075"/>
                    </a:moveTo>
                    <a:cubicBezTo>
                      <a:pt x="1355486" y="346075"/>
                      <a:pt x="1390650" y="381044"/>
                      <a:pt x="1390650" y="423863"/>
                    </a:cubicBezTo>
                    <a:cubicBezTo>
                      <a:pt x="1390650" y="466681"/>
                      <a:pt x="1357639" y="501650"/>
                      <a:pt x="1314580" y="501650"/>
                    </a:cubicBezTo>
                    <a:cubicBezTo>
                      <a:pt x="1270804" y="501650"/>
                      <a:pt x="1233487" y="466681"/>
                      <a:pt x="1233487" y="423863"/>
                    </a:cubicBezTo>
                    <a:cubicBezTo>
                      <a:pt x="1233487" y="381044"/>
                      <a:pt x="1268652" y="346075"/>
                      <a:pt x="1311710" y="346075"/>
                    </a:cubicBezTo>
                    <a:close/>
                    <a:moveTo>
                      <a:pt x="1020328" y="346075"/>
                    </a:moveTo>
                    <a:cubicBezTo>
                      <a:pt x="1063386" y="346075"/>
                      <a:pt x="1098550" y="381044"/>
                      <a:pt x="1098550" y="423863"/>
                    </a:cubicBezTo>
                    <a:cubicBezTo>
                      <a:pt x="1098550" y="466681"/>
                      <a:pt x="1066256" y="501650"/>
                      <a:pt x="1022480" y="501650"/>
                    </a:cubicBezTo>
                    <a:cubicBezTo>
                      <a:pt x="979422" y="501650"/>
                      <a:pt x="941387" y="466681"/>
                      <a:pt x="941387" y="423863"/>
                    </a:cubicBezTo>
                    <a:cubicBezTo>
                      <a:pt x="941387" y="381044"/>
                      <a:pt x="976552" y="346075"/>
                      <a:pt x="1020328" y="346075"/>
                    </a:cubicBezTo>
                    <a:close/>
                    <a:moveTo>
                      <a:pt x="387271" y="346075"/>
                    </a:moveTo>
                    <a:cubicBezTo>
                      <a:pt x="430134" y="346075"/>
                      <a:pt x="465138" y="380884"/>
                      <a:pt x="465138" y="423507"/>
                    </a:cubicBezTo>
                    <a:cubicBezTo>
                      <a:pt x="465138" y="466131"/>
                      <a:pt x="432991" y="501650"/>
                      <a:pt x="389414" y="501650"/>
                    </a:cubicBezTo>
                    <a:cubicBezTo>
                      <a:pt x="346552" y="501650"/>
                      <a:pt x="307975" y="466131"/>
                      <a:pt x="307975" y="423507"/>
                    </a:cubicBezTo>
                    <a:cubicBezTo>
                      <a:pt x="307975" y="380884"/>
                      <a:pt x="343694" y="346075"/>
                      <a:pt x="387271" y="346075"/>
                    </a:cubicBezTo>
                    <a:close/>
                    <a:moveTo>
                      <a:pt x="154343" y="346075"/>
                    </a:moveTo>
                    <a:cubicBezTo>
                      <a:pt x="197677" y="346075"/>
                      <a:pt x="231775" y="380884"/>
                      <a:pt x="231775" y="423507"/>
                    </a:cubicBezTo>
                    <a:cubicBezTo>
                      <a:pt x="231775" y="466131"/>
                      <a:pt x="199808" y="501650"/>
                      <a:pt x="157184" y="501650"/>
                    </a:cubicBezTo>
                    <a:cubicBezTo>
                      <a:pt x="113851" y="501650"/>
                      <a:pt x="76200" y="466131"/>
                      <a:pt x="76200" y="423507"/>
                    </a:cubicBezTo>
                    <a:cubicBezTo>
                      <a:pt x="76200" y="380884"/>
                      <a:pt x="111720" y="346075"/>
                      <a:pt x="154343" y="346075"/>
                    </a:cubicBezTo>
                    <a:close/>
                    <a:moveTo>
                      <a:pt x="17854" y="277813"/>
                    </a:moveTo>
                    <a:cubicBezTo>
                      <a:pt x="17854" y="277813"/>
                      <a:pt x="17854" y="277813"/>
                      <a:pt x="523484" y="277813"/>
                    </a:cubicBezTo>
                    <a:cubicBezTo>
                      <a:pt x="533482" y="277813"/>
                      <a:pt x="541338" y="286380"/>
                      <a:pt x="541338" y="296375"/>
                    </a:cubicBezTo>
                    <a:cubicBezTo>
                      <a:pt x="541338" y="296375"/>
                      <a:pt x="541338" y="296375"/>
                      <a:pt x="541338" y="380615"/>
                    </a:cubicBezTo>
                    <a:cubicBezTo>
                      <a:pt x="541338" y="391324"/>
                      <a:pt x="533482" y="398463"/>
                      <a:pt x="523484" y="398463"/>
                    </a:cubicBezTo>
                    <a:cubicBezTo>
                      <a:pt x="523484" y="398463"/>
                      <a:pt x="523484" y="398463"/>
                      <a:pt x="487062" y="398463"/>
                    </a:cubicBezTo>
                    <a:cubicBezTo>
                      <a:pt x="474921" y="354201"/>
                      <a:pt x="434927" y="321361"/>
                      <a:pt x="387078" y="321361"/>
                    </a:cubicBezTo>
                    <a:cubicBezTo>
                      <a:pt x="338515" y="321361"/>
                      <a:pt x="297808" y="354201"/>
                      <a:pt x="287095" y="398463"/>
                    </a:cubicBezTo>
                    <a:cubicBezTo>
                      <a:pt x="287095" y="398463"/>
                      <a:pt x="287095" y="398463"/>
                      <a:pt x="254243" y="398463"/>
                    </a:cubicBezTo>
                    <a:cubicBezTo>
                      <a:pt x="242103" y="354201"/>
                      <a:pt x="202823" y="321361"/>
                      <a:pt x="154260" y="321361"/>
                    </a:cubicBezTo>
                    <a:cubicBezTo>
                      <a:pt x="106411" y="321361"/>
                      <a:pt x="65704" y="354201"/>
                      <a:pt x="54277" y="398463"/>
                    </a:cubicBezTo>
                    <a:cubicBezTo>
                      <a:pt x="54277" y="398463"/>
                      <a:pt x="54277" y="398463"/>
                      <a:pt x="17854" y="398463"/>
                    </a:cubicBezTo>
                    <a:cubicBezTo>
                      <a:pt x="7856" y="398463"/>
                      <a:pt x="0" y="391324"/>
                      <a:pt x="0" y="380615"/>
                    </a:cubicBezTo>
                    <a:cubicBezTo>
                      <a:pt x="0" y="380615"/>
                      <a:pt x="0" y="380615"/>
                      <a:pt x="0" y="296375"/>
                    </a:cubicBezTo>
                    <a:cubicBezTo>
                      <a:pt x="0" y="286380"/>
                      <a:pt x="7856" y="277813"/>
                      <a:pt x="17854" y="277813"/>
                    </a:cubicBezTo>
                    <a:close/>
                    <a:moveTo>
                      <a:pt x="1163436" y="0"/>
                    </a:moveTo>
                    <a:cubicBezTo>
                      <a:pt x="1163436" y="0"/>
                      <a:pt x="1163436" y="0"/>
                      <a:pt x="1371345" y="0"/>
                    </a:cubicBezTo>
                    <a:cubicBezTo>
                      <a:pt x="1377776" y="0"/>
                      <a:pt x="1382777" y="2857"/>
                      <a:pt x="1387064" y="8572"/>
                    </a:cubicBezTo>
                    <a:cubicBezTo>
                      <a:pt x="1387064" y="8572"/>
                      <a:pt x="1387064" y="8572"/>
                      <a:pt x="1502807" y="185737"/>
                    </a:cubicBezTo>
                    <a:cubicBezTo>
                      <a:pt x="1504236" y="188595"/>
                      <a:pt x="1504950" y="192881"/>
                      <a:pt x="1504950" y="195024"/>
                    </a:cubicBezTo>
                    <a:cubicBezTo>
                      <a:pt x="1504950" y="195024"/>
                      <a:pt x="1504950" y="195024"/>
                      <a:pt x="1504950" y="370046"/>
                    </a:cubicBezTo>
                    <a:cubicBezTo>
                      <a:pt x="1504950" y="387191"/>
                      <a:pt x="1492090" y="400050"/>
                      <a:pt x="1474943" y="400050"/>
                    </a:cubicBezTo>
                    <a:cubicBezTo>
                      <a:pt x="1474943" y="400050"/>
                      <a:pt x="1474943" y="400050"/>
                      <a:pt x="1412070" y="400050"/>
                    </a:cubicBezTo>
                    <a:cubicBezTo>
                      <a:pt x="1408497" y="387191"/>
                      <a:pt x="1402782" y="374333"/>
                      <a:pt x="1395637" y="363617"/>
                    </a:cubicBezTo>
                    <a:cubicBezTo>
                      <a:pt x="1395637" y="363617"/>
                      <a:pt x="1395637" y="363617"/>
                      <a:pt x="1468513" y="363617"/>
                    </a:cubicBezTo>
                    <a:cubicBezTo>
                      <a:pt x="1468513" y="363617"/>
                      <a:pt x="1468513" y="363617"/>
                      <a:pt x="1468513" y="200025"/>
                    </a:cubicBezTo>
                    <a:cubicBezTo>
                      <a:pt x="1468513" y="200025"/>
                      <a:pt x="1468513" y="200025"/>
                      <a:pt x="1361343" y="37147"/>
                    </a:cubicBezTo>
                    <a:cubicBezTo>
                      <a:pt x="1361343" y="37147"/>
                      <a:pt x="1361343" y="37147"/>
                      <a:pt x="1169152" y="37147"/>
                    </a:cubicBezTo>
                    <a:cubicBezTo>
                      <a:pt x="1169152" y="37147"/>
                      <a:pt x="1169152" y="37147"/>
                      <a:pt x="1169152" y="363617"/>
                    </a:cubicBezTo>
                    <a:cubicBezTo>
                      <a:pt x="1169152" y="363617"/>
                      <a:pt x="1169152" y="363617"/>
                      <a:pt x="1229167" y="363617"/>
                    </a:cubicBezTo>
                    <a:cubicBezTo>
                      <a:pt x="1222022" y="374333"/>
                      <a:pt x="1215592" y="387191"/>
                      <a:pt x="1212734" y="400050"/>
                    </a:cubicBezTo>
                    <a:cubicBezTo>
                      <a:pt x="1212734" y="400050"/>
                      <a:pt x="1212734" y="400050"/>
                      <a:pt x="1132714" y="399336"/>
                    </a:cubicBezTo>
                    <a:cubicBezTo>
                      <a:pt x="1132714" y="399336"/>
                      <a:pt x="1132714" y="399336"/>
                      <a:pt x="1119139" y="399336"/>
                    </a:cubicBezTo>
                    <a:cubicBezTo>
                      <a:pt x="1108422" y="354330"/>
                      <a:pt x="1067698" y="321469"/>
                      <a:pt x="1019829" y="321469"/>
                    </a:cubicBezTo>
                    <a:cubicBezTo>
                      <a:pt x="971245" y="321469"/>
                      <a:pt x="930521" y="354330"/>
                      <a:pt x="919804" y="399336"/>
                    </a:cubicBezTo>
                    <a:cubicBezTo>
                      <a:pt x="919804" y="399336"/>
                      <a:pt x="919804" y="399336"/>
                      <a:pt x="886224" y="399336"/>
                    </a:cubicBezTo>
                    <a:cubicBezTo>
                      <a:pt x="876221" y="399336"/>
                      <a:pt x="868362" y="392192"/>
                      <a:pt x="868362" y="381476"/>
                    </a:cubicBezTo>
                    <a:cubicBezTo>
                      <a:pt x="868362" y="381476"/>
                      <a:pt x="868362" y="381476"/>
                      <a:pt x="868362" y="297180"/>
                    </a:cubicBezTo>
                    <a:cubicBezTo>
                      <a:pt x="868362" y="287179"/>
                      <a:pt x="876221" y="278606"/>
                      <a:pt x="886224" y="278606"/>
                    </a:cubicBezTo>
                    <a:cubicBezTo>
                      <a:pt x="886224" y="278606"/>
                      <a:pt x="886224" y="278606"/>
                      <a:pt x="1132714" y="278606"/>
                    </a:cubicBezTo>
                    <a:cubicBezTo>
                      <a:pt x="1132714" y="278606"/>
                      <a:pt x="1132714" y="278606"/>
                      <a:pt x="1132714" y="30004"/>
                    </a:cubicBezTo>
                    <a:cubicBezTo>
                      <a:pt x="1132714" y="13573"/>
                      <a:pt x="1147003" y="0"/>
                      <a:pt x="116343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49" name="bcgIcons_Retail storage stock">
            <a:extLst>
              <a:ext uri="{FF2B5EF4-FFF2-40B4-BE49-F238E27FC236}">
                <a16:creationId xmlns:a16="http://schemas.microsoft.com/office/drawing/2014/main" id="{555E7980-68D7-FEEF-AA45-A997AEBDDF5A}"/>
              </a:ext>
            </a:extLst>
          </p:cNvPr>
          <p:cNvGrpSpPr>
            <a:grpSpLocks noChangeAspect="1"/>
          </p:cNvGrpSpPr>
          <p:nvPr/>
        </p:nvGrpSpPr>
        <p:grpSpPr>
          <a:xfrm>
            <a:off x="8983077" y="3801926"/>
            <a:ext cx="125450" cy="125450"/>
            <a:chOff x="5273675" y="2606675"/>
            <a:chExt cx="1644650" cy="1644650"/>
          </a:xfrm>
        </p:grpSpPr>
        <p:sp>
          <p:nvSpPr>
            <p:cNvPr id="252" name="AutoShape 14">
              <a:extLst>
                <a:ext uri="{FF2B5EF4-FFF2-40B4-BE49-F238E27FC236}">
                  <a16:creationId xmlns:a16="http://schemas.microsoft.com/office/drawing/2014/main" id="{B5281D73-392E-DD16-C7CB-77E61F66AE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35FCA894-0DFA-45C0-0716-17C3FD00BE96}"/>
                </a:ext>
              </a:extLst>
            </p:cNvPr>
            <p:cNvGrpSpPr/>
            <p:nvPr/>
          </p:nvGrpSpPr>
          <p:grpSpPr>
            <a:xfrm>
              <a:off x="5521325" y="2901950"/>
              <a:ext cx="1147763" cy="1181100"/>
              <a:chOff x="5521325" y="2901950"/>
              <a:chExt cx="1147763" cy="1181100"/>
            </a:xfrm>
          </p:grpSpPr>
          <p:sp>
            <p:nvSpPr>
              <p:cNvPr id="254" name="Freeform 29">
                <a:extLst>
                  <a:ext uri="{FF2B5EF4-FFF2-40B4-BE49-F238E27FC236}">
                    <a16:creationId xmlns:a16="http://schemas.microsoft.com/office/drawing/2014/main" id="{E847D895-B410-FFF8-0A80-349B79886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1973" y="2965450"/>
                <a:ext cx="1108140" cy="960438"/>
              </a:xfrm>
              <a:custGeom>
                <a:avLst/>
                <a:gdLst>
                  <a:gd name="connsiteX0" fmla="*/ 811201 w 1108140"/>
                  <a:gd name="connsiteY0" fmla="*/ 836613 h 960438"/>
                  <a:gd name="connsiteX1" fmla="*/ 930264 w 1108140"/>
                  <a:gd name="connsiteY1" fmla="*/ 836613 h 960438"/>
                  <a:gd name="connsiteX2" fmla="*/ 930264 w 1108140"/>
                  <a:gd name="connsiteY2" fmla="*/ 960438 h 960438"/>
                  <a:gd name="connsiteX3" fmla="*/ 811201 w 1108140"/>
                  <a:gd name="connsiteY3" fmla="*/ 960438 h 960438"/>
                  <a:gd name="connsiteX4" fmla="*/ 720279 w 1108140"/>
                  <a:gd name="connsiteY4" fmla="*/ 827088 h 960438"/>
                  <a:gd name="connsiteX5" fmla="*/ 714547 w 1108140"/>
                  <a:gd name="connsiteY5" fmla="*/ 829231 h 960438"/>
                  <a:gd name="connsiteX6" fmla="*/ 683022 w 1108140"/>
                  <a:gd name="connsiteY6" fmla="*/ 860664 h 960438"/>
                  <a:gd name="connsiteX7" fmla="*/ 683022 w 1108140"/>
                  <a:gd name="connsiteY7" fmla="*/ 872094 h 960438"/>
                  <a:gd name="connsiteX8" fmla="*/ 693769 w 1108140"/>
                  <a:gd name="connsiteY8" fmla="*/ 872094 h 960438"/>
                  <a:gd name="connsiteX9" fmla="*/ 712398 w 1108140"/>
                  <a:gd name="connsiteY9" fmla="*/ 853520 h 960438"/>
                  <a:gd name="connsiteX10" fmla="*/ 712398 w 1108140"/>
                  <a:gd name="connsiteY10" fmla="*/ 904955 h 960438"/>
                  <a:gd name="connsiteX11" fmla="*/ 720279 w 1108140"/>
                  <a:gd name="connsiteY11" fmla="*/ 912813 h 960438"/>
                  <a:gd name="connsiteX12" fmla="*/ 728160 w 1108140"/>
                  <a:gd name="connsiteY12" fmla="*/ 904955 h 960438"/>
                  <a:gd name="connsiteX13" fmla="*/ 728160 w 1108140"/>
                  <a:gd name="connsiteY13" fmla="*/ 853520 h 960438"/>
                  <a:gd name="connsiteX14" fmla="*/ 746073 w 1108140"/>
                  <a:gd name="connsiteY14" fmla="*/ 872094 h 960438"/>
                  <a:gd name="connsiteX15" fmla="*/ 751804 w 1108140"/>
                  <a:gd name="connsiteY15" fmla="*/ 874237 h 960438"/>
                  <a:gd name="connsiteX16" fmla="*/ 757536 w 1108140"/>
                  <a:gd name="connsiteY16" fmla="*/ 872094 h 960438"/>
                  <a:gd name="connsiteX17" fmla="*/ 757536 w 1108140"/>
                  <a:gd name="connsiteY17" fmla="*/ 860664 h 960438"/>
                  <a:gd name="connsiteX18" fmla="*/ 726011 w 1108140"/>
                  <a:gd name="connsiteY18" fmla="*/ 829231 h 960438"/>
                  <a:gd name="connsiteX19" fmla="*/ 720279 w 1108140"/>
                  <a:gd name="connsiteY19" fmla="*/ 827088 h 960438"/>
                  <a:gd name="connsiteX20" fmla="*/ 359916 w 1108140"/>
                  <a:gd name="connsiteY20" fmla="*/ 827088 h 960438"/>
                  <a:gd name="connsiteX21" fmla="*/ 354184 w 1108140"/>
                  <a:gd name="connsiteY21" fmla="*/ 829231 h 960438"/>
                  <a:gd name="connsiteX22" fmla="*/ 322659 w 1108140"/>
                  <a:gd name="connsiteY22" fmla="*/ 860664 h 960438"/>
                  <a:gd name="connsiteX23" fmla="*/ 322659 w 1108140"/>
                  <a:gd name="connsiteY23" fmla="*/ 872094 h 960438"/>
                  <a:gd name="connsiteX24" fmla="*/ 333406 w 1108140"/>
                  <a:gd name="connsiteY24" fmla="*/ 872094 h 960438"/>
                  <a:gd name="connsiteX25" fmla="*/ 352035 w 1108140"/>
                  <a:gd name="connsiteY25" fmla="*/ 853520 h 960438"/>
                  <a:gd name="connsiteX26" fmla="*/ 352035 w 1108140"/>
                  <a:gd name="connsiteY26" fmla="*/ 904955 h 960438"/>
                  <a:gd name="connsiteX27" fmla="*/ 359916 w 1108140"/>
                  <a:gd name="connsiteY27" fmla="*/ 912813 h 960438"/>
                  <a:gd name="connsiteX28" fmla="*/ 367797 w 1108140"/>
                  <a:gd name="connsiteY28" fmla="*/ 904955 h 960438"/>
                  <a:gd name="connsiteX29" fmla="*/ 367797 w 1108140"/>
                  <a:gd name="connsiteY29" fmla="*/ 853520 h 960438"/>
                  <a:gd name="connsiteX30" fmla="*/ 386426 w 1108140"/>
                  <a:gd name="connsiteY30" fmla="*/ 872094 h 960438"/>
                  <a:gd name="connsiteX31" fmla="*/ 391441 w 1108140"/>
                  <a:gd name="connsiteY31" fmla="*/ 874237 h 960438"/>
                  <a:gd name="connsiteX32" fmla="*/ 397173 w 1108140"/>
                  <a:gd name="connsiteY32" fmla="*/ 872094 h 960438"/>
                  <a:gd name="connsiteX33" fmla="*/ 397173 w 1108140"/>
                  <a:gd name="connsiteY33" fmla="*/ 860664 h 960438"/>
                  <a:gd name="connsiteX34" fmla="*/ 365648 w 1108140"/>
                  <a:gd name="connsiteY34" fmla="*/ 829231 h 960438"/>
                  <a:gd name="connsiteX35" fmla="*/ 359916 w 1108140"/>
                  <a:gd name="connsiteY35" fmla="*/ 827088 h 960438"/>
                  <a:gd name="connsiteX36" fmla="*/ 176201 w 1108140"/>
                  <a:gd name="connsiteY36" fmla="*/ 744538 h 960438"/>
                  <a:gd name="connsiteX37" fmla="*/ 427026 w 1108140"/>
                  <a:gd name="connsiteY37" fmla="*/ 744538 h 960438"/>
                  <a:gd name="connsiteX38" fmla="*/ 427026 w 1108140"/>
                  <a:gd name="connsiteY38" fmla="*/ 960438 h 960438"/>
                  <a:gd name="connsiteX39" fmla="*/ 176201 w 1108140"/>
                  <a:gd name="connsiteY39" fmla="*/ 960438 h 960438"/>
                  <a:gd name="connsiteX40" fmla="*/ 176201 w 1108140"/>
                  <a:gd name="connsiteY40" fmla="*/ 744538 h 960438"/>
                  <a:gd name="connsiteX41" fmla="*/ 811201 w 1108140"/>
                  <a:gd name="connsiteY41" fmla="*/ 688975 h 960438"/>
                  <a:gd name="connsiteX42" fmla="*/ 930264 w 1108140"/>
                  <a:gd name="connsiteY42" fmla="*/ 688975 h 960438"/>
                  <a:gd name="connsiteX43" fmla="*/ 930264 w 1108140"/>
                  <a:gd name="connsiteY43" fmla="*/ 811213 h 960438"/>
                  <a:gd name="connsiteX44" fmla="*/ 811201 w 1108140"/>
                  <a:gd name="connsiteY44" fmla="*/ 811213 h 960438"/>
                  <a:gd name="connsiteX45" fmla="*/ 449251 w 1108140"/>
                  <a:gd name="connsiteY45" fmla="*/ 606425 h 960438"/>
                  <a:gd name="connsiteX46" fmla="*/ 788976 w 1108140"/>
                  <a:gd name="connsiteY46" fmla="*/ 606425 h 960438"/>
                  <a:gd name="connsiteX47" fmla="*/ 788976 w 1108140"/>
                  <a:gd name="connsiteY47" fmla="*/ 678367 h 960438"/>
                  <a:gd name="connsiteX48" fmla="*/ 788976 w 1108140"/>
                  <a:gd name="connsiteY48" fmla="*/ 825101 h 960438"/>
                  <a:gd name="connsiteX49" fmla="*/ 788976 w 1108140"/>
                  <a:gd name="connsiteY49" fmla="*/ 960438 h 960438"/>
                  <a:gd name="connsiteX50" fmla="*/ 449251 w 1108140"/>
                  <a:gd name="connsiteY50" fmla="*/ 960438 h 960438"/>
                  <a:gd name="connsiteX51" fmla="*/ 449251 w 1108140"/>
                  <a:gd name="connsiteY51" fmla="*/ 734639 h 960438"/>
                  <a:gd name="connsiteX52" fmla="*/ 449251 w 1108140"/>
                  <a:gd name="connsiteY52" fmla="*/ 606425 h 960438"/>
                  <a:gd name="connsiteX53" fmla="*/ 141527 w 1108140"/>
                  <a:gd name="connsiteY53" fmla="*/ 0 h 960438"/>
                  <a:gd name="connsiteX54" fmla="*/ 967238 w 1108140"/>
                  <a:gd name="connsiteY54" fmla="*/ 0 h 960438"/>
                  <a:gd name="connsiteX55" fmla="*/ 984366 w 1108140"/>
                  <a:gd name="connsiteY55" fmla="*/ 12809 h 960438"/>
                  <a:gd name="connsiteX56" fmla="*/ 1105690 w 1108140"/>
                  <a:gd name="connsiteY56" fmla="*/ 263306 h 960438"/>
                  <a:gd name="connsiteX57" fmla="*/ 1088562 w 1108140"/>
                  <a:gd name="connsiteY57" fmla="*/ 288925 h 960438"/>
                  <a:gd name="connsiteX58" fmla="*/ 19490 w 1108140"/>
                  <a:gd name="connsiteY58" fmla="*/ 288925 h 960438"/>
                  <a:gd name="connsiteX59" fmla="*/ 2362 w 1108140"/>
                  <a:gd name="connsiteY59" fmla="*/ 261883 h 960438"/>
                  <a:gd name="connsiteX60" fmla="*/ 123686 w 1108140"/>
                  <a:gd name="connsiteY60" fmla="*/ 14233 h 960438"/>
                  <a:gd name="connsiteX61" fmla="*/ 141527 w 1108140"/>
                  <a:gd name="connsiteY61" fmla="*/ 0 h 960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108140" h="960438">
                    <a:moveTo>
                      <a:pt x="811201" y="836613"/>
                    </a:moveTo>
                    <a:lnTo>
                      <a:pt x="930264" y="836613"/>
                    </a:lnTo>
                    <a:lnTo>
                      <a:pt x="930264" y="960438"/>
                    </a:lnTo>
                    <a:lnTo>
                      <a:pt x="811201" y="960438"/>
                    </a:lnTo>
                    <a:close/>
                    <a:moveTo>
                      <a:pt x="720279" y="827088"/>
                    </a:moveTo>
                    <a:cubicBezTo>
                      <a:pt x="718130" y="827088"/>
                      <a:pt x="715980" y="827803"/>
                      <a:pt x="714547" y="829231"/>
                    </a:cubicBezTo>
                    <a:cubicBezTo>
                      <a:pt x="714547" y="829231"/>
                      <a:pt x="714547" y="829231"/>
                      <a:pt x="683022" y="860664"/>
                    </a:cubicBezTo>
                    <a:cubicBezTo>
                      <a:pt x="679439" y="864236"/>
                      <a:pt x="679439" y="869236"/>
                      <a:pt x="683022" y="872094"/>
                    </a:cubicBezTo>
                    <a:cubicBezTo>
                      <a:pt x="685888" y="874951"/>
                      <a:pt x="690903" y="874951"/>
                      <a:pt x="693769" y="872094"/>
                    </a:cubicBezTo>
                    <a:cubicBezTo>
                      <a:pt x="693769" y="872094"/>
                      <a:pt x="693769" y="872094"/>
                      <a:pt x="712398" y="853520"/>
                    </a:cubicBezTo>
                    <a:cubicBezTo>
                      <a:pt x="712398" y="853520"/>
                      <a:pt x="712398" y="853520"/>
                      <a:pt x="712398" y="904955"/>
                    </a:cubicBezTo>
                    <a:cubicBezTo>
                      <a:pt x="712398" y="909956"/>
                      <a:pt x="715980" y="912813"/>
                      <a:pt x="720279" y="912813"/>
                    </a:cubicBezTo>
                    <a:cubicBezTo>
                      <a:pt x="724578" y="912813"/>
                      <a:pt x="728160" y="909956"/>
                      <a:pt x="728160" y="904955"/>
                    </a:cubicBezTo>
                    <a:cubicBezTo>
                      <a:pt x="728160" y="904955"/>
                      <a:pt x="728160" y="904955"/>
                      <a:pt x="728160" y="853520"/>
                    </a:cubicBezTo>
                    <a:cubicBezTo>
                      <a:pt x="728160" y="853520"/>
                      <a:pt x="728160" y="853520"/>
                      <a:pt x="746073" y="872094"/>
                    </a:cubicBezTo>
                    <a:cubicBezTo>
                      <a:pt x="748222" y="873523"/>
                      <a:pt x="749655" y="874237"/>
                      <a:pt x="751804" y="874237"/>
                    </a:cubicBezTo>
                    <a:cubicBezTo>
                      <a:pt x="753954" y="874237"/>
                      <a:pt x="756103" y="873523"/>
                      <a:pt x="757536" y="872094"/>
                    </a:cubicBezTo>
                    <a:cubicBezTo>
                      <a:pt x="760402" y="869236"/>
                      <a:pt x="760402" y="864236"/>
                      <a:pt x="757536" y="860664"/>
                    </a:cubicBezTo>
                    <a:cubicBezTo>
                      <a:pt x="757536" y="860664"/>
                      <a:pt x="757536" y="860664"/>
                      <a:pt x="726011" y="829231"/>
                    </a:cubicBezTo>
                    <a:cubicBezTo>
                      <a:pt x="724578" y="827803"/>
                      <a:pt x="722428" y="827088"/>
                      <a:pt x="720279" y="827088"/>
                    </a:cubicBezTo>
                    <a:close/>
                    <a:moveTo>
                      <a:pt x="359916" y="827088"/>
                    </a:moveTo>
                    <a:cubicBezTo>
                      <a:pt x="357767" y="827088"/>
                      <a:pt x="355617" y="827803"/>
                      <a:pt x="354184" y="829231"/>
                    </a:cubicBezTo>
                    <a:cubicBezTo>
                      <a:pt x="354184" y="829231"/>
                      <a:pt x="354184" y="829231"/>
                      <a:pt x="322659" y="860664"/>
                    </a:cubicBezTo>
                    <a:cubicBezTo>
                      <a:pt x="319076" y="864236"/>
                      <a:pt x="319076" y="869236"/>
                      <a:pt x="322659" y="872094"/>
                    </a:cubicBezTo>
                    <a:cubicBezTo>
                      <a:pt x="325525" y="874951"/>
                      <a:pt x="330540" y="874951"/>
                      <a:pt x="333406" y="872094"/>
                    </a:cubicBezTo>
                    <a:cubicBezTo>
                      <a:pt x="333406" y="872094"/>
                      <a:pt x="333406" y="872094"/>
                      <a:pt x="352035" y="853520"/>
                    </a:cubicBezTo>
                    <a:cubicBezTo>
                      <a:pt x="352035" y="853520"/>
                      <a:pt x="352035" y="853520"/>
                      <a:pt x="352035" y="904955"/>
                    </a:cubicBezTo>
                    <a:cubicBezTo>
                      <a:pt x="352035" y="909956"/>
                      <a:pt x="355617" y="912813"/>
                      <a:pt x="359916" y="912813"/>
                    </a:cubicBezTo>
                    <a:cubicBezTo>
                      <a:pt x="364215" y="912813"/>
                      <a:pt x="367797" y="909956"/>
                      <a:pt x="367797" y="904955"/>
                    </a:cubicBezTo>
                    <a:cubicBezTo>
                      <a:pt x="367797" y="904955"/>
                      <a:pt x="367797" y="904955"/>
                      <a:pt x="367797" y="853520"/>
                    </a:cubicBezTo>
                    <a:cubicBezTo>
                      <a:pt x="367797" y="853520"/>
                      <a:pt x="367797" y="853520"/>
                      <a:pt x="386426" y="872094"/>
                    </a:cubicBezTo>
                    <a:cubicBezTo>
                      <a:pt x="387859" y="873523"/>
                      <a:pt x="389292" y="874237"/>
                      <a:pt x="391441" y="874237"/>
                    </a:cubicBezTo>
                    <a:cubicBezTo>
                      <a:pt x="393591" y="874237"/>
                      <a:pt x="395740" y="873523"/>
                      <a:pt x="397173" y="872094"/>
                    </a:cubicBezTo>
                    <a:cubicBezTo>
                      <a:pt x="400039" y="869236"/>
                      <a:pt x="400039" y="864236"/>
                      <a:pt x="397173" y="860664"/>
                    </a:cubicBezTo>
                    <a:cubicBezTo>
                      <a:pt x="397173" y="860664"/>
                      <a:pt x="397173" y="860664"/>
                      <a:pt x="365648" y="829231"/>
                    </a:cubicBezTo>
                    <a:cubicBezTo>
                      <a:pt x="364215" y="827803"/>
                      <a:pt x="362065" y="827088"/>
                      <a:pt x="359916" y="827088"/>
                    </a:cubicBezTo>
                    <a:close/>
                    <a:moveTo>
                      <a:pt x="176201" y="744538"/>
                    </a:moveTo>
                    <a:cubicBezTo>
                      <a:pt x="176201" y="744538"/>
                      <a:pt x="176201" y="744538"/>
                      <a:pt x="427026" y="744538"/>
                    </a:cubicBezTo>
                    <a:cubicBezTo>
                      <a:pt x="427026" y="744538"/>
                      <a:pt x="427026" y="744538"/>
                      <a:pt x="427026" y="960438"/>
                    </a:cubicBezTo>
                    <a:cubicBezTo>
                      <a:pt x="427026" y="960438"/>
                      <a:pt x="427026" y="960438"/>
                      <a:pt x="176201" y="960438"/>
                    </a:cubicBezTo>
                    <a:cubicBezTo>
                      <a:pt x="176201" y="960438"/>
                      <a:pt x="176201" y="960438"/>
                      <a:pt x="176201" y="744538"/>
                    </a:cubicBezTo>
                    <a:close/>
                    <a:moveTo>
                      <a:pt x="811201" y="688975"/>
                    </a:moveTo>
                    <a:lnTo>
                      <a:pt x="930264" y="688975"/>
                    </a:lnTo>
                    <a:lnTo>
                      <a:pt x="930264" y="811213"/>
                    </a:lnTo>
                    <a:lnTo>
                      <a:pt x="811201" y="811213"/>
                    </a:lnTo>
                    <a:close/>
                    <a:moveTo>
                      <a:pt x="449251" y="606425"/>
                    </a:moveTo>
                    <a:cubicBezTo>
                      <a:pt x="449251" y="606425"/>
                      <a:pt x="449251" y="606425"/>
                      <a:pt x="788976" y="606425"/>
                    </a:cubicBezTo>
                    <a:cubicBezTo>
                      <a:pt x="788976" y="606425"/>
                      <a:pt x="788976" y="606425"/>
                      <a:pt x="788976" y="678367"/>
                    </a:cubicBezTo>
                    <a:cubicBezTo>
                      <a:pt x="788976" y="678367"/>
                      <a:pt x="788976" y="678367"/>
                      <a:pt x="788976" y="825101"/>
                    </a:cubicBezTo>
                    <a:cubicBezTo>
                      <a:pt x="788976" y="825101"/>
                      <a:pt x="788976" y="825101"/>
                      <a:pt x="788976" y="960438"/>
                    </a:cubicBezTo>
                    <a:cubicBezTo>
                      <a:pt x="788976" y="960438"/>
                      <a:pt x="788976" y="960438"/>
                      <a:pt x="449251" y="960438"/>
                    </a:cubicBezTo>
                    <a:cubicBezTo>
                      <a:pt x="449251" y="960438"/>
                      <a:pt x="449251" y="960438"/>
                      <a:pt x="449251" y="734639"/>
                    </a:cubicBezTo>
                    <a:cubicBezTo>
                      <a:pt x="449251" y="734639"/>
                      <a:pt x="449251" y="734639"/>
                      <a:pt x="449251" y="606425"/>
                    </a:cubicBezTo>
                    <a:close/>
                    <a:moveTo>
                      <a:pt x="141527" y="0"/>
                    </a:moveTo>
                    <a:cubicBezTo>
                      <a:pt x="141527" y="0"/>
                      <a:pt x="141527" y="0"/>
                      <a:pt x="967238" y="0"/>
                    </a:cubicBezTo>
                    <a:cubicBezTo>
                      <a:pt x="974375" y="0"/>
                      <a:pt x="980798" y="6405"/>
                      <a:pt x="984366" y="12809"/>
                    </a:cubicBezTo>
                    <a:cubicBezTo>
                      <a:pt x="984366" y="12809"/>
                      <a:pt x="984366" y="12809"/>
                      <a:pt x="1105690" y="263306"/>
                    </a:cubicBezTo>
                    <a:cubicBezTo>
                      <a:pt x="1112826" y="276827"/>
                      <a:pt x="1103549" y="288925"/>
                      <a:pt x="1088562" y="288925"/>
                    </a:cubicBezTo>
                    <a:cubicBezTo>
                      <a:pt x="1088562" y="288925"/>
                      <a:pt x="1088562" y="288925"/>
                      <a:pt x="19490" y="288925"/>
                    </a:cubicBezTo>
                    <a:cubicBezTo>
                      <a:pt x="5217" y="288925"/>
                      <a:pt x="-4774" y="274692"/>
                      <a:pt x="2362" y="261883"/>
                    </a:cubicBezTo>
                    <a:cubicBezTo>
                      <a:pt x="2362" y="261883"/>
                      <a:pt x="2362" y="261883"/>
                      <a:pt x="123686" y="14233"/>
                    </a:cubicBezTo>
                    <a:cubicBezTo>
                      <a:pt x="127254" y="7828"/>
                      <a:pt x="133677" y="0"/>
                      <a:pt x="14152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5" name="Freeform 30">
                <a:extLst>
                  <a:ext uri="{FF2B5EF4-FFF2-40B4-BE49-F238E27FC236}">
                    <a16:creationId xmlns:a16="http://schemas.microsoft.com/office/drawing/2014/main" id="{6B368969-409C-0200-710A-C7CEAD6F4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1325" y="2901950"/>
                <a:ext cx="1147763" cy="1181100"/>
              </a:xfrm>
              <a:custGeom>
                <a:avLst/>
                <a:gdLst>
                  <a:gd name="connsiteX0" fmla="*/ 107462 w 1147763"/>
                  <a:gd name="connsiteY0" fmla="*/ 1054100 h 1181100"/>
                  <a:gd name="connsiteX1" fmla="*/ 1040301 w 1147763"/>
                  <a:gd name="connsiteY1" fmla="*/ 1054100 h 1181100"/>
                  <a:gd name="connsiteX2" fmla="*/ 1055300 w 1147763"/>
                  <a:gd name="connsiteY2" fmla="*/ 1069885 h 1181100"/>
                  <a:gd name="connsiteX3" fmla="*/ 1055300 w 1147763"/>
                  <a:gd name="connsiteY3" fmla="*/ 1090693 h 1181100"/>
                  <a:gd name="connsiteX4" fmla="*/ 1101728 w 1147763"/>
                  <a:gd name="connsiteY4" fmla="*/ 1090693 h 1181100"/>
                  <a:gd name="connsiteX5" fmla="*/ 1116013 w 1147763"/>
                  <a:gd name="connsiteY5" fmla="*/ 1106479 h 1181100"/>
                  <a:gd name="connsiteX6" fmla="*/ 1116013 w 1147763"/>
                  <a:gd name="connsiteY6" fmla="*/ 1166032 h 1181100"/>
                  <a:gd name="connsiteX7" fmla="*/ 1101728 w 1147763"/>
                  <a:gd name="connsiteY7" fmla="*/ 1181100 h 1181100"/>
                  <a:gd name="connsiteX8" fmla="*/ 46035 w 1147763"/>
                  <a:gd name="connsiteY8" fmla="*/ 1181100 h 1181100"/>
                  <a:gd name="connsiteX9" fmla="*/ 31750 w 1147763"/>
                  <a:gd name="connsiteY9" fmla="*/ 1166032 h 1181100"/>
                  <a:gd name="connsiteX10" fmla="*/ 31750 w 1147763"/>
                  <a:gd name="connsiteY10" fmla="*/ 1106479 h 1181100"/>
                  <a:gd name="connsiteX11" fmla="*/ 46035 w 1147763"/>
                  <a:gd name="connsiteY11" fmla="*/ 1090693 h 1181100"/>
                  <a:gd name="connsiteX12" fmla="*/ 92463 w 1147763"/>
                  <a:gd name="connsiteY12" fmla="*/ 1090693 h 1181100"/>
                  <a:gd name="connsiteX13" fmla="*/ 92463 w 1147763"/>
                  <a:gd name="connsiteY13" fmla="*/ 1069885 h 1181100"/>
                  <a:gd name="connsiteX14" fmla="*/ 107462 w 1147763"/>
                  <a:gd name="connsiteY14" fmla="*/ 1054100 h 1181100"/>
                  <a:gd name="connsiteX15" fmla="*/ 15703 w 1147763"/>
                  <a:gd name="connsiteY15" fmla="*/ 384175 h 1181100"/>
                  <a:gd name="connsiteX16" fmla="*/ 1132060 w 1147763"/>
                  <a:gd name="connsiteY16" fmla="*/ 384175 h 1181100"/>
                  <a:gd name="connsiteX17" fmla="*/ 1147763 w 1147763"/>
                  <a:gd name="connsiteY17" fmla="*/ 399880 h 1181100"/>
                  <a:gd name="connsiteX18" fmla="*/ 1132060 w 1147763"/>
                  <a:gd name="connsiteY18" fmla="*/ 415584 h 1181100"/>
                  <a:gd name="connsiteX19" fmla="*/ 1008576 w 1147763"/>
                  <a:gd name="connsiteY19" fmla="*/ 415584 h 1181100"/>
                  <a:gd name="connsiteX20" fmla="*/ 1008576 w 1147763"/>
                  <a:gd name="connsiteY20" fmla="*/ 1022350 h 1181100"/>
                  <a:gd name="connsiteX21" fmla="*/ 977169 w 1147763"/>
                  <a:gd name="connsiteY21" fmla="*/ 1022350 h 1181100"/>
                  <a:gd name="connsiteX22" fmla="*/ 977169 w 1147763"/>
                  <a:gd name="connsiteY22" fmla="*/ 415584 h 1181100"/>
                  <a:gd name="connsiteX23" fmla="*/ 170594 w 1147763"/>
                  <a:gd name="connsiteY23" fmla="*/ 415584 h 1181100"/>
                  <a:gd name="connsiteX24" fmla="*/ 170594 w 1147763"/>
                  <a:gd name="connsiteY24" fmla="*/ 1022350 h 1181100"/>
                  <a:gd name="connsiteX25" fmla="*/ 139187 w 1147763"/>
                  <a:gd name="connsiteY25" fmla="*/ 1022350 h 1181100"/>
                  <a:gd name="connsiteX26" fmla="*/ 139187 w 1147763"/>
                  <a:gd name="connsiteY26" fmla="*/ 415584 h 1181100"/>
                  <a:gd name="connsiteX27" fmla="*/ 15703 w 1147763"/>
                  <a:gd name="connsiteY27" fmla="*/ 415584 h 1181100"/>
                  <a:gd name="connsiteX28" fmla="*/ 0 w 1147763"/>
                  <a:gd name="connsiteY28" fmla="*/ 399880 h 1181100"/>
                  <a:gd name="connsiteX29" fmla="*/ 15703 w 1147763"/>
                  <a:gd name="connsiteY29" fmla="*/ 384175 h 1181100"/>
                  <a:gd name="connsiteX30" fmla="*/ 168090 w 1147763"/>
                  <a:gd name="connsiteY30" fmla="*/ 0 h 1181100"/>
                  <a:gd name="connsiteX31" fmla="*/ 979674 w 1147763"/>
                  <a:gd name="connsiteY31" fmla="*/ 0 h 1181100"/>
                  <a:gd name="connsiteX32" fmla="*/ 995363 w 1147763"/>
                  <a:gd name="connsiteY32" fmla="*/ 15522 h 1181100"/>
                  <a:gd name="connsiteX33" fmla="*/ 979674 w 1147763"/>
                  <a:gd name="connsiteY33" fmla="*/ 31750 h 1181100"/>
                  <a:gd name="connsiteX34" fmla="*/ 168090 w 1147763"/>
                  <a:gd name="connsiteY34" fmla="*/ 31750 h 1181100"/>
                  <a:gd name="connsiteX35" fmla="*/ 152400 w 1147763"/>
                  <a:gd name="connsiteY35" fmla="*/ 15522 h 1181100"/>
                  <a:gd name="connsiteX36" fmla="*/ 168090 w 1147763"/>
                  <a:gd name="connsiteY36" fmla="*/ 0 h 1181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147763" h="1181100">
                    <a:moveTo>
                      <a:pt x="107462" y="1054100"/>
                    </a:moveTo>
                    <a:cubicBezTo>
                      <a:pt x="107462" y="1054100"/>
                      <a:pt x="107462" y="1054100"/>
                      <a:pt x="1040301" y="1054100"/>
                    </a:cubicBezTo>
                    <a:cubicBezTo>
                      <a:pt x="1048872" y="1054100"/>
                      <a:pt x="1055300" y="1061275"/>
                      <a:pt x="1055300" y="1069885"/>
                    </a:cubicBezTo>
                    <a:cubicBezTo>
                      <a:pt x="1055300" y="1069885"/>
                      <a:pt x="1055300" y="1069885"/>
                      <a:pt x="1055300" y="1090693"/>
                    </a:cubicBezTo>
                    <a:cubicBezTo>
                      <a:pt x="1055300" y="1090693"/>
                      <a:pt x="1055300" y="1090693"/>
                      <a:pt x="1101728" y="1090693"/>
                    </a:cubicBezTo>
                    <a:cubicBezTo>
                      <a:pt x="1109585" y="1090693"/>
                      <a:pt x="1116013" y="1097868"/>
                      <a:pt x="1116013" y="1106479"/>
                    </a:cubicBezTo>
                    <a:cubicBezTo>
                      <a:pt x="1116013" y="1106479"/>
                      <a:pt x="1116013" y="1106479"/>
                      <a:pt x="1116013" y="1166032"/>
                    </a:cubicBezTo>
                    <a:cubicBezTo>
                      <a:pt x="1116013" y="1174643"/>
                      <a:pt x="1109585" y="1181100"/>
                      <a:pt x="1101728" y="1181100"/>
                    </a:cubicBezTo>
                    <a:cubicBezTo>
                      <a:pt x="1101728" y="1181100"/>
                      <a:pt x="1101728" y="1181100"/>
                      <a:pt x="46035" y="1181100"/>
                    </a:cubicBezTo>
                    <a:cubicBezTo>
                      <a:pt x="38178" y="1181100"/>
                      <a:pt x="31750" y="1174643"/>
                      <a:pt x="31750" y="1166032"/>
                    </a:cubicBezTo>
                    <a:cubicBezTo>
                      <a:pt x="31750" y="1166032"/>
                      <a:pt x="31750" y="1166032"/>
                      <a:pt x="31750" y="1106479"/>
                    </a:cubicBezTo>
                    <a:cubicBezTo>
                      <a:pt x="31750" y="1097868"/>
                      <a:pt x="38178" y="1090693"/>
                      <a:pt x="46035" y="1090693"/>
                    </a:cubicBezTo>
                    <a:cubicBezTo>
                      <a:pt x="46035" y="1090693"/>
                      <a:pt x="46035" y="1090693"/>
                      <a:pt x="92463" y="1090693"/>
                    </a:cubicBezTo>
                    <a:cubicBezTo>
                      <a:pt x="92463" y="1090693"/>
                      <a:pt x="92463" y="1090693"/>
                      <a:pt x="92463" y="1069885"/>
                    </a:cubicBezTo>
                    <a:cubicBezTo>
                      <a:pt x="92463" y="1061275"/>
                      <a:pt x="98891" y="1054100"/>
                      <a:pt x="107462" y="1054100"/>
                    </a:cubicBezTo>
                    <a:close/>
                    <a:moveTo>
                      <a:pt x="15703" y="384175"/>
                    </a:moveTo>
                    <a:cubicBezTo>
                      <a:pt x="15703" y="384175"/>
                      <a:pt x="15703" y="384175"/>
                      <a:pt x="1132060" y="384175"/>
                    </a:cubicBezTo>
                    <a:cubicBezTo>
                      <a:pt x="1140625" y="384175"/>
                      <a:pt x="1147763" y="390600"/>
                      <a:pt x="1147763" y="399880"/>
                    </a:cubicBezTo>
                    <a:cubicBezTo>
                      <a:pt x="1147763" y="408446"/>
                      <a:pt x="1140625" y="415584"/>
                      <a:pt x="1132060" y="415584"/>
                    </a:cubicBezTo>
                    <a:cubicBezTo>
                      <a:pt x="1132060" y="415584"/>
                      <a:pt x="1132060" y="415584"/>
                      <a:pt x="1008576" y="415584"/>
                    </a:cubicBezTo>
                    <a:cubicBezTo>
                      <a:pt x="1008576" y="415584"/>
                      <a:pt x="1008576" y="415584"/>
                      <a:pt x="1008576" y="1022350"/>
                    </a:cubicBezTo>
                    <a:cubicBezTo>
                      <a:pt x="1008576" y="1022350"/>
                      <a:pt x="1008576" y="1022350"/>
                      <a:pt x="977169" y="1022350"/>
                    </a:cubicBezTo>
                    <a:cubicBezTo>
                      <a:pt x="977169" y="1022350"/>
                      <a:pt x="977169" y="1022350"/>
                      <a:pt x="977169" y="415584"/>
                    </a:cubicBezTo>
                    <a:cubicBezTo>
                      <a:pt x="977169" y="415584"/>
                      <a:pt x="977169" y="415584"/>
                      <a:pt x="170594" y="415584"/>
                    </a:cubicBezTo>
                    <a:cubicBezTo>
                      <a:pt x="170594" y="415584"/>
                      <a:pt x="170594" y="415584"/>
                      <a:pt x="170594" y="1022350"/>
                    </a:cubicBezTo>
                    <a:cubicBezTo>
                      <a:pt x="170594" y="1022350"/>
                      <a:pt x="170594" y="1022350"/>
                      <a:pt x="139187" y="1022350"/>
                    </a:cubicBezTo>
                    <a:cubicBezTo>
                      <a:pt x="139187" y="1022350"/>
                      <a:pt x="139187" y="1022350"/>
                      <a:pt x="139187" y="415584"/>
                    </a:cubicBezTo>
                    <a:cubicBezTo>
                      <a:pt x="139187" y="415584"/>
                      <a:pt x="139187" y="415584"/>
                      <a:pt x="15703" y="415584"/>
                    </a:cubicBezTo>
                    <a:cubicBezTo>
                      <a:pt x="7138" y="415584"/>
                      <a:pt x="0" y="408446"/>
                      <a:pt x="0" y="399880"/>
                    </a:cubicBezTo>
                    <a:cubicBezTo>
                      <a:pt x="0" y="390600"/>
                      <a:pt x="7138" y="384175"/>
                      <a:pt x="15703" y="384175"/>
                    </a:cubicBezTo>
                    <a:close/>
                    <a:moveTo>
                      <a:pt x="168090" y="0"/>
                    </a:moveTo>
                    <a:cubicBezTo>
                      <a:pt x="168090" y="0"/>
                      <a:pt x="168090" y="0"/>
                      <a:pt x="979674" y="0"/>
                    </a:cubicBezTo>
                    <a:cubicBezTo>
                      <a:pt x="988232" y="0"/>
                      <a:pt x="995363" y="7056"/>
                      <a:pt x="995363" y="15522"/>
                    </a:cubicBezTo>
                    <a:cubicBezTo>
                      <a:pt x="995363" y="23989"/>
                      <a:pt x="988232" y="31750"/>
                      <a:pt x="979674" y="31750"/>
                    </a:cubicBezTo>
                    <a:cubicBezTo>
                      <a:pt x="979674" y="31750"/>
                      <a:pt x="979674" y="31750"/>
                      <a:pt x="168090" y="31750"/>
                    </a:cubicBezTo>
                    <a:cubicBezTo>
                      <a:pt x="159532" y="31750"/>
                      <a:pt x="152400" y="23989"/>
                      <a:pt x="152400" y="15522"/>
                    </a:cubicBezTo>
                    <a:cubicBezTo>
                      <a:pt x="152400" y="7056"/>
                      <a:pt x="159532" y="0"/>
                      <a:pt x="16809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7" name="bcgIcons_Warehouse">
            <a:extLst>
              <a:ext uri="{FF2B5EF4-FFF2-40B4-BE49-F238E27FC236}">
                <a16:creationId xmlns:a16="http://schemas.microsoft.com/office/drawing/2014/main" id="{C25815E2-38E0-EAF1-ADF9-165B5B47969C}"/>
              </a:ext>
            </a:extLst>
          </p:cNvPr>
          <p:cNvGrpSpPr>
            <a:grpSpLocks noChangeAspect="1"/>
          </p:cNvGrpSpPr>
          <p:nvPr/>
        </p:nvGrpSpPr>
        <p:grpSpPr>
          <a:xfrm>
            <a:off x="9813500" y="3801926"/>
            <a:ext cx="125450" cy="125450"/>
            <a:chOff x="5273675" y="2606675"/>
            <a:chExt cx="1644650" cy="1644650"/>
          </a:xfrm>
        </p:grpSpPr>
        <p:sp>
          <p:nvSpPr>
            <p:cNvPr id="259" name="AutoShape 3">
              <a:extLst>
                <a:ext uri="{FF2B5EF4-FFF2-40B4-BE49-F238E27FC236}">
                  <a16:creationId xmlns:a16="http://schemas.microsoft.com/office/drawing/2014/main" id="{FA8E8E9B-0B50-2911-6533-699E2802872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7115F8D2-BA13-CD38-9C62-B9AA91D0BF77}"/>
                </a:ext>
              </a:extLst>
            </p:cNvPr>
            <p:cNvGrpSpPr/>
            <p:nvPr/>
          </p:nvGrpSpPr>
          <p:grpSpPr>
            <a:xfrm>
              <a:off x="5443538" y="3341688"/>
              <a:ext cx="1304925" cy="739775"/>
              <a:chOff x="5443538" y="3341688"/>
              <a:chExt cx="1304925" cy="739775"/>
            </a:xfrm>
          </p:grpSpPr>
          <p:sp>
            <p:nvSpPr>
              <p:cNvPr id="261" name="Freeform 15">
                <a:extLst>
                  <a:ext uri="{FF2B5EF4-FFF2-40B4-BE49-F238E27FC236}">
                    <a16:creationId xmlns:a16="http://schemas.microsoft.com/office/drawing/2014/main" id="{3B90E441-E1BC-B59C-E6E8-50155D8E02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8325" y="3421063"/>
                <a:ext cx="887413" cy="501650"/>
              </a:xfrm>
              <a:custGeom>
                <a:avLst/>
                <a:gdLst>
                  <a:gd name="connsiteX0" fmla="*/ 506214 w 887413"/>
                  <a:gd name="connsiteY0" fmla="*/ 139700 h 501650"/>
                  <a:gd name="connsiteX1" fmla="*/ 871738 w 887413"/>
                  <a:gd name="connsiteY1" fmla="*/ 139700 h 501650"/>
                  <a:gd name="connsiteX2" fmla="*/ 887413 w 887413"/>
                  <a:gd name="connsiteY2" fmla="*/ 155375 h 501650"/>
                  <a:gd name="connsiteX3" fmla="*/ 887413 w 887413"/>
                  <a:gd name="connsiteY3" fmla="*/ 501650 h 501650"/>
                  <a:gd name="connsiteX4" fmla="*/ 490538 w 887413"/>
                  <a:gd name="connsiteY4" fmla="*/ 501650 h 501650"/>
                  <a:gd name="connsiteX5" fmla="*/ 490538 w 887413"/>
                  <a:gd name="connsiteY5" fmla="*/ 155375 h 501650"/>
                  <a:gd name="connsiteX6" fmla="*/ 506214 w 887413"/>
                  <a:gd name="connsiteY6" fmla="*/ 139700 h 501650"/>
                  <a:gd name="connsiteX7" fmla="*/ 15738 w 887413"/>
                  <a:gd name="connsiteY7" fmla="*/ 139700 h 501650"/>
                  <a:gd name="connsiteX8" fmla="*/ 382725 w 887413"/>
                  <a:gd name="connsiteY8" fmla="*/ 139700 h 501650"/>
                  <a:gd name="connsiteX9" fmla="*/ 398463 w 887413"/>
                  <a:gd name="connsiteY9" fmla="*/ 155375 h 501650"/>
                  <a:gd name="connsiteX10" fmla="*/ 398463 w 887413"/>
                  <a:gd name="connsiteY10" fmla="*/ 501650 h 501650"/>
                  <a:gd name="connsiteX11" fmla="*/ 0 w 887413"/>
                  <a:gd name="connsiteY11" fmla="*/ 501650 h 501650"/>
                  <a:gd name="connsiteX12" fmla="*/ 0 w 887413"/>
                  <a:gd name="connsiteY12" fmla="*/ 155375 h 501650"/>
                  <a:gd name="connsiteX13" fmla="*/ 15738 w 887413"/>
                  <a:gd name="connsiteY13" fmla="*/ 139700 h 501650"/>
                  <a:gd name="connsiteX14" fmla="*/ 750681 w 887413"/>
                  <a:gd name="connsiteY14" fmla="*/ 0 h 501650"/>
                  <a:gd name="connsiteX15" fmla="*/ 871746 w 887413"/>
                  <a:gd name="connsiteY15" fmla="*/ 0 h 501650"/>
                  <a:gd name="connsiteX16" fmla="*/ 887413 w 887413"/>
                  <a:gd name="connsiteY16" fmla="*/ 15732 h 501650"/>
                  <a:gd name="connsiteX17" fmla="*/ 887413 w 887413"/>
                  <a:gd name="connsiteY17" fmla="*/ 63643 h 501650"/>
                  <a:gd name="connsiteX18" fmla="*/ 871746 w 887413"/>
                  <a:gd name="connsiteY18" fmla="*/ 79375 h 501650"/>
                  <a:gd name="connsiteX19" fmla="*/ 750681 w 887413"/>
                  <a:gd name="connsiteY19" fmla="*/ 79375 h 501650"/>
                  <a:gd name="connsiteX20" fmla="*/ 735013 w 887413"/>
                  <a:gd name="connsiteY20" fmla="*/ 63643 h 501650"/>
                  <a:gd name="connsiteX21" fmla="*/ 735013 w 887413"/>
                  <a:gd name="connsiteY21" fmla="*/ 15732 h 501650"/>
                  <a:gd name="connsiteX22" fmla="*/ 750681 w 887413"/>
                  <a:gd name="connsiteY22" fmla="*/ 0 h 501650"/>
                  <a:gd name="connsiteX23" fmla="*/ 506279 w 887413"/>
                  <a:gd name="connsiteY23" fmla="*/ 0 h 501650"/>
                  <a:gd name="connsiteX24" fmla="*/ 627197 w 887413"/>
                  <a:gd name="connsiteY24" fmla="*/ 0 h 501650"/>
                  <a:gd name="connsiteX25" fmla="*/ 642938 w 887413"/>
                  <a:gd name="connsiteY25" fmla="*/ 15732 h 501650"/>
                  <a:gd name="connsiteX26" fmla="*/ 642938 w 887413"/>
                  <a:gd name="connsiteY26" fmla="*/ 63643 h 501650"/>
                  <a:gd name="connsiteX27" fmla="*/ 627197 w 887413"/>
                  <a:gd name="connsiteY27" fmla="*/ 79375 h 501650"/>
                  <a:gd name="connsiteX28" fmla="*/ 506279 w 887413"/>
                  <a:gd name="connsiteY28" fmla="*/ 79375 h 501650"/>
                  <a:gd name="connsiteX29" fmla="*/ 490538 w 887413"/>
                  <a:gd name="connsiteY29" fmla="*/ 63643 h 501650"/>
                  <a:gd name="connsiteX30" fmla="*/ 490538 w 887413"/>
                  <a:gd name="connsiteY30" fmla="*/ 15732 h 501650"/>
                  <a:gd name="connsiteX31" fmla="*/ 506279 w 887413"/>
                  <a:gd name="connsiteY31" fmla="*/ 0 h 501650"/>
                  <a:gd name="connsiteX32" fmla="*/ 260305 w 887413"/>
                  <a:gd name="connsiteY32" fmla="*/ 0 h 501650"/>
                  <a:gd name="connsiteX33" fmla="*/ 382632 w 887413"/>
                  <a:gd name="connsiteY33" fmla="*/ 0 h 501650"/>
                  <a:gd name="connsiteX34" fmla="*/ 398463 w 887413"/>
                  <a:gd name="connsiteY34" fmla="*/ 15732 h 501650"/>
                  <a:gd name="connsiteX35" fmla="*/ 398463 w 887413"/>
                  <a:gd name="connsiteY35" fmla="*/ 63643 h 501650"/>
                  <a:gd name="connsiteX36" fmla="*/ 382632 w 887413"/>
                  <a:gd name="connsiteY36" fmla="*/ 79375 h 501650"/>
                  <a:gd name="connsiteX37" fmla="*/ 260305 w 887413"/>
                  <a:gd name="connsiteY37" fmla="*/ 79375 h 501650"/>
                  <a:gd name="connsiteX38" fmla="*/ 244475 w 887413"/>
                  <a:gd name="connsiteY38" fmla="*/ 63643 h 501650"/>
                  <a:gd name="connsiteX39" fmla="*/ 244475 w 887413"/>
                  <a:gd name="connsiteY39" fmla="*/ 15732 h 501650"/>
                  <a:gd name="connsiteX40" fmla="*/ 260305 w 887413"/>
                  <a:gd name="connsiteY40" fmla="*/ 0 h 501650"/>
                  <a:gd name="connsiteX41" fmla="*/ 15741 w 887413"/>
                  <a:gd name="connsiteY41" fmla="*/ 0 h 501650"/>
                  <a:gd name="connsiteX42" fmla="*/ 136659 w 887413"/>
                  <a:gd name="connsiteY42" fmla="*/ 0 h 501650"/>
                  <a:gd name="connsiteX43" fmla="*/ 152400 w 887413"/>
                  <a:gd name="connsiteY43" fmla="*/ 15732 h 501650"/>
                  <a:gd name="connsiteX44" fmla="*/ 152400 w 887413"/>
                  <a:gd name="connsiteY44" fmla="*/ 63643 h 501650"/>
                  <a:gd name="connsiteX45" fmla="*/ 136659 w 887413"/>
                  <a:gd name="connsiteY45" fmla="*/ 79375 h 501650"/>
                  <a:gd name="connsiteX46" fmla="*/ 15741 w 887413"/>
                  <a:gd name="connsiteY46" fmla="*/ 79375 h 501650"/>
                  <a:gd name="connsiteX47" fmla="*/ 0 w 887413"/>
                  <a:gd name="connsiteY47" fmla="*/ 63643 h 501650"/>
                  <a:gd name="connsiteX48" fmla="*/ 0 w 887413"/>
                  <a:gd name="connsiteY48" fmla="*/ 15732 h 501650"/>
                  <a:gd name="connsiteX49" fmla="*/ 15741 w 887413"/>
                  <a:gd name="connsiteY49" fmla="*/ 0 h 501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887413" h="501650">
                    <a:moveTo>
                      <a:pt x="506214" y="139700"/>
                    </a:moveTo>
                    <a:cubicBezTo>
                      <a:pt x="506214" y="139700"/>
                      <a:pt x="506214" y="139700"/>
                      <a:pt x="871738" y="139700"/>
                    </a:cubicBezTo>
                    <a:cubicBezTo>
                      <a:pt x="880288" y="139700"/>
                      <a:pt x="887413" y="146825"/>
                      <a:pt x="887413" y="155375"/>
                    </a:cubicBezTo>
                    <a:cubicBezTo>
                      <a:pt x="887413" y="155375"/>
                      <a:pt x="887413" y="155375"/>
                      <a:pt x="887413" y="501650"/>
                    </a:cubicBezTo>
                    <a:cubicBezTo>
                      <a:pt x="887413" y="501650"/>
                      <a:pt x="887413" y="501650"/>
                      <a:pt x="490538" y="501650"/>
                    </a:cubicBezTo>
                    <a:cubicBezTo>
                      <a:pt x="490538" y="501650"/>
                      <a:pt x="490538" y="501650"/>
                      <a:pt x="490538" y="155375"/>
                    </a:cubicBezTo>
                    <a:cubicBezTo>
                      <a:pt x="490538" y="146825"/>
                      <a:pt x="497663" y="139700"/>
                      <a:pt x="506214" y="139700"/>
                    </a:cubicBezTo>
                    <a:close/>
                    <a:moveTo>
                      <a:pt x="15738" y="139700"/>
                    </a:moveTo>
                    <a:cubicBezTo>
                      <a:pt x="15738" y="139700"/>
                      <a:pt x="15738" y="139700"/>
                      <a:pt x="382725" y="139700"/>
                    </a:cubicBezTo>
                    <a:cubicBezTo>
                      <a:pt x="391309" y="139700"/>
                      <a:pt x="398463" y="146825"/>
                      <a:pt x="398463" y="155375"/>
                    </a:cubicBezTo>
                    <a:cubicBezTo>
                      <a:pt x="398463" y="155375"/>
                      <a:pt x="398463" y="155375"/>
                      <a:pt x="398463" y="501650"/>
                    </a:cubicBezTo>
                    <a:cubicBezTo>
                      <a:pt x="398463" y="501650"/>
                      <a:pt x="398463" y="501650"/>
                      <a:pt x="0" y="501650"/>
                    </a:cubicBezTo>
                    <a:cubicBezTo>
                      <a:pt x="0" y="501650"/>
                      <a:pt x="0" y="501650"/>
                      <a:pt x="0" y="155375"/>
                    </a:cubicBezTo>
                    <a:cubicBezTo>
                      <a:pt x="0" y="146825"/>
                      <a:pt x="7153" y="139700"/>
                      <a:pt x="15738" y="139700"/>
                    </a:cubicBezTo>
                    <a:close/>
                    <a:moveTo>
                      <a:pt x="750681" y="0"/>
                    </a:moveTo>
                    <a:cubicBezTo>
                      <a:pt x="750681" y="0"/>
                      <a:pt x="750681" y="0"/>
                      <a:pt x="871746" y="0"/>
                    </a:cubicBezTo>
                    <a:cubicBezTo>
                      <a:pt x="880292" y="0"/>
                      <a:pt x="887413" y="6436"/>
                      <a:pt x="887413" y="15732"/>
                    </a:cubicBezTo>
                    <a:cubicBezTo>
                      <a:pt x="887413" y="15732"/>
                      <a:pt x="887413" y="15732"/>
                      <a:pt x="887413" y="63643"/>
                    </a:cubicBezTo>
                    <a:cubicBezTo>
                      <a:pt x="887413" y="72939"/>
                      <a:pt x="880292" y="79375"/>
                      <a:pt x="871746" y="79375"/>
                    </a:cubicBezTo>
                    <a:cubicBezTo>
                      <a:pt x="871746" y="79375"/>
                      <a:pt x="871746" y="79375"/>
                      <a:pt x="750681" y="79375"/>
                    </a:cubicBezTo>
                    <a:cubicBezTo>
                      <a:pt x="742135" y="79375"/>
                      <a:pt x="735013" y="72939"/>
                      <a:pt x="735013" y="63643"/>
                    </a:cubicBezTo>
                    <a:cubicBezTo>
                      <a:pt x="735013" y="63643"/>
                      <a:pt x="735013" y="63643"/>
                      <a:pt x="735013" y="15732"/>
                    </a:cubicBezTo>
                    <a:cubicBezTo>
                      <a:pt x="735013" y="6436"/>
                      <a:pt x="742135" y="0"/>
                      <a:pt x="750681" y="0"/>
                    </a:cubicBezTo>
                    <a:close/>
                    <a:moveTo>
                      <a:pt x="506279" y="0"/>
                    </a:moveTo>
                    <a:cubicBezTo>
                      <a:pt x="506279" y="0"/>
                      <a:pt x="506279" y="0"/>
                      <a:pt x="627197" y="0"/>
                    </a:cubicBezTo>
                    <a:cubicBezTo>
                      <a:pt x="635783" y="0"/>
                      <a:pt x="642938" y="6436"/>
                      <a:pt x="642938" y="15732"/>
                    </a:cubicBezTo>
                    <a:cubicBezTo>
                      <a:pt x="642938" y="15732"/>
                      <a:pt x="642938" y="15732"/>
                      <a:pt x="642938" y="63643"/>
                    </a:cubicBezTo>
                    <a:cubicBezTo>
                      <a:pt x="642938" y="72939"/>
                      <a:pt x="635783" y="79375"/>
                      <a:pt x="627197" y="79375"/>
                    </a:cubicBezTo>
                    <a:cubicBezTo>
                      <a:pt x="627197" y="79375"/>
                      <a:pt x="627197" y="79375"/>
                      <a:pt x="506279" y="79375"/>
                    </a:cubicBezTo>
                    <a:cubicBezTo>
                      <a:pt x="497693" y="79375"/>
                      <a:pt x="490538" y="72939"/>
                      <a:pt x="490538" y="63643"/>
                    </a:cubicBezTo>
                    <a:cubicBezTo>
                      <a:pt x="490538" y="63643"/>
                      <a:pt x="490538" y="63643"/>
                      <a:pt x="490538" y="15732"/>
                    </a:cubicBezTo>
                    <a:cubicBezTo>
                      <a:pt x="490538" y="6436"/>
                      <a:pt x="497693" y="0"/>
                      <a:pt x="506279" y="0"/>
                    </a:cubicBezTo>
                    <a:close/>
                    <a:moveTo>
                      <a:pt x="260305" y="0"/>
                    </a:moveTo>
                    <a:cubicBezTo>
                      <a:pt x="260305" y="0"/>
                      <a:pt x="260305" y="0"/>
                      <a:pt x="382632" y="0"/>
                    </a:cubicBezTo>
                    <a:cubicBezTo>
                      <a:pt x="391267" y="0"/>
                      <a:pt x="398463" y="6436"/>
                      <a:pt x="398463" y="15732"/>
                    </a:cubicBezTo>
                    <a:cubicBezTo>
                      <a:pt x="398463" y="15732"/>
                      <a:pt x="398463" y="15732"/>
                      <a:pt x="398463" y="63643"/>
                    </a:cubicBezTo>
                    <a:cubicBezTo>
                      <a:pt x="398463" y="72939"/>
                      <a:pt x="391267" y="79375"/>
                      <a:pt x="382632" y="79375"/>
                    </a:cubicBezTo>
                    <a:cubicBezTo>
                      <a:pt x="382632" y="79375"/>
                      <a:pt x="382632" y="79375"/>
                      <a:pt x="260305" y="79375"/>
                    </a:cubicBezTo>
                    <a:cubicBezTo>
                      <a:pt x="251670" y="79375"/>
                      <a:pt x="244475" y="72939"/>
                      <a:pt x="244475" y="63643"/>
                    </a:cubicBezTo>
                    <a:cubicBezTo>
                      <a:pt x="244475" y="63643"/>
                      <a:pt x="244475" y="63643"/>
                      <a:pt x="244475" y="15732"/>
                    </a:cubicBezTo>
                    <a:cubicBezTo>
                      <a:pt x="244475" y="6436"/>
                      <a:pt x="251670" y="0"/>
                      <a:pt x="260305" y="0"/>
                    </a:cubicBezTo>
                    <a:close/>
                    <a:moveTo>
                      <a:pt x="15741" y="0"/>
                    </a:moveTo>
                    <a:cubicBezTo>
                      <a:pt x="15741" y="0"/>
                      <a:pt x="15741" y="0"/>
                      <a:pt x="136659" y="0"/>
                    </a:cubicBezTo>
                    <a:cubicBezTo>
                      <a:pt x="145960" y="0"/>
                      <a:pt x="152400" y="6436"/>
                      <a:pt x="152400" y="15732"/>
                    </a:cubicBezTo>
                    <a:cubicBezTo>
                      <a:pt x="152400" y="15732"/>
                      <a:pt x="152400" y="15732"/>
                      <a:pt x="152400" y="63643"/>
                    </a:cubicBezTo>
                    <a:cubicBezTo>
                      <a:pt x="152400" y="72939"/>
                      <a:pt x="145960" y="79375"/>
                      <a:pt x="136659" y="79375"/>
                    </a:cubicBezTo>
                    <a:cubicBezTo>
                      <a:pt x="136659" y="79375"/>
                      <a:pt x="136659" y="79375"/>
                      <a:pt x="15741" y="79375"/>
                    </a:cubicBezTo>
                    <a:cubicBezTo>
                      <a:pt x="7155" y="79375"/>
                      <a:pt x="0" y="72939"/>
                      <a:pt x="0" y="63643"/>
                    </a:cubicBezTo>
                    <a:cubicBezTo>
                      <a:pt x="0" y="63643"/>
                      <a:pt x="0" y="63643"/>
                      <a:pt x="0" y="15732"/>
                    </a:cubicBezTo>
                    <a:cubicBezTo>
                      <a:pt x="0" y="6436"/>
                      <a:pt x="7155" y="0"/>
                      <a:pt x="15741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2" name="Freeform 14">
                <a:extLst>
                  <a:ext uri="{FF2B5EF4-FFF2-40B4-BE49-F238E27FC236}">
                    <a16:creationId xmlns:a16="http://schemas.microsoft.com/office/drawing/2014/main" id="{77152A67-4EC2-5C15-03A8-8BB87E5BF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3341688"/>
                <a:ext cx="1304925" cy="739775"/>
              </a:xfrm>
              <a:custGeom>
                <a:avLst/>
                <a:gdLst>
                  <a:gd name="connsiteX0" fmla="*/ 77096 w 1304925"/>
                  <a:gd name="connsiteY0" fmla="*/ 612775 h 739775"/>
                  <a:gd name="connsiteX1" fmla="*/ 103509 w 1304925"/>
                  <a:gd name="connsiteY1" fmla="*/ 612775 h 739775"/>
                  <a:gd name="connsiteX2" fmla="*/ 134919 w 1304925"/>
                  <a:gd name="connsiteY2" fmla="*/ 612775 h 739775"/>
                  <a:gd name="connsiteX3" fmla="*/ 220581 w 1304925"/>
                  <a:gd name="connsiteY3" fmla="*/ 612775 h 739775"/>
                  <a:gd name="connsiteX4" fmla="*/ 586788 w 1304925"/>
                  <a:gd name="connsiteY4" fmla="*/ 612775 h 739775"/>
                  <a:gd name="connsiteX5" fmla="*/ 710999 w 1304925"/>
                  <a:gd name="connsiteY5" fmla="*/ 612775 h 739775"/>
                  <a:gd name="connsiteX6" fmla="*/ 1077206 w 1304925"/>
                  <a:gd name="connsiteY6" fmla="*/ 612775 h 739775"/>
                  <a:gd name="connsiteX7" fmla="*/ 1170007 w 1304925"/>
                  <a:gd name="connsiteY7" fmla="*/ 612775 h 739775"/>
                  <a:gd name="connsiteX8" fmla="*/ 1201416 w 1304925"/>
                  <a:gd name="connsiteY8" fmla="*/ 612775 h 739775"/>
                  <a:gd name="connsiteX9" fmla="*/ 1227829 w 1304925"/>
                  <a:gd name="connsiteY9" fmla="*/ 612775 h 739775"/>
                  <a:gd name="connsiteX10" fmla="*/ 1243534 w 1304925"/>
                  <a:gd name="connsiteY10" fmla="*/ 628560 h 739775"/>
                  <a:gd name="connsiteX11" fmla="*/ 1243534 w 1304925"/>
                  <a:gd name="connsiteY11" fmla="*/ 649368 h 739775"/>
                  <a:gd name="connsiteX12" fmla="*/ 1289220 w 1304925"/>
                  <a:gd name="connsiteY12" fmla="*/ 649368 h 739775"/>
                  <a:gd name="connsiteX13" fmla="*/ 1304925 w 1304925"/>
                  <a:gd name="connsiteY13" fmla="*/ 665154 h 739775"/>
                  <a:gd name="connsiteX14" fmla="*/ 1304925 w 1304925"/>
                  <a:gd name="connsiteY14" fmla="*/ 724707 h 739775"/>
                  <a:gd name="connsiteX15" fmla="*/ 1289220 w 1304925"/>
                  <a:gd name="connsiteY15" fmla="*/ 739775 h 739775"/>
                  <a:gd name="connsiteX16" fmla="*/ 15705 w 1304925"/>
                  <a:gd name="connsiteY16" fmla="*/ 739775 h 739775"/>
                  <a:gd name="connsiteX17" fmla="*/ 0 w 1304925"/>
                  <a:gd name="connsiteY17" fmla="*/ 724707 h 739775"/>
                  <a:gd name="connsiteX18" fmla="*/ 0 w 1304925"/>
                  <a:gd name="connsiteY18" fmla="*/ 665154 h 739775"/>
                  <a:gd name="connsiteX19" fmla="*/ 15705 w 1304925"/>
                  <a:gd name="connsiteY19" fmla="*/ 649368 h 739775"/>
                  <a:gd name="connsiteX20" fmla="*/ 61392 w 1304925"/>
                  <a:gd name="connsiteY20" fmla="*/ 649368 h 739775"/>
                  <a:gd name="connsiteX21" fmla="*/ 61392 w 1304925"/>
                  <a:gd name="connsiteY21" fmla="*/ 628560 h 739775"/>
                  <a:gd name="connsiteX22" fmla="*/ 77096 w 1304925"/>
                  <a:gd name="connsiteY22" fmla="*/ 612775 h 739775"/>
                  <a:gd name="connsiteX23" fmla="*/ 118901 w 1304925"/>
                  <a:gd name="connsiteY23" fmla="*/ 0 h 739775"/>
                  <a:gd name="connsiteX24" fmla="*/ 1186023 w 1304925"/>
                  <a:gd name="connsiteY24" fmla="*/ 0 h 739775"/>
                  <a:gd name="connsiteX25" fmla="*/ 1201737 w 1304925"/>
                  <a:gd name="connsiteY25" fmla="*/ 15684 h 739775"/>
                  <a:gd name="connsiteX26" fmla="*/ 1201737 w 1304925"/>
                  <a:gd name="connsiteY26" fmla="*/ 581025 h 739775"/>
                  <a:gd name="connsiteX27" fmla="*/ 1170309 w 1304925"/>
                  <a:gd name="connsiteY27" fmla="*/ 581025 h 739775"/>
                  <a:gd name="connsiteX28" fmla="*/ 1170309 w 1304925"/>
                  <a:gd name="connsiteY28" fmla="*/ 31368 h 739775"/>
                  <a:gd name="connsiteX29" fmla="*/ 134615 w 1304925"/>
                  <a:gd name="connsiteY29" fmla="*/ 31368 h 739775"/>
                  <a:gd name="connsiteX30" fmla="*/ 134615 w 1304925"/>
                  <a:gd name="connsiteY30" fmla="*/ 581025 h 739775"/>
                  <a:gd name="connsiteX31" fmla="*/ 103187 w 1304925"/>
                  <a:gd name="connsiteY31" fmla="*/ 581025 h 739775"/>
                  <a:gd name="connsiteX32" fmla="*/ 103187 w 1304925"/>
                  <a:gd name="connsiteY32" fmla="*/ 15684 h 739775"/>
                  <a:gd name="connsiteX33" fmla="*/ 118901 w 1304925"/>
                  <a:gd name="connsiteY33" fmla="*/ 0 h 739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304925" h="739775">
                    <a:moveTo>
                      <a:pt x="77096" y="612775"/>
                    </a:moveTo>
                    <a:cubicBezTo>
                      <a:pt x="77096" y="612775"/>
                      <a:pt x="77096" y="612775"/>
                      <a:pt x="103509" y="612775"/>
                    </a:cubicBezTo>
                    <a:cubicBezTo>
                      <a:pt x="103509" y="612775"/>
                      <a:pt x="103509" y="612775"/>
                      <a:pt x="134919" y="612775"/>
                    </a:cubicBezTo>
                    <a:cubicBezTo>
                      <a:pt x="134919" y="612775"/>
                      <a:pt x="134919" y="612775"/>
                      <a:pt x="220581" y="612775"/>
                    </a:cubicBezTo>
                    <a:cubicBezTo>
                      <a:pt x="220581" y="612775"/>
                      <a:pt x="220581" y="612775"/>
                      <a:pt x="586788" y="612775"/>
                    </a:cubicBezTo>
                    <a:cubicBezTo>
                      <a:pt x="586788" y="612775"/>
                      <a:pt x="586788" y="612775"/>
                      <a:pt x="710999" y="612775"/>
                    </a:cubicBezTo>
                    <a:cubicBezTo>
                      <a:pt x="710999" y="612775"/>
                      <a:pt x="710999" y="612775"/>
                      <a:pt x="1077206" y="612775"/>
                    </a:cubicBezTo>
                    <a:cubicBezTo>
                      <a:pt x="1077206" y="612775"/>
                      <a:pt x="1077206" y="612775"/>
                      <a:pt x="1170007" y="612775"/>
                    </a:cubicBezTo>
                    <a:cubicBezTo>
                      <a:pt x="1170007" y="612775"/>
                      <a:pt x="1170007" y="612775"/>
                      <a:pt x="1201416" y="612775"/>
                    </a:cubicBezTo>
                    <a:cubicBezTo>
                      <a:pt x="1201416" y="612775"/>
                      <a:pt x="1201416" y="612775"/>
                      <a:pt x="1227829" y="612775"/>
                    </a:cubicBezTo>
                    <a:cubicBezTo>
                      <a:pt x="1236395" y="612775"/>
                      <a:pt x="1243534" y="619950"/>
                      <a:pt x="1243534" y="628560"/>
                    </a:cubicBezTo>
                    <a:cubicBezTo>
                      <a:pt x="1243534" y="628560"/>
                      <a:pt x="1243534" y="628560"/>
                      <a:pt x="1243534" y="649368"/>
                    </a:cubicBezTo>
                    <a:cubicBezTo>
                      <a:pt x="1243534" y="649368"/>
                      <a:pt x="1243534" y="649368"/>
                      <a:pt x="1289220" y="649368"/>
                    </a:cubicBezTo>
                    <a:cubicBezTo>
                      <a:pt x="1297787" y="649368"/>
                      <a:pt x="1304925" y="656543"/>
                      <a:pt x="1304925" y="665154"/>
                    </a:cubicBezTo>
                    <a:cubicBezTo>
                      <a:pt x="1304925" y="665154"/>
                      <a:pt x="1304925" y="665154"/>
                      <a:pt x="1304925" y="724707"/>
                    </a:cubicBezTo>
                    <a:cubicBezTo>
                      <a:pt x="1304925" y="733318"/>
                      <a:pt x="1297787" y="739775"/>
                      <a:pt x="1289220" y="739775"/>
                    </a:cubicBezTo>
                    <a:cubicBezTo>
                      <a:pt x="1289220" y="739775"/>
                      <a:pt x="1289220" y="739775"/>
                      <a:pt x="15705" y="739775"/>
                    </a:cubicBezTo>
                    <a:cubicBezTo>
                      <a:pt x="7139" y="739775"/>
                      <a:pt x="0" y="733318"/>
                      <a:pt x="0" y="724707"/>
                    </a:cubicBezTo>
                    <a:cubicBezTo>
                      <a:pt x="0" y="724707"/>
                      <a:pt x="0" y="724707"/>
                      <a:pt x="0" y="665154"/>
                    </a:cubicBezTo>
                    <a:cubicBezTo>
                      <a:pt x="0" y="656543"/>
                      <a:pt x="7139" y="649368"/>
                      <a:pt x="15705" y="649368"/>
                    </a:cubicBezTo>
                    <a:cubicBezTo>
                      <a:pt x="15705" y="649368"/>
                      <a:pt x="15705" y="649368"/>
                      <a:pt x="61392" y="649368"/>
                    </a:cubicBezTo>
                    <a:cubicBezTo>
                      <a:pt x="61392" y="649368"/>
                      <a:pt x="61392" y="649368"/>
                      <a:pt x="61392" y="628560"/>
                    </a:cubicBezTo>
                    <a:cubicBezTo>
                      <a:pt x="61392" y="619950"/>
                      <a:pt x="68530" y="612775"/>
                      <a:pt x="77096" y="612775"/>
                    </a:cubicBezTo>
                    <a:close/>
                    <a:moveTo>
                      <a:pt x="118901" y="0"/>
                    </a:moveTo>
                    <a:cubicBezTo>
                      <a:pt x="118901" y="0"/>
                      <a:pt x="118901" y="0"/>
                      <a:pt x="1186023" y="0"/>
                    </a:cubicBezTo>
                    <a:cubicBezTo>
                      <a:pt x="1194594" y="0"/>
                      <a:pt x="1201737" y="7129"/>
                      <a:pt x="1201737" y="15684"/>
                    </a:cubicBezTo>
                    <a:cubicBezTo>
                      <a:pt x="1201737" y="15684"/>
                      <a:pt x="1201737" y="15684"/>
                      <a:pt x="1201737" y="581025"/>
                    </a:cubicBezTo>
                    <a:cubicBezTo>
                      <a:pt x="1201737" y="581025"/>
                      <a:pt x="1201737" y="581025"/>
                      <a:pt x="1170309" y="581025"/>
                    </a:cubicBezTo>
                    <a:cubicBezTo>
                      <a:pt x="1170309" y="581025"/>
                      <a:pt x="1170309" y="581025"/>
                      <a:pt x="1170309" y="31368"/>
                    </a:cubicBezTo>
                    <a:cubicBezTo>
                      <a:pt x="1170309" y="31368"/>
                      <a:pt x="1170309" y="31368"/>
                      <a:pt x="134615" y="31368"/>
                    </a:cubicBezTo>
                    <a:lnTo>
                      <a:pt x="134615" y="581025"/>
                    </a:lnTo>
                    <a:cubicBezTo>
                      <a:pt x="134615" y="581025"/>
                      <a:pt x="134615" y="581025"/>
                      <a:pt x="103187" y="581025"/>
                    </a:cubicBezTo>
                    <a:cubicBezTo>
                      <a:pt x="103187" y="581025"/>
                      <a:pt x="103187" y="581025"/>
                      <a:pt x="103187" y="15684"/>
                    </a:cubicBezTo>
                    <a:cubicBezTo>
                      <a:pt x="103187" y="7129"/>
                      <a:pt x="110330" y="0"/>
                      <a:pt x="11890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63" name="bcgIcons_Calendar, Year ">
            <a:extLst>
              <a:ext uri="{FF2B5EF4-FFF2-40B4-BE49-F238E27FC236}">
                <a16:creationId xmlns:a16="http://schemas.microsoft.com/office/drawing/2014/main" id="{AE2A1C7F-89FF-9B3C-0BC2-C02F2BEB7C4C}"/>
              </a:ext>
            </a:extLst>
          </p:cNvPr>
          <p:cNvGrpSpPr>
            <a:grpSpLocks noChangeAspect="1"/>
          </p:cNvGrpSpPr>
          <p:nvPr/>
        </p:nvGrpSpPr>
        <p:grpSpPr>
          <a:xfrm>
            <a:off x="10643912" y="3801926"/>
            <a:ext cx="125571" cy="125450"/>
            <a:chOff x="5273675" y="2606675"/>
            <a:chExt cx="1646238" cy="1644650"/>
          </a:xfrm>
        </p:grpSpPr>
        <p:sp>
          <p:nvSpPr>
            <p:cNvPr id="264" name="AutoShape 3">
              <a:extLst>
                <a:ext uri="{FF2B5EF4-FFF2-40B4-BE49-F238E27FC236}">
                  <a16:creationId xmlns:a16="http://schemas.microsoft.com/office/drawing/2014/main" id="{796C4B5F-A683-40C6-5122-EA757F9E4B5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5" name="Group 264">
              <a:extLst>
                <a:ext uri="{FF2B5EF4-FFF2-40B4-BE49-F238E27FC236}">
                  <a16:creationId xmlns:a16="http://schemas.microsoft.com/office/drawing/2014/main" id="{68908AAB-81CA-BDAB-1105-BBDD6F920C7E}"/>
                </a:ext>
              </a:extLst>
            </p:cNvPr>
            <p:cNvGrpSpPr/>
            <p:nvPr/>
          </p:nvGrpSpPr>
          <p:grpSpPr>
            <a:xfrm>
              <a:off x="5519738" y="2911475"/>
              <a:ext cx="1154113" cy="963613"/>
              <a:chOff x="5519738" y="2911475"/>
              <a:chExt cx="1154113" cy="963613"/>
            </a:xfrm>
          </p:grpSpPr>
          <p:sp>
            <p:nvSpPr>
              <p:cNvPr id="268" name="Freeform 25">
                <a:extLst>
                  <a:ext uri="{FF2B5EF4-FFF2-40B4-BE49-F238E27FC236}">
                    <a16:creationId xmlns:a16="http://schemas.microsoft.com/office/drawing/2014/main" id="{B87219E5-24D9-8E75-8793-244BFBB1B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5462" y="3319463"/>
                <a:ext cx="982662" cy="474662"/>
              </a:xfrm>
              <a:custGeom>
                <a:avLst/>
                <a:gdLst>
                  <a:gd name="connsiteX0" fmla="*/ 770723 w 982662"/>
                  <a:gd name="connsiteY0" fmla="*/ 255587 h 474662"/>
                  <a:gd name="connsiteX1" fmla="*/ 975526 w 982662"/>
                  <a:gd name="connsiteY1" fmla="*/ 255587 h 474662"/>
                  <a:gd name="connsiteX2" fmla="*/ 982662 w 982662"/>
                  <a:gd name="connsiteY2" fmla="*/ 262723 h 474662"/>
                  <a:gd name="connsiteX3" fmla="*/ 982662 w 982662"/>
                  <a:gd name="connsiteY3" fmla="*/ 467526 h 474662"/>
                  <a:gd name="connsiteX4" fmla="*/ 975526 w 982662"/>
                  <a:gd name="connsiteY4" fmla="*/ 474662 h 474662"/>
                  <a:gd name="connsiteX5" fmla="*/ 770723 w 982662"/>
                  <a:gd name="connsiteY5" fmla="*/ 474662 h 474662"/>
                  <a:gd name="connsiteX6" fmla="*/ 763587 w 982662"/>
                  <a:gd name="connsiteY6" fmla="*/ 467526 h 474662"/>
                  <a:gd name="connsiteX7" fmla="*/ 763587 w 982662"/>
                  <a:gd name="connsiteY7" fmla="*/ 262723 h 474662"/>
                  <a:gd name="connsiteX8" fmla="*/ 770723 w 982662"/>
                  <a:gd name="connsiteY8" fmla="*/ 255587 h 474662"/>
                  <a:gd name="connsiteX9" fmla="*/ 516723 w 982662"/>
                  <a:gd name="connsiteY9" fmla="*/ 255587 h 474662"/>
                  <a:gd name="connsiteX10" fmla="*/ 721526 w 982662"/>
                  <a:gd name="connsiteY10" fmla="*/ 255587 h 474662"/>
                  <a:gd name="connsiteX11" fmla="*/ 728662 w 982662"/>
                  <a:gd name="connsiteY11" fmla="*/ 262723 h 474662"/>
                  <a:gd name="connsiteX12" fmla="*/ 728662 w 982662"/>
                  <a:gd name="connsiteY12" fmla="*/ 467526 h 474662"/>
                  <a:gd name="connsiteX13" fmla="*/ 721526 w 982662"/>
                  <a:gd name="connsiteY13" fmla="*/ 474662 h 474662"/>
                  <a:gd name="connsiteX14" fmla="*/ 516723 w 982662"/>
                  <a:gd name="connsiteY14" fmla="*/ 474662 h 474662"/>
                  <a:gd name="connsiteX15" fmla="*/ 509587 w 982662"/>
                  <a:gd name="connsiteY15" fmla="*/ 467526 h 474662"/>
                  <a:gd name="connsiteX16" fmla="*/ 509587 w 982662"/>
                  <a:gd name="connsiteY16" fmla="*/ 262723 h 474662"/>
                  <a:gd name="connsiteX17" fmla="*/ 516723 w 982662"/>
                  <a:gd name="connsiteY17" fmla="*/ 255587 h 474662"/>
                  <a:gd name="connsiteX18" fmla="*/ 261136 w 982662"/>
                  <a:gd name="connsiteY18" fmla="*/ 255587 h 474662"/>
                  <a:gd name="connsiteX19" fmla="*/ 465939 w 982662"/>
                  <a:gd name="connsiteY19" fmla="*/ 255587 h 474662"/>
                  <a:gd name="connsiteX20" fmla="*/ 473075 w 982662"/>
                  <a:gd name="connsiteY20" fmla="*/ 262723 h 474662"/>
                  <a:gd name="connsiteX21" fmla="*/ 473075 w 982662"/>
                  <a:gd name="connsiteY21" fmla="*/ 467526 h 474662"/>
                  <a:gd name="connsiteX22" fmla="*/ 465939 w 982662"/>
                  <a:gd name="connsiteY22" fmla="*/ 474662 h 474662"/>
                  <a:gd name="connsiteX23" fmla="*/ 261136 w 982662"/>
                  <a:gd name="connsiteY23" fmla="*/ 474662 h 474662"/>
                  <a:gd name="connsiteX24" fmla="*/ 254000 w 982662"/>
                  <a:gd name="connsiteY24" fmla="*/ 467526 h 474662"/>
                  <a:gd name="connsiteX25" fmla="*/ 254000 w 982662"/>
                  <a:gd name="connsiteY25" fmla="*/ 262723 h 474662"/>
                  <a:gd name="connsiteX26" fmla="*/ 261136 w 982662"/>
                  <a:gd name="connsiteY26" fmla="*/ 255587 h 474662"/>
                  <a:gd name="connsiteX27" fmla="*/ 7136 w 982662"/>
                  <a:gd name="connsiteY27" fmla="*/ 255587 h 474662"/>
                  <a:gd name="connsiteX28" fmla="*/ 211939 w 982662"/>
                  <a:gd name="connsiteY28" fmla="*/ 255587 h 474662"/>
                  <a:gd name="connsiteX29" fmla="*/ 219075 w 982662"/>
                  <a:gd name="connsiteY29" fmla="*/ 262723 h 474662"/>
                  <a:gd name="connsiteX30" fmla="*/ 219075 w 982662"/>
                  <a:gd name="connsiteY30" fmla="*/ 467526 h 474662"/>
                  <a:gd name="connsiteX31" fmla="*/ 211939 w 982662"/>
                  <a:gd name="connsiteY31" fmla="*/ 474662 h 474662"/>
                  <a:gd name="connsiteX32" fmla="*/ 7136 w 982662"/>
                  <a:gd name="connsiteY32" fmla="*/ 474662 h 474662"/>
                  <a:gd name="connsiteX33" fmla="*/ 0 w 982662"/>
                  <a:gd name="connsiteY33" fmla="*/ 467526 h 474662"/>
                  <a:gd name="connsiteX34" fmla="*/ 0 w 982662"/>
                  <a:gd name="connsiteY34" fmla="*/ 262723 h 474662"/>
                  <a:gd name="connsiteX35" fmla="*/ 7136 w 982662"/>
                  <a:gd name="connsiteY35" fmla="*/ 255587 h 474662"/>
                  <a:gd name="connsiteX36" fmla="*/ 770723 w 982662"/>
                  <a:gd name="connsiteY36" fmla="*/ 0 h 474662"/>
                  <a:gd name="connsiteX37" fmla="*/ 975526 w 982662"/>
                  <a:gd name="connsiteY37" fmla="*/ 0 h 474662"/>
                  <a:gd name="connsiteX38" fmla="*/ 982662 w 982662"/>
                  <a:gd name="connsiteY38" fmla="*/ 7108 h 474662"/>
                  <a:gd name="connsiteX39" fmla="*/ 982662 w 982662"/>
                  <a:gd name="connsiteY39" fmla="*/ 210381 h 474662"/>
                  <a:gd name="connsiteX40" fmla="*/ 975526 w 982662"/>
                  <a:gd name="connsiteY40" fmla="*/ 217488 h 474662"/>
                  <a:gd name="connsiteX41" fmla="*/ 770723 w 982662"/>
                  <a:gd name="connsiteY41" fmla="*/ 217488 h 474662"/>
                  <a:gd name="connsiteX42" fmla="*/ 763587 w 982662"/>
                  <a:gd name="connsiteY42" fmla="*/ 210381 h 474662"/>
                  <a:gd name="connsiteX43" fmla="*/ 763587 w 982662"/>
                  <a:gd name="connsiteY43" fmla="*/ 7108 h 474662"/>
                  <a:gd name="connsiteX44" fmla="*/ 770723 w 982662"/>
                  <a:gd name="connsiteY44" fmla="*/ 0 h 474662"/>
                  <a:gd name="connsiteX45" fmla="*/ 516723 w 982662"/>
                  <a:gd name="connsiteY45" fmla="*/ 0 h 474662"/>
                  <a:gd name="connsiteX46" fmla="*/ 721526 w 982662"/>
                  <a:gd name="connsiteY46" fmla="*/ 0 h 474662"/>
                  <a:gd name="connsiteX47" fmla="*/ 728662 w 982662"/>
                  <a:gd name="connsiteY47" fmla="*/ 7108 h 474662"/>
                  <a:gd name="connsiteX48" fmla="*/ 728662 w 982662"/>
                  <a:gd name="connsiteY48" fmla="*/ 210381 h 474662"/>
                  <a:gd name="connsiteX49" fmla="*/ 721526 w 982662"/>
                  <a:gd name="connsiteY49" fmla="*/ 217488 h 474662"/>
                  <a:gd name="connsiteX50" fmla="*/ 516723 w 982662"/>
                  <a:gd name="connsiteY50" fmla="*/ 217488 h 474662"/>
                  <a:gd name="connsiteX51" fmla="*/ 509587 w 982662"/>
                  <a:gd name="connsiteY51" fmla="*/ 210381 h 474662"/>
                  <a:gd name="connsiteX52" fmla="*/ 509587 w 982662"/>
                  <a:gd name="connsiteY52" fmla="*/ 7108 h 474662"/>
                  <a:gd name="connsiteX53" fmla="*/ 516723 w 982662"/>
                  <a:gd name="connsiteY53" fmla="*/ 0 h 474662"/>
                  <a:gd name="connsiteX54" fmla="*/ 261136 w 982662"/>
                  <a:gd name="connsiteY54" fmla="*/ 0 h 474662"/>
                  <a:gd name="connsiteX55" fmla="*/ 465939 w 982662"/>
                  <a:gd name="connsiteY55" fmla="*/ 0 h 474662"/>
                  <a:gd name="connsiteX56" fmla="*/ 473075 w 982662"/>
                  <a:gd name="connsiteY56" fmla="*/ 7108 h 474662"/>
                  <a:gd name="connsiteX57" fmla="*/ 473075 w 982662"/>
                  <a:gd name="connsiteY57" fmla="*/ 210381 h 474662"/>
                  <a:gd name="connsiteX58" fmla="*/ 465939 w 982662"/>
                  <a:gd name="connsiteY58" fmla="*/ 217488 h 474662"/>
                  <a:gd name="connsiteX59" fmla="*/ 261136 w 982662"/>
                  <a:gd name="connsiteY59" fmla="*/ 217488 h 474662"/>
                  <a:gd name="connsiteX60" fmla="*/ 254000 w 982662"/>
                  <a:gd name="connsiteY60" fmla="*/ 210381 h 474662"/>
                  <a:gd name="connsiteX61" fmla="*/ 254000 w 982662"/>
                  <a:gd name="connsiteY61" fmla="*/ 7108 h 474662"/>
                  <a:gd name="connsiteX62" fmla="*/ 261136 w 982662"/>
                  <a:gd name="connsiteY62" fmla="*/ 0 h 474662"/>
                  <a:gd name="connsiteX63" fmla="*/ 7136 w 982662"/>
                  <a:gd name="connsiteY63" fmla="*/ 0 h 474662"/>
                  <a:gd name="connsiteX64" fmla="*/ 211939 w 982662"/>
                  <a:gd name="connsiteY64" fmla="*/ 0 h 474662"/>
                  <a:gd name="connsiteX65" fmla="*/ 219075 w 982662"/>
                  <a:gd name="connsiteY65" fmla="*/ 7108 h 474662"/>
                  <a:gd name="connsiteX66" fmla="*/ 219075 w 982662"/>
                  <a:gd name="connsiteY66" fmla="*/ 210381 h 474662"/>
                  <a:gd name="connsiteX67" fmla="*/ 211939 w 982662"/>
                  <a:gd name="connsiteY67" fmla="*/ 217488 h 474662"/>
                  <a:gd name="connsiteX68" fmla="*/ 7136 w 982662"/>
                  <a:gd name="connsiteY68" fmla="*/ 217488 h 474662"/>
                  <a:gd name="connsiteX69" fmla="*/ 0 w 982662"/>
                  <a:gd name="connsiteY69" fmla="*/ 210381 h 474662"/>
                  <a:gd name="connsiteX70" fmla="*/ 0 w 982662"/>
                  <a:gd name="connsiteY70" fmla="*/ 7108 h 474662"/>
                  <a:gd name="connsiteX71" fmla="*/ 7136 w 982662"/>
                  <a:gd name="connsiteY71" fmla="*/ 0 h 474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982662" h="474662">
                    <a:moveTo>
                      <a:pt x="770723" y="255587"/>
                    </a:moveTo>
                    <a:cubicBezTo>
                      <a:pt x="770723" y="255587"/>
                      <a:pt x="770723" y="255587"/>
                      <a:pt x="975526" y="255587"/>
                    </a:cubicBezTo>
                    <a:cubicBezTo>
                      <a:pt x="979808" y="255587"/>
                      <a:pt x="982662" y="258442"/>
                      <a:pt x="982662" y="262723"/>
                    </a:cubicBezTo>
                    <a:cubicBezTo>
                      <a:pt x="982662" y="262723"/>
                      <a:pt x="982662" y="262723"/>
                      <a:pt x="982662" y="467526"/>
                    </a:cubicBezTo>
                    <a:cubicBezTo>
                      <a:pt x="982662" y="471094"/>
                      <a:pt x="979808" y="474662"/>
                      <a:pt x="975526" y="474662"/>
                    </a:cubicBezTo>
                    <a:cubicBezTo>
                      <a:pt x="975526" y="474662"/>
                      <a:pt x="975526" y="474662"/>
                      <a:pt x="770723" y="474662"/>
                    </a:cubicBezTo>
                    <a:cubicBezTo>
                      <a:pt x="767155" y="474662"/>
                      <a:pt x="763587" y="471094"/>
                      <a:pt x="763587" y="467526"/>
                    </a:cubicBezTo>
                    <a:cubicBezTo>
                      <a:pt x="763587" y="467526"/>
                      <a:pt x="763587" y="467526"/>
                      <a:pt x="763587" y="262723"/>
                    </a:cubicBezTo>
                    <a:cubicBezTo>
                      <a:pt x="763587" y="258442"/>
                      <a:pt x="767155" y="255587"/>
                      <a:pt x="770723" y="255587"/>
                    </a:cubicBezTo>
                    <a:close/>
                    <a:moveTo>
                      <a:pt x="516723" y="255587"/>
                    </a:moveTo>
                    <a:cubicBezTo>
                      <a:pt x="516723" y="255587"/>
                      <a:pt x="516723" y="255587"/>
                      <a:pt x="721526" y="255587"/>
                    </a:cubicBezTo>
                    <a:cubicBezTo>
                      <a:pt x="725094" y="255587"/>
                      <a:pt x="728662" y="258442"/>
                      <a:pt x="728662" y="262723"/>
                    </a:cubicBezTo>
                    <a:cubicBezTo>
                      <a:pt x="728662" y="262723"/>
                      <a:pt x="728662" y="262723"/>
                      <a:pt x="728662" y="467526"/>
                    </a:cubicBezTo>
                    <a:cubicBezTo>
                      <a:pt x="728662" y="471094"/>
                      <a:pt x="725094" y="474662"/>
                      <a:pt x="721526" y="474662"/>
                    </a:cubicBezTo>
                    <a:cubicBezTo>
                      <a:pt x="721526" y="474662"/>
                      <a:pt x="721526" y="474662"/>
                      <a:pt x="516723" y="474662"/>
                    </a:cubicBezTo>
                    <a:cubicBezTo>
                      <a:pt x="512442" y="474662"/>
                      <a:pt x="509587" y="471094"/>
                      <a:pt x="509587" y="467526"/>
                    </a:cubicBezTo>
                    <a:cubicBezTo>
                      <a:pt x="509587" y="467526"/>
                      <a:pt x="509587" y="467526"/>
                      <a:pt x="509587" y="262723"/>
                    </a:cubicBezTo>
                    <a:cubicBezTo>
                      <a:pt x="509587" y="258442"/>
                      <a:pt x="512442" y="255587"/>
                      <a:pt x="516723" y="255587"/>
                    </a:cubicBezTo>
                    <a:close/>
                    <a:moveTo>
                      <a:pt x="261136" y="255587"/>
                    </a:moveTo>
                    <a:cubicBezTo>
                      <a:pt x="261136" y="255587"/>
                      <a:pt x="261136" y="255587"/>
                      <a:pt x="465939" y="255587"/>
                    </a:cubicBezTo>
                    <a:cubicBezTo>
                      <a:pt x="470220" y="255587"/>
                      <a:pt x="473075" y="258442"/>
                      <a:pt x="473075" y="262723"/>
                    </a:cubicBezTo>
                    <a:cubicBezTo>
                      <a:pt x="473075" y="262723"/>
                      <a:pt x="473075" y="262723"/>
                      <a:pt x="473075" y="467526"/>
                    </a:cubicBezTo>
                    <a:cubicBezTo>
                      <a:pt x="473075" y="471094"/>
                      <a:pt x="470220" y="474662"/>
                      <a:pt x="465939" y="474662"/>
                    </a:cubicBezTo>
                    <a:cubicBezTo>
                      <a:pt x="465939" y="474662"/>
                      <a:pt x="465939" y="474662"/>
                      <a:pt x="261136" y="474662"/>
                    </a:cubicBezTo>
                    <a:cubicBezTo>
                      <a:pt x="257568" y="474662"/>
                      <a:pt x="254000" y="471094"/>
                      <a:pt x="254000" y="467526"/>
                    </a:cubicBezTo>
                    <a:cubicBezTo>
                      <a:pt x="254000" y="467526"/>
                      <a:pt x="254000" y="467526"/>
                      <a:pt x="254000" y="262723"/>
                    </a:cubicBezTo>
                    <a:cubicBezTo>
                      <a:pt x="254000" y="258442"/>
                      <a:pt x="257568" y="255587"/>
                      <a:pt x="261136" y="255587"/>
                    </a:cubicBezTo>
                    <a:close/>
                    <a:moveTo>
                      <a:pt x="7136" y="255587"/>
                    </a:moveTo>
                    <a:cubicBezTo>
                      <a:pt x="7136" y="255587"/>
                      <a:pt x="7136" y="255587"/>
                      <a:pt x="211939" y="255587"/>
                    </a:cubicBezTo>
                    <a:cubicBezTo>
                      <a:pt x="215507" y="255587"/>
                      <a:pt x="219075" y="258442"/>
                      <a:pt x="219075" y="262723"/>
                    </a:cubicBezTo>
                    <a:cubicBezTo>
                      <a:pt x="219075" y="262723"/>
                      <a:pt x="219075" y="262723"/>
                      <a:pt x="219075" y="467526"/>
                    </a:cubicBezTo>
                    <a:cubicBezTo>
                      <a:pt x="219075" y="471094"/>
                      <a:pt x="215507" y="474662"/>
                      <a:pt x="211939" y="474662"/>
                    </a:cubicBezTo>
                    <a:cubicBezTo>
                      <a:pt x="211939" y="474662"/>
                      <a:pt x="211939" y="474662"/>
                      <a:pt x="7136" y="474662"/>
                    </a:cubicBezTo>
                    <a:cubicBezTo>
                      <a:pt x="2854" y="474662"/>
                      <a:pt x="0" y="471094"/>
                      <a:pt x="0" y="467526"/>
                    </a:cubicBezTo>
                    <a:cubicBezTo>
                      <a:pt x="0" y="467526"/>
                      <a:pt x="0" y="467526"/>
                      <a:pt x="0" y="262723"/>
                    </a:cubicBezTo>
                    <a:cubicBezTo>
                      <a:pt x="0" y="258442"/>
                      <a:pt x="2854" y="255587"/>
                      <a:pt x="7136" y="255587"/>
                    </a:cubicBezTo>
                    <a:close/>
                    <a:moveTo>
                      <a:pt x="770723" y="0"/>
                    </a:moveTo>
                    <a:cubicBezTo>
                      <a:pt x="770723" y="0"/>
                      <a:pt x="770723" y="0"/>
                      <a:pt x="975526" y="0"/>
                    </a:cubicBezTo>
                    <a:cubicBezTo>
                      <a:pt x="979808" y="0"/>
                      <a:pt x="982662" y="2843"/>
                      <a:pt x="982662" y="7108"/>
                    </a:cubicBezTo>
                    <a:cubicBezTo>
                      <a:pt x="982662" y="7108"/>
                      <a:pt x="982662" y="7108"/>
                      <a:pt x="982662" y="210381"/>
                    </a:cubicBezTo>
                    <a:cubicBezTo>
                      <a:pt x="982662" y="214645"/>
                      <a:pt x="979808" y="217488"/>
                      <a:pt x="975526" y="217488"/>
                    </a:cubicBezTo>
                    <a:cubicBezTo>
                      <a:pt x="975526" y="217488"/>
                      <a:pt x="975526" y="217488"/>
                      <a:pt x="770723" y="217488"/>
                    </a:cubicBezTo>
                    <a:cubicBezTo>
                      <a:pt x="767155" y="217488"/>
                      <a:pt x="763587" y="214645"/>
                      <a:pt x="763587" y="210381"/>
                    </a:cubicBezTo>
                    <a:cubicBezTo>
                      <a:pt x="763587" y="210381"/>
                      <a:pt x="763587" y="210381"/>
                      <a:pt x="763587" y="7108"/>
                    </a:cubicBezTo>
                    <a:cubicBezTo>
                      <a:pt x="763587" y="2843"/>
                      <a:pt x="767155" y="0"/>
                      <a:pt x="770723" y="0"/>
                    </a:cubicBezTo>
                    <a:close/>
                    <a:moveTo>
                      <a:pt x="516723" y="0"/>
                    </a:moveTo>
                    <a:cubicBezTo>
                      <a:pt x="516723" y="0"/>
                      <a:pt x="516723" y="0"/>
                      <a:pt x="721526" y="0"/>
                    </a:cubicBezTo>
                    <a:cubicBezTo>
                      <a:pt x="725094" y="0"/>
                      <a:pt x="728662" y="2843"/>
                      <a:pt x="728662" y="7108"/>
                    </a:cubicBezTo>
                    <a:cubicBezTo>
                      <a:pt x="728662" y="7108"/>
                      <a:pt x="728662" y="7108"/>
                      <a:pt x="728662" y="210381"/>
                    </a:cubicBezTo>
                    <a:cubicBezTo>
                      <a:pt x="728662" y="214645"/>
                      <a:pt x="725094" y="217488"/>
                      <a:pt x="721526" y="217488"/>
                    </a:cubicBezTo>
                    <a:cubicBezTo>
                      <a:pt x="721526" y="217488"/>
                      <a:pt x="721526" y="217488"/>
                      <a:pt x="516723" y="217488"/>
                    </a:cubicBezTo>
                    <a:cubicBezTo>
                      <a:pt x="512442" y="217488"/>
                      <a:pt x="509587" y="214645"/>
                      <a:pt x="509587" y="210381"/>
                    </a:cubicBezTo>
                    <a:cubicBezTo>
                      <a:pt x="509587" y="210381"/>
                      <a:pt x="509587" y="210381"/>
                      <a:pt x="509587" y="7108"/>
                    </a:cubicBezTo>
                    <a:cubicBezTo>
                      <a:pt x="509587" y="2843"/>
                      <a:pt x="512442" y="0"/>
                      <a:pt x="516723" y="0"/>
                    </a:cubicBezTo>
                    <a:close/>
                    <a:moveTo>
                      <a:pt x="261136" y="0"/>
                    </a:moveTo>
                    <a:cubicBezTo>
                      <a:pt x="261136" y="0"/>
                      <a:pt x="261136" y="0"/>
                      <a:pt x="465939" y="0"/>
                    </a:cubicBezTo>
                    <a:cubicBezTo>
                      <a:pt x="470220" y="0"/>
                      <a:pt x="473075" y="2843"/>
                      <a:pt x="473075" y="7108"/>
                    </a:cubicBezTo>
                    <a:cubicBezTo>
                      <a:pt x="473075" y="7108"/>
                      <a:pt x="473075" y="7108"/>
                      <a:pt x="473075" y="210381"/>
                    </a:cubicBezTo>
                    <a:cubicBezTo>
                      <a:pt x="473075" y="214645"/>
                      <a:pt x="470220" y="217488"/>
                      <a:pt x="465939" y="217488"/>
                    </a:cubicBezTo>
                    <a:cubicBezTo>
                      <a:pt x="465939" y="217488"/>
                      <a:pt x="465939" y="217488"/>
                      <a:pt x="261136" y="217488"/>
                    </a:cubicBezTo>
                    <a:cubicBezTo>
                      <a:pt x="257568" y="217488"/>
                      <a:pt x="254000" y="214645"/>
                      <a:pt x="254000" y="210381"/>
                    </a:cubicBezTo>
                    <a:cubicBezTo>
                      <a:pt x="254000" y="210381"/>
                      <a:pt x="254000" y="210381"/>
                      <a:pt x="254000" y="7108"/>
                    </a:cubicBezTo>
                    <a:cubicBezTo>
                      <a:pt x="254000" y="2843"/>
                      <a:pt x="257568" y="0"/>
                      <a:pt x="261136" y="0"/>
                    </a:cubicBezTo>
                    <a:close/>
                    <a:moveTo>
                      <a:pt x="7136" y="0"/>
                    </a:moveTo>
                    <a:cubicBezTo>
                      <a:pt x="7136" y="0"/>
                      <a:pt x="7136" y="0"/>
                      <a:pt x="211939" y="0"/>
                    </a:cubicBezTo>
                    <a:cubicBezTo>
                      <a:pt x="215507" y="0"/>
                      <a:pt x="219075" y="2843"/>
                      <a:pt x="219075" y="7108"/>
                    </a:cubicBezTo>
                    <a:cubicBezTo>
                      <a:pt x="219075" y="7108"/>
                      <a:pt x="219075" y="7108"/>
                      <a:pt x="219075" y="210381"/>
                    </a:cubicBezTo>
                    <a:cubicBezTo>
                      <a:pt x="219075" y="214645"/>
                      <a:pt x="215507" y="217488"/>
                      <a:pt x="211939" y="217488"/>
                    </a:cubicBezTo>
                    <a:cubicBezTo>
                      <a:pt x="211939" y="217488"/>
                      <a:pt x="211939" y="217488"/>
                      <a:pt x="7136" y="217488"/>
                    </a:cubicBezTo>
                    <a:cubicBezTo>
                      <a:pt x="2854" y="217488"/>
                      <a:pt x="0" y="214645"/>
                      <a:pt x="0" y="210381"/>
                    </a:cubicBezTo>
                    <a:cubicBezTo>
                      <a:pt x="0" y="210381"/>
                      <a:pt x="0" y="210381"/>
                      <a:pt x="0" y="7108"/>
                    </a:cubicBezTo>
                    <a:cubicBezTo>
                      <a:pt x="0" y="2843"/>
                      <a:pt x="2854" y="0"/>
                      <a:pt x="713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9" name="Freeform 24">
                <a:extLst>
                  <a:ext uri="{FF2B5EF4-FFF2-40B4-BE49-F238E27FC236}">
                    <a16:creationId xmlns:a16="http://schemas.microsoft.com/office/drawing/2014/main" id="{56C6A5C2-A88F-AF6B-480D-1C536633D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9738" y="2911475"/>
                <a:ext cx="1154113" cy="963613"/>
              </a:xfrm>
              <a:custGeom>
                <a:avLst/>
                <a:gdLst>
                  <a:gd name="connsiteX0" fmla="*/ 92866 w 1154113"/>
                  <a:gd name="connsiteY0" fmla="*/ 150813 h 963613"/>
                  <a:gd name="connsiteX1" fmla="*/ 163567 w 1154113"/>
                  <a:gd name="connsiteY1" fmla="*/ 150813 h 963613"/>
                  <a:gd name="connsiteX2" fmla="*/ 163567 w 1154113"/>
                  <a:gd name="connsiteY2" fmla="*/ 211469 h 963613"/>
                  <a:gd name="connsiteX3" fmla="*/ 179278 w 1154113"/>
                  <a:gd name="connsiteY3" fmla="*/ 227168 h 963613"/>
                  <a:gd name="connsiteX4" fmla="*/ 320678 w 1154113"/>
                  <a:gd name="connsiteY4" fmla="*/ 227168 h 963613"/>
                  <a:gd name="connsiteX5" fmla="*/ 336390 w 1154113"/>
                  <a:gd name="connsiteY5" fmla="*/ 211469 h 963613"/>
                  <a:gd name="connsiteX6" fmla="*/ 336390 w 1154113"/>
                  <a:gd name="connsiteY6" fmla="*/ 150813 h 963613"/>
                  <a:gd name="connsiteX7" fmla="*/ 817723 w 1154113"/>
                  <a:gd name="connsiteY7" fmla="*/ 150813 h 963613"/>
                  <a:gd name="connsiteX8" fmla="*/ 817723 w 1154113"/>
                  <a:gd name="connsiteY8" fmla="*/ 211469 h 963613"/>
                  <a:gd name="connsiteX9" fmla="*/ 833434 w 1154113"/>
                  <a:gd name="connsiteY9" fmla="*/ 227168 h 963613"/>
                  <a:gd name="connsiteX10" fmla="*/ 974835 w 1154113"/>
                  <a:gd name="connsiteY10" fmla="*/ 227168 h 963613"/>
                  <a:gd name="connsiteX11" fmla="*/ 990546 w 1154113"/>
                  <a:gd name="connsiteY11" fmla="*/ 211469 h 963613"/>
                  <a:gd name="connsiteX12" fmla="*/ 990546 w 1154113"/>
                  <a:gd name="connsiteY12" fmla="*/ 150813 h 963613"/>
                  <a:gd name="connsiteX13" fmla="*/ 1061247 w 1154113"/>
                  <a:gd name="connsiteY13" fmla="*/ 150813 h 963613"/>
                  <a:gd name="connsiteX14" fmla="*/ 1068388 w 1154113"/>
                  <a:gd name="connsiteY14" fmla="*/ 157949 h 963613"/>
                  <a:gd name="connsiteX15" fmla="*/ 1068388 w 1154113"/>
                  <a:gd name="connsiteY15" fmla="*/ 362752 h 963613"/>
                  <a:gd name="connsiteX16" fmla="*/ 1061247 w 1154113"/>
                  <a:gd name="connsiteY16" fmla="*/ 369888 h 963613"/>
                  <a:gd name="connsiteX17" fmla="*/ 92866 w 1154113"/>
                  <a:gd name="connsiteY17" fmla="*/ 369888 h 963613"/>
                  <a:gd name="connsiteX18" fmla="*/ 85725 w 1154113"/>
                  <a:gd name="connsiteY18" fmla="*/ 362752 h 963613"/>
                  <a:gd name="connsiteX19" fmla="*/ 85725 w 1154113"/>
                  <a:gd name="connsiteY19" fmla="*/ 157949 h 963613"/>
                  <a:gd name="connsiteX20" fmla="*/ 92866 w 1154113"/>
                  <a:gd name="connsiteY20" fmla="*/ 150813 h 963613"/>
                  <a:gd name="connsiteX21" fmla="*/ 336550 w 1154113"/>
                  <a:gd name="connsiteY21" fmla="*/ 71438 h 963613"/>
                  <a:gd name="connsiteX22" fmla="*/ 817563 w 1154113"/>
                  <a:gd name="connsiteY22" fmla="*/ 71438 h 963613"/>
                  <a:gd name="connsiteX23" fmla="*/ 817563 w 1154113"/>
                  <a:gd name="connsiteY23" fmla="*/ 101601 h 963613"/>
                  <a:gd name="connsiteX24" fmla="*/ 336550 w 1154113"/>
                  <a:gd name="connsiteY24" fmla="*/ 101601 h 963613"/>
                  <a:gd name="connsiteX25" fmla="*/ 15712 w 1154113"/>
                  <a:gd name="connsiteY25" fmla="*/ 71438 h 963613"/>
                  <a:gd name="connsiteX26" fmla="*/ 163547 w 1154113"/>
                  <a:gd name="connsiteY26" fmla="*/ 71438 h 963613"/>
                  <a:gd name="connsiteX27" fmla="*/ 163547 w 1154113"/>
                  <a:gd name="connsiteY27" fmla="*/ 102843 h 963613"/>
                  <a:gd name="connsiteX28" fmla="*/ 31424 w 1154113"/>
                  <a:gd name="connsiteY28" fmla="*/ 102843 h 963613"/>
                  <a:gd name="connsiteX29" fmla="*/ 31424 w 1154113"/>
                  <a:gd name="connsiteY29" fmla="*/ 932209 h 963613"/>
                  <a:gd name="connsiteX30" fmla="*/ 1122689 w 1154113"/>
                  <a:gd name="connsiteY30" fmla="*/ 932209 h 963613"/>
                  <a:gd name="connsiteX31" fmla="*/ 1122689 w 1154113"/>
                  <a:gd name="connsiteY31" fmla="*/ 102843 h 963613"/>
                  <a:gd name="connsiteX32" fmla="*/ 990566 w 1154113"/>
                  <a:gd name="connsiteY32" fmla="*/ 102843 h 963613"/>
                  <a:gd name="connsiteX33" fmla="*/ 990566 w 1154113"/>
                  <a:gd name="connsiteY33" fmla="*/ 71438 h 963613"/>
                  <a:gd name="connsiteX34" fmla="*/ 1138401 w 1154113"/>
                  <a:gd name="connsiteY34" fmla="*/ 71438 h 963613"/>
                  <a:gd name="connsiteX35" fmla="*/ 1154113 w 1154113"/>
                  <a:gd name="connsiteY35" fmla="*/ 87140 h 963613"/>
                  <a:gd name="connsiteX36" fmla="*/ 1154113 w 1154113"/>
                  <a:gd name="connsiteY36" fmla="*/ 947911 h 963613"/>
                  <a:gd name="connsiteX37" fmla="*/ 1138401 w 1154113"/>
                  <a:gd name="connsiteY37" fmla="*/ 963613 h 963613"/>
                  <a:gd name="connsiteX38" fmla="*/ 15712 w 1154113"/>
                  <a:gd name="connsiteY38" fmla="*/ 963613 h 963613"/>
                  <a:gd name="connsiteX39" fmla="*/ 0 w 1154113"/>
                  <a:gd name="connsiteY39" fmla="*/ 947911 h 963613"/>
                  <a:gd name="connsiteX40" fmla="*/ 0 w 1154113"/>
                  <a:gd name="connsiteY40" fmla="*/ 87140 h 963613"/>
                  <a:gd name="connsiteX41" fmla="*/ 15712 w 1154113"/>
                  <a:gd name="connsiteY41" fmla="*/ 71438 h 963613"/>
                  <a:gd name="connsiteX42" fmla="*/ 856425 w 1154113"/>
                  <a:gd name="connsiteY42" fmla="*/ 0 h 963613"/>
                  <a:gd name="connsiteX43" fmla="*/ 951737 w 1154113"/>
                  <a:gd name="connsiteY43" fmla="*/ 0 h 963613"/>
                  <a:gd name="connsiteX44" fmla="*/ 958850 w 1154113"/>
                  <a:gd name="connsiteY44" fmla="*/ 7153 h 963613"/>
                  <a:gd name="connsiteX45" fmla="*/ 958850 w 1154113"/>
                  <a:gd name="connsiteY45" fmla="*/ 70095 h 963613"/>
                  <a:gd name="connsiteX46" fmla="*/ 958850 w 1154113"/>
                  <a:gd name="connsiteY46" fmla="*/ 101565 h 963613"/>
                  <a:gd name="connsiteX47" fmla="*/ 958850 w 1154113"/>
                  <a:gd name="connsiteY47" fmla="*/ 150202 h 963613"/>
                  <a:gd name="connsiteX48" fmla="*/ 958850 w 1154113"/>
                  <a:gd name="connsiteY48" fmla="*/ 188111 h 963613"/>
                  <a:gd name="connsiteX49" fmla="*/ 951737 w 1154113"/>
                  <a:gd name="connsiteY49" fmla="*/ 195263 h 963613"/>
                  <a:gd name="connsiteX50" fmla="*/ 856425 w 1154113"/>
                  <a:gd name="connsiteY50" fmla="*/ 195263 h 963613"/>
                  <a:gd name="connsiteX51" fmla="*/ 849312 w 1154113"/>
                  <a:gd name="connsiteY51" fmla="*/ 188111 h 963613"/>
                  <a:gd name="connsiteX52" fmla="*/ 849312 w 1154113"/>
                  <a:gd name="connsiteY52" fmla="*/ 150202 h 963613"/>
                  <a:gd name="connsiteX53" fmla="*/ 849312 w 1154113"/>
                  <a:gd name="connsiteY53" fmla="*/ 101565 h 963613"/>
                  <a:gd name="connsiteX54" fmla="*/ 849312 w 1154113"/>
                  <a:gd name="connsiteY54" fmla="*/ 70095 h 963613"/>
                  <a:gd name="connsiteX55" fmla="*/ 849312 w 1154113"/>
                  <a:gd name="connsiteY55" fmla="*/ 7153 h 963613"/>
                  <a:gd name="connsiteX56" fmla="*/ 856425 w 1154113"/>
                  <a:gd name="connsiteY56" fmla="*/ 0 h 963613"/>
                  <a:gd name="connsiteX57" fmla="*/ 202375 w 1154113"/>
                  <a:gd name="connsiteY57" fmla="*/ 0 h 963613"/>
                  <a:gd name="connsiteX58" fmla="*/ 297687 w 1154113"/>
                  <a:gd name="connsiteY58" fmla="*/ 0 h 963613"/>
                  <a:gd name="connsiteX59" fmla="*/ 304800 w 1154113"/>
                  <a:gd name="connsiteY59" fmla="*/ 7153 h 963613"/>
                  <a:gd name="connsiteX60" fmla="*/ 304800 w 1154113"/>
                  <a:gd name="connsiteY60" fmla="*/ 70095 h 963613"/>
                  <a:gd name="connsiteX61" fmla="*/ 304800 w 1154113"/>
                  <a:gd name="connsiteY61" fmla="*/ 101565 h 963613"/>
                  <a:gd name="connsiteX62" fmla="*/ 304800 w 1154113"/>
                  <a:gd name="connsiteY62" fmla="*/ 150202 h 963613"/>
                  <a:gd name="connsiteX63" fmla="*/ 304800 w 1154113"/>
                  <a:gd name="connsiteY63" fmla="*/ 188111 h 963613"/>
                  <a:gd name="connsiteX64" fmla="*/ 297687 w 1154113"/>
                  <a:gd name="connsiteY64" fmla="*/ 195263 h 963613"/>
                  <a:gd name="connsiteX65" fmla="*/ 202375 w 1154113"/>
                  <a:gd name="connsiteY65" fmla="*/ 195263 h 963613"/>
                  <a:gd name="connsiteX66" fmla="*/ 195262 w 1154113"/>
                  <a:gd name="connsiteY66" fmla="*/ 188111 h 963613"/>
                  <a:gd name="connsiteX67" fmla="*/ 195262 w 1154113"/>
                  <a:gd name="connsiteY67" fmla="*/ 150202 h 963613"/>
                  <a:gd name="connsiteX68" fmla="*/ 195262 w 1154113"/>
                  <a:gd name="connsiteY68" fmla="*/ 101565 h 963613"/>
                  <a:gd name="connsiteX69" fmla="*/ 195262 w 1154113"/>
                  <a:gd name="connsiteY69" fmla="*/ 70095 h 963613"/>
                  <a:gd name="connsiteX70" fmla="*/ 195262 w 1154113"/>
                  <a:gd name="connsiteY70" fmla="*/ 7153 h 963613"/>
                  <a:gd name="connsiteX71" fmla="*/ 202375 w 1154113"/>
                  <a:gd name="connsiteY71" fmla="*/ 0 h 963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1154113" h="963613">
                    <a:moveTo>
                      <a:pt x="92866" y="150813"/>
                    </a:moveTo>
                    <a:cubicBezTo>
                      <a:pt x="92866" y="150813"/>
                      <a:pt x="92866" y="150813"/>
                      <a:pt x="163567" y="150813"/>
                    </a:cubicBezTo>
                    <a:lnTo>
                      <a:pt x="163567" y="211469"/>
                    </a:lnTo>
                    <a:cubicBezTo>
                      <a:pt x="163567" y="220032"/>
                      <a:pt x="170708" y="227168"/>
                      <a:pt x="179278" y="227168"/>
                    </a:cubicBezTo>
                    <a:cubicBezTo>
                      <a:pt x="179278" y="227168"/>
                      <a:pt x="179278" y="227168"/>
                      <a:pt x="320678" y="227168"/>
                    </a:cubicBezTo>
                    <a:cubicBezTo>
                      <a:pt x="329248" y="227168"/>
                      <a:pt x="336390" y="220032"/>
                      <a:pt x="336390" y="211469"/>
                    </a:cubicBezTo>
                    <a:cubicBezTo>
                      <a:pt x="336390" y="211469"/>
                      <a:pt x="336390" y="211469"/>
                      <a:pt x="336390" y="150813"/>
                    </a:cubicBezTo>
                    <a:cubicBezTo>
                      <a:pt x="336390" y="150813"/>
                      <a:pt x="336390" y="150813"/>
                      <a:pt x="817723" y="150813"/>
                    </a:cubicBezTo>
                    <a:cubicBezTo>
                      <a:pt x="817723" y="150813"/>
                      <a:pt x="817723" y="150813"/>
                      <a:pt x="817723" y="211469"/>
                    </a:cubicBezTo>
                    <a:cubicBezTo>
                      <a:pt x="817723" y="220032"/>
                      <a:pt x="824864" y="227168"/>
                      <a:pt x="833434" y="227168"/>
                    </a:cubicBezTo>
                    <a:cubicBezTo>
                      <a:pt x="833434" y="227168"/>
                      <a:pt x="833434" y="227168"/>
                      <a:pt x="974835" y="227168"/>
                    </a:cubicBezTo>
                    <a:cubicBezTo>
                      <a:pt x="983405" y="227168"/>
                      <a:pt x="990546" y="220032"/>
                      <a:pt x="990546" y="211469"/>
                    </a:cubicBezTo>
                    <a:cubicBezTo>
                      <a:pt x="990546" y="211469"/>
                      <a:pt x="990546" y="211469"/>
                      <a:pt x="990546" y="150813"/>
                    </a:cubicBezTo>
                    <a:cubicBezTo>
                      <a:pt x="990546" y="150813"/>
                      <a:pt x="990546" y="150813"/>
                      <a:pt x="1061247" y="150813"/>
                    </a:cubicBezTo>
                    <a:cubicBezTo>
                      <a:pt x="1065532" y="150813"/>
                      <a:pt x="1068388" y="154381"/>
                      <a:pt x="1068388" y="157949"/>
                    </a:cubicBezTo>
                    <a:cubicBezTo>
                      <a:pt x="1068388" y="157949"/>
                      <a:pt x="1068388" y="157949"/>
                      <a:pt x="1068388" y="362752"/>
                    </a:cubicBezTo>
                    <a:cubicBezTo>
                      <a:pt x="1068388" y="367034"/>
                      <a:pt x="1065532" y="369888"/>
                      <a:pt x="1061247" y="369888"/>
                    </a:cubicBezTo>
                    <a:cubicBezTo>
                      <a:pt x="1061247" y="369888"/>
                      <a:pt x="1061247" y="369888"/>
                      <a:pt x="92866" y="369888"/>
                    </a:cubicBezTo>
                    <a:cubicBezTo>
                      <a:pt x="88581" y="369888"/>
                      <a:pt x="85725" y="367034"/>
                      <a:pt x="85725" y="362752"/>
                    </a:cubicBezTo>
                    <a:cubicBezTo>
                      <a:pt x="85725" y="362752"/>
                      <a:pt x="85725" y="362752"/>
                      <a:pt x="85725" y="157949"/>
                    </a:cubicBezTo>
                    <a:cubicBezTo>
                      <a:pt x="85725" y="154381"/>
                      <a:pt x="88581" y="150813"/>
                      <a:pt x="92866" y="150813"/>
                    </a:cubicBezTo>
                    <a:close/>
                    <a:moveTo>
                      <a:pt x="336550" y="71438"/>
                    </a:moveTo>
                    <a:lnTo>
                      <a:pt x="817563" y="71438"/>
                    </a:lnTo>
                    <a:lnTo>
                      <a:pt x="817563" y="101601"/>
                    </a:lnTo>
                    <a:lnTo>
                      <a:pt x="336550" y="101601"/>
                    </a:lnTo>
                    <a:close/>
                    <a:moveTo>
                      <a:pt x="15712" y="71438"/>
                    </a:moveTo>
                    <a:cubicBezTo>
                      <a:pt x="15712" y="71438"/>
                      <a:pt x="15712" y="71438"/>
                      <a:pt x="163547" y="71438"/>
                    </a:cubicBezTo>
                    <a:cubicBezTo>
                      <a:pt x="163547" y="71438"/>
                      <a:pt x="163547" y="71438"/>
                      <a:pt x="163547" y="102843"/>
                    </a:cubicBezTo>
                    <a:cubicBezTo>
                      <a:pt x="163547" y="102843"/>
                      <a:pt x="163547" y="102843"/>
                      <a:pt x="31424" y="102843"/>
                    </a:cubicBezTo>
                    <a:cubicBezTo>
                      <a:pt x="31424" y="102843"/>
                      <a:pt x="31424" y="102843"/>
                      <a:pt x="31424" y="932209"/>
                    </a:cubicBezTo>
                    <a:cubicBezTo>
                      <a:pt x="31424" y="932209"/>
                      <a:pt x="31424" y="932209"/>
                      <a:pt x="1122689" y="932209"/>
                    </a:cubicBezTo>
                    <a:cubicBezTo>
                      <a:pt x="1122689" y="932209"/>
                      <a:pt x="1122689" y="932209"/>
                      <a:pt x="1122689" y="102843"/>
                    </a:cubicBezTo>
                    <a:cubicBezTo>
                      <a:pt x="1122689" y="102843"/>
                      <a:pt x="1122689" y="102843"/>
                      <a:pt x="990566" y="102843"/>
                    </a:cubicBezTo>
                    <a:cubicBezTo>
                      <a:pt x="990566" y="102843"/>
                      <a:pt x="990566" y="102843"/>
                      <a:pt x="990566" y="71438"/>
                    </a:cubicBezTo>
                    <a:cubicBezTo>
                      <a:pt x="990566" y="71438"/>
                      <a:pt x="990566" y="71438"/>
                      <a:pt x="1138401" y="71438"/>
                    </a:cubicBezTo>
                    <a:cubicBezTo>
                      <a:pt x="1146971" y="71438"/>
                      <a:pt x="1154113" y="78576"/>
                      <a:pt x="1154113" y="87140"/>
                    </a:cubicBezTo>
                    <a:cubicBezTo>
                      <a:pt x="1154113" y="87140"/>
                      <a:pt x="1154113" y="87140"/>
                      <a:pt x="1154113" y="947911"/>
                    </a:cubicBezTo>
                    <a:cubicBezTo>
                      <a:pt x="1154113" y="956476"/>
                      <a:pt x="1146971" y="963613"/>
                      <a:pt x="1138401" y="963613"/>
                    </a:cubicBezTo>
                    <a:cubicBezTo>
                      <a:pt x="1138401" y="963613"/>
                      <a:pt x="1138401" y="963613"/>
                      <a:pt x="15712" y="963613"/>
                    </a:cubicBezTo>
                    <a:cubicBezTo>
                      <a:pt x="7142" y="963613"/>
                      <a:pt x="0" y="956476"/>
                      <a:pt x="0" y="947911"/>
                    </a:cubicBezTo>
                    <a:cubicBezTo>
                      <a:pt x="0" y="947911"/>
                      <a:pt x="0" y="947911"/>
                      <a:pt x="0" y="87140"/>
                    </a:cubicBezTo>
                    <a:cubicBezTo>
                      <a:pt x="0" y="78576"/>
                      <a:pt x="7142" y="71438"/>
                      <a:pt x="15712" y="71438"/>
                    </a:cubicBezTo>
                    <a:close/>
                    <a:moveTo>
                      <a:pt x="856425" y="0"/>
                    </a:moveTo>
                    <a:cubicBezTo>
                      <a:pt x="856425" y="0"/>
                      <a:pt x="856425" y="0"/>
                      <a:pt x="951737" y="0"/>
                    </a:cubicBezTo>
                    <a:cubicBezTo>
                      <a:pt x="955294" y="0"/>
                      <a:pt x="958850" y="3576"/>
                      <a:pt x="958850" y="7153"/>
                    </a:cubicBezTo>
                    <a:cubicBezTo>
                      <a:pt x="958850" y="7153"/>
                      <a:pt x="958850" y="7153"/>
                      <a:pt x="958850" y="70095"/>
                    </a:cubicBezTo>
                    <a:cubicBezTo>
                      <a:pt x="958850" y="70095"/>
                      <a:pt x="958850" y="70095"/>
                      <a:pt x="958850" y="101565"/>
                    </a:cubicBezTo>
                    <a:cubicBezTo>
                      <a:pt x="958850" y="101565"/>
                      <a:pt x="958850" y="101565"/>
                      <a:pt x="958850" y="150202"/>
                    </a:cubicBezTo>
                    <a:cubicBezTo>
                      <a:pt x="958850" y="150202"/>
                      <a:pt x="958850" y="150202"/>
                      <a:pt x="958850" y="188111"/>
                    </a:cubicBezTo>
                    <a:cubicBezTo>
                      <a:pt x="958850" y="192402"/>
                      <a:pt x="955294" y="195263"/>
                      <a:pt x="951737" y="195263"/>
                    </a:cubicBezTo>
                    <a:cubicBezTo>
                      <a:pt x="951737" y="195263"/>
                      <a:pt x="951737" y="195263"/>
                      <a:pt x="856425" y="195263"/>
                    </a:cubicBezTo>
                    <a:cubicBezTo>
                      <a:pt x="852869" y="195263"/>
                      <a:pt x="849312" y="192402"/>
                      <a:pt x="849312" y="188111"/>
                    </a:cubicBezTo>
                    <a:cubicBezTo>
                      <a:pt x="849312" y="188111"/>
                      <a:pt x="849312" y="188111"/>
                      <a:pt x="849312" y="150202"/>
                    </a:cubicBezTo>
                    <a:cubicBezTo>
                      <a:pt x="849312" y="150202"/>
                      <a:pt x="849312" y="150202"/>
                      <a:pt x="849312" y="101565"/>
                    </a:cubicBezTo>
                    <a:cubicBezTo>
                      <a:pt x="849312" y="101565"/>
                      <a:pt x="849312" y="101565"/>
                      <a:pt x="849312" y="70095"/>
                    </a:cubicBezTo>
                    <a:cubicBezTo>
                      <a:pt x="849312" y="70095"/>
                      <a:pt x="849312" y="70095"/>
                      <a:pt x="849312" y="7153"/>
                    </a:cubicBezTo>
                    <a:cubicBezTo>
                      <a:pt x="849312" y="3576"/>
                      <a:pt x="852869" y="0"/>
                      <a:pt x="856425" y="0"/>
                    </a:cubicBezTo>
                    <a:close/>
                    <a:moveTo>
                      <a:pt x="202375" y="0"/>
                    </a:moveTo>
                    <a:cubicBezTo>
                      <a:pt x="202375" y="0"/>
                      <a:pt x="202375" y="0"/>
                      <a:pt x="297687" y="0"/>
                    </a:cubicBezTo>
                    <a:cubicBezTo>
                      <a:pt x="301243" y="0"/>
                      <a:pt x="304800" y="3576"/>
                      <a:pt x="304800" y="7153"/>
                    </a:cubicBezTo>
                    <a:cubicBezTo>
                      <a:pt x="304800" y="7153"/>
                      <a:pt x="304800" y="7153"/>
                      <a:pt x="304800" y="70095"/>
                    </a:cubicBezTo>
                    <a:cubicBezTo>
                      <a:pt x="304800" y="70095"/>
                      <a:pt x="304800" y="70095"/>
                      <a:pt x="304800" y="101565"/>
                    </a:cubicBezTo>
                    <a:cubicBezTo>
                      <a:pt x="304800" y="101565"/>
                      <a:pt x="304800" y="101565"/>
                      <a:pt x="304800" y="150202"/>
                    </a:cubicBezTo>
                    <a:cubicBezTo>
                      <a:pt x="304800" y="150202"/>
                      <a:pt x="304800" y="150202"/>
                      <a:pt x="304800" y="188111"/>
                    </a:cubicBezTo>
                    <a:cubicBezTo>
                      <a:pt x="304800" y="192402"/>
                      <a:pt x="301243" y="195263"/>
                      <a:pt x="297687" y="195263"/>
                    </a:cubicBezTo>
                    <a:cubicBezTo>
                      <a:pt x="297687" y="195263"/>
                      <a:pt x="297687" y="195263"/>
                      <a:pt x="202375" y="195263"/>
                    </a:cubicBezTo>
                    <a:cubicBezTo>
                      <a:pt x="198818" y="195263"/>
                      <a:pt x="195262" y="192402"/>
                      <a:pt x="195262" y="188111"/>
                    </a:cubicBezTo>
                    <a:cubicBezTo>
                      <a:pt x="195262" y="188111"/>
                      <a:pt x="195262" y="188111"/>
                      <a:pt x="195262" y="150202"/>
                    </a:cubicBezTo>
                    <a:cubicBezTo>
                      <a:pt x="195262" y="150202"/>
                      <a:pt x="195262" y="150202"/>
                      <a:pt x="195262" y="101565"/>
                    </a:cubicBezTo>
                    <a:cubicBezTo>
                      <a:pt x="195262" y="101565"/>
                      <a:pt x="195262" y="101565"/>
                      <a:pt x="195262" y="70095"/>
                    </a:cubicBezTo>
                    <a:cubicBezTo>
                      <a:pt x="195262" y="70095"/>
                      <a:pt x="195262" y="70095"/>
                      <a:pt x="195262" y="7153"/>
                    </a:cubicBezTo>
                    <a:cubicBezTo>
                      <a:pt x="195262" y="3576"/>
                      <a:pt x="198818" y="0"/>
                      <a:pt x="20237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FC571333-9935-C647-42DD-884FABAF715F}"/>
              </a:ext>
            </a:extLst>
          </p:cNvPr>
          <p:cNvSpPr/>
          <p:nvPr/>
        </p:nvSpPr>
        <p:spPr>
          <a:xfrm>
            <a:off x="7981045" y="4483415"/>
            <a:ext cx="3467766" cy="793697"/>
          </a:xfrm>
          <a:prstGeom prst="roundRect">
            <a:avLst>
              <a:gd name="adj" fmla="val 12459"/>
            </a:avLst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36" name="Rectangle: Rounded Corners 238">
            <a:extLst>
              <a:ext uri="{FF2B5EF4-FFF2-40B4-BE49-F238E27FC236}">
                <a16:creationId xmlns:a16="http://schemas.microsoft.com/office/drawing/2014/main" id="{08F893E0-920A-F0A1-B417-AD1BD5C96079}"/>
              </a:ext>
            </a:extLst>
          </p:cNvPr>
          <p:cNvSpPr>
            <a:spLocks/>
          </p:cNvSpPr>
          <p:nvPr/>
        </p:nvSpPr>
        <p:spPr>
          <a:xfrm>
            <a:off x="8048372" y="4521519"/>
            <a:ext cx="3355320" cy="1508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noProof="0">
                <a:solidFill>
                  <a:schemeClr val="bg1"/>
                </a:solidFill>
              </a:rPr>
              <a:t>Tipo de estoque</a:t>
            </a:r>
          </a:p>
        </p:txBody>
      </p:sp>
      <p:sp>
        <p:nvSpPr>
          <p:cNvPr id="459" name="Rounded Rectangle 458">
            <a:extLst>
              <a:ext uri="{FF2B5EF4-FFF2-40B4-BE49-F238E27FC236}">
                <a16:creationId xmlns:a16="http://schemas.microsoft.com/office/drawing/2014/main" id="{91D5AE61-2682-93BE-8CD9-E31A059AD169}"/>
              </a:ext>
            </a:extLst>
          </p:cNvPr>
          <p:cNvSpPr>
            <a:spLocks/>
          </p:cNvSpPr>
          <p:nvPr/>
        </p:nvSpPr>
        <p:spPr>
          <a:xfrm>
            <a:off x="8097714" y="4745181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462" name="TextBox 461">
            <a:extLst>
              <a:ext uri="{FF2B5EF4-FFF2-40B4-BE49-F238E27FC236}">
                <a16:creationId xmlns:a16="http://schemas.microsoft.com/office/drawing/2014/main" id="{88479343-186D-9C89-6E1B-CA4A213E7CFF}"/>
              </a:ext>
            </a:extLst>
          </p:cNvPr>
          <p:cNvSpPr txBox="1">
            <a:spLocks/>
          </p:cNvSpPr>
          <p:nvPr/>
        </p:nvSpPr>
        <p:spPr>
          <a:xfrm>
            <a:off x="8152678" y="491518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156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8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42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453" name="Rounded Rectangle 452">
            <a:extLst>
              <a:ext uri="{FF2B5EF4-FFF2-40B4-BE49-F238E27FC236}">
                <a16:creationId xmlns:a16="http://schemas.microsoft.com/office/drawing/2014/main" id="{911D8653-861E-21FF-FEC5-EE707563CF91}"/>
              </a:ext>
            </a:extLst>
          </p:cNvPr>
          <p:cNvSpPr>
            <a:spLocks/>
          </p:cNvSpPr>
          <p:nvPr/>
        </p:nvSpPr>
        <p:spPr>
          <a:xfrm>
            <a:off x="8928114" y="4745181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454" name="TextBox 453">
            <a:extLst>
              <a:ext uri="{FF2B5EF4-FFF2-40B4-BE49-F238E27FC236}">
                <a16:creationId xmlns:a16="http://schemas.microsoft.com/office/drawing/2014/main" id="{E44722E3-B43A-FC7B-694A-7B73F729C641}"/>
              </a:ext>
            </a:extLst>
          </p:cNvPr>
          <p:cNvSpPr txBox="1">
            <a:spLocks/>
          </p:cNvSpPr>
          <p:nvPr/>
        </p:nvSpPr>
        <p:spPr>
          <a:xfrm>
            <a:off x="9187773" y="4779989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Saldo</a:t>
            </a:r>
          </a:p>
        </p:txBody>
      </p:sp>
      <p:sp>
        <p:nvSpPr>
          <p:cNvPr id="455" name="TextBox 454">
            <a:extLst>
              <a:ext uri="{FF2B5EF4-FFF2-40B4-BE49-F238E27FC236}">
                <a16:creationId xmlns:a16="http://schemas.microsoft.com/office/drawing/2014/main" id="{1B0A882A-4875-A349-05AE-7651245CD25C}"/>
              </a:ext>
            </a:extLst>
          </p:cNvPr>
          <p:cNvSpPr txBox="1">
            <a:spLocks/>
          </p:cNvSpPr>
          <p:nvPr/>
        </p:nvSpPr>
        <p:spPr>
          <a:xfrm>
            <a:off x="8983077" y="491518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85M </a:t>
            </a:r>
          </a:p>
          <a:p>
            <a:pPr algn="ctr"/>
            <a:r>
              <a:rPr lang="en-US" sz="300" noProof="0">
                <a:solidFill>
                  <a:srgbClr val="E71A3A"/>
                </a:solidFill>
              </a:rPr>
              <a:t>(+3,4%)</a:t>
            </a:r>
            <a:endParaRPr lang="en-US" sz="1600" noProof="0">
              <a:solidFill>
                <a:srgbClr val="E71A3A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432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447" name="Rounded Rectangle 446">
            <a:extLst>
              <a:ext uri="{FF2B5EF4-FFF2-40B4-BE49-F238E27FC236}">
                <a16:creationId xmlns:a16="http://schemas.microsoft.com/office/drawing/2014/main" id="{5C09F590-F353-3523-6E69-D14E32C8E96C}"/>
              </a:ext>
            </a:extLst>
          </p:cNvPr>
          <p:cNvSpPr>
            <a:spLocks/>
          </p:cNvSpPr>
          <p:nvPr/>
        </p:nvSpPr>
        <p:spPr>
          <a:xfrm>
            <a:off x="9758538" y="4745181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448" name="TextBox 447">
            <a:extLst>
              <a:ext uri="{FF2B5EF4-FFF2-40B4-BE49-F238E27FC236}">
                <a16:creationId xmlns:a16="http://schemas.microsoft.com/office/drawing/2014/main" id="{BC3E49A1-89C1-B2CE-BB23-237172168713}"/>
              </a:ext>
            </a:extLst>
          </p:cNvPr>
          <p:cNvSpPr txBox="1">
            <a:spLocks/>
          </p:cNvSpPr>
          <p:nvPr/>
        </p:nvSpPr>
        <p:spPr>
          <a:xfrm>
            <a:off x="10018196" y="4779989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</a:rPr>
              <a:t>Estq</a:t>
            </a:r>
            <a:r>
              <a:rPr lang="en-US" sz="600" noProof="0">
                <a:solidFill>
                  <a:srgbClr val="1F22CF"/>
                </a:solidFill>
              </a:rPr>
              <a:t> de Seg.</a:t>
            </a:r>
          </a:p>
        </p:txBody>
      </p:sp>
      <p:sp>
        <p:nvSpPr>
          <p:cNvPr id="449" name="TextBox 448">
            <a:extLst>
              <a:ext uri="{FF2B5EF4-FFF2-40B4-BE49-F238E27FC236}">
                <a16:creationId xmlns:a16="http://schemas.microsoft.com/office/drawing/2014/main" id="{E0D5EFAE-17E8-6E4D-80ED-6A86F0288618}"/>
              </a:ext>
            </a:extLst>
          </p:cNvPr>
          <p:cNvSpPr txBox="1">
            <a:spLocks/>
          </p:cNvSpPr>
          <p:nvPr/>
        </p:nvSpPr>
        <p:spPr>
          <a:xfrm>
            <a:off x="9813500" y="491518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244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8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193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441" name="Rounded Rectangle 440">
            <a:extLst>
              <a:ext uri="{FF2B5EF4-FFF2-40B4-BE49-F238E27FC236}">
                <a16:creationId xmlns:a16="http://schemas.microsoft.com/office/drawing/2014/main" id="{3B3CE2AD-0F94-3C23-3F06-614616EC156F}"/>
              </a:ext>
            </a:extLst>
          </p:cNvPr>
          <p:cNvSpPr>
            <a:spLocks/>
          </p:cNvSpPr>
          <p:nvPr/>
        </p:nvSpPr>
        <p:spPr>
          <a:xfrm>
            <a:off x="10588948" y="4745181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442" name="TextBox 441">
            <a:extLst>
              <a:ext uri="{FF2B5EF4-FFF2-40B4-BE49-F238E27FC236}">
                <a16:creationId xmlns:a16="http://schemas.microsoft.com/office/drawing/2014/main" id="{9CA3851A-075F-741D-FAEB-11B62D9130AA}"/>
              </a:ext>
            </a:extLst>
          </p:cNvPr>
          <p:cNvSpPr txBox="1">
            <a:spLocks/>
          </p:cNvSpPr>
          <p:nvPr/>
        </p:nvSpPr>
        <p:spPr>
          <a:xfrm>
            <a:off x="10848608" y="4779989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</a:rPr>
              <a:t>Estq</a:t>
            </a:r>
            <a:r>
              <a:rPr lang="en-US" sz="600" noProof="0">
                <a:solidFill>
                  <a:srgbClr val="1F22CF"/>
                </a:solidFill>
              </a:rPr>
              <a:t>. </a:t>
            </a:r>
            <a:r>
              <a:rPr lang="en-US" sz="600" noProof="0" err="1">
                <a:solidFill>
                  <a:srgbClr val="1F22CF"/>
                </a:solidFill>
              </a:rPr>
              <a:t>Ciclo</a:t>
            </a:r>
            <a:endParaRPr lang="en-US" sz="600" noProof="0">
              <a:solidFill>
                <a:srgbClr val="1F22CF"/>
              </a:solidFill>
            </a:endParaRP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id="{0C04712F-3F6A-CD93-B607-533621294E8A}"/>
              </a:ext>
            </a:extLst>
          </p:cNvPr>
          <p:cNvSpPr txBox="1">
            <a:spLocks/>
          </p:cNvSpPr>
          <p:nvPr/>
        </p:nvSpPr>
        <p:spPr>
          <a:xfrm>
            <a:off x="10643912" y="4915189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R$ 315M 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1,3%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R$ 324M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461" name="TextBox 460">
            <a:extLst>
              <a:ext uri="{FF2B5EF4-FFF2-40B4-BE49-F238E27FC236}">
                <a16:creationId xmlns:a16="http://schemas.microsoft.com/office/drawing/2014/main" id="{C022185C-E5F3-E765-6933-28E334F8C697}"/>
              </a:ext>
            </a:extLst>
          </p:cNvPr>
          <p:cNvSpPr txBox="1">
            <a:spLocks/>
          </p:cNvSpPr>
          <p:nvPr/>
        </p:nvSpPr>
        <p:spPr>
          <a:xfrm>
            <a:off x="8357374" y="4779989"/>
            <a:ext cx="461989" cy="92333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 err="1">
                <a:solidFill>
                  <a:srgbClr val="1F22CF"/>
                </a:solidFill>
              </a:rPr>
              <a:t>Mostruário</a:t>
            </a:r>
            <a:endParaRPr lang="en-US" sz="600" noProof="0">
              <a:solidFill>
                <a:srgbClr val="1F22CF"/>
              </a:solidFill>
            </a:endParaRPr>
          </a:p>
        </p:txBody>
      </p:sp>
      <p:grpSp>
        <p:nvGrpSpPr>
          <p:cNvPr id="208" name="bcgIcons_Truck time ">
            <a:extLst>
              <a:ext uri="{FF2B5EF4-FFF2-40B4-BE49-F238E27FC236}">
                <a16:creationId xmlns:a16="http://schemas.microsoft.com/office/drawing/2014/main" id="{E96FCA6A-A3FF-7E2E-BCB2-27CB985818AB}"/>
              </a:ext>
            </a:extLst>
          </p:cNvPr>
          <p:cNvGrpSpPr>
            <a:grpSpLocks noChangeAspect="1"/>
          </p:cNvGrpSpPr>
          <p:nvPr/>
        </p:nvGrpSpPr>
        <p:grpSpPr>
          <a:xfrm>
            <a:off x="10643912" y="4763430"/>
            <a:ext cx="125450" cy="125450"/>
            <a:chOff x="5273679" y="2606682"/>
            <a:chExt cx="1644651" cy="1644654"/>
          </a:xfrm>
        </p:grpSpPr>
        <p:sp>
          <p:nvSpPr>
            <p:cNvPr id="223" name="AutoShape 3">
              <a:extLst>
                <a:ext uri="{FF2B5EF4-FFF2-40B4-BE49-F238E27FC236}">
                  <a16:creationId xmlns:a16="http://schemas.microsoft.com/office/drawing/2014/main" id="{5CC7099F-74EC-E499-E917-D44AB90671B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9" y="2606682"/>
              <a:ext cx="1644651" cy="16446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1EE4D978-3FC3-23A4-8C1C-816382CEB48B}"/>
                </a:ext>
              </a:extLst>
            </p:cNvPr>
            <p:cNvGrpSpPr/>
            <p:nvPr/>
          </p:nvGrpSpPr>
          <p:grpSpPr>
            <a:xfrm>
              <a:off x="5341942" y="2960695"/>
              <a:ext cx="1509713" cy="938215"/>
              <a:chOff x="5341942" y="2960695"/>
              <a:chExt cx="1509713" cy="938215"/>
            </a:xfrm>
          </p:grpSpPr>
          <p:sp>
            <p:nvSpPr>
              <p:cNvPr id="247" name="Freeform 26">
                <a:extLst>
                  <a:ext uri="{FF2B5EF4-FFF2-40B4-BE49-F238E27FC236}">
                    <a16:creationId xmlns:a16="http://schemas.microsoft.com/office/drawing/2014/main" id="{0C5BC348-40E7-646A-B1DF-E3008AF73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942" y="2960695"/>
                <a:ext cx="1509713" cy="938215"/>
              </a:xfrm>
              <a:custGeom>
                <a:avLst/>
                <a:gdLst>
                  <a:gd name="connsiteX0" fmla="*/ 1258094 w 1509713"/>
                  <a:gd name="connsiteY0" fmla="*/ 766765 h 938215"/>
                  <a:gd name="connsiteX1" fmla="*/ 1187450 w 1509713"/>
                  <a:gd name="connsiteY1" fmla="*/ 836615 h 938215"/>
                  <a:gd name="connsiteX2" fmla="*/ 1258094 w 1509713"/>
                  <a:gd name="connsiteY2" fmla="*/ 906465 h 938215"/>
                  <a:gd name="connsiteX3" fmla="*/ 1328738 w 1509713"/>
                  <a:gd name="connsiteY3" fmla="*/ 836615 h 938215"/>
                  <a:gd name="connsiteX4" fmla="*/ 1258094 w 1509713"/>
                  <a:gd name="connsiteY4" fmla="*/ 766765 h 938215"/>
                  <a:gd name="connsiteX5" fmla="*/ 501650 w 1509713"/>
                  <a:gd name="connsiteY5" fmla="*/ 766765 h 938215"/>
                  <a:gd name="connsiteX6" fmla="*/ 431800 w 1509713"/>
                  <a:gd name="connsiteY6" fmla="*/ 836615 h 938215"/>
                  <a:gd name="connsiteX7" fmla="*/ 501650 w 1509713"/>
                  <a:gd name="connsiteY7" fmla="*/ 906465 h 938215"/>
                  <a:gd name="connsiteX8" fmla="*/ 571500 w 1509713"/>
                  <a:gd name="connsiteY8" fmla="*/ 836615 h 938215"/>
                  <a:gd name="connsiteX9" fmla="*/ 501650 w 1509713"/>
                  <a:gd name="connsiteY9" fmla="*/ 766765 h 938215"/>
                  <a:gd name="connsiteX10" fmla="*/ 197644 w 1509713"/>
                  <a:gd name="connsiteY10" fmla="*/ 766765 h 938215"/>
                  <a:gd name="connsiteX11" fmla="*/ 127000 w 1509713"/>
                  <a:gd name="connsiteY11" fmla="*/ 836615 h 938215"/>
                  <a:gd name="connsiteX12" fmla="*/ 197644 w 1509713"/>
                  <a:gd name="connsiteY12" fmla="*/ 906465 h 938215"/>
                  <a:gd name="connsiteX13" fmla="*/ 268288 w 1509713"/>
                  <a:gd name="connsiteY13" fmla="*/ 836615 h 938215"/>
                  <a:gd name="connsiteX14" fmla="*/ 197644 w 1509713"/>
                  <a:gd name="connsiteY14" fmla="*/ 766765 h 938215"/>
                  <a:gd name="connsiteX15" fmla="*/ 1258094 w 1509713"/>
                  <a:gd name="connsiteY15" fmla="*/ 735015 h 938215"/>
                  <a:gd name="connsiteX16" fmla="*/ 1360488 w 1509713"/>
                  <a:gd name="connsiteY16" fmla="*/ 836615 h 938215"/>
                  <a:gd name="connsiteX17" fmla="*/ 1258094 w 1509713"/>
                  <a:gd name="connsiteY17" fmla="*/ 938215 h 938215"/>
                  <a:gd name="connsiteX18" fmla="*/ 1155700 w 1509713"/>
                  <a:gd name="connsiteY18" fmla="*/ 836615 h 938215"/>
                  <a:gd name="connsiteX19" fmla="*/ 1258094 w 1509713"/>
                  <a:gd name="connsiteY19" fmla="*/ 735015 h 938215"/>
                  <a:gd name="connsiteX20" fmla="*/ 502444 w 1509713"/>
                  <a:gd name="connsiteY20" fmla="*/ 735015 h 938215"/>
                  <a:gd name="connsiteX21" fmla="*/ 604838 w 1509713"/>
                  <a:gd name="connsiteY21" fmla="*/ 836615 h 938215"/>
                  <a:gd name="connsiteX22" fmla="*/ 502444 w 1509713"/>
                  <a:gd name="connsiteY22" fmla="*/ 938215 h 938215"/>
                  <a:gd name="connsiteX23" fmla="*/ 400050 w 1509713"/>
                  <a:gd name="connsiteY23" fmla="*/ 836615 h 938215"/>
                  <a:gd name="connsiteX24" fmla="*/ 502444 w 1509713"/>
                  <a:gd name="connsiteY24" fmla="*/ 735015 h 938215"/>
                  <a:gd name="connsiteX25" fmla="*/ 197644 w 1509713"/>
                  <a:gd name="connsiteY25" fmla="*/ 735015 h 938215"/>
                  <a:gd name="connsiteX26" fmla="*/ 300038 w 1509713"/>
                  <a:gd name="connsiteY26" fmla="*/ 836615 h 938215"/>
                  <a:gd name="connsiteX27" fmla="*/ 197644 w 1509713"/>
                  <a:gd name="connsiteY27" fmla="*/ 938215 h 938215"/>
                  <a:gd name="connsiteX28" fmla="*/ 95250 w 1509713"/>
                  <a:gd name="connsiteY28" fmla="*/ 836615 h 938215"/>
                  <a:gd name="connsiteX29" fmla="*/ 197644 w 1509713"/>
                  <a:gd name="connsiteY29" fmla="*/ 735015 h 938215"/>
                  <a:gd name="connsiteX30" fmla="*/ 39507 w 1509713"/>
                  <a:gd name="connsiteY30" fmla="*/ 652464 h 938215"/>
                  <a:gd name="connsiteX31" fmla="*/ 1017588 w 1509713"/>
                  <a:gd name="connsiteY31" fmla="*/ 652464 h 938215"/>
                  <a:gd name="connsiteX32" fmla="*/ 1017588 w 1509713"/>
                  <a:gd name="connsiteY32" fmla="*/ 801689 h 938215"/>
                  <a:gd name="connsiteX33" fmla="*/ 695128 w 1509713"/>
                  <a:gd name="connsiteY33" fmla="*/ 801689 h 938215"/>
                  <a:gd name="connsiteX34" fmla="*/ 630208 w 1509713"/>
                  <a:gd name="connsiteY34" fmla="*/ 801689 h 938215"/>
                  <a:gd name="connsiteX35" fmla="*/ 624501 w 1509713"/>
                  <a:gd name="connsiteY35" fmla="*/ 783839 h 938215"/>
                  <a:gd name="connsiteX36" fmla="*/ 501795 w 1509713"/>
                  <a:gd name="connsiteY36" fmla="*/ 702444 h 938215"/>
                  <a:gd name="connsiteX37" fmla="*/ 379089 w 1509713"/>
                  <a:gd name="connsiteY37" fmla="*/ 783839 h 938215"/>
                  <a:gd name="connsiteX38" fmla="*/ 373382 w 1509713"/>
                  <a:gd name="connsiteY38" fmla="*/ 801689 h 938215"/>
                  <a:gd name="connsiteX39" fmla="*/ 357687 w 1509713"/>
                  <a:gd name="connsiteY39" fmla="*/ 801689 h 938215"/>
                  <a:gd name="connsiteX40" fmla="*/ 325583 w 1509713"/>
                  <a:gd name="connsiteY40" fmla="*/ 801689 h 938215"/>
                  <a:gd name="connsiteX41" fmla="*/ 319876 w 1509713"/>
                  <a:gd name="connsiteY41" fmla="*/ 783839 h 938215"/>
                  <a:gd name="connsiteX42" fmla="*/ 197170 w 1509713"/>
                  <a:gd name="connsiteY42" fmla="*/ 702444 h 938215"/>
                  <a:gd name="connsiteX43" fmla="*/ 74464 w 1509713"/>
                  <a:gd name="connsiteY43" fmla="*/ 783839 h 938215"/>
                  <a:gd name="connsiteX44" fmla="*/ 68757 w 1509713"/>
                  <a:gd name="connsiteY44" fmla="*/ 801689 h 938215"/>
                  <a:gd name="connsiteX45" fmla="*/ 56629 w 1509713"/>
                  <a:gd name="connsiteY45" fmla="*/ 801689 h 938215"/>
                  <a:gd name="connsiteX46" fmla="*/ 39507 w 1509713"/>
                  <a:gd name="connsiteY46" fmla="*/ 801689 h 938215"/>
                  <a:gd name="connsiteX47" fmla="*/ 23812 w 1509713"/>
                  <a:gd name="connsiteY47" fmla="*/ 785981 h 938215"/>
                  <a:gd name="connsiteX48" fmla="*/ 23812 w 1509713"/>
                  <a:gd name="connsiteY48" fmla="*/ 668172 h 938215"/>
                  <a:gd name="connsiteX49" fmla="*/ 39507 w 1509713"/>
                  <a:gd name="connsiteY49" fmla="*/ 652464 h 938215"/>
                  <a:gd name="connsiteX50" fmla="*/ 1065780 w 1509713"/>
                  <a:gd name="connsiteY50" fmla="*/ 304801 h 938215"/>
                  <a:gd name="connsiteX51" fmla="*/ 1351013 w 1509713"/>
                  <a:gd name="connsiteY51" fmla="*/ 304801 h 938215"/>
                  <a:gd name="connsiteX52" fmla="*/ 1509713 w 1509713"/>
                  <a:gd name="connsiteY52" fmla="*/ 547186 h 938215"/>
                  <a:gd name="connsiteX53" fmla="*/ 1509713 w 1509713"/>
                  <a:gd name="connsiteY53" fmla="*/ 785294 h 938215"/>
                  <a:gd name="connsiteX54" fmla="*/ 1492556 w 1509713"/>
                  <a:gd name="connsiteY54" fmla="*/ 801690 h 938215"/>
                  <a:gd name="connsiteX55" fmla="*/ 1406057 w 1509713"/>
                  <a:gd name="connsiteY55" fmla="*/ 801690 h 938215"/>
                  <a:gd name="connsiteX56" fmla="*/ 1386756 w 1509713"/>
                  <a:gd name="connsiteY56" fmla="*/ 801690 h 938215"/>
                  <a:gd name="connsiteX57" fmla="*/ 1381752 w 1509713"/>
                  <a:gd name="connsiteY57" fmla="*/ 783868 h 938215"/>
                  <a:gd name="connsiteX58" fmla="*/ 1373888 w 1509713"/>
                  <a:gd name="connsiteY58" fmla="*/ 770323 h 938215"/>
                  <a:gd name="connsiteX59" fmla="*/ 1478259 w 1509713"/>
                  <a:gd name="connsiteY59" fmla="*/ 770323 h 938215"/>
                  <a:gd name="connsiteX60" fmla="*/ 1478259 w 1509713"/>
                  <a:gd name="connsiteY60" fmla="*/ 556454 h 938215"/>
                  <a:gd name="connsiteX61" fmla="*/ 1333856 w 1509713"/>
                  <a:gd name="connsiteY61" fmla="*/ 336169 h 938215"/>
                  <a:gd name="connsiteX62" fmla="*/ 1080792 w 1509713"/>
                  <a:gd name="connsiteY62" fmla="*/ 336169 h 938215"/>
                  <a:gd name="connsiteX63" fmla="*/ 1080792 w 1509713"/>
                  <a:gd name="connsiteY63" fmla="*/ 770323 h 938215"/>
                  <a:gd name="connsiteX64" fmla="*/ 1142271 w 1509713"/>
                  <a:gd name="connsiteY64" fmla="*/ 770323 h 938215"/>
                  <a:gd name="connsiteX65" fmla="*/ 1135122 w 1509713"/>
                  <a:gd name="connsiteY65" fmla="*/ 783868 h 938215"/>
                  <a:gd name="connsiteX66" fmla="*/ 1129403 w 1509713"/>
                  <a:gd name="connsiteY66" fmla="*/ 801690 h 938215"/>
                  <a:gd name="connsiteX67" fmla="*/ 1127974 w 1509713"/>
                  <a:gd name="connsiteY67" fmla="*/ 801690 h 938215"/>
                  <a:gd name="connsiteX68" fmla="*/ 1065780 w 1509713"/>
                  <a:gd name="connsiteY68" fmla="*/ 801690 h 938215"/>
                  <a:gd name="connsiteX69" fmla="*/ 1049338 w 1509713"/>
                  <a:gd name="connsiteY69" fmla="*/ 785294 h 938215"/>
                  <a:gd name="connsiteX70" fmla="*/ 1049338 w 1509713"/>
                  <a:gd name="connsiteY70" fmla="*/ 321198 h 938215"/>
                  <a:gd name="connsiteX71" fmla="*/ 1065780 w 1509713"/>
                  <a:gd name="connsiteY71" fmla="*/ 304801 h 938215"/>
                  <a:gd name="connsiteX72" fmla="*/ 377994 w 1509713"/>
                  <a:gd name="connsiteY72" fmla="*/ 127404 h 938215"/>
                  <a:gd name="connsiteX73" fmla="*/ 258772 w 1509713"/>
                  <a:gd name="connsiteY73" fmla="*/ 216856 h 938215"/>
                  <a:gd name="connsiteX74" fmla="*/ 253061 w 1509713"/>
                  <a:gd name="connsiteY74" fmla="*/ 216140 h 938215"/>
                  <a:gd name="connsiteX75" fmla="*/ 244494 w 1509713"/>
                  <a:gd name="connsiteY75" fmla="*/ 217571 h 938215"/>
                  <a:gd name="connsiteX76" fmla="*/ 167392 w 1509713"/>
                  <a:gd name="connsiteY76" fmla="*/ 174635 h 938215"/>
                  <a:gd name="connsiteX77" fmla="*/ 155256 w 1509713"/>
                  <a:gd name="connsiteY77" fmla="*/ 177497 h 938215"/>
                  <a:gd name="connsiteX78" fmla="*/ 158111 w 1509713"/>
                  <a:gd name="connsiteY78" fmla="*/ 190378 h 938215"/>
                  <a:gd name="connsiteX79" fmla="*/ 230216 w 1509713"/>
                  <a:gd name="connsiteY79" fmla="*/ 239755 h 938215"/>
                  <a:gd name="connsiteX80" fmla="*/ 253061 w 1509713"/>
                  <a:gd name="connsiteY80" fmla="*/ 261939 h 938215"/>
                  <a:gd name="connsiteX81" fmla="*/ 275906 w 1509713"/>
                  <a:gd name="connsiteY81" fmla="*/ 239040 h 938215"/>
                  <a:gd name="connsiteX82" fmla="*/ 275906 w 1509713"/>
                  <a:gd name="connsiteY82" fmla="*/ 238324 h 938215"/>
                  <a:gd name="connsiteX83" fmla="*/ 388703 w 1509713"/>
                  <a:gd name="connsiteY83" fmla="*/ 141001 h 938215"/>
                  <a:gd name="connsiteX84" fmla="*/ 390131 w 1509713"/>
                  <a:gd name="connsiteY84" fmla="*/ 128835 h 938215"/>
                  <a:gd name="connsiteX85" fmla="*/ 377994 w 1509713"/>
                  <a:gd name="connsiteY85" fmla="*/ 127404 h 938215"/>
                  <a:gd name="connsiteX86" fmla="*/ 250388 w 1509713"/>
                  <a:gd name="connsiteY86" fmla="*/ 0 h 938215"/>
                  <a:gd name="connsiteX87" fmla="*/ 494356 w 1509713"/>
                  <a:gd name="connsiteY87" fmla="*/ 197254 h 938215"/>
                  <a:gd name="connsiteX88" fmla="*/ 500063 w 1509713"/>
                  <a:gd name="connsiteY88" fmla="*/ 249238 h 938215"/>
                  <a:gd name="connsiteX89" fmla="*/ 250388 w 1509713"/>
                  <a:gd name="connsiteY89" fmla="*/ 498476 h 938215"/>
                  <a:gd name="connsiteX90" fmla="*/ 131258 w 1509713"/>
                  <a:gd name="connsiteY90" fmla="*/ 467855 h 938215"/>
                  <a:gd name="connsiteX91" fmla="*/ 0 w 1509713"/>
                  <a:gd name="connsiteY91" fmla="*/ 249238 h 938215"/>
                  <a:gd name="connsiteX92" fmla="*/ 250388 w 1509713"/>
                  <a:gd name="connsiteY92" fmla="*/ 0 h 938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1509713" h="938215">
                    <a:moveTo>
                      <a:pt x="1258094" y="766765"/>
                    </a:moveTo>
                    <a:cubicBezTo>
                      <a:pt x="1219078" y="766765"/>
                      <a:pt x="1187450" y="798038"/>
                      <a:pt x="1187450" y="836615"/>
                    </a:cubicBezTo>
                    <a:cubicBezTo>
                      <a:pt x="1187450" y="875192"/>
                      <a:pt x="1219078" y="906465"/>
                      <a:pt x="1258094" y="906465"/>
                    </a:cubicBezTo>
                    <a:cubicBezTo>
                      <a:pt x="1297110" y="906465"/>
                      <a:pt x="1328738" y="875192"/>
                      <a:pt x="1328738" y="836615"/>
                    </a:cubicBezTo>
                    <a:cubicBezTo>
                      <a:pt x="1328738" y="798038"/>
                      <a:pt x="1297110" y="766765"/>
                      <a:pt x="1258094" y="766765"/>
                    </a:cubicBezTo>
                    <a:close/>
                    <a:moveTo>
                      <a:pt x="501650" y="766765"/>
                    </a:moveTo>
                    <a:cubicBezTo>
                      <a:pt x="463073" y="766765"/>
                      <a:pt x="431800" y="798038"/>
                      <a:pt x="431800" y="836615"/>
                    </a:cubicBezTo>
                    <a:cubicBezTo>
                      <a:pt x="431800" y="875192"/>
                      <a:pt x="463073" y="906465"/>
                      <a:pt x="501650" y="906465"/>
                    </a:cubicBezTo>
                    <a:cubicBezTo>
                      <a:pt x="540227" y="906465"/>
                      <a:pt x="571500" y="875192"/>
                      <a:pt x="571500" y="836615"/>
                    </a:cubicBezTo>
                    <a:cubicBezTo>
                      <a:pt x="571500" y="798038"/>
                      <a:pt x="540227" y="766765"/>
                      <a:pt x="501650" y="766765"/>
                    </a:cubicBezTo>
                    <a:close/>
                    <a:moveTo>
                      <a:pt x="197644" y="766765"/>
                    </a:moveTo>
                    <a:cubicBezTo>
                      <a:pt x="158628" y="766765"/>
                      <a:pt x="127000" y="798038"/>
                      <a:pt x="127000" y="836615"/>
                    </a:cubicBezTo>
                    <a:cubicBezTo>
                      <a:pt x="127000" y="875192"/>
                      <a:pt x="158628" y="906465"/>
                      <a:pt x="197644" y="906465"/>
                    </a:cubicBezTo>
                    <a:cubicBezTo>
                      <a:pt x="236660" y="906465"/>
                      <a:pt x="268288" y="875192"/>
                      <a:pt x="268288" y="836615"/>
                    </a:cubicBezTo>
                    <a:cubicBezTo>
                      <a:pt x="268288" y="798038"/>
                      <a:pt x="236660" y="766765"/>
                      <a:pt x="197644" y="766765"/>
                    </a:cubicBezTo>
                    <a:close/>
                    <a:moveTo>
                      <a:pt x="1258094" y="735015"/>
                    </a:moveTo>
                    <a:cubicBezTo>
                      <a:pt x="1314645" y="735015"/>
                      <a:pt x="1360488" y="780503"/>
                      <a:pt x="1360488" y="836615"/>
                    </a:cubicBezTo>
                    <a:cubicBezTo>
                      <a:pt x="1360488" y="892727"/>
                      <a:pt x="1314645" y="938215"/>
                      <a:pt x="1258094" y="938215"/>
                    </a:cubicBezTo>
                    <a:cubicBezTo>
                      <a:pt x="1201543" y="938215"/>
                      <a:pt x="1155700" y="892727"/>
                      <a:pt x="1155700" y="836615"/>
                    </a:cubicBezTo>
                    <a:cubicBezTo>
                      <a:pt x="1155700" y="780503"/>
                      <a:pt x="1201543" y="735015"/>
                      <a:pt x="1258094" y="735015"/>
                    </a:cubicBezTo>
                    <a:close/>
                    <a:moveTo>
                      <a:pt x="502444" y="735015"/>
                    </a:moveTo>
                    <a:cubicBezTo>
                      <a:pt x="558995" y="735015"/>
                      <a:pt x="604838" y="780503"/>
                      <a:pt x="604838" y="836615"/>
                    </a:cubicBezTo>
                    <a:cubicBezTo>
                      <a:pt x="604838" y="892727"/>
                      <a:pt x="558995" y="938215"/>
                      <a:pt x="502444" y="938215"/>
                    </a:cubicBezTo>
                    <a:cubicBezTo>
                      <a:pt x="445893" y="938215"/>
                      <a:pt x="400050" y="892727"/>
                      <a:pt x="400050" y="836615"/>
                    </a:cubicBezTo>
                    <a:cubicBezTo>
                      <a:pt x="400050" y="780503"/>
                      <a:pt x="445893" y="735015"/>
                      <a:pt x="502444" y="735015"/>
                    </a:cubicBezTo>
                    <a:close/>
                    <a:moveTo>
                      <a:pt x="197644" y="735015"/>
                    </a:moveTo>
                    <a:cubicBezTo>
                      <a:pt x="254195" y="735015"/>
                      <a:pt x="300038" y="780503"/>
                      <a:pt x="300038" y="836615"/>
                    </a:cubicBezTo>
                    <a:cubicBezTo>
                      <a:pt x="300038" y="892727"/>
                      <a:pt x="254195" y="938215"/>
                      <a:pt x="197644" y="938215"/>
                    </a:cubicBezTo>
                    <a:cubicBezTo>
                      <a:pt x="141093" y="938215"/>
                      <a:pt x="95250" y="892727"/>
                      <a:pt x="95250" y="836615"/>
                    </a:cubicBezTo>
                    <a:cubicBezTo>
                      <a:pt x="95250" y="780503"/>
                      <a:pt x="141093" y="735015"/>
                      <a:pt x="197644" y="735015"/>
                    </a:cubicBezTo>
                    <a:close/>
                    <a:moveTo>
                      <a:pt x="39507" y="652464"/>
                    </a:moveTo>
                    <a:cubicBezTo>
                      <a:pt x="1017588" y="652464"/>
                      <a:pt x="1017588" y="652464"/>
                      <a:pt x="1017588" y="652464"/>
                    </a:cubicBezTo>
                    <a:cubicBezTo>
                      <a:pt x="1017588" y="801689"/>
                      <a:pt x="1017588" y="801689"/>
                      <a:pt x="1017588" y="801689"/>
                    </a:cubicBezTo>
                    <a:cubicBezTo>
                      <a:pt x="895596" y="801689"/>
                      <a:pt x="788585" y="801689"/>
                      <a:pt x="695128" y="801689"/>
                    </a:cubicBezTo>
                    <a:cubicBezTo>
                      <a:pt x="630208" y="801689"/>
                      <a:pt x="630208" y="801689"/>
                      <a:pt x="630208" y="801689"/>
                    </a:cubicBezTo>
                    <a:cubicBezTo>
                      <a:pt x="624501" y="783839"/>
                      <a:pt x="624501" y="783839"/>
                      <a:pt x="624501" y="783839"/>
                    </a:cubicBezTo>
                    <a:cubicBezTo>
                      <a:pt x="604526" y="736002"/>
                      <a:pt x="557441" y="702444"/>
                      <a:pt x="501795" y="702444"/>
                    </a:cubicBezTo>
                    <a:cubicBezTo>
                      <a:pt x="446863" y="702444"/>
                      <a:pt x="399064" y="736002"/>
                      <a:pt x="379089" y="783839"/>
                    </a:cubicBezTo>
                    <a:cubicBezTo>
                      <a:pt x="373382" y="801689"/>
                      <a:pt x="373382" y="801689"/>
                      <a:pt x="373382" y="801689"/>
                    </a:cubicBezTo>
                    <a:cubicBezTo>
                      <a:pt x="357687" y="801689"/>
                      <a:pt x="357687" y="801689"/>
                      <a:pt x="357687" y="801689"/>
                    </a:cubicBezTo>
                    <a:cubicBezTo>
                      <a:pt x="325583" y="801689"/>
                      <a:pt x="325583" y="801689"/>
                      <a:pt x="325583" y="801689"/>
                    </a:cubicBezTo>
                    <a:cubicBezTo>
                      <a:pt x="319876" y="783839"/>
                      <a:pt x="319876" y="783839"/>
                      <a:pt x="319876" y="783839"/>
                    </a:cubicBezTo>
                    <a:cubicBezTo>
                      <a:pt x="299901" y="736002"/>
                      <a:pt x="252102" y="702444"/>
                      <a:pt x="197170" y="702444"/>
                    </a:cubicBezTo>
                    <a:cubicBezTo>
                      <a:pt x="142238" y="702444"/>
                      <a:pt x="94440" y="736002"/>
                      <a:pt x="74464" y="783839"/>
                    </a:cubicBezTo>
                    <a:cubicBezTo>
                      <a:pt x="68757" y="801689"/>
                      <a:pt x="68757" y="801689"/>
                      <a:pt x="68757" y="801689"/>
                    </a:cubicBezTo>
                    <a:cubicBezTo>
                      <a:pt x="56629" y="801689"/>
                      <a:pt x="56629" y="801689"/>
                      <a:pt x="56629" y="801689"/>
                    </a:cubicBezTo>
                    <a:cubicBezTo>
                      <a:pt x="39507" y="801689"/>
                      <a:pt x="39507" y="801689"/>
                      <a:pt x="39507" y="801689"/>
                    </a:cubicBezTo>
                    <a:cubicBezTo>
                      <a:pt x="30946" y="801689"/>
                      <a:pt x="23812" y="794549"/>
                      <a:pt x="23812" y="785981"/>
                    </a:cubicBezTo>
                    <a:cubicBezTo>
                      <a:pt x="23812" y="668172"/>
                      <a:pt x="23812" y="668172"/>
                      <a:pt x="23812" y="668172"/>
                    </a:cubicBezTo>
                    <a:cubicBezTo>
                      <a:pt x="23812" y="659604"/>
                      <a:pt x="30946" y="652464"/>
                      <a:pt x="39507" y="652464"/>
                    </a:cubicBezTo>
                    <a:close/>
                    <a:moveTo>
                      <a:pt x="1065780" y="304801"/>
                    </a:moveTo>
                    <a:cubicBezTo>
                      <a:pt x="1065780" y="304801"/>
                      <a:pt x="1065780" y="304801"/>
                      <a:pt x="1351013" y="304801"/>
                    </a:cubicBezTo>
                    <a:cubicBezTo>
                      <a:pt x="1351013" y="304801"/>
                      <a:pt x="1351013" y="304801"/>
                      <a:pt x="1509713" y="547186"/>
                    </a:cubicBezTo>
                    <a:cubicBezTo>
                      <a:pt x="1509713" y="547186"/>
                      <a:pt x="1509713" y="547186"/>
                      <a:pt x="1509713" y="785294"/>
                    </a:cubicBezTo>
                    <a:cubicBezTo>
                      <a:pt x="1509713" y="794561"/>
                      <a:pt x="1502565" y="801690"/>
                      <a:pt x="1492556" y="801690"/>
                    </a:cubicBezTo>
                    <a:cubicBezTo>
                      <a:pt x="1492556" y="801690"/>
                      <a:pt x="1456813" y="801690"/>
                      <a:pt x="1406057" y="801690"/>
                    </a:cubicBezTo>
                    <a:cubicBezTo>
                      <a:pt x="1386756" y="801690"/>
                      <a:pt x="1386756" y="801690"/>
                      <a:pt x="1386756" y="801690"/>
                    </a:cubicBezTo>
                    <a:cubicBezTo>
                      <a:pt x="1381752" y="783868"/>
                      <a:pt x="1381752" y="783868"/>
                      <a:pt x="1381752" y="783868"/>
                    </a:cubicBezTo>
                    <a:cubicBezTo>
                      <a:pt x="1373888" y="770323"/>
                      <a:pt x="1373888" y="770323"/>
                      <a:pt x="1373888" y="770323"/>
                    </a:cubicBezTo>
                    <a:cubicBezTo>
                      <a:pt x="1478259" y="770323"/>
                      <a:pt x="1478259" y="770323"/>
                      <a:pt x="1478259" y="770323"/>
                    </a:cubicBezTo>
                    <a:cubicBezTo>
                      <a:pt x="1478259" y="556454"/>
                      <a:pt x="1478259" y="556454"/>
                      <a:pt x="1478259" y="556454"/>
                    </a:cubicBezTo>
                    <a:cubicBezTo>
                      <a:pt x="1333856" y="336169"/>
                      <a:pt x="1333856" y="336169"/>
                      <a:pt x="1333856" y="336169"/>
                    </a:cubicBezTo>
                    <a:cubicBezTo>
                      <a:pt x="1080792" y="336169"/>
                      <a:pt x="1080792" y="336169"/>
                      <a:pt x="1080792" y="336169"/>
                    </a:cubicBezTo>
                    <a:cubicBezTo>
                      <a:pt x="1080792" y="770323"/>
                      <a:pt x="1080792" y="770323"/>
                      <a:pt x="1080792" y="770323"/>
                    </a:cubicBezTo>
                    <a:cubicBezTo>
                      <a:pt x="1142271" y="770323"/>
                      <a:pt x="1142271" y="770323"/>
                      <a:pt x="1142271" y="770323"/>
                    </a:cubicBezTo>
                    <a:cubicBezTo>
                      <a:pt x="1135122" y="783868"/>
                      <a:pt x="1135122" y="783868"/>
                      <a:pt x="1135122" y="783868"/>
                    </a:cubicBezTo>
                    <a:cubicBezTo>
                      <a:pt x="1129403" y="801690"/>
                      <a:pt x="1129403" y="801690"/>
                      <a:pt x="1129403" y="801690"/>
                    </a:cubicBezTo>
                    <a:cubicBezTo>
                      <a:pt x="1127974" y="801690"/>
                      <a:pt x="1127974" y="801690"/>
                      <a:pt x="1127974" y="801690"/>
                    </a:cubicBezTo>
                    <a:cubicBezTo>
                      <a:pt x="1099379" y="801690"/>
                      <a:pt x="1077218" y="801690"/>
                      <a:pt x="1065780" y="801690"/>
                    </a:cubicBezTo>
                    <a:cubicBezTo>
                      <a:pt x="1056487" y="801690"/>
                      <a:pt x="1049338" y="794561"/>
                      <a:pt x="1049338" y="785294"/>
                    </a:cubicBezTo>
                    <a:cubicBezTo>
                      <a:pt x="1049338" y="785294"/>
                      <a:pt x="1049338" y="785294"/>
                      <a:pt x="1049338" y="321198"/>
                    </a:cubicBezTo>
                    <a:cubicBezTo>
                      <a:pt x="1049338" y="311930"/>
                      <a:pt x="1056487" y="304801"/>
                      <a:pt x="1065780" y="304801"/>
                    </a:cubicBezTo>
                    <a:close/>
                    <a:moveTo>
                      <a:pt x="377994" y="127404"/>
                    </a:moveTo>
                    <a:cubicBezTo>
                      <a:pt x="258772" y="216856"/>
                      <a:pt x="258772" y="216856"/>
                      <a:pt x="258772" y="216856"/>
                    </a:cubicBezTo>
                    <a:cubicBezTo>
                      <a:pt x="257344" y="216140"/>
                      <a:pt x="255203" y="216140"/>
                      <a:pt x="253061" y="216140"/>
                    </a:cubicBezTo>
                    <a:cubicBezTo>
                      <a:pt x="250205" y="216140"/>
                      <a:pt x="247350" y="216140"/>
                      <a:pt x="244494" y="217571"/>
                    </a:cubicBezTo>
                    <a:cubicBezTo>
                      <a:pt x="167392" y="174635"/>
                      <a:pt x="167392" y="174635"/>
                      <a:pt x="167392" y="174635"/>
                    </a:cubicBezTo>
                    <a:cubicBezTo>
                      <a:pt x="163823" y="172488"/>
                      <a:pt x="158111" y="173919"/>
                      <a:pt x="155256" y="177497"/>
                    </a:cubicBezTo>
                    <a:cubicBezTo>
                      <a:pt x="152400" y="181791"/>
                      <a:pt x="153828" y="187516"/>
                      <a:pt x="158111" y="190378"/>
                    </a:cubicBezTo>
                    <a:cubicBezTo>
                      <a:pt x="230216" y="239755"/>
                      <a:pt x="230216" y="239755"/>
                      <a:pt x="230216" y="239755"/>
                    </a:cubicBezTo>
                    <a:cubicBezTo>
                      <a:pt x="230216" y="251921"/>
                      <a:pt x="240925" y="261939"/>
                      <a:pt x="253061" y="261939"/>
                    </a:cubicBezTo>
                    <a:cubicBezTo>
                      <a:pt x="265911" y="261939"/>
                      <a:pt x="275906" y="251205"/>
                      <a:pt x="275906" y="239040"/>
                    </a:cubicBezTo>
                    <a:cubicBezTo>
                      <a:pt x="275906" y="238324"/>
                      <a:pt x="275906" y="238324"/>
                      <a:pt x="275906" y="238324"/>
                    </a:cubicBezTo>
                    <a:lnTo>
                      <a:pt x="388703" y="141001"/>
                    </a:lnTo>
                    <a:cubicBezTo>
                      <a:pt x="392986" y="138138"/>
                      <a:pt x="393700" y="132413"/>
                      <a:pt x="390131" y="128835"/>
                    </a:cubicBezTo>
                    <a:cubicBezTo>
                      <a:pt x="387275" y="124542"/>
                      <a:pt x="381564" y="123826"/>
                      <a:pt x="377994" y="127404"/>
                    </a:cubicBezTo>
                    <a:close/>
                    <a:moveTo>
                      <a:pt x="250388" y="0"/>
                    </a:moveTo>
                    <a:cubicBezTo>
                      <a:pt x="370232" y="0"/>
                      <a:pt x="470816" y="84741"/>
                      <a:pt x="494356" y="197254"/>
                    </a:cubicBezTo>
                    <a:cubicBezTo>
                      <a:pt x="497923" y="214345"/>
                      <a:pt x="500063" y="231435"/>
                      <a:pt x="500063" y="249238"/>
                    </a:cubicBezTo>
                    <a:cubicBezTo>
                      <a:pt x="500063" y="386675"/>
                      <a:pt x="388066" y="498476"/>
                      <a:pt x="250388" y="498476"/>
                    </a:cubicBezTo>
                    <a:cubicBezTo>
                      <a:pt x="206874" y="498476"/>
                      <a:pt x="166926" y="487082"/>
                      <a:pt x="131258" y="467855"/>
                    </a:cubicBezTo>
                    <a:cubicBezTo>
                      <a:pt x="53502" y="425841"/>
                      <a:pt x="0" y="343236"/>
                      <a:pt x="0" y="249238"/>
                    </a:cubicBezTo>
                    <a:cubicBezTo>
                      <a:pt x="0" y="111801"/>
                      <a:pt x="111997" y="0"/>
                      <a:pt x="25038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8" name="Freeform 14">
                <a:extLst>
                  <a:ext uri="{FF2B5EF4-FFF2-40B4-BE49-F238E27FC236}">
                    <a16:creationId xmlns:a16="http://schemas.microsoft.com/office/drawing/2014/main" id="{1AEDC409-9A66-477A-3920-F9CAD8095A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5292" y="3155958"/>
                <a:ext cx="1273176" cy="679452"/>
              </a:xfrm>
              <a:custGeom>
                <a:avLst/>
                <a:gdLst>
                  <a:gd name="T0" fmla="*/ 1576 w 1783"/>
                  <a:gd name="T1" fmla="*/ 842 h 952"/>
                  <a:gd name="T2" fmla="*/ 1630 w 1783"/>
                  <a:gd name="T3" fmla="*/ 897 h 952"/>
                  <a:gd name="T4" fmla="*/ 1576 w 1783"/>
                  <a:gd name="T5" fmla="*/ 952 h 952"/>
                  <a:gd name="T6" fmla="*/ 1521 w 1783"/>
                  <a:gd name="T7" fmla="*/ 897 h 952"/>
                  <a:gd name="T8" fmla="*/ 1576 w 1783"/>
                  <a:gd name="T9" fmla="*/ 842 h 952"/>
                  <a:gd name="T10" fmla="*/ 516 w 1783"/>
                  <a:gd name="T11" fmla="*/ 842 h 952"/>
                  <a:gd name="T12" fmla="*/ 571 w 1783"/>
                  <a:gd name="T13" fmla="*/ 897 h 952"/>
                  <a:gd name="T14" fmla="*/ 516 w 1783"/>
                  <a:gd name="T15" fmla="*/ 952 h 952"/>
                  <a:gd name="T16" fmla="*/ 461 w 1783"/>
                  <a:gd name="T17" fmla="*/ 897 h 952"/>
                  <a:gd name="T18" fmla="*/ 516 w 1783"/>
                  <a:gd name="T19" fmla="*/ 842 h 952"/>
                  <a:gd name="T20" fmla="*/ 90 w 1783"/>
                  <a:gd name="T21" fmla="*/ 842 h 952"/>
                  <a:gd name="T22" fmla="*/ 145 w 1783"/>
                  <a:gd name="T23" fmla="*/ 897 h 952"/>
                  <a:gd name="T24" fmla="*/ 90 w 1783"/>
                  <a:gd name="T25" fmla="*/ 952 h 952"/>
                  <a:gd name="T26" fmla="*/ 35 w 1783"/>
                  <a:gd name="T27" fmla="*/ 897 h 952"/>
                  <a:gd name="T28" fmla="*/ 90 w 1783"/>
                  <a:gd name="T29" fmla="*/ 842 h 952"/>
                  <a:gd name="T30" fmla="*/ 1436 w 1783"/>
                  <a:gd name="T31" fmla="*/ 229 h 952"/>
                  <a:gd name="T32" fmla="*/ 1646 w 1783"/>
                  <a:gd name="T33" fmla="*/ 229 h 952"/>
                  <a:gd name="T34" fmla="*/ 1667 w 1783"/>
                  <a:gd name="T35" fmla="*/ 248 h 952"/>
                  <a:gd name="T36" fmla="*/ 1782 w 1783"/>
                  <a:gd name="T37" fmla="*/ 445 h 952"/>
                  <a:gd name="T38" fmla="*/ 1783 w 1783"/>
                  <a:gd name="T39" fmla="*/ 449 h 952"/>
                  <a:gd name="T40" fmla="*/ 1764 w 1783"/>
                  <a:gd name="T41" fmla="*/ 465 h 952"/>
                  <a:gd name="T42" fmla="*/ 1436 w 1783"/>
                  <a:gd name="T43" fmla="*/ 465 h 952"/>
                  <a:gd name="T44" fmla="*/ 1425 w 1783"/>
                  <a:gd name="T45" fmla="*/ 455 h 952"/>
                  <a:gd name="T46" fmla="*/ 1425 w 1783"/>
                  <a:gd name="T47" fmla="*/ 239 h 952"/>
                  <a:gd name="T48" fmla="*/ 1436 w 1783"/>
                  <a:gd name="T49" fmla="*/ 229 h 952"/>
                  <a:gd name="T50" fmla="*/ 554 w 1783"/>
                  <a:gd name="T51" fmla="*/ 0 h 952"/>
                  <a:gd name="T52" fmla="*/ 1219 w 1783"/>
                  <a:gd name="T53" fmla="*/ 0 h 952"/>
                  <a:gd name="T54" fmla="*/ 1239 w 1783"/>
                  <a:gd name="T55" fmla="*/ 21 h 952"/>
                  <a:gd name="T56" fmla="*/ 1239 w 1783"/>
                  <a:gd name="T57" fmla="*/ 613 h 952"/>
                  <a:gd name="T58" fmla="*/ 19 w 1783"/>
                  <a:gd name="T59" fmla="*/ 613 h 952"/>
                  <a:gd name="T60" fmla="*/ 0 w 1783"/>
                  <a:gd name="T61" fmla="*/ 592 h 952"/>
                  <a:gd name="T62" fmla="*/ 0 w 1783"/>
                  <a:gd name="T63" fmla="*/ 433 h 952"/>
                  <a:gd name="T64" fmla="*/ 167 w 1783"/>
                  <a:gd name="T65" fmla="*/ 470 h 952"/>
                  <a:gd name="T66" fmla="*/ 561 w 1783"/>
                  <a:gd name="T67" fmla="*/ 72 h 952"/>
                  <a:gd name="T68" fmla="*/ 554 w 1783"/>
                  <a:gd name="T69" fmla="*/ 0 h 9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783" h="952">
                    <a:moveTo>
                      <a:pt x="1576" y="842"/>
                    </a:moveTo>
                    <a:cubicBezTo>
                      <a:pt x="1606" y="842"/>
                      <a:pt x="1630" y="867"/>
                      <a:pt x="1630" y="897"/>
                    </a:cubicBezTo>
                    <a:cubicBezTo>
                      <a:pt x="1630" y="927"/>
                      <a:pt x="1606" y="952"/>
                      <a:pt x="1576" y="952"/>
                    </a:cubicBezTo>
                    <a:cubicBezTo>
                      <a:pt x="1546" y="952"/>
                      <a:pt x="1521" y="927"/>
                      <a:pt x="1521" y="897"/>
                    </a:cubicBezTo>
                    <a:cubicBezTo>
                      <a:pt x="1521" y="867"/>
                      <a:pt x="1546" y="842"/>
                      <a:pt x="1576" y="842"/>
                    </a:cubicBezTo>
                    <a:close/>
                    <a:moveTo>
                      <a:pt x="516" y="842"/>
                    </a:moveTo>
                    <a:cubicBezTo>
                      <a:pt x="546" y="842"/>
                      <a:pt x="571" y="867"/>
                      <a:pt x="571" y="897"/>
                    </a:cubicBezTo>
                    <a:cubicBezTo>
                      <a:pt x="571" y="927"/>
                      <a:pt x="546" y="952"/>
                      <a:pt x="516" y="952"/>
                    </a:cubicBezTo>
                    <a:cubicBezTo>
                      <a:pt x="486" y="952"/>
                      <a:pt x="461" y="927"/>
                      <a:pt x="461" y="897"/>
                    </a:cubicBezTo>
                    <a:cubicBezTo>
                      <a:pt x="461" y="867"/>
                      <a:pt x="486" y="842"/>
                      <a:pt x="516" y="842"/>
                    </a:cubicBezTo>
                    <a:close/>
                    <a:moveTo>
                      <a:pt x="90" y="842"/>
                    </a:moveTo>
                    <a:cubicBezTo>
                      <a:pt x="120" y="842"/>
                      <a:pt x="145" y="867"/>
                      <a:pt x="145" y="897"/>
                    </a:cubicBezTo>
                    <a:cubicBezTo>
                      <a:pt x="145" y="927"/>
                      <a:pt x="120" y="952"/>
                      <a:pt x="90" y="952"/>
                    </a:cubicBezTo>
                    <a:cubicBezTo>
                      <a:pt x="60" y="952"/>
                      <a:pt x="35" y="927"/>
                      <a:pt x="35" y="897"/>
                    </a:cubicBezTo>
                    <a:cubicBezTo>
                      <a:pt x="35" y="867"/>
                      <a:pt x="60" y="842"/>
                      <a:pt x="90" y="842"/>
                    </a:cubicBezTo>
                    <a:close/>
                    <a:moveTo>
                      <a:pt x="1436" y="229"/>
                    </a:moveTo>
                    <a:cubicBezTo>
                      <a:pt x="1646" y="229"/>
                      <a:pt x="1646" y="229"/>
                      <a:pt x="1646" y="229"/>
                    </a:cubicBezTo>
                    <a:cubicBezTo>
                      <a:pt x="1656" y="229"/>
                      <a:pt x="1661" y="237"/>
                      <a:pt x="1667" y="248"/>
                    </a:cubicBezTo>
                    <a:cubicBezTo>
                      <a:pt x="1782" y="445"/>
                      <a:pt x="1782" y="445"/>
                      <a:pt x="1782" y="445"/>
                    </a:cubicBezTo>
                    <a:cubicBezTo>
                      <a:pt x="1783" y="446"/>
                      <a:pt x="1783" y="448"/>
                      <a:pt x="1783" y="449"/>
                    </a:cubicBezTo>
                    <a:cubicBezTo>
                      <a:pt x="1781" y="459"/>
                      <a:pt x="1774" y="465"/>
                      <a:pt x="1764" y="465"/>
                    </a:cubicBezTo>
                    <a:cubicBezTo>
                      <a:pt x="1436" y="465"/>
                      <a:pt x="1436" y="465"/>
                      <a:pt x="1436" y="465"/>
                    </a:cubicBezTo>
                    <a:cubicBezTo>
                      <a:pt x="1430" y="465"/>
                      <a:pt x="1425" y="461"/>
                      <a:pt x="1425" y="455"/>
                    </a:cubicBezTo>
                    <a:cubicBezTo>
                      <a:pt x="1425" y="239"/>
                      <a:pt x="1425" y="239"/>
                      <a:pt x="1425" y="239"/>
                    </a:cubicBezTo>
                    <a:cubicBezTo>
                      <a:pt x="1425" y="234"/>
                      <a:pt x="1430" y="229"/>
                      <a:pt x="1436" y="229"/>
                    </a:cubicBezTo>
                    <a:close/>
                    <a:moveTo>
                      <a:pt x="554" y="0"/>
                    </a:moveTo>
                    <a:cubicBezTo>
                      <a:pt x="1219" y="0"/>
                      <a:pt x="1219" y="0"/>
                      <a:pt x="1219" y="0"/>
                    </a:cubicBezTo>
                    <a:cubicBezTo>
                      <a:pt x="1230" y="0"/>
                      <a:pt x="1239" y="9"/>
                      <a:pt x="1239" y="21"/>
                    </a:cubicBezTo>
                    <a:cubicBezTo>
                      <a:pt x="1239" y="613"/>
                      <a:pt x="1239" y="613"/>
                      <a:pt x="1239" y="613"/>
                    </a:cubicBezTo>
                    <a:cubicBezTo>
                      <a:pt x="19" y="613"/>
                      <a:pt x="19" y="613"/>
                      <a:pt x="19" y="613"/>
                    </a:cubicBezTo>
                    <a:cubicBezTo>
                      <a:pt x="9" y="613"/>
                      <a:pt x="0" y="604"/>
                      <a:pt x="0" y="592"/>
                    </a:cubicBezTo>
                    <a:cubicBezTo>
                      <a:pt x="0" y="433"/>
                      <a:pt x="0" y="433"/>
                      <a:pt x="0" y="433"/>
                    </a:cubicBezTo>
                    <a:cubicBezTo>
                      <a:pt x="50" y="456"/>
                      <a:pt x="107" y="470"/>
                      <a:pt x="167" y="470"/>
                    </a:cubicBezTo>
                    <a:cubicBezTo>
                      <a:pt x="384" y="470"/>
                      <a:pt x="561" y="292"/>
                      <a:pt x="561" y="72"/>
                    </a:cubicBezTo>
                    <a:cubicBezTo>
                      <a:pt x="561" y="48"/>
                      <a:pt x="559" y="24"/>
                      <a:pt x="55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71" name="bcgIcons_Purchase ">
            <a:extLst>
              <a:ext uri="{FF2B5EF4-FFF2-40B4-BE49-F238E27FC236}">
                <a16:creationId xmlns:a16="http://schemas.microsoft.com/office/drawing/2014/main" id="{4DB1C269-CCA3-927E-AA25-EFD2F192A07E}"/>
              </a:ext>
            </a:extLst>
          </p:cNvPr>
          <p:cNvGrpSpPr>
            <a:grpSpLocks noChangeAspect="1"/>
          </p:cNvGrpSpPr>
          <p:nvPr/>
        </p:nvGrpSpPr>
        <p:grpSpPr>
          <a:xfrm>
            <a:off x="8152678" y="4763430"/>
            <a:ext cx="125450" cy="125450"/>
            <a:chOff x="5273675" y="2606675"/>
            <a:chExt cx="1644650" cy="1644650"/>
          </a:xfrm>
        </p:grpSpPr>
        <p:sp>
          <p:nvSpPr>
            <p:cNvPr id="272" name="AutoShape 3">
              <a:extLst>
                <a:ext uri="{FF2B5EF4-FFF2-40B4-BE49-F238E27FC236}">
                  <a16:creationId xmlns:a16="http://schemas.microsoft.com/office/drawing/2014/main" id="{BFDBF37B-6AED-BADE-0CA5-59C0E55E9C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id="{88CBA059-5705-C681-29FF-9E24AAB9CCDB}"/>
                </a:ext>
              </a:extLst>
            </p:cNvPr>
            <p:cNvGrpSpPr/>
            <p:nvPr/>
          </p:nvGrpSpPr>
          <p:grpSpPr>
            <a:xfrm>
              <a:off x="5717381" y="2836863"/>
              <a:ext cx="757238" cy="1184275"/>
              <a:chOff x="5713413" y="2830513"/>
              <a:chExt cx="757238" cy="1184275"/>
            </a:xfrm>
          </p:grpSpPr>
          <p:sp>
            <p:nvSpPr>
              <p:cNvPr id="274" name="Freeform 5">
                <a:extLst>
                  <a:ext uri="{FF2B5EF4-FFF2-40B4-BE49-F238E27FC236}">
                    <a16:creationId xmlns:a16="http://schemas.microsoft.com/office/drawing/2014/main" id="{2B9DCAA0-1B0D-AAAC-487B-25CAF53707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3275" y="2830513"/>
                <a:ext cx="425450" cy="223838"/>
              </a:xfrm>
              <a:custGeom>
                <a:avLst/>
                <a:gdLst>
                  <a:gd name="T0" fmla="*/ 509 w 596"/>
                  <a:gd name="T1" fmla="*/ 82 h 314"/>
                  <a:gd name="T2" fmla="*/ 298 w 596"/>
                  <a:gd name="T3" fmla="*/ 0 h 314"/>
                  <a:gd name="T4" fmla="*/ 87 w 596"/>
                  <a:gd name="T5" fmla="*/ 82 h 314"/>
                  <a:gd name="T6" fmla="*/ 0 w 596"/>
                  <a:gd name="T7" fmla="*/ 314 h 314"/>
                  <a:gd name="T8" fmla="*/ 0 w 596"/>
                  <a:gd name="T9" fmla="*/ 314 h 314"/>
                  <a:gd name="T10" fmla="*/ 44 w 596"/>
                  <a:gd name="T11" fmla="*/ 314 h 314"/>
                  <a:gd name="T12" fmla="*/ 44 w 596"/>
                  <a:gd name="T13" fmla="*/ 314 h 314"/>
                  <a:gd name="T14" fmla="*/ 298 w 596"/>
                  <a:gd name="T15" fmla="*/ 44 h 314"/>
                  <a:gd name="T16" fmla="*/ 552 w 596"/>
                  <a:gd name="T17" fmla="*/ 314 h 314"/>
                  <a:gd name="T18" fmla="*/ 552 w 596"/>
                  <a:gd name="T19" fmla="*/ 314 h 314"/>
                  <a:gd name="T20" fmla="*/ 596 w 596"/>
                  <a:gd name="T21" fmla="*/ 314 h 314"/>
                  <a:gd name="T22" fmla="*/ 596 w 596"/>
                  <a:gd name="T23" fmla="*/ 314 h 314"/>
                  <a:gd name="T24" fmla="*/ 509 w 596"/>
                  <a:gd name="T25" fmla="*/ 82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6" h="314">
                    <a:moveTo>
                      <a:pt x="509" y="82"/>
                    </a:moveTo>
                    <a:cubicBezTo>
                      <a:pt x="455" y="29"/>
                      <a:pt x="381" y="0"/>
                      <a:pt x="298" y="0"/>
                    </a:cubicBezTo>
                    <a:cubicBezTo>
                      <a:pt x="215" y="0"/>
                      <a:pt x="141" y="29"/>
                      <a:pt x="87" y="82"/>
                    </a:cubicBezTo>
                    <a:cubicBezTo>
                      <a:pt x="30" y="138"/>
                      <a:pt x="0" y="218"/>
                      <a:pt x="0" y="314"/>
                    </a:cubicBezTo>
                    <a:cubicBezTo>
                      <a:pt x="0" y="314"/>
                      <a:pt x="0" y="314"/>
                      <a:pt x="0" y="314"/>
                    </a:cubicBezTo>
                    <a:cubicBezTo>
                      <a:pt x="44" y="314"/>
                      <a:pt x="44" y="314"/>
                      <a:pt x="44" y="314"/>
                    </a:cubicBezTo>
                    <a:cubicBezTo>
                      <a:pt x="44" y="314"/>
                      <a:pt x="44" y="314"/>
                      <a:pt x="44" y="314"/>
                    </a:cubicBezTo>
                    <a:cubicBezTo>
                      <a:pt x="44" y="150"/>
                      <a:pt x="144" y="44"/>
                      <a:pt x="298" y="44"/>
                    </a:cubicBezTo>
                    <a:cubicBezTo>
                      <a:pt x="452" y="44"/>
                      <a:pt x="552" y="150"/>
                      <a:pt x="552" y="314"/>
                    </a:cubicBezTo>
                    <a:cubicBezTo>
                      <a:pt x="552" y="314"/>
                      <a:pt x="552" y="314"/>
                      <a:pt x="552" y="314"/>
                    </a:cubicBezTo>
                    <a:cubicBezTo>
                      <a:pt x="596" y="314"/>
                      <a:pt x="596" y="314"/>
                      <a:pt x="596" y="314"/>
                    </a:cubicBezTo>
                    <a:cubicBezTo>
                      <a:pt x="596" y="314"/>
                      <a:pt x="596" y="314"/>
                      <a:pt x="596" y="314"/>
                    </a:cubicBezTo>
                    <a:cubicBezTo>
                      <a:pt x="596" y="218"/>
                      <a:pt x="566" y="138"/>
                      <a:pt x="509" y="8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6">
                <a:extLst>
                  <a:ext uri="{FF2B5EF4-FFF2-40B4-BE49-F238E27FC236}">
                    <a16:creationId xmlns:a16="http://schemas.microsoft.com/office/drawing/2014/main" id="{EA9DC18A-87C8-D3C3-4A25-F6E178F8F5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13413" y="3086100"/>
                <a:ext cx="757238" cy="928688"/>
              </a:xfrm>
              <a:custGeom>
                <a:avLst/>
                <a:gdLst>
                  <a:gd name="T0" fmla="*/ 1020 w 1060"/>
                  <a:gd name="T1" fmla="*/ 22 h 1301"/>
                  <a:gd name="T2" fmla="*/ 998 w 1060"/>
                  <a:gd name="T3" fmla="*/ 0 h 1301"/>
                  <a:gd name="T4" fmla="*/ 62 w 1060"/>
                  <a:gd name="T5" fmla="*/ 0 h 1301"/>
                  <a:gd name="T6" fmla="*/ 40 w 1060"/>
                  <a:gd name="T7" fmla="*/ 22 h 1301"/>
                  <a:gd name="T8" fmla="*/ 0 w 1060"/>
                  <a:gd name="T9" fmla="*/ 1279 h 1301"/>
                  <a:gd name="T10" fmla="*/ 22 w 1060"/>
                  <a:gd name="T11" fmla="*/ 1301 h 1301"/>
                  <a:gd name="T12" fmla="*/ 1038 w 1060"/>
                  <a:gd name="T13" fmla="*/ 1301 h 1301"/>
                  <a:gd name="T14" fmla="*/ 1060 w 1060"/>
                  <a:gd name="T15" fmla="*/ 1279 h 1301"/>
                  <a:gd name="T16" fmla="*/ 1020 w 1060"/>
                  <a:gd name="T17" fmla="*/ 22 h 1301"/>
                  <a:gd name="T18" fmla="*/ 622 w 1060"/>
                  <a:gd name="T19" fmla="*/ 800 h 1301"/>
                  <a:gd name="T20" fmla="*/ 557 w 1060"/>
                  <a:gd name="T21" fmla="*/ 837 h 1301"/>
                  <a:gd name="T22" fmla="*/ 557 w 1060"/>
                  <a:gd name="T23" fmla="*/ 898 h 1301"/>
                  <a:gd name="T24" fmla="*/ 497 w 1060"/>
                  <a:gd name="T25" fmla="*/ 898 h 1301"/>
                  <a:gd name="T26" fmla="*/ 497 w 1060"/>
                  <a:gd name="T27" fmla="*/ 842 h 1301"/>
                  <a:gd name="T28" fmla="*/ 414 w 1060"/>
                  <a:gd name="T29" fmla="*/ 815 h 1301"/>
                  <a:gd name="T30" fmla="*/ 439 w 1060"/>
                  <a:gd name="T31" fmla="*/ 754 h 1301"/>
                  <a:gd name="T32" fmla="*/ 518 w 1060"/>
                  <a:gd name="T33" fmla="*/ 782 h 1301"/>
                  <a:gd name="T34" fmla="*/ 578 w 1060"/>
                  <a:gd name="T35" fmla="*/ 741 h 1301"/>
                  <a:gd name="T36" fmla="*/ 563 w 1060"/>
                  <a:gd name="T37" fmla="*/ 702 h 1301"/>
                  <a:gd name="T38" fmla="*/ 505 w 1060"/>
                  <a:gd name="T39" fmla="*/ 662 h 1301"/>
                  <a:gd name="T40" fmla="*/ 447 w 1060"/>
                  <a:gd name="T41" fmla="*/ 627 h 1301"/>
                  <a:gd name="T42" fmla="*/ 423 w 1060"/>
                  <a:gd name="T43" fmla="*/ 593 h 1301"/>
                  <a:gd name="T44" fmla="*/ 415 w 1060"/>
                  <a:gd name="T45" fmla="*/ 549 h 1301"/>
                  <a:gd name="T46" fmla="*/ 437 w 1060"/>
                  <a:gd name="T47" fmla="*/ 487 h 1301"/>
                  <a:gd name="T48" fmla="*/ 497 w 1060"/>
                  <a:gd name="T49" fmla="*/ 450 h 1301"/>
                  <a:gd name="T50" fmla="*/ 497 w 1060"/>
                  <a:gd name="T51" fmla="*/ 403 h 1301"/>
                  <a:gd name="T52" fmla="*/ 557 w 1060"/>
                  <a:gd name="T53" fmla="*/ 403 h 1301"/>
                  <a:gd name="T54" fmla="*/ 557 w 1060"/>
                  <a:gd name="T55" fmla="*/ 448 h 1301"/>
                  <a:gd name="T56" fmla="*/ 628 w 1060"/>
                  <a:gd name="T57" fmla="*/ 471 h 1301"/>
                  <a:gd name="T58" fmla="*/ 608 w 1060"/>
                  <a:gd name="T59" fmla="*/ 530 h 1301"/>
                  <a:gd name="T60" fmla="*/ 532 w 1060"/>
                  <a:gd name="T61" fmla="*/ 504 h 1301"/>
                  <a:gd name="T62" fmla="*/ 496 w 1060"/>
                  <a:gd name="T63" fmla="*/ 517 h 1301"/>
                  <a:gd name="T64" fmla="*/ 483 w 1060"/>
                  <a:gd name="T65" fmla="*/ 549 h 1301"/>
                  <a:gd name="T66" fmla="*/ 556 w 1060"/>
                  <a:gd name="T67" fmla="*/ 617 h 1301"/>
                  <a:gd name="T68" fmla="*/ 611 w 1060"/>
                  <a:gd name="T69" fmla="*/ 652 h 1301"/>
                  <a:gd name="T70" fmla="*/ 637 w 1060"/>
                  <a:gd name="T71" fmla="*/ 689 h 1301"/>
                  <a:gd name="T72" fmla="*/ 646 w 1060"/>
                  <a:gd name="T73" fmla="*/ 736 h 1301"/>
                  <a:gd name="T74" fmla="*/ 622 w 1060"/>
                  <a:gd name="T75" fmla="*/ 800 h 1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60" h="1301">
                    <a:moveTo>
                      <a:pt x="1020" y="22"/>
                    </a:moveTo>
                    <a:cubicBezTo>
                      <a:pt x="1020" y="10"/>
                      <a:pt x="1010" y="0"/>
                      <a:pt x="998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0" y="0"/>
                      <a:pt x="40" y="10"/>
                      <a:pt x="40" y="22"/>
                    </a:cubicBezTo>
                    <a:cubicBezTo>
                      <a:pt x="0" y="1279"/>
                      <a:pt x="0" y="1279"/>
                      <a:pt x="0" y="1279"/>
                    </a:cubicBezTo>
                    <a:cubicBezTo>
                      <a:pt x="0" y="1291"/>
                      <a:pt x="10" y="1301"/>
                      <a:pt x="22" y="1301"/>
                    </a:cubicBezTo>
                    <a:cubicBezTo>
                      <a:pt x="1038" y="1301"/>
                      <a:pt x="1038" y="1301"/>
                      <a:pt x="1038" y="1301"/>
                    </a:cubicBezTo>
                    <a:cubicBezTo>
                      <a:pt x="1050" y="1301"/>
                      <a:pt x="1060" y="1291"/>
                      <a:pt x="1060" y="1279"/>
                    </a:cubicBezTo>
                    <a:lnTo>
                      <a:pt x="1020" y="22"/>
                    </a:lnTo>
                    <a:close/>
                    <a:moveTo>
                      <a:pt x="622" y="800"/>
                    </a:moveTo>
                    <a:cubicBezTo>
                      <a:pt x="607" y="818"/>
                      <a:pt x="585" y="831"/>
                      <a:pt x="557" y="837"/>
                    </a:cubicBezTo>
                    <a:cubicBezTo>
                      <a:pt x="557" y="898"/>
                      <a:pt x="557" y="898"/>
                      <a:pt x="557" y="898"/>
                    </a:cubicBezTo>
                    <a:cubicBezTo>
                      <a:pt x="497" y="898"/>
                      <a:pt x="497" y="898"/>
                      <a:pt x="497" y="898"/>
                    </a:cubicBezTo>
                    <a:cubicBezTo>
                      <a:pt x="497" y="842"/>
                      <a:pt x="497" y="842"/>
                      <a:pt x="497" y="842"/>
                    </a:cubicBezTo>
                    <a:cubicBezTo>
                      <a:pt x="467" y="840"/>
                      <a:pt x="439" y="831"/>
                      <a:pt x="414" y="815"/>
                    </a:cubicBezTo>
                    <a:cubicBezTo>
                      <a:pt x="439" y="754"/>
                      <a:pt x="439" y="754"/>
                      <a:pt x="439" y="754"/>
                    </a:cubicBezTo>
                    <a:cubicBezTo>
                      <a:pt x="466" y="773"/>
                      <a:pt x="492" y="782"/>
                      <a:pt x="518" y="782"/>
                    </a:cubicBezTo>
                    <a:cubicBezTo>
                      <a:pt x="558" y="782"/>
                      <a:pt x="578" y="769"/>
                      <a:pt x="578" y="741"/>
                    </a:cubicBezTo>
                    <a:cubicBezTo>
                      <a:pt x="578" y="727"/>
                      <a:pt x="573" y="714"/>
                      <a:pt x="563" y="702"/>
                    </a:cubicBezTo>
                    <a:cubicBezTo>
                      <a:pt x="553" y="690"/>
                      <a:pt x="533" y="677"/>
                      <a:pt x="505" y="662"/>
                    </a:cubicBezTo>
                    <a:cubicBezTo>
                      <a:pt x="476" y="648"/>
                      <a:pt x="457" y="636"/>
                      <a:pt x="447" y="627"/>
                    </a:cubicBezTo>
                    <a:cubicBezTo>
                      <a:pt x="436" y="617"/>
                      <a:pt x="429" y="606"/>
                      <a:pt x="423" y="593"/>
                    </a:cubicBezTo>
                    <a:cubicBezTo>
                      <a:pt x="418" y="580"/>
                      <a:pt x="415" y="566"/>
                      <a:pt x="415" y="549"/>
                    </a:cubicBezTo>
                    <a:cubicBezTo>
                      <a:pt x="415" y="526"/>
                      <a:pt x="422" y="505"/>
                      <a:pt x="437" y="487"/>
                    </a:cubicBezTo>
                    <a:cubicBezTo>
                      <a:pt x="452" y="469"/>
                      <a:pt x="472" y="456"/>
                      <a:pt x="497" y="450"/>
                    </a:cubicBezTo>
                    <a:cubicBezTo>
                      <a:pt x="497" y="403"/>
                      <a:pt x="497" y="403"/>
                      <a:pt x="497" y="403"/>
                    </a:cubicBezTo>
                    <a:cubicBezTo>
                      <a:pt x="557" y="403"/>
                      <a:pt x="557" y="403"/>
                      <a:pt x="557" y="403"/>
                    </a:cubicBezTo>
                    <a:cubicBezTo>
                      <a:pt x="557" y="448"/>
                      <a:pt x="557" y="448"/>
                      <a:pt x="557" y="448"/>
                    </a:cubicBezTo>
                    <a:cubicBezTo>
                      <a:pt x="589" y="451"/>
                      <a:pt x="613" y="459"/>
                      <a:pt x="628" y="471"/>
                    </a:cubicBezTo>
                    <a:cubicBezTo>
                      <a:pt x="608" y="530"/>
                      <a:pt x="608" y="530"/>
                      <a:pt x="608" y="530"/>
                    </a:cubicBezTo>
                    <a:cubicBezTo>
                      <a:pt x="584" y="513"/>
                      <a:pt x="559" y="504"/>
                      <a:pt x="532" y="504"/>
                    </a:cubicBezTo>
                    <a:cubicBezTo>
                      <a:pt x="517" y="504"/>
                      <a:pt x="504" y="508"/>
                      <a:pt x="496" y="517"/>
                    </a:cubicBezTo>
                    <a:cubicBezTo>
                      <a:pt x="487" y="525"/>
                      <a:pt x="483" y="536"/>
                      <a:pt x="483" y="549"/>
                    </a:cubicBezTo>
                    <a:cubicBezTo>
                      <a:pt x="483" y="571"/>
                      <a:pt x="507" y="594"/>
                      <a:pt x="556" y="617"/>
                    </a:cubicBezTo>
                    <a:cubicBezTo>
                      <a:pt x="581" y="630"/>
                      <a:pt x="600" y="642"/>
                      <a:pt x="611" y="652"/>
                    </a:cubicBezTo>
                    <a:cubicBezTo>
                      <a:pt x="623" y="663"/>
                      <a:pt x="631" y="675"/>
                      <a:pt x="637" y="689"/>
                    </a:cubicBezTo>
                    <a:cubicBezTo>
                      <a:pt x="643" y="703"/>
                      <a:pt x="646" y="719"/>
                      <a:pt x="646" y="736"/>
                    </a:cubicBezTo>
                    <a:cubicBezTo>
                      <a:pt x="646" y="760"/>
                      <a:pt x="638" y="782"/>
                      <a:pt x="622" y="80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76" name="bcgIcons_Sale ">
            <a:extLst>
              <a:ext uri="{FF2B5EF4-FFF2-40B4-BE49-F238E27FC236}">
                <a16:creationId xmlns:a16="http://schemas.microsoft.com/office/drawing/2014/main" id="{269D9831-891F-0755-F101-776B61BFE2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83077" y="4763430"/>
            <a:ext cx="125334" cy="125450"/>
            <a:chOff x="1682" y="0"/>
            <a:chExt cx="4316" cy="4320"/>
          </a:xfrm>
        </p:grpSpPr>
        <p:sp>
          <p:nvSpPr>
            <p:cNvPr id="277" name="AutoShape 3">
              <a:extLst>
                <a:ext uri="{FF2B5EF4-FFF2-40B4-BE49-F238E27FC236}">
                  <a16:creationId xmlns:a16="http://schemas.microsoft.com/office/drawing/2014/main" id="{6FBC3ECD-C08F-BE16-E8F9-E9710DB10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5">
              <a:extLst>
                <a:ext uri="{FF2B5EF4-FFF2-40B4-BE49-F238E27FC236}">
                  <a16:creationId xmlns:a16="http://schemas.microsoft.com/office/drawing/2014/main" id="{631A688C-DC3D-BA92-5717-9EFC3C5428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4" y="677"/>
              <a:ext cx="2894" cy="2966"/>
            </a:xfrm>
            <a:custGeom>
              <a:avLst/>
              <a:gdLst>
                <a:gd name="T0" fmla="*/ 704 w 1545"/>
                <a:gd name="T1" fmla="*/ 1582 h 1582"/>
                <a:gd name="T2" fmla="*/ 674 w 1545"/>
                <a:gd name="T3" fmla="*/ 1571 h 1582"/>
                <a:gd name="T4" fmla="*/ 15 w 1545"/>
                <a:gd name="T5" fmla="*/ 959 h 1582"/>
                <a:gd name="T6" fmla="*/ 1 w 1545"/>
                <a:gd name="T7" fmla="*/ 929 h 1582"/>
                <a:gd name="T8" fmla="*/ 12 w 1545"/>
                <a:gd name="T9" fmla="*/ 897 h 1582"/>
                <a:gd name="T10" fmla="*/ 717 w 1545"/>
                <a:gd name="T11" fmla="*/ 136 h 1582"/>
                <a:gd name="T12" fmla="*/ 727 w 1545"/>
                <a:gd name="T13" fmla="*/ 130 h 1582"/>
                <a:gd name="T14" fmla="*/ 1136 w 1545"/>
                <a:gd name="T15" fmla="*/ 4 h 1582"/>
                <a:gd name="T16" fmla="*/ 1139 w 1545"/>
                <a:gd name="T17" fmla="*/ 3 h 1582"/>
                <a:gd name="T18" fmla="*/ 1180 w 1545"/>
                <a:gd name="T19" fmla="*/ 13 h 1582"/>
                <a:gd name="T20" fmla="*/ 1529 w 1545"/>
                <a:gd name="T21" fmla="*/ 336 h 1582"/>
                <a:gd name="T22" fmla="*/ 1542 w 1545"/>
                <a:gd name="T23" fmla="*/ 379 h 1582"/>
                <a:gd name="T24" fmla="*/ 1542 w 1545"/>
                <a:gd name="T25" fmla="*/ 380 h 1582"/>
                <a:gd name="T26" fmla="*/ 1447 w 1545"/>
                <a:gd name="T27" fmla="*/ 797 h 1582"/>
                <a:gd name="T28" fmla="*/ 1441 w 1545"/>
                <a:gd name="T29" fmla="*/ 807 h 1582"/>
                <a:gd name="T30" fmla="*/ 736 w 1545"/>
                <a:gd name="T31" fmla="*/ 1568 h 1582"/>
                <a:gd name="T32" fmla="*/ 706 w 1545"/>
                <a:gd name="T33" fmla="*/ 1582 h 1582"/>
                <a:gd name="T34" fmla="*/ 704 w 1545"/>
                <a:gd name="T35" fmla="*/ 1582 h 1582"/>
                <a:gd name="T36" fmla="*/ 704 w 1545"/>
                <a:gd name="T37" fmla="*/ 1538 h 1582"/>
                <a:gd name="T38" fmla="*/ 704 w 1545"/>
                <a:gd name="T39" fmla="*/ 1538 h 1582"/>
                <a:gd name="T40" fmla="*/ 704 w 1545"/>
                <a:gd name="T41" fmla="*/ 1538 h 1582"/>
                <a:gd name="T42" fmla="*/ 746 w 1545"/>
                <a:gd name="T43" fmla="*/ 171 h 1582"/>
                <a:gd name="T44" fmla="*/ 45 w 1545"/>
                <a:gd name="T45" fmla="*/ 927 h 1582"/>
                <a:gd name="T46" fmla="*/ 704 w 1545"/>
                <a:gd name="T47" fmla="*/ 1538 h 1582"/>
                <a:gd name="T48" fmla="*/ 1405 w 1545"/>
                <a:gd name="T49" fmla="*/ 782 h 1582"/>
                <a:gd name="T50" fmla="*/ 1499 w 1545"/>
                <a:gd name="T51" fmla="*/ 371 h 1582"/>
                <a:gd name="T52" fmla="*/ 1499 w 1545"/>
                <a:gd name="T53" fmla="*/ 369 h 1582"/>
                <a:gd name="T54" fmla="*/ 1151 w 1545"/>
                <a:gd name="T55" fmla="*/ 46 h 1582"/>
                <a:gd name="T56" fmla="*/ 1147 w 1545"/>
                <a:gd name="T57" fmla="*/ 46 h 1582"/>
                <a:gd name="T58" fmla="*/ 746 w 1545"/>
                <a:gd name="T59" fmla="*/ 171 h 1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45" h="1582">
                  <a:moveTo>
                    <a:pt x="704" y="1582"/>
                  </a:moveTo>
                  <a:cubicBezTo>
                    <a:pt x="693" y="1582"/>
                    <a:pt x="682" y="1578"/>
                    <a:pt x="674" y="1571"/>
                  </a:cubicBezTo>
                  <a:cubicBezTo>
                    <a:pt x="15" y="959"/>
                    <a:pt x="15" y="959"/>
                    <a:pt x="15" y="959"/>
                  </a:cubicBezTo>
                  <a:cubicBezTo>
                    <a:pt x="6" y="951"/>
                    <a:pt x="1" y="941"/>
                    <a:pt x="1" y="929"/>
                  </a:cubicBezTo>
                  <a:cubicBezTo>
                    <a:pt x="0" y="917"/>
                    <a:pt x="4" y="906"/>
                    <a:pt x="12" y="897"/>
                  </a:cubicBezTo>
                  <a:cubicBezTo>
                    <a:pt x="717" y="136"/>
                    <a:pt x="717" y="136"/>
                    <a:pt x="717" y="136"/>
                  </a:cubicBezTo>
                  <a:cubicBezTo>
                    <a:pt x="720" y="134"/>
                    <a:pt x="723" y="132"/>
                    <a:pt x="727" y="130"/>
                  </a:cubicBezTo>
                  <a:cubicBezTo>
                    <a:pt x="1136" y="4"/>
                    <a:pt x="1136" y="4"/>
                    <a:pt x="1136" y="4"/>
                  </a:cubicBezTo>
                  <a:cubicBezTo>
                    <a:pt x="1137" y="3"/>
                    <a:pt x="1138" y="3"/>
                    <a:pt x="1139" y="3"/>
                  </a:cubicBezTo>
                  <a:cubicBezTo>
                    <a:pt x="1150" y="1"/>
                    <a:pt x="1166" y="0"/>
                    <a:pt x="1180" y="13"/>
                  </a:cubicBezTo>
                  <a:cubicBezTo>
                    <a:pt x="1529" y="336"/>
                    <a:pt x="1529" y="336"/>
                    <a:pt x="1529" y="336"/>
                  </a:cubicBezTo>
                  <a:cubicBezTo>
                    <a:pt x="1540" y="347"/>
                    <a:pt x="1545" y="363"/>
                    <a:pt x="1542" y="379"/>
                  </a:cubicBezTo>
                  <a:cubicBezTo>
                    <a:pt x="1542" y="380"/>
                    <a:pt x="1542" y="380"/>
                    <a:pt x="1542" y="380"/>
                  </a:cubicBezTo>
                  <a:cubicBezTo>
                    <a:pt x="1447" y="797"/>
                    <a:pt x="1447" y="797"/>
                    <a:pt x="1447" y="797"/>
                  </a:cubicBezTo>
                  <a:cubicBezTo>
                    <a:pt x="1446" y="801"/>
                    <a:pt x="1444" y="805"/>
                    <a:pt x="1441" y="807"/>
                  </a:cubicBezTo>
                  <a:cubicBezTo>
                    <a:pt x="736" y="1568"/>
                    <a:pt x="736" y="1568"/>
                    <a:pt x="736" y="1568"/>
                  </a:cubicBezTo>
                  <a:cubicBezTo>
                    <a:pt x="728" y="1577"/>
                    <a:pt x="718" y="1582"/>
                    <a:pt x="706" y="1582"/>
                  </a:cubicBezTo>
                  <a:cubicBezTo>
                    <a:pt x="705" y="1582"/>
                    <a:pt x="705" y="1582"/>
                    <a:pt x="704" y="1582"/>
                  </a:cubicBezTo>
                  <a:close/>
                  <a:moveTo>
                    <a:pt x="704" y="1538"/>
                  </a:moveTo>
                  <a:cubicBezTo>
                    <a:pt x="704" y="1538"/>
                    <a:pt x="704" y="1538"/>
                    <a:pt x="704" y="1538"/>
                  </a:cubicBezTo>
                  <a:cubicBezTo>
                    <a:pt x="704" y="1538"/>
                    <a:pt x="704" y="1538"/>
                    <a:pt x="704" y="1538"/>
                  </a:cubicBezTo>
                  <a:close/>
                  <a:moveTo>
                    <a:pt x="746" y="171"/>
                  </a:moveTo>
                  <a:cubicBezTo>
                    <a:pt x="45" y="927"/>
                    <a:pt x="45" y="927"/>
                    <a:pt x="45" y="927"/>
                  </a:cubicBezTo>
                  <a:cubicBezTo>
                    <a:pt x="704" y="1538"/>
                    <a:pt x="704" y="1538"/>
                    <a:pt x="704" y="1538"/>
                  </a:cubicBezTo>
                  <a:cubicBezTo>
                    <a:pt x="1405" y="782"/>
                    <a:pt x="1405" y="782"/>
                    <a:pt x="1405" y="782"/>
                  </a:cubicBezTo>
                  <a:cubicBezTo>
                    <a:pt x="1499" y="371"/>
                    <a:pt x="1499" y="371"/>
                    <a:pt x="1499" y="371"/>
                  </a:cubicBezTo>
                  <a:cubicBezTo>
                    <a:pt x="1499" y="370"/>
                    <a:pt x="1499" y="369"/>
                    <a:pt x="1499" y="369"/>
                  </a:cubicBezTo>
                  <a:cubicBezTo>
                    <a:pt x="1151" y="46"/>
                    <a:pt x="1151" y="46"/>
                    <a:pt x="1151" y="46"/>
                  </a:cubicBezTo>
                  <a:cubicBezTo>
                    <a:pt x="1150" y="46"/>
                    <a:pt x="1149" y="46"/>
                    <a:pt x="1147" y="46"/>
                  </a:cubicBezTo>
                  <a:lnTo>
                    <a:pt x="746" y="17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6">
              <a:extLst>
                <a:ext uri="{FF2B5EF4-FFF2-40B4-BE49-F238E27FC236}">
                  <a16:creationId xmlns:a16="http://schemas.microsoft.com/office/drawing/2014/main" id="{70B43880-BEB4-4F1E-390B-B0C9BD76BD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9" y="849"/>
              <a:ext cx="2527" cy="2601"/>
            </a:xfrm>
            <a:custGeom>
              <a:avLst/>
              <a:gdLst>
                <a:gd name="T0" fmla="*/ 524 w 1349"/>
                <a:gd name="T1" fmla="*/ 640 h 1387"/>
                <a:gd name="T2" fmla="*/ 520 w 1349"/>
                <a:gd name="T3" fmla="*/ 541 h 1387"/>
                <a:gd name="T4" fmla="*/ 571 w 1349"/>
                <a:gd name="T5" fmla="*/ 519 h 1387"/>
                <a:gd name="T6" fmla="*/ 619 w 1349"/>
                <a:gd name="T7" fmla="*/ 537 h 1387"/>
                <a:gd name="T8" fmla="*/ 641 w 1349"/>
                <a:gd name="T9" fmla="*/ 586 h 1387"/>
                <a:gd name="T10" fmla="*/ 622 w 1349"/>
                <a:gd name="T11" fmla="*/ 636 h 1387"/>
                <a:gd name="T12" fmla="*/ 524 w 1349"/>
                <a:gd name="T13" fmla="*/ 640 h 1387"/>
                <a:gd name="T14" fmla="*/ 589 w 1349"/>
                <a:gd name="T15" fmla="*/ 955 h 1387"/>
                <a:gd name="T16" fmla="*/ 537 w 1349"/>
                <a:gd name="T17" fmla="*/ 977 h 1387"/>
                <a:gd name="T18" fmla="*/ 519 w 1349"/>
                <a:gd name="T19" fmla="*/ 1028 h 1387"/>
                <a:gd name="T20" fmla="*/ 541 w 1349"/>
                <a:gd name="T21" fmla="*/ 1076 h 1387"/>
                <a:gd name="T22" fmla="*/ 640 w 1349"/>
                <a:gd name="T23" fmla="*/ 1072 h 1387"/>
                <a:gd name="T24" fmla="*/ 636 w 1349"/>
                <a:gd name="T25" fmla="*/ 974 h 1387"/>
                <a:gd name="T26" fmla="*/ 589 w 1349"/>
                <a:gd name="T27" fmla="*/ 955 h 1387"/>
                <a:gd name="T28" fmla="*/ 1349 w 1349"/>
                <a:gd name="T29" fmla="*/ 292 h 1387"/>
                <a:gd name="T30" fmla="*/ 1263 w 1349"/>
                <a:gd name="T31" fmla="*/ 669 h 1387"/>
                <a:gd name="T32" fmla="*/ 598 w 1349"/>
                <a:gd name="T33" fmla="*/ 1387 h 1387"/>
                <a:gd name="T34" fmla="*/ 0 w 1349"/>
                <a:gd name="T35" fmla="*/ 833 h 1387"/>
                <a:gd name="T36" fmla="*/ 665 w 1349"/>
                <a:gd name="T37" fmla="*/ 115 h 1387"/>
                <a:gd name="T38" fmla="*/ 1035 w 1349"/>
                <a:gd name="T39" fmla="*/ 0 h 1387"/>
                <a:gd name="T40" fmla="*/ 1349 w 1349"/>
                <a:gd name="T41" fmla="*/ 292 h 1387"/>
                <a:gd name="T42" fmla="*/ 494 w 1349"/>
                <a:gd name="T43" fmla="*/ 672 h 1387"/>
                <a:gd name="T44" fmla="*/ 571 w 1349"/>
                <a:gd name="T45" fmla="*/ 703 h 1387"/>
                <a:gd name="T46" fmla="*/ 655 w 1349"/>
                <a:gd name="T47" fmla="*/ 666 h 1387"/>
                <a:gd name="T48" fmla="*/ 685 w 1349"/>
                <a:gd name="T49" fmla="*/ 584 h 1387"/>
                <a:gd name="T50" fmla="*/ 649 w 1349"/>
                <a:gd name="T51" fmla="*/ 505 h 1387"/>
                <a:gd name="T52" fmla="*/ 567 w 1349"/>
                <a:gd name="T53" fmla="*/ 475 h 1387"/>
                <a:gd name="T54" fmla="*/ 488 w 1349"/>
                <a:gd name="T55" fmla="*/ 511 h 1387"/>
                <a:gd name="T56" fmla="*/ 494 w 1349"/>
                <a:gd name="T57" fmla="*/ 672 h 1387"/>
                <a:gd name="T58" fmla="*/ 666 w 1349"/>
                <a:gd name="T59" fmla="*/ 941 h 1387"/>
                <a:gd name="T60" fmla="*/ 505 w 1349"/>
                <a:gd name="T61" fmla="*/ 947 h 1387"/>
                <a:gd name="T62" fmla="*/ 475 w 1349"/>
                <a:gd name="T63" fmla="*/ 1029 h 1387"/>
                <a:gd name="T64" fmla="*/ 511 w 1349"/>
                <a:gd name="T65" fmla="*/ 1108 h 1387"/>
                <a:gd name="T66" fmla="*/ 589 w 1349"/>
                <a:gd name="T67" fmla="*/ 1139 h 1387"/>
                <a:gd name="T68" fmla="*/ 593 w 1349"/>
                <a:gd name="T69" fmla="*/ 1139 h 1387"/>
                <a:gd name="T70" fmla="*/ 672 w 1349"/>
                <a:gd name="T71" fmla="*/ 1102 h 1387"/>
                <a:gd name="T72" fmla="*/ 666 w 1349"/>
                <a:gd name="T73" fmla="*/ 941 h 1387"/>
                <a:gd name="T74" fmla="*/ 945 w 1349"/>
                <a:gd name="T75" fmla="*/ 766 h 1387"/>
                <a:gd name="T76" fmla="*/ 921 w 1349"/>
                <a:gd name="T77" fmla="*/ 746 h 1387"/>
                <a:gd name="T78" fmla="*/ 248 w 1349"/>
                <a:gd name="T79" fmla="*/ 809 h 1387"/>
                <a:gd name="T80" fmla="*/ 228 w 1349"/>
                <a:gd name="T81" fmla="*/ 833 h 1387"/>
                <a:gd name="T82" fmla="*/ 250 w 1349"/>
                <a:gd name="T83" fmla="*/ 853 h 1387"/>
                <a:gd name="T84" fmla="*/ 252 w 1349"/>
                <a:gd name="T85" fmla="*/ 853 h 1387"/>
                <a:gd name="T86" fmla="*/ 925 w 1349"/>
                <a:gd name="T87" fmla="*/ 790 h 1387"/>
                <a:gd name="T88" fmla="*/ 945 w 1349"/>
                <a:gd name="T89" fmla="*/ 766 h 1387"/>
                <a:gd name="T90" fmla="*/ 1137 w 1349"/>
                <a:gd name="T91" fmla="*/ 206 h 1387"/>
                <a:gd name="T92" fmla="*/ 1018 w 1349"/>
                <a:gd name="T93" fmla="*/ 210 h 1387"/>
                <a:gd name="T94" fmla="*/ 1023 w 1349"/>
                <a:gd name="T95" fmla="*/ 329 h 1387"/>
                <a:gd name="T96" fmla="*/ 1141 w 1349"/>
                <a:gd name="T97" fmla="*/ 325 h 1387"/>
                <a:gd name="T98" fmla="*/ 1137 w 1349"/>
                <a:gd name="T99" fmla="*/ 206 h 1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49" h="1387">
                  <a:moveTo>
                    <a:pt x="524" y="640"/>
                  </a:moveTo>
                  <a:cubicBezTo>
                    <a:pt x="495" y="614"/>
                    <a:pt x="494" y="569"/>
                    <a:pt x="520" y="541"/>
                  </a:cubicBezTo>
                  <a:cubicBezTo>
                    <a:pt x="534" y="526"/>
                    <a:pt x="552" y="519"/>
                    <a:pt x="571" y="519"/>
                  </a:cubicBezTo>
                  <a:cubicBezTo>
                    <a:pt x="588" y="519"/>
                    <a:pt x="605" y="525"/>
                    <a:pt x="619" y="537"/>
                  </a:cubicBezTo>
                  <a:cubicBezTo>
                    <a:pt x="632" y="550"/>
                    <a:pt x="640" y="567"/>
                    <a:pt x="641" y="586"/>
                  </a:cubicBezTo>
                  <a:cubicBezTo>
                    <a:pt x="642" y="605"/>
                    <a:pt x="635" y="623"/>
                    <a:pt x="622" y="636"/>
                  </a:cubicBezTo>
                  <a:cubicBezTo>
                    <a:pt x="596" y="665"/>
                    <a:pt x="552" y="666"/>
                    <a:pt x="524" y="640"/>
                  </a:cubicBezTo>
                  <a:close/>
                  <a:moveTo>
                    <a:pt x="589" y="955"/>
                  </a:moveTo>
                  <a:cubicBezTo>
                    <a:pt x="570" y="955"/>
                    <a:pt x="551" y="962"/>
                    <a:pt x="537" y="977"/>
                  </a:cubicBezTo>
                  <a:cubicBezTo>
                    <a:pt x="525" y="991"/>
                    <a:pt x="518" y="1009"/>
                    <a:pt x="519" y="1028"/>
                  </a:cubicBezTo>
                  <a:cubicBezTo>
                    <a:pt x="519" y="1046"/>
                    <a:pt x="527" y="1064"/>
                    <a:pt x="541" y="1076"/>
                  </a:cubicBezTo>
                  <a:cubicBezTo>
                    <a:pt x="569" y="1102"/>
                    <a:pt x="614" y="1101"/>
                    <a:pt x="640" y="1072"/>
                  </a:cubicBezTo>
                  <a:cubicBezTo>
                    <a:pt x="666" y="1044"/>
                    <a:pt x="665" y="1000"/>
                    <a:pt x="636" y="974"/>
                  </a:cubicBezTo>
                  <a:cubicBezTo>
                    <a:pt x="623" y="961"/>
                    <a:pt x="606" y="955"/>
                    <a:pt x="589" y="955"/>
                  </a:cubicBezTo>
                  <a:close/>
                  <a:moveTo>
                    <a:pt x="1349" y="292"/>
                  </a:moveTo>
                  <a:cubicBezTo>
                    <a:pt x="1263" y="669"/>
                    <a:pt x="1263" y="669"/>
                    <a:pt x="1263" y="669"/>
                  </a:cubicBezTo>
                  <a:cubicBezTo>
                    <a:pt x="598" y="1387"/>
                    <a:pt x="598" y="1387"/>
                    <a:pt x="598" y="1387"/>
                  </a:cubicBezTo>
                  <a:cubicBezTo>
                    <a:pt x="0" y="833"/>
                    <a:pt x="0" y="833"/>
                    <a:pt x="0" y="833"/>
                  </a:cubicBezTo>
                  <a:cubicBezTo>
                    <a:pt x="665" y="115"/>
                    <a:pt x="665" y="115"/>
                    <a:pt x="665" y="115"/>
                  </a:cubicBezTo>
                  <a:cubicBezTo>
                    <a:pt x="1035" y="0"/>
                    <a:pt x="1035" y="0"/>
                    <a:pt x="1035" y="0"/>
                  </a:cubicBezTo>
                  <a:lnTo>
                    <a:pt x="1349" y="292"/>
                  </a:lnTo>
                  <a:close/>
                  <a:moveTo>
                    <a:pt x="494" y="672"/>
                  </a:moveTo>
                  <a:cubicBezTo>
                    <a:pt x="516" y="693"/>
                    <a:pt x="543" y="703"/>
                    <a:pt x="571" y="703"/>
                  </a:cubicBezTo>
                  <a:cubicBezTo>
                    <a:pt x="602" y="703"/>
                    <a:pt x="632" y="690"/>
                    <a:pt x="655" y="666"/>
                  </a:cubicBezTo>
                  <a:cubicBezTo>
                    <a:pt x="675" y="644"/>
                    <a:pt x="686" y="615"/>
                    <a:pt x="685" y="584"/>
                  </a:cubicBezTo>
                  <a:cubicBezTo>
                    <a:pt x="684" y="554"/>
                    <a:pt x="671" y="526"/>
                    <a:pt x="649" y="505"/>
                  </a:cubicBezTo>
                  <a:cubicBezTo>
                    <a:pt x="626" y="484"/>
                    <a:pt x="597" y="474"/>
                    <a:pt x="567" y="475"/>
                  </a:cubicBezTo>
                  <a:cubicBezTo>
                    <a:pt x="536" y="476"/>
                    <a:pt x="508" y="489"/>
                    <a:pt x="488" y="511"/>
                  </a:cubicBezTo>
                  <a:cubicBezTo>
                    <a:pt x="445" y="557"/>
                    <a:pt x="448" y="630"/>
                    <a:pt x="494" y="672"/>
                  </a:cubicBezTo>
                  <a:close/>
                  <a:moveTo>
                    <a:pt x="666" y="941"/>
                  </a:moveTo>
                  <a:cubicBezTo>
                    <a:pt x="620" y="899"/>
                    <a:pt x="548" y="901"/>
                    <a:pt x="505" y="947"/>
                  </a:cubicBezTo>
                  <a:cubicBezTo>
                    <a:pt x="484" y="970"/>
                    <a:pt x="474" y="999"/>
                    <a:pt x="475" y="1029"/>
                  </a:cubicBezTo>
                  <a:cubicBezTo>
                    <a:pt x="476" y="1060"/>
                    <a:pt x="489" y="1088"/>
                    <a:pt x="511" y="1108"/>
                  </a:cubicBezTo>
                  <a:cubicBezTo>
                    <a:pt x="532" y="1128"/>
                    <a:pt x="560" y="1139"/>
                    <a:pt x="589" y="1139"/>
                  </a:cubicBezTo>
                  <a:cubicBezTo>
                    <a:pt x="590" y="1139"/>
                    <a:pt x="592" y="1139"/>
                    <a:pt x="593" y="1139"/>
                  </a:cubicBezTo>
                  <a:cubicBezTo>
                    <a:pt x="623" y="1138"/>
                    <a:pt x="652" y="1125"/>
                    <a:pt x="672" y="1102"/>
                  </a:cubicBezTo>
                  <a:cubicBezTo>
                    <a:pt x="715" y="1056"/>
                    <a:pt x="712" y="984"/>
                    <a:pt x="666" y="941"/>
                  </a:cubicBezTo>
                  <a:close/>
                  <a:moveTo>
                    <a:pt x="945" y="766"/>
                  </a:moveTo>
                  <a:cubicBezTo>
                    <a:pt x="944" y="754"/>
                    <a:pt x="933" y="745"/>
                    <a:pt x="921" y="746"/>
                  </a:cubicBezTo>
                  <a:cubicBezTo>
                    <a:pt x="248" y="809"/>
                    <a:pt x="248" y="809"/>
                    <a:pt x="248" y="809"/>
                  </a:cubicBezTo>
                  <a:cubicBezTo>
                    <a:pt x="236" y="810"/>
                    <a:pt x="227" y="821"/>
                    <a:pt x="228" y="833"/>
                  </a:cubicBezTo>
                  <a:cubicBezTo>
                    <a:pt x="229" y="845"/>
                    <a:pt x="239" y="853"/>
                    <a:pt x="250" y="853"/>
                  </a:cubicBezTo>
                  <a:cubicBezTo>
                    <a:pt x="251" y="853"/>
                    <a:pt x="251" y="853"/>
                    <a:pt x="252" y="853"/>
                  </a:cubicBezTo>
                  <a:cubicBezTo>
                    <a:pt x="925" y="790"/>
                    <a:pt x="925" y="790"/>
                    <a:pt x="925" y="790"/>
                  </a:cubicBezTo>
                  <a:cubicBezTo>
                    <a:pt x="937" y="789"/>
                    <a:pt x="946" y="778"/>
                    <a:pt x="945" y="766"/>
                  </a:cubicBezTo>
                  <a:close/>
                  <a:moveTo>
                    <a:pt x="1137" y="206"/>
                  </a:moveTo>
                  <a:cubicBezTo>
                    <a:pt x="1103" y="174"/>
                    <a:pt x="1050" y="176"/>
                    <a:pt x="1018" y="210"/>
                  </a:cubicBezTo>
                  <a:cubicBezTo>
                    <a:pt x="987" y="244"/>
                    <a:pt x="989" y="298"/>
                    <a:pt x="1023" y="329"/>
                  </a:cubicBezTo>
                  <a:cubicBezTo>
                    <a:pt x="1057" y="361"/>
                    <a:pt x="1110" y="359"/>
                    <a:pt x="1141" y="325"/>
                  </a:cubicBezTo>
                  <a:cubicBezTo>
                    <a:pt x="1173" y="290"/>
                    <a:pt x="1171" y="237"/>
                    <a:pt x="1137" y="2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0" name="bcgIcons_Insurance">
            <a:extLst>
              <a:ext uri="{FF2B5EF4-FFF2-40B4-BE49-F238E27FC236}">
                <a16:creationId xmlns:a16="http://schemas.microsoft.com/office/drawing/2014/main" id="{BA7612B8-B25E-6980-79F5-785A83A5830E}"/>
              </a:ext>
            </a:extLst>
          </p:cNvPr>
          <p:cNvGrpSpPr>
            <a:grpSpLocks noChangeAspect="1"/>
          </p:cNvGrpSpPr>
          <p:nvPr/>
        </p:nvGrpSpPr>
        <p:grpSpPr>
          <a:xfrm>
            <a:off x="9813500" y="4763430"/>
            <a:ext cx="125450" cy="125450"/>
            <a:chOff x="5195888" y="1966913"/>
            <a:chExt cx="1646237" cy="1646237"/>
          </a:xfrm>
        </p:grpSpPr>
        <p:sp>
          <p:nvSpPr>
            <p:cNvPr id="281" name="AutoShape 19">
              <a:extLst>
                <a:ext uri="{FF2B5EF4-FFF2-40B4-BE49-F238E27FC236}">
                  <a16:creationId xmlns:a16="http://schemas.microsoft.com/office/drawing/2014/main" id="{F13AF927-CE82-E186-7002-FA319098E84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95888" y="1966913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83" name="Group 282">
              <a:extLst>
                <a:ext uri="{FF2B5EF4-FFF2-40B4-BE49-F238E27FC236}">
                  <a16:creationId xmlns:a16="http://schemas.microsoft.com/office/drawing/2014/main" id="{4BE86E93-7860-1FED-4C0F-67FFD91C7E0E}"/>
                </a:ext>
              </a:extLst>
            </p:cNvPr>
            <p:cNvGrpSpPr/>
            <p:nvPr/>
          </p:nvGrpSpPr>
          <p:grpSpPr>
            <a:xfrm>
              <a:off x="5467350" y="2151063"/>
              <a:ext cx="1101725" cy="1276350"/>
              <a:chOff x="5467350" y="2151063"/>
              <a:chExt cx="1101725" cy="1276350"/>
            </a:xfrm>
          </p:grpSpPr>
          <p:sp>
            <p:nvSpPr>
              <p:cNvPr id="284" name="Freeform 21">
                <a:extLst>
                  <a:ext uri="{FF2B5EF4-FFF2-40B4-BE49-F238E27FC236}">
                    <a16:creationId xmlns:a16="http://schemas.microsoft.com/office/drawing/2014/main" id="{7D31E110-7E9F-BE1C-4132-3FEB6991AE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2438" y="2212975"/>
                <a:ext cx="971550" cy="1147762"/>
              </a:xfrm>
              <a:custGeom>
                <a:avLst/>
                <a:gdLst>
                  <a:gd name="T0" fmla="*/ 1154 w 1358"/>
                  <a:gd name="T1" fmla="*/ 138 h 1605"/>
                  <a:gd name="T2" fmla="*/ 1118 w 1358"/>
                  <a:gd name="T3" fmla="*/ 53 h 1605"/>
                  <a:gd name="T4" fmla="*/ 1111 w 1358"/>
                  <a:gd name="T5" fmla="*/ 46 h 1605"/>
                  <a:gd name="T6" fmla="*/ 679 w 1358"/>
                  <a:gd name="T7" fmla="*/ 0 h 1605"/>
                  <a:gd name="T8" fmla="*/ 247 w 1358"/>
                  <a:gd name="T9" fmla="*/ 46 h 1605"/>
                  <a:gd name="T10" fmla="*/ 240 w 1358"/>
                  <a:gd name="T11" fmla="*/ 53 h 1605"/>
                  <a:gd name="T12" fmla="*/ 204 w 1358"/>
                  <a:gd name="T13" fmla="*/ 138 h 1605"/>
                  <a:gd name="T14" fmla="*/ 8 w 1358"/>
                  <a:gd name="T15" fmla="*/ 274 h 1605"/>
                  <a:gd name="T16" fmla="*/ 0 w 1358"/>
                  <a:gd name="T17" fmla="*/ 285 h 1605"/>
                  <a:gd name="T18" fmla="*/ 86 w 1358"/>
                  <a:gd name="T19" fmla="*/ 813 h 1605"/>
                  <a:gd name="T20" fmla="*/ 298 w 1358"/>
                  <a:gd name="T21" fmla="*/ 1279 h 1605"/>
                  <a:gd name="T22" fmla="*/ 675 w 1358"/>
                  <a:gd name="T23" fmla="*/ 1604 h 1605"/>
                  <a:gd name="T24" fmla="*/ 683 w 1358"/>
                  <a:gd name="T25" fmla="*/ 1604 h 1605"/>
                  <a:gd name="T26" fmla="*/ 1060 w 1358"/>
                  <a:gd name="T27" fmla="*/ 1279 h 1605"/>
                  <a:gd name="T28" fmla="*/ 1272 w 1358"/>
                  <a:gd name="T29" fmla="*/ 813 h 1605"/>
                  <a:gd name="T30" fmla="*/ 1358 w 1358"/>
                  <a:gd name="T31" fmla="*/ 285 h 1605"/>
                  <a:gd name="T32" fmla="*/ 1350 w 1358"/>
                  <a:gd name="T33" fmla="*/ 274 h 1605"/>
                  <a:gd name="T34" fmla="*/ 1154 w 1358"/>
                  <a:gd name="T35" fmla="*/ 138 h 1605"/>
                  <a:gd name="T36" fmla="*/ 1045 w 1358"/>
                  <a:gd name="T37" fmla="*/ 912 h 1605"/>
                  <a:gd name="T38" fmla="*/ 1035 w 1358"/>
                  <a:gd name="T39" fmla="*/ 922 h 1605"/>
                  <a:gd name="T40" fmla="*/ 795 w 1358"/>
                  <a:gd name="T41" fmla="*/ 922 h 1605"/>
                  <a:gd name="T42" fmla="*/ 795 w 1358"/>
                  <a:gd name="T43" fmla="*/ 1162 h 1605"/>
                  <a:gd name="T44" fmla="*/ 785 w 1358"/>
                  <a:gd name="T45" fmla="*/ 1172 h 1605"/>
                  <a:gd name="T46" fmla="*/ 573 w 1358"/>
                  <a:gd name="T47" fmla="*/ 1172 h 1605"/>
                  <a:gd name="T48" fmla="*/ 563 w 1358"/>
                  <a:gd name="T49" fmla="*/ 1162 h 1605"/>
                  <a:gd name="T50" fmla="*/ 563 w 1358"/>
                  <a:gd name="T51" fmla="*/ 922 h 1605"/>
                  <a:gd name="T52" fmla="*/ 323 w 1358"/>
                  <a:gd name="T53" fmla="*/ 922 h 1605"/>
                  <a:gd name="T54" fmla="*/ 313 w 1358"/>
                  <a:gd name="T55" fmla="*/ 912 h 1605"/>
                  <a:gd name="T56" fmla="*/ 313 w 1358"/>
                  <a:gd name="T57" fmla="*/ 700 h 1605"/>
                  <a:gd name="T58" fmla="*/ 323 w 1358"/>
                  <a:gd name="T59" fmla="*/ 690 h 1605"/>
                  <a:gd name="T60" fmla="*/ 563 w 1358"/>
                  <a:gd name="T61" fmla="*/ 690 h 1605"/>
                  <a:gd name="T62" fmla="*/ 563 w 1358"/>
                  <a:gd name="T63" fmla="*/ 450 h 1605"/>
                  <a:gd name="T64" fmla="*/ 573 w 1358"/>
                  <a:gd name="T65" fmla="*/ 440 h 1605"/>
                  <a:gd name="T66" fmla="*/ 785 w 1358"/>
                  <a:gd name="T67" fmla="*/ 440 h 1605"/>
                  <a:gd name="T68" fmla="*/ 795 w 1358"/>
                  <a:gd name="T69" fmla="*/ 450 h 1605"/>
                  <a:gd name="T70" fmla="*/ 795 w 1358"/>
                  <a:gd name="T71" fmla="*/ 690 h 1605"/>
                  <a:gd name="T72" fmla="*/ 1035 w 1358"/>
                  <a:gd name="T73" fmla="*/ 690 h 1605"/>
                  <a:gd name="T74" fmla="*/ 1045 w 1358"/>
                  <a:gd name="T75" fmla="*/ 700 h 1605"/>
                  <a:gd name="T76" fmla="*/ 1045 w 1358"/>
                  <a:gd name="T77" fmla="*/ 912 h 1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58" h="1605">
                    <a:moveTo>
                      <a:pt x="1154" y="138"/>
                    </a:moveTo>
                    <a:cubicBezTo>
                      <a:pt x="1136" y="107"/>
                      <a:pt x="1125" y="78"/>
                      <a:pt x="1118" y="53"/>
                    </a:cubicBezTo>
                    <a:cubicBezTo>
                      <a:pt x="1118" y="50"/>
                      <a:pt x="1115" y="47"/>
                      <a:pt x="1111" y="46"/>
                    </a:cubicBezTo>
                    <a:cubicBezTo>
                      <a:pt x="923" y="1"/>
                      <a:pt x="682" y="0"/>
                      <a:pt x="679" y="0"/>
                    </a:cubicBezTo>
                    <a:cubicBezTo>
                      <a:pt x="676" y="0"/>
                      <a:pt x="435" y="1"/>
                      <a:pt x="247" y="46"/>
                    </a:cubicBezTo>
                    <a:cubicBezTo>
                      <a:pt x="243" y="47"/>
                      <a:pt x="240" y="50"/>
                      <a:pt x="240" y="53"/>
                    </a:cubicBezTo>
                    <a:cubicBezTo>
                      <a:pt x="233" y="78"/>
                      <a:pt x="222" y="107"/>
                      <a:pt x="204" y="138"/>
                    </a:cubicBezTo>
                    <a:cubicBezTo>
                      <a:pt x="173" y="191"/>
                      <a:pt x="114" y="252"/>
                      <a:pt x="8" y="274"/>
                    </a:cubicBezTo>
                    <a:cubicBezTo>
                      <a:pt x="3" y="275"/>
                      <a:pt x="0" y="280"/>
                      <a:pt x="0" y="285"/>
                    </a:cubicBezTo>
                    <a:cubicBezTo>
                      <a:pt x="5" y="386"/>
                      <a:pt x="23" y="592"/>
                      <a:pt x="86" y="813"/>
                    </a:cubicBezTo>
                    <a:cubicBezTo>
                      <a:pt x="138" y="995"/>
                      <a:pt x="209" y="1151"/>
                      <a:pt x="298" y="1279"/>
                    </a:cubicBezTo>
                    <a:cubicBezTo>
                      <a:pt x="400" y="1426"/>
                      <a:pt x="527" y="1535"/>
                      <a:pt x="675" y="1604"/>
                    </a:cubicBezTo>
                    <a:cubicBezTo>
                      <a:pt x="677" y="1605"/>
                      <a:pt x="681" y="1605"/>
                      <a:pt x="683" y="1604"/>
                    </a:cubicBezTo>
                    <a:cubicBezTo>
                      <a:pt x="831" y="1535"/>
                      <a:pt x="958" y="1426"/>
                      <a:pt x="1060" y="1279"/>
                    </a:cubicBezTo>
                    <a:cubicBezTo>
                      <a:pt x="1149" y="1151"/>
                      <a:pt x="1220" y="995"/>
                      <a:pt x="1272" y="813"/>
                    </a:cubicBezTo>
                    <a:cubicBezTo>
                      <a:pt x="1335" y="592"/>
                      <a:pt x="1353" y="386"/>
                      <a:pt x="1358" y="285"/>
                    </a:cubicBezTo>
                    <a:cubicBezTo>
                      <a:pt x="1358" y="280"/>
                      <a:pt x="1355" y="275"/>
                      <a:pt x="1350" y="274"/>
                    </a:cubicBezTo>
                    <a:cubicBezTo>
                      <a:pt x="1244" y="252"/>
                      <a:pt x="1185" y="191"/>
                      <a:pt x="1154" y="138"/>
                    </a:cubicBezTo>
                    <a:close/>
                    <a:moveTo>
                      <a:pt x="1045" y="912"/>
                    </a:moveTo>
                    <a:cubicBezTo>
                      <a:pt x="1045" y="918"/>
                      <a:pt x="1041" y="922"/>
                      <a:pt x="1035" y="922"/>
                    </a:cubicBezTo>
                    <a:cubicBezTo>
                      <a:pt x="795" y="922"/>
                      <a:pt x="795" y="922"/>
                      <a:pt x="795" y="922"/>
                    </a:cubicBezTo>
                    <a:cubicBezTo>
                      <a:pt x="795" y="1162"/>
                      <a:pt x="795" y="1162"/>
                      <a:pt x="795" y="1162"/>
                    </a:cubicBezTo>
                    <a:cubicBezTo>
                      <a:pt x="795" y="1168"/>
                      <a:pt x="791" y="1172"/>
                      <a:pt x="785" y="1172"/>
                    </a:cubicBezTo>
                    <a:cubicBezTo>
                      <a:pt x="573" y="1172"/>
                      <a:pt x="573" y="1172"/>
                      <a:pt x="573" y="1172"/>
                    </a:cubicBezTo>
                    <a:cubicBezTo>
                      <a:pt x="567" y="1172"/>
                      <a:pt x="563" y="1168"/>
                      <a:pt x="563" y="1162"/>
                    </a:cubicBezTo>
                    <a:cubicBezTo>
                      <a:pt x="563" y="922"/>
                      <a:pt x="563" y="922"/>
                      <a:pt x="563" y="922"/>
                    </a:cubicBezTo>
                    <a:cubicBezTo>
                      <a:pt x="323" y="922"/>
                      <a:pt x="323" y="922"/>
                      <a:pt x="323" y="922"/>
                    </a:cubicBezTo>
                    <a:cubicBezTo>
                      <a:pt x="317" y="922"/>
                      <a:pt x="313" y="918"/>
                      <a:pt x="313" y="912"/>
                    </a:cubicBezTo>
                    <a:cubicBezTo>
                      <a:pt x="313" y="700"/>
                      <a:pt x="313" y="700"/>
                      <a:pt x="313" y="700"/>
                    </a:cubicBezTo>
                    <a:cubicBezTo>
                      <a:pt x="313" y="694"/>
                      <a:pt x="317" y="690"/>
                      <a:pt x="323" y="690"/>
                    </a:cubicBezTo>
                    <a:cubicBezTo>
                      <a:pt x="563" y="690"/>
                      <a:pt x="563" y="690"/>
                      <a:pt x="563" y="690"/>
                    </a:cubicBezTo>
                    <a:cubicBezTo>
                      <a:pt x="563" y="450"/>
                      <a:pt x="563" y="450"/>
                      <a:pt x="563" y="450"/>
                    </a:cubicBezTo>
                    <a:cubicBezTo>
                      <a:pt x="563" y="444"/>
                      <a:pt x="567" y="440"/>
                      <a:pt x="573" y="440"/>
                    </a:cubicBezTo>
                    <a:cubicBezTo>
                      <a:pt x="785" y="440"/>
                      <a:pt x="785" y="440"/>
                      <a:pt x="785" y="440"/>
                    </a:cubicBezTo>
                    <a:cubicBezTo>
                      <a:pt x="791" y="440"/>
                      <a:pt x="795" y="444"/>
                      <a:pt x="795" y="450"/>
                    </a:cubicBezTo>
                    <a:cubicBezTo>
                      <a:pt x="795" y="690"/>
                      <a:pt x="795" y="690"/>
                      <a:pt x="795" y="690"/>
                    </a:cubicBezTo>
                    <a:cubicBezTo>
                      <a:pt x="1035" y="690"/>
                      <a:pt x="1035" y="690"/>
                      <a:pt x="1035" y="690"/>
                    </a:cubicBezTo>
                    <a:cubicBezTo>
                      <a:pt x="1041" y="690"/>
                      <a:pt x="1045" y="694"/>
                      <a:pt x="1045" y="700"/>
                    </a:cubicBezTo>
                    <a:lnTo>
                      <a:pt x="1045" y="91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22">
                <a:extLst>
                  <a:ext uri="{FF2B5EF4-FFF2-40B4-BE49-F238E27FC236}">
                    <a16:creationId xmlns:a16="http://schemas.microsoft.com/office/drawing/2014/main" id="{D34526EF-59C0-8AC0-F1A1-4664172C91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67350" y="2151063"/>
                <a:ext cx="1101725" cy="1276350"/>
              </a:xfrm>
              <a:custGeom>
                <a:avLst/>
                <a:gdLst>
                  <a:gd name="T0" fmla="*/ 1539 w 1540"/>
                  <a:gd name="T1" fmla="*/ 304 h 1788"/>
                  <a:gd name="T2" fmla="*/ 1517 w 1540"/>
                  <a:gd name="T3" fmla="*/ 282 h 1788"/>
                  <a:gd name="T4" fmla="*/ 1288 w 1540"/>
                  <a:gd name="T5" fmla="*/ 82 h 1788"/>
                  <a:gd name="T6" fmla="*/ 1272 w 1540"/>
                  <a:gd name="T7" fmla="*/ 62 h 1788"/>
                  <a:gd name="T8" fmla="*/ 770 w 1540"/>
                  <a:gd name="T9" fmla="*/ 0 h 1788"/>
                  <a:gd name="T10" fmla="*/ 268 w 1540"/>
                  <a:gd name="T11" fmla="*/ 62 h 1788"/>
                  <a:gd name="T12" fmla="*/ 252 w 1540"/>
                  <a:gd name="T13" fmla="*/ 82 h 1788"/>
                  <a:gd name="T14" fmla="*/ 23 w 1540"/>
                  <a:gd name="T15" fmla="*/ 282 h 1788"/>
                  <a:gd name="T16" fmla="*/ 1 w 1540"/>
                  <a:gd name="T17" fmla="*/ 304 h 1788"/>
                  <a:gd name="T18" fmla="*/ 91 w 1540"/>
                  <a:gd name="T19" fmla="*/ 922 h 1788"/>
                  <a:gd name="T20" fmla="*/ 316 w 1540"/>
                  <a:gd name="T21" fmla="*/ 1416 h 1788"/>
                  <a:gd name="T22" fmla="*/ 761 w 1540"/>
                  <a:gd name="T23" fmla="*/ 1786 h 1788"/>
                  <a:gd name="T24" fmla="*/ 770 w 1540"/>
                  <a:gd name="T25" fmla="*/ 1788 h 1788"/>
                  <a:gd name="T26" fmla="*/ 779 w 1540"/>
                  <a:gd name="T27" fmla="*/ 1786 h 1788"/>
                  <a:gd name="T28" fmla="*/ 1224 w 1540"/>
                  <a:gd name="T29" fmla="*/ 1416 h 1788"/>
                  <a:gd name="T30" fmla="*/ 1449 w 1540"/>
                  <a:gd name="T31" fmla="*/ 922 h 1788"/>
                  <a:gd name="T32" fmla="*/ 1539 w 1540"/>
                  <a:gd name="T33" fmla="*/ 304 h 1788"/>
                  <a:gd name="T34" fmla="*/ 1406 w 1540"/>
                  <a:gd name="T35" fmla="*/ 911 h 1788"/>
                  <a:gd name="T36" fmla="*/ 770 w 1540"/>
                  <a:gd name="T37" fmla="*/ 1742 h 1788"/>
                  <a:gd name="T38" fmla="*/ 134 w 1540"/>
                  <a:gd name="T39" fmla="*/ 911 h 1788"/>
                  <a:gd name="T40" fmla="*/ 46 w 1540"/>
                  <a:gd name="T41" fmla="*/ 325 h 1788"/>
                  <a:gd name="T42" fmla="*/ 258 w 1540"/>
                  <a:gd name="T43" fmla="*/ 203 h 1788"/>
                  <a:gd name="T44" fmla="*/ 294 w 1540"/>
                  <a:gd name="T45" fmla="*/ 100 h 1788"/>
                  <a:gd name="T46" fmla="*/ 770 w 1540"/>
                  <a:gd name="T47" fmla="*/ 44 h 1788"/>
                  <a:gd name="T48" fmla="*/ 770 w 1540"/>
                  <a:gd name="T49" fmla="*/ 44 h 1788"/>
                  <a:gd name="T50" fmla="*/ 1246 w 1540"/>
                  <a:gd name="T51" fmla="*/ 100 h 1788"/>
                  <a:gd name="T52" fmla="*/ 1282 w 1540"/>
                  <a:gd name="T53" fmla="*/ 203 h 1788"/>
                  <a:gd name="T54" fmla="*/ 1494 w 1540"/>
                  <a:gd name="T55" fmla="*/ 325 h 1788"/>
                  <a:gd name="T56" fmla="*/ 1406 w 1540"/>
                  <a:gd name="T57" fmla="*/ 911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40" h="1788">
                    <a:moveTo>
                      <a:pt x="1539" y="304"/>
                    </a:moveTo>
                    <a:cubicBezTo>
                      <a:pt x="1539" y="292"/>
                      <a:pt x="1529" y="283"/>
                      <a:pt x="1517" y="282"/>
                    </a:cubicBezTo>
                    <a:cubicBezTo>
                      <a:pt x="1301" y="278"/>
                      <a:pt x="1288" y="90"/>
                      <a:pt x="1288" y="82"/>
                    </a:cubicBezTo>
                    <a:cubicBezTo>
                      <a:pt x="1288" y="73"/>
                      <a:pt x="1281" y="65"/>
                      <a:pt x="1272" y="62"/>
                    </a:cubicBezTo>
                    <a:cubicBezTo>
                      <a:pt x="1066" y="0"/>
                      <a:pt x="782" y="0"/>
                      <a:pt x="770" y="0"/>
                    </a:cubicBezTo>
                    <a:cubicBezTo>
                      <a:pt x="758" y="0"/>
                      <a:pt x="474" y="0"/>
                      <a:pt x="268" y="62"/>
                    </a:cubicBezTo>
                    <a:cubicBezTo>
                      <a:pt x="259" y="65"/>
                      <a:pt x="253" y="73"/>
                      <a:pt x="252" y="82"/>
                    </a:cubicBezTo>
                    <a:cubicBezTo>
                      <a:pt x="252" y="90"/>
                      <a:pt x="239" y="278"/>
                      <a:pt x="23" y="282"/>
                    </a:cubicBezTo>
                    <a:cubicBezTo>
                      <a:pt x="11" y="283"/>
                      <a:pt x="1" y="292"/>
                      <a:pt x="1" y="304"/>
                    </a:cubicBezTo>
                    <a:cubicBezTo>
                      <a:pt x="1" y="307"/>
                      <a:pt x="0" y="597"/>
                      <a:pt x="91" y="922"/>
                    </a:cubicBezTo>
                    <a:cubicBezTo>
                      <a:pt x="146" y="1114"/>
                      <a:pt x="221" y="1280"/>
                      <a:pt x="316" y="1416"/>
                    </a:cubicBezTo>
                    <a:cubicBezTo>
                      <a:pt x="435" y="1588"/>
                      <a:pt x="585" y="1712"/>
                      <a:pt x="761" y="1786"/>
                    </a:cubicBezTo>
                    <a:cubicBezTo>
                      <a:pt x="764" y="1787"/>
                      <a:pt x="767" y="1788"/>
                      <a:pt x="770" y="1788"/>
                    </a:cubicBezTo>
                    <a:cubicBezTo>
                      <a:pt x="773" y="1788"/>
                      <a:pt x="776" y="1787"/>
                      <a:pt x="779" y="1786"/>
                    </a:cubicBezTo>
                    <a:cubicBezTo>
                      <a:pt x="955" y="1712"/>
                      <a:pt x="1105" y="1588"/>
                      <a:pt x="1224" y="1416"/>
                    </a:cubicBezTo>
                    <a:cubicBezTo>
                      <a:pt x="1319" y="1280"/>
                      <a:pt x="1394" y="1114"/>
                      <a:pt x="1449" y="922"/>
                    </a:cubicBezTo>
                    <a:cubicBezTo>
                      <a:pt x="1540" y="597"/>
                      <a:pt x="1539" y="307"/>
                      <a:pt x="1539" y="304"/>
                    </a:cubicBezTo>
                    <a:close/>
                    <a:moveTo>
                      <a:pt x="1406" y="911"/>
                    </a:moveTo>
                    <a:cubicBezTo>
                      <a:pt x="1324" y="1201"/>
                      <a:pt x="1147" y="1579"/>
                      <a:pt x="770" y="1742"/>
                    </a:cubicBezTo>
                    <a:cubicBezTo>
                      <a:pt x="393" y="1579"/>
                      <a:pt x="216" y="1201"/>
                      <a:pt x="134" y="911"/>
                    </a:cubicBezTo>
                    <a:cubicBezTo>
                      <a:pt x="58" y="642"/>
                      <a:pt x="47" y="397"/>
                      <a:pt x="46" y="325"/>
                    </a:cubicBezTo>
                    <a:cubicBezTo>
                      <a:pt x="165" y="316"/>
                      <a:pt x="227" y="255"/>
                      <a:pt x="258" y="203"/>
                    </a:cubicBezTo>
                    <a:cubicBezTo>
                      <a:pt x="282" y="162"/>
                      <a:pt x="291" y="122"/>
                      <a:pt x="294" y="100"/>
                    </a:cubicBezTo>
                    <a:cubicBezTo>
                      <a:pt x="492" y="45"/>
                      <a:pt x="765" y="44"/>
                      <a:pt x="770" y="44"/>
                    </a:cubicBezTo>
                    <a:cubicBezTo>
                      <a:pt x="770" y="44"/>
                      <a:pt x="770" y="44"/>
                      <a:pt x="770" y="44"/>
                    </a:cubicBezTo>
                    <a:cubicBezTo>
                      <a:pt x="775" y="44"/>
                      <a:pt x="1048" y="45"/>
                      <a:pt x="1246" y="100"/>
                    </a:cubicBezTo>
                    <a:cubicBezTo>
                      <a:pt x="1249" y="122"/>
                      <a:pt x="1258" y="162"/>
                      <a:pt x="1282" y="203"/>
                    </a:cubicBezTo>
                    <a:cubicBezTo>
                      <a:pt x="1313" y="255"/>
                      <a:pt x="1375" y="316"/>
                      <a:pt x="1494" y="325"/>
                    </a:cubicBezTo>
                    <a:cubicBezTo>
                      <a:pt x="1493" y="397"/>
                      <a:pt x="1482" y="642"/>
                      <a:pt x="1406" y="9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6" name="Rounded Rectangle 458">
            <a:extLst>
              <a:ext uri="{FF2B5EF4-FFF2-40B4-BE49-F238E27FC236}">
                <a16:creationId xmlns:a16="http://schemas.microsoft.com/office/drawing/2014/main" id="{C67006C0-EC95-65E7-3E2C-43DF94BEB9A1}"/>
              </a:ext>
            </a:extLst>
          </p:cNvPr>
          <p:cNvSpPr>
            <a:spLocks/>
          </p:cNvSpPr>
          <p:nvPr/>
        </p:nvSpPr>
        <p:spPr>
          <a:xfrm>
            <a:off x="8495539" y="5684665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DA744427-8633-D2BF-D62F-CCE207A0B11B}"/>
              </a:ext>
            </a:extLst>
          </p:cNvPr>
          <p:cNvSpPr txBox="1">
            <a:spLocks/>
          </p:cNvSpPr>
          <p:nvPr/>
        </p:nvSpPr>
        <p:spPr>
          <a:xfrm>
            <a:off x="8567879" y="5853053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10%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</a:t>
            </a:r>
            <a:r>
              <a:rPr lang="en-US" sz="300">
                <a:solidFill>
                  <a:srgbClr val="1F22CF"/>
                </a:solidFill>
              </a:rPr>
              <a:t>1,2 p.p.</a:t>
            </a:r>
            <a:r>
              <a:rPr lang="en-US" sz="300" noProof="0">
                <a:solidFill>
                  <a:srgbClr val="1F22CF"/>
                </a:solidFill>
              </a:rPr>
              <a:t>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</a:t>
            </a:r>
            <a:r>
              <a:rPr lang="en-US" sz="300">
                <a:solidFill>
                  <a:schemeClr val="tx1"/>
                </a:solidFill>
              </a:rPr>
              <a:t>12%</a:t>
            </a:r>
            <a:r>
              <a:rPr lang="en-US" sz="300" noProof="0">
                <a:solidFill>
                  <a:schemeClr val="tx1"/>
                </a:solidFill>
              </a:rPr>
              <a:t>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183" name="Rounded Rectangle 458">
            <a:extLst>
              <a:ext uri="{FF2B5EF4-FFF2-40B4-BE49-F238E27FC236}">
                <a16:creationId xmlns:a16="http://schemas.microsoft.com/office/drawing/2014/main" id="{291BABE6-A1D2-4245-F9DB-15709D1724ED}"/>
              </a:ext>
            </a:extLst>
          </p:cNvPr>
          <p:cNvSpPr>
            <a:spLocks/>
          </p:cNvSpPr>
          <p:nvPr/>
        </p:nvSpPr>
        <p:spPr>
          <a:xfrm>
            <a:off x="9325949" y="5684665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4708A68-E3E5-47F1-917C-5BD4528D765D}"/>
              </a:ext>
            </a:extLst>
          </p:cNvPr>
          <p:cNvSpPr txBox="1">
            <a:spLocks/>
          </p:cNvSpPr>
          <p:nvPr/>
        </p:nvSpPr>
        <p:spPr>
          <a:xfrm>
            <a:off x="9398288" y="5853053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8%</a:t>
            </a:r>
          </a:p>
          <a:p>
            <a:pPr algn="ctr"/>
            <a:r>
              <a:rPr lang="en-US" sz="300" noProof="0">
                <a:solidFill>
                  <a:schemeClr val="accent6"/>
                </a:solidFill>
              </a:rPr>
              <a:t>(+0,9 p.p.)</a:t>
            </a:r>
            <a:endParaRPr lang="en-US" sz="1600" noProof="0">
              <a:solidFill>
                <a:schemeClr val="accent6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</a:t>
            </a:r>
            <a:r>
              <a:rPr lang="en-US" sz="300">
                <a:solidFill>
                  <a:schemeClr val="tx1"/>
                </a:solidFill>
              </a:rPr>
              <a:t>7,1%</a:t>
            </a:r>
            <a:r>
              <a:rPr lang="en-US" sz="300" noProof="0">
                <a:solidFill>
                  <a:schemeClr val="tx1"/>
                </a:solidFill>
              </a:rPr>
              <a:t>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199" name="Rounded Rectangle 458">
            <a:extLst>
              <a:ext uri="{FF2B5EF4-FFF2-40B4-BE49-F238E27FC236}">
                <a16:creationId xmlns:a16="http://schemas.microsoft.com/office/drawing/2014/main" id="{1505CE2C-3A76-B587-DCF7-DF37ED087C30}"/>
              </a:ext>
            </a:extLst>
          </p:cNvPr>
          <p:cNvSpPr>
            <a:spLocks/>
          </p:cNvSpPr>
          <p:nvPr/>
        </p:nvSpPr>
        <p:spPr>
          <a:xfrm>
            <a:off x="10156368" y="5684665"/>
            <a:ext cx="765407" cy="470206"/>
          </a:xfrm>
          <a:prstGeom prst="snip2DiagRect">
            <a:avLst/>
          </a:prstGeom>
          <a:noFill/>
          <a:ln w="9525" cap="rnd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noProof="0">
              <a:solidFill>
                <a:schemeClr val="tx1"/>
              </a:solidFill>
            </a:endParaRP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7EE54478-2723-F9F3-E4FD-B10AEE7088EB}"/>
              </a:ext>
            </a:extLst>
          </p:cNvPr>
          <p:cNvSpPr txBox="1">
            <a:spLocks/>
          </p:cNvSpPr>
          <p:nvPr/>
        </p:nvSpPr>
        <p:spPr>
          <a:xfrm>
            <a:off x="10228708" y="5853053"/>
            <a:ext cx="655480" cy="2539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algn="ctr"/>
            <a:r>
              <a:rPr lang="en-US" sz="1000" noProof="0">
                <a:solidFill>
                  <a:schemeClr val="tx1"/>
                </a:solidFill>
              </a:rPr>
              <a:t>13%</a:t>
            </a:r>
          </a:p>
          <a:p>
            <a:pPr algn="ctr"/>
            <a:r>
              <a:rPr lang="en-US" sz="300" noProof="0">
                <a:solidFill>
                  <a:srgbClr val="1F22CF"/>
                </a:solidFill>
              </a:rPr>
              <a:t>(-</a:t>
            </a:r>
            <a:r>
              <a:rPr lang="en-US" sz="300">
                <a:solidFill>
                  <a:srgbClr val="1F22CF"/>
                </a:solidFill>
              </a:rPr>
              <a:t>2,2 p.p.</a:t>
            </a:r>
            <a:r>
              <a:rPr lang="en-US" sz="300" noProof="0">
                <a:solidFill>
                  <a:srgbClr val="1F22CF"/>
                </a:solidFill>
              </a:rPr>
              <a:t>)</a:t>
            </a:r>
            <a:endParaRPr lang="en-US" sz="1600" noProof="0">
              <a:solidFill>
                <a:srgbClr val="1F22CF"/>
              </a:solidFill>
            </a:endParaRPr>
          </a:p>
          <a:p>
            <a:pPr algn="ctr"/>
            <a:r>
              <a:rPr lang="en-US" sz="300" noProof="0">
                <a:solidFill>
                  <a:schemeClr val="tx1"/>
                </a:solidFill>
              </a:rPr>
              <a:t>vs. 15,3% </a:t>
            </a:r>
            <a:r>
              <a:rPr lang="en-US" sz="300" noProof="0" err="1">
                <a:solidFill>
                  <a:schemeClr val="tx1"/>
                </a:solidFill>
              </a:rPr>
              <a:t>média</a:t>
            </a:r>
            <a:r>
              <a:rPr lang="en-US" sz="300" noProof="0">
                <a:solidFill>
                  <a:schemeClr val="tx1"/>
                </a:solidFill>
              </a:rPr>
              <a:t> 90d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DA2CE685-A6F9-915D-E8B1-5FDBD9DB2932}"/>
              </a:ext>
            </a:extLst>
          </p:cNvPr>
          <p:cNvSpPr txBox="1">
            <a:spLocks/>
          </p:cNvSpPr>
          <p:nvPr/>
        </p:nvSpPr>
        <p:spPr>
          <a:xfrm>
            <a:off x="8772575" y="5721094"/>
            <a:ext cx="461989" cy="8909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SKU/Canal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870869B8-AED0-CD53-1CA7-7D32B232D944}"/>
              </a:ext>
            </a:extLst>
          </p:cNvPr>
          <p:cNvSpPr txBox="1">
            <a:spLocks/>
          </p:cNvSpPr>
          <p:nvPr/>
        </p:nvSpPr>
        <p:spPr>
          <a:xfrm>
            <a:off x="9602984" y="5721094"/>
            <a:ext cx="461989" cy="8909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SKU/CD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18C2F0F7-9EC9-F826-68FB-7C831BF25A5D}"/>
              </a:ext>
            </a:extLst>
          </p:cNvPr>
          <p:cNvSpPr txBox="1">
            <a:spLocks/>
          </p:cNvSpPr>
          <p:nvPr/>
        </p:nvSpPr>
        <p:spPr>
          <a:xfrm>
            <a:off x="10433404" y="5721094"/>
            <a:ext cx="461989" cy="8909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noProof="0">
                <a:solidFill>
                  <a:srgbClr val="1F22CF"/>
                </a:solidFill>
              </a:rPr>
              <a:t>SKU/Loja</a:t>
            </a:r>
          </a:p>
        </p:txBody>
      </p:sp>
      <p:grpSp>
        <p:nvGrpSpPr>
          <p:cNvPr id="337" name="bcgIcons_Smart Phone 2 ">
            <a:extLst>
              <a:ext uri="{FF2B5EF4-FFF2-40B4-BE49-F238E27FC236}">
                <a16:creationId xmlns:a16="http://schemas.microsoft.com/office/drawing/2014/main" id="{EC9B9C87-F786-F572-A897-53883FAFEB0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67879" y="5702915"/>
            <a:ext cx="125334" cy="125450"/>
            <a:chOff x="1682" y="0"/>
            <a:chExt cx="4316" cy="4320"/>
          </a:xfrm>
        </p:grpSpPr>
        <p:sp>
          <p:nvSpPr>
            <p:cNvPr id="338" name="AutoShape 24">
              <a:extLst>
                <a:ext uri="{FF2B5EF4-FFF2-40B4-BE49-F238E27FC236}">
                  <a16:creationId xmlns:a16="http://schemas.microsoft.com/office/drawing/2014/main" id="{D0DE28AC-5D8A-B758-D855-DF8C7F580F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26">
              <a:extLst>
                <a:ext uri="{FF2B5EF4-FFF2-40B4-BE49-F238E27FC236}">
                  <a16:creationId xmlns:a16="http://schemas.microsoft.com/office/drawing/2014/main" id="{32A90E2F-E17F-F9DC-E149-B681D7AE3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3" y="726"/>
              <a:ext cx="1510" cy="2865"/>
            </a:xfrm>
            <a:custGeom>
              <a:avLst/>
              <a:gdLst>
                <a:gd name="T0" fmla="*/ 784 w 806"/>
                <a:gd name="T1" fmla="*/ 0 h 1528"/>
                <a:gd name="T2" fmla="*/ 22 w 806"/>
                <a:gd name="T3" fmla="*/ 0 h 1528"/>
                <a:gd name="T4" fmla="*/ 0 w 806"/>
                <a:gd name="T5" fmla="*/ 22 h 1528"/>
                <a:gd name="T6" fmla="*/ 0 w 806"/>
                <a:gd name="T7" fmla="*/ 1252 h 1528"/>
                <a:gd name="T8" fmla="*/ 0 w 806"/>
                <a:gd name="T9" fmla="*/ 1296 h 1528"/>
                <a:gd name="T10" fmla="*/ 0 w 806"/>
                <a:gd name="T11" fmla="*/ 1506 h 1528"/>
                <a:gd name="T12" fmla="*/ 22 w 806"/>
                <a:gd name="T13" fmla="*/ 1528 h 1528"/>
                <a:gd name="T14" fmla="*/ 784 w 806"/>
                <a:gd name="T15" fmla="*/ 1528 h 1528"/>
                <a:gd name="T16" fmla="*/ 806 w 806"/>
                <a:gd name="T17" fmla="*/ 1506 h 1528"/>
                <a:gd name="T18" fmla="*/ 806 w 806"/>
                <a:gd name="T19" fmla="*/ 1296 h 1528"/>
                <a:gd name="T20" fmla="*/ 806 w 806"/>
                <a:gd name="T21" fmla="*/ 1252 h 1528"/>
                <a:gd name="T22" fmla="*/ 806 w 806"/>
                <a:gd name="T23" fmla="*/ 22 h 1528"/>
                <a:gd name="T24" fmla="*/ 784 w 806"/>
                <a:gd name="T25" fmla="*/ 0 h 1528"/>
                <a:gd name="T26" fmla="*/ 762 w 806"/>
                <a:gd name="T27" fmla="*/ 1484 h 1528"/>
                <a:gd name="T28" fmla="*/ 44 w 806"/>
                <a:gd name="T29" fmla="*/ 1484 h 1528"/>
                <a:gd name="T30" fmla="*/ 44 w 806"/>
                <a:gd name="T31" fmla="*/ 1296 h 1528"/>
                <a:gd name="T32" fmla="*/ 762 w 806"/>
                <a:gd name="T33" fmla="*/ 1296 h 1528"/>
                <a:gd name="T34" fmla="*/ 762 w 806"/>
                <a:gd name="T35" fmla="*/ 1484 h 1528"/>
                <a:gd name="T36" fmla="*/ 44 w 806"/>
                <a:gd name="T37" fmla="*/ 1252 h 1528"/>
                <a:gd name="T38" fmla="*/ 44 w 806"/>
                <a:gd name="T39" fmla="*/ 44 h 1528"/>
                <a:gd name="T40" fmla="*/ 762 w 806"/>
                <a:gd name="T41" fmla="*/ 44 h 1528"/>
                <a:gd name="T42" fmla="*/ 762 w 806"/>
                <a:gd name="T43" fmla="*/ 1252 h 1528"/>
                <a:gd name="T44" fmla="*/ 44 w 806"/>
                <a:gd name="T45" fmla="*/ 1252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6" h="1528">
                  <a:moveTo>
                    <a:pt x="784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52"/>
                    <a:pt x="0" y="1252"/>
                    <a:pt x="0" y="1252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506"/>
                    <a:pt x="0" y="1506"/>
                    <a:pt x="0" y="1506"/>
                  </a:cubicBezTo>
                  <a:cubicBezTo>
                    <a:pt x="0" y="1518"/>
                    <a:pt x="10" y="1528"/>
                    <a:pt x="22" y="1528"/>
                  </a:cubicBezTo>
                  <a:cubicBezTo>
                    <a:pt x="784" y="1528"/>
                    <a:pt x="784" y="1528"/>
                    <a:pt x="784" y="1528"/>
                  </a:cubicBezTo>
                  <a:cubicBezTo>
                    <a:pt x="796" y="1528"/>
                    <a:pt x="806" y="1518"/>
                    <a:pt x="806" y="1506"/>
                  </a:cubicBezTo>
                  <a:cubicBezTo>
                    <a:pt x="806" y="1296"/>
                    <a:pt x="806" y="1296"/>
                    <a:pt x="806" y="1296"/>
                  </a:cubicBezTo>
                  <a:cubicBezTo>
                    <a:pt x="806" y="1252"/>
                    <a:pt x="806" y="1252"/>
                    <a:pt x="806" y="1252"/>
                  </a:cubicBezTo>
                  <a:cubicBezTo>
                    <a:pt x="806" y="22"/>
                    <a:pt x="806" y="22"/>
                    <a:pt x="806" y="22"/>
                  </a:cubicBezTo>
                  <a:cubicBezTo>
                    <a:pt x="806" y="10"/>
                    <a:pt x="796" y="0"/>
                    <a:pt x="784" y="0"/>
                  </a:cubicBezTo>
                  <a:close/>
                  <a:moveTo>
                    <a:pt x="762" y="1484"/>
                  </a:moveTo>
                  <a:cubicBezTo>
                    <a:pt x="44" y="1484"/>
                    <a:pt x="44" y="1484"/>
                    <a:pt x="44" y="1484"/>
                  </a:cubicBezTo>
                  <a:cubicBezTo>
                    <a:pt x="44" y="1296"/>
                    <a:pt x="44" y="1296"/>
                    <a:pt x="44" y="1296"/>
                  </a:cubicBezTo>
                  <a:cubicBezTo>
                    <a:pt x="762" y="1296"/>
                    <a:pt x="762" y="1296"/>
                    <a:pt x="762" y="1296"/>
                  </a:cubicBezTo>
                  <a:lnTo>
                    <a:pt x="762" y="1484"/>
                  </a:lnTo>
                  <a:close/>
                  <a:moveTo>
                    <a:pt x="44" y="1252"/>
                  </a:moveTo>
                  <a:cubicBezTo>
                    <a:pt x="44" y="44"/>
                    <a:pt x="44" y="44"/>
                    <a:pt x="44" y="44"/>
                  </a:cubicBezTo>
                  <a:cubicBezTo>
                    <a:pt x="762" y="44"/>
                    <a:pt x="762" y="44"/>
                    <a:pt x="762" y="44"/>
                  </a:cubicBezTo>
                  <a:cubicBezTo>
                    <a:pt x="762" y="1252"/>
                    <a:pt x="762" y="1252"/>
                    <a:pt x="762" y="1252"/>
                  </a:cubicBezTo>
                  <a:lnTo>
                    <a:pt x="44" y="12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27">
              <a:extLst>
                <a:ext uri="{FF2B5EF4-FFF2-40B4-BE49-F238E27FC236}">
                  <a16:creationId xmlns:a16="http://schemas.microsoft.com/office/drawing/2014/main" id="{FC6191DB-037A-2566-1D77-4A85388EB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7" y="917"/>
              <a:ext cx="1195" cy="2512"/>
            </a:xfrm>
            <a:custGeom>
              <a:avLst/>
              <a:gdLst>
                <a:gd name="T0" fmla="*/ 263 w 638"/>
                <a:gd name="T1" fmla="*/ 1282 h 1340"/>
                <a:gd name="T2" fmla="*/ 379 w 638"/>
                <a:gd name="T3" fmla="*/ 1282 h 1340"/>
                <a:gd name="T4" fmla="*/ 469 w 638"/>
                <a:gd name="T5" fmla="*/ 22 h 1340"/>
                <a:gd name="T6" fmla="*/ 195 w 638"/>
                <a:gd name="T7" fmla="*/ 0 h 1340"/>
                <a:gd name="T8" fmla="*/ 195 w 638"/>
                <a:gd name="T9" fmla="*/ 44 h 1340"/>
                <a:gd name="T10" fmla="*/ 469 w 638"/>
                <a:gd name="T11" fmla="*/ 22 h 1340"/>
                <a:gd name="T12" fmla="*/ 638 w 638"/>
                <a:gd name="T13" fmla="*/ 1092 h 1340"/>
                <a:gd name="T14" fmla="*/ 10 w 638"/>
                <a:gd name="T15" fmla="*/ 1102 h 1340"/>
                <a:gd name="T16" fmla="*/ 0 w 638"/>
                <a:gd name="T17" fmla="*/ 115 h 1340"/>
                <a:gd name="T18" fmla="*/ 628 w 638"/>
                <a:gd name="T19" fmla="*/ 105 h 1340"/>
                <a:gd name="T20" fmla="*/ 346 w 638"/>
                <a:gd name="T21" fmla="*/ 302 h 1340"/>
                <a:gd name="T22" fmla="*/ 373 w 638"/>
                <a:gd name="T23" fmla="*/ 302 h 1340"/>
                <a:gd name="T24" fmla="*/ 346 w 638"/>
                <a:gd name="T25" fmla="*/ 302 h 1340"/>
                <a:gd name="T26" fmla="*/ 308 w 638"/>
                <a:gd name="T27" fmla="*/ 287 h 1340"/>
                <a:gd name="T28" fmla="*/ 308 w 638"/>
                <a:gd name="T29" fmla="*/ 260 h 1340"/>
                <a:gd name="T30" fmla="*/ 247 w 638"/>
                <a:gd name="T31" fmla="*/ 319 h 1340"/>
                <a:gd name="T32" fmla="*/ 274 w 638"/>
                <a:gd name="T33" fmla="*/ 319 h 1340"/>
                <a:gd name="T34" fmla="*/ 247 w 638"/>
                <a:gd name="T35" fmla="*/ 319 h 1340"/>
                <a:gd name="T36" fmla="*/ 204 w 638"/>
                <a:gd name="T37" fmla="*/ 721 h 1340"/>
                <a:gd name="T38" fmla="*/ 110 w 638"/>
                <a:gd name="T39" fmla="*/ 729 h 1340"/>
                <a:gd name="T40" fmla="*/ 117 w 638"/>
                <a:gd name="T41" fmla="*/ 1033 h 1340"/>
                <a:gd name="T42" fmla="*/ 211 w 638"/>
                <a:gd name="T43" fmla="*/ 1025 h 1340"/>
                <a:gd name="T44" fmla="*/ 120 w 638"/>
                <a:gd name="T45" fmla="*/ 472 h 1340"/>
                <a:gd name="T46" fmla="*/ 120 w 638"/>
                <a:gd name="T47" fmla="*/ 445 h 1340"/>
                <a:gd name="T48" fmla="*/ 120 w 638"/>
                <a:gd name="T49" fmla="*/ 472 h 1340"/>
                <a:gd name="T50" fmla="*/ 180 w 638"/>
                <a:gd name="T51" fmla="*/ 412 h 1340"/>
                <a:gd name="T52" fmla="*/ 153 w 638"/>
                <a:gd name="T53" fmla="*/ 412 h 1340"/>
                <a:gd name="T54" fmla="*/ 369 w 638"/>
                <a:gd name="T55" fmla="*/ 672 h 1340"/>
                <a:gd name="T56" fmla="*/ 275 w 638"/>
                <a:gd name="T57" fmla="*/ 663 h 1340"/>
                <a:gd name="T58" fmla="*/ 267 w 638"/>
                <a:gd name="T59" fmla="*/ 1023 h 1340"/>
                <a:gd name="T60" fmla="*/ 361 w 638"/>
                <a:gd name="T61" fmla="*/ 1033 h 1340"/>
                <a:gd name="T62" fmla="*/ 369 w 638"/>
                <a:gd name="T63" fmla="*/ 672 h 1340"/>
                <a:gd name="T64" fmla="*/ 518 w 638"/>
                <a:gd name="T65" fmla="*/ 610 h 1340"/>
                <a:gd name="T66" fmla="*/ 424 w 638"/>
                <a:gd name="T67" fmla="*/ 621 h 1340"/>
                <a:gd name="T68" fmla="*/ 432 w 638"/>
                <a:gd name="T69" fmla="*/ 1033 h 1340"/>
                <a:gd name="T70" fmla="*/ 526 w 638"/>
                <a:gd name="T71" fmla="*/ 1021 h 1340"/>
                <a:gd name="T72" fmla="*/ 463 w 638"/>
                <a:gd name="T73" fmla="*/ 373 h 1340"/>
                <a:gd name="T74" fmla="*/ 463 w 638"/>
                <a:gd name="T75" fmla="*/ 346 h 1340"/>
                <a:gd name="T76" fmla="*/ 463 w 638"/>
                <a:gd name="T77" fmla="*/ 373 h 1340"/>
                <a:gd name="T78" fmla="*/ 515 w 638"/>
                <a:gd name="T79" fmla="*/ 375 h 1340"/>
                <a:gd name="T80" fmla="*/ 515 w 638"/>
                <a:gd name="T81" fmla="*/ 402 h 1340"/>
                <a:gd name="T82" fmla="*/ 550 w 638"/>
                <a:gd name="T83" fmla="*/ 203 h 1340"/>
                <a:gd name="T84" fmla="*/ 493 w 638"/>
                <a:gd name="T85" fmla="*/ 203 h 1340"/>
                <a:gd name="T86" fmla="*/ 341 w 638"/>
                <a:gd name="T87" fmla="*/ 390 h 1340"/>
                <a:gd name="T88" fmla="*/ 309 w 638"/>
                <a:gd name="T89" fmla="*/ 393 h 1340"/>
                <a:gd name="T90" fmla="*/ 117 w 638"/>
                <a:gd name="T91" fmla="*/ 284 h 1340"/>
                <a:gd name="T92" fmla="*/ 117 w 638"/>
                <a:gd name="T93" fmla="*/ 342 h 1340"/>
                <a:gd name="T94" fmla="*/ 299 w 638"/>
                <a:gd name="T95" fmla="*/ 417 h 1340"/>
                <a:gd name="T96" fmla="*/ 356 w 638"/>
                <a:gd name="T97" fmla="*/ 415 h 1340"/>
                <a:gd name="T98" fmla="*/ 515 w 638"/>
                <a:gd name="T99" fmla="*/ 232 h 1340"/>
                <a:gd name="T100" fmla="*/ 550 w 638"/>
                <a:gd name="T101" fmla="*/ 203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38" h="1340">
                  <a:moveTo>
                    <a:pt x="321" y="1340"/>
                  </a:moveTo>
                  <a:cubicBezTo>
                    <a:pt x="289" y="1340"/>
                    <a:pt x="263" y="1314"/>
                    <a:pt x="263" y="1282"/>
                  </a:cubicBezTo>
                  <a:cubicBezTo>
                    <a:pt x="263" y="1250"/>
                    <a:pt x="289" y="1224"/>
                    <a:pt x="321" y="1224"/>
                  </a:cubicBezTo>
                  <a:cubicBezTo>
                    <a:pt x="353" y="1224"/>
                    <a:pt x="379" y="1250"/>
                    <a:pt x="379" y="1282"/>
                  </a:cubicBezTo>
                  <a:cubicBezTo>
                    <a:pt x="379" y="1314"/>
                    <a:pt x="353" y="1340"/>
                    <a:pt x="321" y="1340"/>
                  </a:cubicBezTo>
                  <a:close/>
                  <a:moveTo>
                    <a:pt x="469" y="22"/>
                  </a:moveTo>
                  <a:cubicBezTo>
                    <a:pt x="469" y="10"/>
                    <a:pt x="459" y="0"/>
                    <a:pt x="447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83" y="0"/>
                    <a:pt x="173" y="10"/>
                    <a:pt x="173" y="22"/>
                  </a:cubicBezTo>
                  <a:cubicBezTo>
                    <a:pt x="173" y="34"/>
                    <a:pt x="183" y="44"/>
                    <a:pt x="195" y="44"/>
                  </a:cubicBezTo>
                  <a:cubicBezTo>
                    <a:pt x="447" y="44"/>
                    <a:pt x="447" y="44"/>
                    <a:pt x="447" y="44"/>
                  </a:cubicBezTo>
                  <a:cubicBezTo>
                    <a:pt x="459" y="44"/>
                    <a:pt x="469" y="34"/>
                    <a:pt x="469" y="22"/>
                  </a:cubicBezTo>
                  <a:close/>
                  <a:moveTo>
                    <a:pt x="638" y="115"/>
                  </a:moveTo>
                  <a:cubicBezTo>
                    <a:pt x="638" y="1092"/>
                    <a:pt x="638" y="1092"/>
                    <a:pt x="638" y="1092"/>
                  </a:cubicBezTo>
                  <a:cubicBezTo>
                    <a:pt x="638" y="1098"/>
                    <a:pt x="634" y="1102"/>
                    <a:pt x="628" y="1102"/>
                  </a:cubicBezTo>
                  <a:cubicBezTo>
                    <a:pt x="10" y="1102"/>
                    <a:pt x="10" y="1102"/>
                    <a:pt x="10" y="1102"/>
                  </a:cubicBezTo>
                  <a:cubicBezTo>
                    <a:pt x="4" y="1102"/>
                    <a:pt x="0" y="1098"/>
                    <a:pt x="0" y="109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0"/>
                    <a:pt x="4" y="105"/>
                    <a:pt x="10" y="105"/>
                  </a:cubicBezTo>
                  <a:cubicBezTo>
                    <a:pt x="628" y="105"/>
                    <a:pt x="628" y="105"/>
                    <a:pt x="628" y="105"/>
                  </a:cubicBezTo>
                  <a:cubicBezTo>
                    <a:pt x="634" y="105"/>
                    <a:pt x="638" y="110"/>
                    <a:pt x="638" y="115"/>
                  </a:cubicBezTo>
                  <a:close/>
                  <a:moveTo>
                    <a:pt x="346" y="302"/>
                  </a:moveTo>
                  <a:cubicBezTo>
                    <a:pt x="346" y="309"/>
                    <a:pt x="352" y="315"/>
                    <a:pt x="360" y="315"/>
                  </a:cubicBezTo>
                  <a:cubicBezTo>
                    <a:pt x="367" y="315"/>
                    <a:pt x="373" y="309"/>
                    <a:pt x="373" y="302"/>
                  </a:cubicBezTo>
                  <a:cubicBezTo>
                    <a:pt x="373" y="294"/>
                    <a:pt x="367" y="288"/>
                    <a:pt x="360" y="288"/>
                  </a:cubicBezTo>
                  <a:cubicBezTo>
                    <a:pt x="352" y="288"/>
                    <a:pt x="346" y="294"/>
                    <a:pt x="346" y="302"/>
                  </a:cubicBezTo>
                  <a:close/>
                  <a:moveTo>
                    <a:pt x="294" y="273"/>
                  </a:moveTo>
                  <a:cubicBezTo>
                    <a:pt x="294" y="281"/>
                    <a:pt x="300" y="287"/>
                    <a:pt x="308" y="287"/>
                  </a:cubicBezTo>
                  <a:cubicBezTo>
                    <a:pt x="315" y="287"/>
                    <a:pt x="321" y="281"/>
                    <a:pt x="321" y="273"/>
                  </a:cubicBezTo>
                  <a:cubicBezTo>
                    <a:pt x="321" y="266"/>
                    <a:pt x="315" y="260"/>
                    <a:pt x="308" y="260"/>
                  </a:cubicBezTo>
                  <a:cubicBezTo>
                    <a:pt x="300" y="260"/>
                    <a:pt x="294" y="266"/>
                    <a:pt x="294" y="273"/>
                  </a:cubicBezTo>
                  <a:close/>
                  <a:moveTo>
                    <a:pt x="247" y="319"/>
                  </a:moveTo>
                  <a:cubicBezTo>
                    <a:pt x="247" y="327"/>
                    <a:pt x="253" y="333"/>
                    <a:pt x="261" y="333"/>
                  </a:cubicBezTo>
                  <a:cubicBezTo>
                    <a:pt x="268" y="333"/>
                    <a:pt x="274" y="327"/>
                    <a:pt x="274" y="319"/>
                  </a:cubicBezTo>
                  <a:cubicBezTo>
                    <a:pt x="274" y="312"/>
                    <a:pt x="268" y="306"/>
                    <a:pt x="261" y="306"/>
                  </a:cubicBezTo>
                  <a:cubicBezTo>
                    <a:pt x="253" y="306"/>
                    <a:pt x="247" y="312"/>
                    <a:pt x="247" y="319"/>
                  </a:cubicBezTo>
                  <a:close/>
                  <a:moveTo>
                    <a:pt x="211" y="729"/>
                  </a:moveTo>
                  <a:cubicBezTo>
                    <a:pt x="211" y="724"/>
                    <a:pt x="209" y="721"/>
                    <a:pt x="204" y="721"/>
                  </a:cubicBezTo>
                  <a:cubicBezTo>
                    <a:pt x="117" y="721"/>
                    <a:pt x="117" y="721"/>
                    <a:pt x="117" y="721"/>
                  </a:cubicBezTo>
                  <a:cubicBezTo>
                    <a:pt x="113" y="721"/>
                    <a:pt x="110" y="724"/>
                    <a:pt x="110" y="729"/>
                  </a:cubicBezTo>
                  <a:cubicBezTo>
                    <a:pt x="110" y="1025"/>
                    <a:pt x="110" y="1025"/>
                    <a:pt x="110" y="1025"/>
                  </a:cubicBezTo>
                  <a:cubicBezTo>
                    <a:pt x="110" y="1029"/>
                    <a:pt x="113" y="1033"/>
                    <a:pt x="117" y="1033"/>
                  </a:cubicBezTo>
                  <a:cubicBezTo>
                    <a:pt x="204" y="1033"/>
                    <a:pt x="204" y="1033"/>
                    <a:pt x="204" y="1033"/>
                  </a:cubicBezTo>
                  <a:cubicBezTo>
                    <a:pt x="209" y="1033"/>
                    <a:pt x="211" y="1029"/>
                    <a:pt x="211" y="1025"/>
                  </a:cubicBezTo>
                  <a:cubicBezTo>
                    <a:pt x="211" y="729"/>
                    <a:pt x="211" y="729"/>
                    <a:pt x="211" y="729"/>
                  </a:cubicBezTo>
                  <a:close/>
                  <a:moveTo>
                    <a:pt x="120" y="472"/>
                  </a:moveTo>
                  <a:cubicBezTo>
                    <a:pt x="128" y="472"/>
                    <a:pt x="134" y="466"/>
                    <a:pt x="134" y="459"/>
                  </a:cubicBezTo>
                  <a:cubicBezTo>
                    <a:pt x="134" y="451"/>
                    <a:pt x="128" y="445"/>
                    <a:pt x="120" y="445"/>
                  </a:cubicBezTo>
                  <a:cubicBezTo>
                    <a:pt x="113" y="445"/>
                    <a:pt x="107" y="451"/>
                    <a:pt x="107" y="459"/>
                  </a:cubicBezTo>
                  <a:cubicBezTo>
                    <a:pt x="107" y="466"/>
                    <a:pt x="113" y="472"/>
                    <a:pt x="120" y="472"/>
                  </a:cubicBezTo>
                  <a:close/>
                  <a:moveTo>
                    <a:pt x="167" y="426"/>
                  </a:moveTo>
                  <a:cubicBezTo>
                    <a:pt x="174" y="426"/>
                    <a:pt x="180" y="420"/>
                    <a:pt x="180" y="412"/>
                  </a:cubicBezTo>
                  <a:cubicBezTo>
                    <a:pt x="180" y="405"/>
                    <a:pt x="174" y="399"/>
                    <a:pt x="167" y="399"/>
                  </a:cubicBezTo>
                  <a:cubicBezTo>
                    <a:pt x="159" y="399"/>
                    <a:pt x="153" y="405"/>
                    <a:pt x="153" y="412"/>
                  </a:cubicBezTo>
                  <a:cubicBezTo>
                    <a:pt x="153" y="420"/>
                    <a:pt x="159" y="426"/>
                    <a:pt x="167" y="426"/>
                  </a:cubicBezTo>
                  <a:close/>
                  <a:moveTo>
                    <a:pt x="369" y="672"/>
                  </a:moveTo>
                  <a:cubicBezTo>
                    <a:pt x="369" y="667"/>
                    <a:pt x="365" y="663"/>
                    <a:pt x="361" y="663"/>
                  </a:cubicBezTo>
                  <a:cubicBezTo>
                    <a:pt x="275" y="663"/>
                    <a:pt x="275" y="663"/>
                    <a:pt x="275" y="663"/>
                  </a:cubicBezTo>
                  <a:cubicBezTo>
                    <a:pt x="271" y="663"/>
                    <a:pt x="267" y="667"/>
                    <a:pt x="267" y="672"/>
                  </a:cubicBezTo>
                  <a:cubicBezTo>
                    <a:pt x="267" y="1023"/>
                    <a:pt x="267" y="1023"/>
                    <a:pt x="267" y="1023"/>
                  </a:cubicBezTo>
                  <a:cubicBezTo>
                    <a:pt x="267" y="1028"/>
                    <a:pt x="271" y="1033"/>
                    <a:pt x="275" y="1033"/>
                  </a:cubicBezTo>
                  <a:cubicBezTo>
                    <a:pt x="361" y="1033"/>
                    <a:pt x="361" y="1033"/>
                    <a:pt x="361" y="1033"/>
                  </a:cubicBezTo>
                  <a:cubicBezTo>
                    <a:pt x="365" y="1033"/>
                    <a:pt x="369" y="1028"/>
                    <a:pt x="369" y="1023"/>
                  </a:cubicBezTo>
                  <a:cubicBezTo>
                    <a:pt x="369" y="672"/>
                    <a:pt x="369" y="672"/>
                    <a:pt x="369" y="672"/>
                  </a:cubicBezTo>
                  <a:close/>
                  <a:moveTo>
                    <a:pt x="526" y="621"/>
                  </a:moveTo>
                  <a:cubicBezTo>
                    <a:pt x="526" y="615"/>
                    <a:pt x="522" y="610"/>
                    <a:pt x="518" y="610"/>
                  </a:cubicBezTo>
                  <a:cubicBezTo>
                    <a:pt x="432" y="610"/>
                    <a:pt x="432" y="610"/>
                    <a:pt x="432" y="610"/>
                  </a:cubicBezTo>
                  <a:cubicBezTo>
                    <a:pt x="428" y="610"/>
                    <a:pt x="424" y="615"/>
                    <a:pt x="424" y="621"/>
                  </a:cubicBezTo>
                  <a:cubicBezTo>
                    <a:pt x="424" y="1021"/>
                    <a:pt x="424" y="1021"/>
                    <a:pt x="424" y="1021"/>
                  </a:cubicBezTo>
                  <a:cubicBezTo>
                    <a:pt x="424" y="1027"/>
                    <a:pt x="428" y="1033"/>
                    <a:pt x="432" y="1033"/>
                  </a:cubicBezTo>
                  <a:cubicBezTo>
                    <a:pt x="518" y="1033"/>
                    <a:pt x="518" y="1033"/>
                    <a:pt x="518" y="1033"/>
                  </a:cubicBezTo>
                  <a:cubicBezTo>
                    <a:pt x="522" y="1033"/>
                    <a:pt x="526" y="1027"/>
                    <a:pt x="526" y="1021"/>
                  </a:cubicBezTo>
                  <a:cubicBezTo>
                    <a:pt x="526" y="621"/>
                    <a:pt x="526" y="621"/>
                    <a:pt x="526" y="621"/>
                  </a:cubicBezTo>
                  <a:close/>
                  <a:moveTo>
                    <a:pt x="463" y="373"/>
                  </a:moveTo>
                  <a:cubicBezTo>
                    <a:pt x="471" y="373"/>
                    <a:pt x="477" y="367"/>
                    <a:pt x="477" y="360"/>
                  </a:cubicBezTo>
                  <a:cubicBezTo>
                    <a:pt x="477" y="352"/>
                    <a:pt x="471" y="346"/>
                    <a:pt x="463" y="346"/>
                  </a:cubicBezTo>
                  <a:cubicBezTo>
                    <a:pt x="456" y="346"/>
                    <a:pt x="450" y="352"/>
                    <a:pt x="450" y="360"/>
                  </a:cubicBezTo>
                  <a:cubicBezTo>
                    <a:pt x="450" y="367"/>
                    <a:pt x="456" y="373"/>
                    <a:pt x="463" y="373"/>
                  </a:cubicBezTo>
                  <a:close/>
                  <a:moveTo>
                    <a:pt x="528" y="389"/>
                  </a:moveTo>
                  <a:cubicBezTo>
                    <a:pt x="528" y="381"/>
                    <a:pt x="522" y="375"/>
                    <a:pt x="515" y="375"/>
                  </a:cubicBezTo>
                  <a:cubicBezTo>
                    <a:pt x="507" y="375"/>
                    <a:pt x="501" y="381"/>
                    <a:pt x="501" y="389"/>
                  </a:cubicBezTo>
                  <a:cubicBezTo>
                    <a:pt x="501" y="396"/>
                    <a:pt x="507" y="402"/>
                    <a:pt x="515" y="402"/>
                  </a:cubicBezTo>
                  <a:cubicBezTo>
                    <a:pt x="522" y="402"/>
                    <a:pt x="528" y="396"/>
                    <a:pt x="528" y="389"/>
                  </a:cubicBezTo>
                  <a:close/>
                  <a:moveTo>
                    <a:pt x="550" y="203"/>
                  </a:moveTo>
                  <a:cubicBezTo>
                    <a:pt x="550" y="188"/>
                    <a:pt x="538" y="174"/>
                    <a:pt x="522" y="174"/>
                  </a:cubicBezTo>
                  <a:cubicBezTo>
                    <a:pt x="506" y="174"/>
                    <a:pt x="493" y="188"/>
                    <a:pt x="493" y="203"/>
                  </a:cubicBezTo>
                  <a:cubicBezTo>
                    <a:pt x="493" y="207"/>
                    <a:pt x="494" y="211"/>
                    <a:pt x="495" y="214"/>
                  </a:cubicBezTo>
                  <a:cubicBezTo>
                    <a:pt x="341" y="390"/>
                    <a:pt x="341" y="390"/>
                    <a:pt x="341" y="390"/>
                  </a:cubicBezTo>
                  <a:cubicBezTo>
                    <a:pt x="337" y="388"/>
                    <a:pt x="332" y="386"/>
                    <a:pt x="327" y="386"/>
                  </a:cubicBezTo>
                  <a:cubicBezTo>
                    <a:pt x="320" y="386"/>
                    <a:pt x="314" y="388"/>
                    <a:pt x="309" y="393"/>
                  </a:cubicBezTo>
                  <a:cubicBezTo>
                    <a:pt x="146" y="313"/>
                    <a:pt x="146" y="313"/>
                    <a:pt x="146" y="313"/>
                  </a:cubicBezTo>
                  <a:cubicBezTo>
                    <a:pt x="145" y="297"/>
                    <a:pt x="132" y="284"/>
                    <a:pt x="117" y="284"/>
                  </a:cubicBezTo>
                  <a:cubicBezTo>
                    <a:pt x="101" y="284"/>
                    <a:pt x="88" y="297"/>
                    <a:pt x="88" y="313"/>
                  </a:cubicBezTo>
                  <a:cubicBezTo>
                    <a:pt x="88" y="329"/>
                    <a:pt x="101" y="342"/>
                    <a:pt x="117" y="342"/>
                  </a:cubicBezTo>
                  <a:cubicBezTo>
                    <a:pt x="123" y="342"/>
                    <a:pt x="129" y="340"/>
                    <a:pt x="134" y="336"/>
                  </a:cubicBezTo>
                  <a:cubicBezTo>
                    <a:pt x="201" y="369"/>
                    <a:pt x="299" y="417"/>
                    <a:pt x="299" y="417"/>
                  </a:cubicBezTo>
                  <a:cubicBezTo>
                    <a:pt x="299" y="432"/>
                    <a:pt x="312" y="444"/>
                    <a:pt x="327" y="444"/>
                  </a:cubicBezTo>
                  <a:cubicBezTo>
                    <a:pt x="343" y="444"/>
                    <a:pt x="356" y="431"/>
                    <a:pt x="356" y="415"/>
                  </a:cubicBezTo>
                  <a:cubicBezTo>
                    <a:pt x="356" y="414"/>
                    <a:pt x="356" y="413"/>
                    <a:pt x="356" y="412"/>
                  </a:cubicBezTo>
                  <a:cubicBezTo>
                    <a:pt x="416" y="344"/>
                    <a:pt x="515" y="232"/>
                    <a:pt x="515" y="232"/>
                  </a:cubicBezTo>
                  <a:cubicBezTo>
                    <a:pt x="517" y="232"/>
                    <a:pt x="520" y="232"/>
                    <a:pt x="522" y="232"/>
                  </a:cubicBezTo>
                  <a:cubicBezTo>
                    <a:pt x="538" y="232"/>
                    <a:pt x="550" y="219"/>
                    <a:pt x="550" y="20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4" name="bcgIcons_Museums ">
            <a:extLst>
              <a:ext uri="{FF2B5EF4-FFF2-40B4-BE49-F238E27FC236}">
                <a16:creationId xmlns:a16="http://schemas.microsoft.com/office/drawing/2014/main" id="{DA99BB88-F8DB-AA3E-86F6-7EB8225B9945}"/>
              </a:ext>
            </a:extLst>
          </p:cNvPr>
          <p:cNvGrpSpPr>
            <a:grpSpLocks noChangeAspect="1"/>
          </p:cNvGrpSpPr>
          <p:nvPr/>
        </p:nvGrpSpPr>
        <p:grpSpPr>
          <a:xfrm>
            <a:off x="9398288" y="5702915"/>
            <a:ext cx="125329" cy="125450"/>
            <a:chOff x="5273675" y="2570163"/>
            <a:chExt cx="1644650" cy="1646237"/>
          </a:xfrm>
        </p:grpSpPr>
        <p:sp>
          <p:nvSpPr>
            <p:cNvPr id="345" name="AutoShape 34">
              <a:extLst>
                <a:ext uri="{FF2B5EF4-FFF2-40B4-BE49-F238E27FC236}">
                  <a16:creationId xmlns:a16="http://schemas.microsoft.com/office/drawing/2014/main" id="{B9261316-1460-1B1B-53FB-2367D569CDB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46" name="Group 345">
              <a:extLst>
                <a:ext uri="{FF2B5EF4-FFF2-40B4-BE49-F238E27FC236}">
                  <a16:creationId xmlns:a16="http://schemas.microsoft.com/office/drawing/2014/main" id="{EDE10BE4-E79D-F589-17AF-B7F2A6975B6B}"/>
                </a:ext>
              </a:extLst>
            </p:cNvPr>
            <p:cNvGrpSpPr/>
            <p:nvPr/>
          </p:nvGrpSpPr>
          <p:grpSpPr>
            <a:xfrm>
              <a:off x="5481638" y="2845336"/>
              <a:ext cx="1230313" cy="1096427"/>
              <a:chOff x="5481638" y="2845336"/>
              <a:chExt cx="1230313" cy="1096427"/>
            </a:xfrm>
          </p:grpSpPr>
          <p:sp>
            <p:nvSpPr>
              <p:cNvPr id="347" name="Freeform 21">
                <a:extLst>
                  <a:ext uri="{FF2B5EF4-FFF2-40B4-BE49-F238E27FC236}">
                    <a16:creationId xmlns:a16="http://schemas.microsoft.com/office/drawing/2014/main" id="{94CE8089-15FF-B5E2-9D51-DE6D7CA01B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1649" y="3292475"/>
                <a:ext cx="1030288" cy="438150"/>
              </a:xfrm>
              <a:custGeom>
                <a:avLst/>
                <a:gdLst>
                  <a:gd name="connsiteX0" fmla="*/ 952355 w 1030288"/>
                  <a:gd name="connsiteY0" fmla="*/ 0 h 438150"/>
                  <a:gd name="connsiteX1" fmla="*/ 1013844 w 1030288"/>
                  <a:gd name="connsiteY1" fmla="*/ 0 h 438150"/>
                  <a:gd name="connsiteX2" fmla="*/ 1021708 w 1030288"/>
                  <a:gd name="connsiteY2" fmla="*/ 7875 h 438150"/>
                  <a:gd name="connsiteX3" fmla="*/ 1030288 w 1030288"/>
                  <a:gd name="connsiteY3" fmla="*/ 430275 h 438150"/>
                  <a:gd name="connsiteX4" fmla="*/ 1023138 w 1030288"/>
                  <a:gd name="connsiteY4" fmla="*/ 438150 h 438150"/>
                  <a:gd name="connsiteX5" fmla="*/ 943775 w 1030288"/>
                  <a:gd name="connsiteY5" fmla="*/ 438150 h 438150"/>
                  <a:gd name="connsiteX6" fmla="*/ 936625 w 1030288"/>
                  <a:gd name="connsiteY6" fmla="*/ 430275 h 438150"/>
                  <a:gd name="connsiteX7" fmla="*/ 945205 w 1030288"/>
                  <a:gd name="connsiteY7" fmla="*/ 7875 h 438150"/>
                  <a:gd name="connsiteX8" fmla="*/ 952355 w 1030288"/>
                  <a:gd name="connsiteY8" fmla="*/ 0 h 438150"/>
                  <a:gd name="connsiteX9" fmla="*/ 765030 w 1030288"/>
                  <a:gd name="connsiteY9" fmla="*/ 0 h 438150"/>
                  <a:gd name="connsiteX10" fmla="*/ 826519 w 1030288"/>
                  <a:gd name="connsiteY10" fmla="*/ 0 h 438150"/>
                  <a:gd name="connsiteX11" fmla="*/ 833668 w 1030288"/>
                  <a:gd name="connsiteY11" fmla="*/ 7875 h 438150"/>
                  <a:gd name="connsiteX12" fmla="*/ 842963 w 1030288"/>
                  <a:gd name="connsiteY12" fmla="*/ 430275 h 438150"/>
                  <a:gd name="connsiteX13" fmla="*/ 835098 w 1030288"/>
                  <a:gd name="connsiteY13" fmla="*/ 438150 h 438150"/>
                  <a:gd name="connsiteX14" fmla="*/ 756450 w 1030288"/>
                  <a:gd name="connsiteY14" fmla="*/ 438150 h 438150"/>
                  <a:gd name="connsiteX15" fmla="*/ 749300 w 1030288"/>
                  <a:gd name="connsiteY15" fmla="*/ 430275 h 438150"/>
                  <a:gd name="connsiteX16" fmla="*/ 757880 w 1030288"/>
                  <a:gd name="connsiteY16" fmla="*/ 7875 h 438150"/>
                  <a:gd name="connsiteX17" fmla="*/ 765030 w 1030288"/>
                  <a:gd name="connsiteY17" fmla="*/ 0 h 438150"/>
                  <a:gd name="connsiteX18" fmla="*/ 577705 w 1030288"/>
                  <a:gd name="connsiteY18" fmla="*/ 0 h 438150"/>
                  <a:gd name="connsiteX19" fmla="*/ 639194 w 1030288"/>
                  <a:gd name="connsiteY19" fmla="*/ 0 h 438150"/>
                  <a:gd name="connsiteX20" fmla="*/ 646343 w 1030288"/>
                  <a:gd name="connsiteY20" fmla="*/ 7875 h 438150"/>
                  <a:gd name="connsiteX21" fmla="*/ 655638 w 1030288"/>
                  <a:gd name="connsiteY21" fmla="*/ 430275 h 438150"/>
                  <a:gd name="connsiteX22" fmla="*/ 647773 w 1030288"/>
                  <a:gd name="connsiteY22" fmla="*/ 438150 h 438150"/>
                  <a:gd name="connsiteX23" fmla="*/ 569125 w 1030288"/>
                  <a:gd name="connsiteY23" fmla="*/ 438150 h 438150"/>
                  <a:gd name="connsiteX24" fmla="*/ 561975 w 1030288"/>
                  <a:gd name="connsiteY24" fmla="*/ 430275 h 438150"/>
                  <a:gd name="connsiteX25" fmla="*/ 570555 w 1030288"/>
                  <a:gd name="connsiteY25" fmla="*/ 7875 h 438150"/>
                  <a:gd name="connsiteX26" fmla="*/ 577705 w 1030288"/>
                  <a:gd name="connsiteY26" fmla="*/ 0 h 438150"/>
                  <a:gd name="connsiteX27" fmla="*/ 391095 w 1030288"/>
                  <a:gd name="connsiteY27" fmla="*/ 0 h 438150"/>
                  <a:gd name="connsiteX28" fmla="*/ 452584 w 1030288"/>
                  <a:gd name="connsiteY28" fmla="*/ 0 h 438150"/>
                  <a:gd name="connsiteX29" fmla="*/ 459733 w 1030288"/>
                  <a:gd name="connsiteY29" fmla="*/ 7875 h 438150"/>
                  <a:gd name="connsiteX30" fmla="*/ 468313 w 1030288"/>
                  <a:gd name="connsiteY30" fmla="*/ 430275 h 438150"/>
                  <a:gd name="connsiteX31" fmla="*/ 461163 w 1030288"/>
                  <a:gd name="connsiteY31" fmla="*/ 438150 h 438150"/>
                  <a:gd name="connsiteX32" fmla="*/ 382515 w 1030288"/>
                  <a:gd name="connsiteY32" fmla="*/ 438150 h 438150"/>
                  <a:gd name="connsiteX33" fmla="*/ 374650 w 1030288"/>
                  <a:gd name="connsiteY33" fmla="*/ 430275 h 438150"/>
                  <a:gd name="connsiteX34" fmla="*/ 383945 w 1030288"/>
                  <a:gd name="connsiteY34" fmla="*/ 7875 h 438150"/>
                  <a:gd name="connsiteX35" fmla="*/ 391095 w 1030288"/>
                  <a:gd name="connsiteY35" fmla="*/ 0 h 438150"/>
                  <a:gd name="connsiteX36" fmla="*/ 203770 w 1030288"/>
                  <a:gd name="connsiteY36" fmla="*/ 0 h 438150"/>
                  <a:gd name="connsiteX37" fmla="*/ 265259 w 1030288"/>
                  <a:gd name="connsiteY37" fmla="*/ 0 h 438150"/>
                  <a:gd name="connsiteX38" fmla="*/ 272408 w 1030288"/>
                  <a:gd name="connsiteY38" fmla="*/ 7875 h 438150"/>
                  <a:gd name="connsiteX39" fmla="*/ 280988 w 1030288"/>
                  <a:gd name="connsiteY39" fmla="*/ 430275 h 438150"/>
                  <a:gd name="connsiteX40" fmla="*/ 273838 w 1030288"/>
                  <a:gd name="connsiteY40" fmla="*/ 438150 h 438150"/>
                  <a:gd name="connsiteX41" fmla="*/ 195190 w 1030288"/>
                  <a:gd name="connsiteY41" fmla="*/ 438150 h 438150"/>
                  <a:gd name="connsiteX42" fmla="*/ 187325 w 1030288"/>
                  <a:gd name="connsiteY42" fmla="*/ 430275 h 438150"/>
                  <a:gd name="connsiteX43" fmla="*/ 196620 w 1030288"/>
                  <a:gd name="connsiteY43" fmla="*/ 7875 h 438150"/>
                  <a:gd name="connsiteX44" fmla="*/ 203770 w 1030288"/>
                  <a:gd name="connsiteY44" fmla="*/ 0 h 438150"/>
                  <a:gd name="connsiteX45" fmla="*/ 16444 w 1030288"/>
                  <a:gd name="connsiteY45" fmla="*/ 0 h 438150"/>
                  <a:gd name="connsiteX46" fmla="*/ 77933 w 1030288"/>
                  <a:gd name="connsiteY46" fmla="*/ 0 h 438150"/>
                  <a:gd name="connsiteX47" fmla="*/ 85083 w 1030288"/>
                  <a:gd name="connsiteY47" fmla="*/ 7875 h 438150"/>
                  <a:gd name="connsiteX48" fmla="*/ 93663 w 1030288"/>
                  <a:gd name="connsiteY48" fmla="*/ 430275 h 438150"/>
                  <a:gd name="connsiteX49" fmla="*/ 86513 w 1030288"/>
                  <a:gd name="connsiteY49" fmla="*/ 438150 h 438150"/>
                  <a:gd name="connsiteX50" fmla="*/ 7150 w 1030288"/>
                  <a:gd name="connsiteY50" fmla="*/ 438150 h 438150"/>
                  <a:gd name="connsiteX51" fmla="*/ 0 w 1030288"/>
                  <a:gd name="connsiteY51" fmla="*/ 430275 h 438150"/>
                  <a:gd name="connsiteX52" fmla="*/ 8580 w 1030288"/>
                  <a:gd name="connsiteY52" fmla="*/ 7875 h 438150"/>
                  <a:gd name="connsiteX53" fmla="*/ 16444 w 1030288"/>
                  <a:gd name="connsiteY53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1030288" h="438150">
                    <a:moveTo>
                      <a:pt x="952355" y="0"/>
                    </a:moveTo>
                    <a:cubicBezTo>
                      <a:pt x="952355" y="0"/>
                      <a:pt x="952355" y="0"/>
                      <a:pt x="1013844" y="0"/>
                    </a:cubicBezTo>
                    <a:cubicBezTo>
                      <a:pt x="1018134" y="0"/>
                      <a:pt x="1021708" y="3580"/>
                      <a:pt x="1021708" y="7875"/>
                    </a:cubicBezTo>
                    <a:lnTo>
                      <a:pt x="1030288" y="430275"/>
                    </a:lnTo>
                    <a:cubicBezTo>
                      <a:pt x="1030288" y="434570"/>
                      <a:pt x="1026713" y="438150"/>
                      <a:pt x="1023138" y="438150"/>
                    </a:cubicBezTo>
                    <a:cubicBezTo>
                      <a:pt x="1023138" y="438150"/>
                      <a:pt x="1023138" y="438150"/>
                      <a:pt x="943775" y="438150"/>
                    </a:cubicBezTo>
                    <a:cubicBezTo>
                      <a:pt x="939485" y="438150"/>
                      <a:pt x="936625" y="434570"/>
                      <a:pt x="936625" y="430275"/>
                    </a:cubicBezTo>
                    <a:cubicBezTo>
                      <a:pt x="936625" y="430275"/>
                      <a:pt x="936625" y="430275"/>
                      <a:pt x="945205" y="7875"/>
                    </a:cubicBezTo>
                    <a:cubicBezTo>
                      <a:pt x="945205" y="3580"/>
                      <a:pt x="948780" y="0"/>
                      <a:pt x="952355" y="0"/>
                    </a:cubicBezTo>
                    <a:close/>
                    <a:moveTo>
                      <a:pt x="765030" y="0"/>
                    </a:moveTo>
                    <a:cubicBezTo>
                      <a:pt x="765030" y="0"/>
                      <a:pt x="765030" y="0"/>
                      <a:pt x="826519" y="0"/>
                    </a:cubicBezTo>
                    <a:cubicBezTo>
                      <a:pt x="830809" y="0"/>
                      <a:pt x="833668" y="3580"/>
                      <a:pt x="833668" y="7875"/>
                    </a:cubicBezTo>
                    <a:cubicBezTo>
                      <a:pt x="833668" y="7875"/>
                      <a:pt x="833668" y="7875"/>
                      <a:pt x="842963" y="430275"/>
                    </a:cubicBezTo>
                    <a:cubicBezTo>
                      <a:pt x="842963" y="434570"/>
                      <a:pt x="839388" y="438150"/>
                      <a:pt x="835098" y="438150"/>
                    </a:cubicBezTo>
                    <a:cubicBezTo>
                      <a:pt x="835098" y="438150"/>
                      <a:pt x="835098" y="438150"/>
                      <a:pt x="756450" y="438150"/>
                    </a:cubicBezTo>
                    <a:cubicBezTo>
                      <a:pt x="752160" y="438150"/>
                      <a:pt x="749300" y="434570"/>
                      <a:pt x="749300" y="430275"/>
                    </a:cubicBezTo>
                    <a:cubicBezTo>
                      <a:pt x="749300" y="430275"/>
                      <a:pt x="749300" y="430275"/>
                      <a:pt x="757880" y="7875"/>
                    </a:cubicBezTo>
                    <a:cubicBezTo>
                      <a:pt x="757880" y="3580"/>
                      <a:pt x="761455" y="0"/>
                      <a:pt x="765030" y="0"/>
                    </a:cubicBezTo>
                    <a:close/>
                    <a:moveTo>
                      <a:pt x="577705" y="0"/>
                    </a:moveTo>
                    <a:cubicBezTo>
                      <a:pt x="577705" y="0"/>
                      <a:pt x="577705" y="0"/>
                      <a:pt x="639194" y="0"/>
                    </a:cubicBezTo>
                    <a:cubicBezTo>
                      <a:pt x="643484" y="0"/>
                      <a:pt x="646343" y="3580"/>
                      <a:pt x="646343" y="7875"/>
                    </a:cubicBezTo>
                    <a:cubicBezTo>
                      <a:pt x="646343" y="7875"/>
                      <a:pt x="646343" y="7875"/>
                      <a:pt x="655638" y="430275"/>
                    </a:cubicBezTo>
                    <a:cubicBezTo>
                      <a:pt x="655638" y="434570"/>
                      <a:pt x="652063" y="438150"/>
                      <a:pt x="647773" y="438150"/>
                    </a:cubicBezTo>
                    <a:cubicBezTo>
                      <a:pt x="647773" y="438150"/>
                      <a:pt x="647773" y="438150"/>
                      <a:pt x="569125" y="438150"/>
                    </a:cubicBezTo>
                    <a:cubicBezTo>
                      <a:pt x="564835" y="438150"/>
                      <a:pt x="561975" y="434570"/>
                      <a:pt x="561975" y="430275"/>
                    </a:cubicBezTo>
                    <a:cubicBezTo>
                      <a:pt x="561975" y="430275"/>
                      <a:pt x="561975" y="430275"/>
                      <a:pt x="570555" y="7875"/>
                    </a:cubicBezTo>
                    <a:cubicBezTo>
                      <a:pt x="570555" y="3580"/>
                      <a:pt x="574130" y="0"/>
                      <a:pt x="577705" y="0"/>
                    </a:cubicBezTo>
                    <a:close/>
                    <a:moveTo>
                      <a:pt x="391095" y="0"/>
                    </a:moveTo>
                    <a:cubicBezTo>
                      <a:pt x="391095" y="0"/>
                      <a:pt x="391095" y="0"/>
                      <a:pt x="452584" y="0"/>
                    </a:cubicBezTo>
                    <a:cubicBezTo>
                      <a:pt x="456159" y="0"/>
                      <a:pt x="459733" y="3580"/>
                      <a:pt x="459733" y="7875"/>
                    </a:cubicBezTo>
                    <a:cubicBezTo>
                      <a:pt x="459733" y="7875"/>
                      <a:pt x="459733" y="7875"/>
                      <a:pt x="468313" y="430275"/>
                    </a:cubicBezTo>
                    <a:cubicBezTo>
                      <a:pt x="468313" y="434570"/>
                      <a:pt x="465453" y="438150"/>
                      <a:pt x="461163" y="438150"/>
                    </a:cubicBezTo>
                    <a:cubicBezTo>
                      <a:pt x="461163" y="438150"/>
                      <a:pt x="461163" y="438150"/>
                      <a:pt x="382515" y="438150"/>
                    </a:cubicBezTo>
                    <a:cubicBezTo>
                      <a:pt x="378225" y="438150"/>
                      <a:pt x="374650" y="434570"/>
                      <a:pt x="374650" y="430275"/>
                    </a:cubicBezTo>
                    <a:cubicBezTo>
                      <a:pt x="374650" y="430275"/>
                      <a:pt x="374650" y="430275"/>
                      <a:pt x="383945" y="7875"/>
                    </a:cubicBezTo>
                    <a:cubicBezTo>
                      <a:pt x="383945" y="3580"/>
                      <a:pt x="386805" y="0"/>
                      <a:pt x="391095" y="0"/>
                    </a:cubicBezTo>
                    <a:close/>
                    <a:moveTo>
                      <a:pt x="203770" y="0"/>
                    </a:moveTo>
                    <a:cubicBezTo>
                      <a:pt x="203770" y="0"/>
                      <a:pt x="203770" y="0"/>
                      <a:pt x="265259" y="0"/>
                    </a:cubicBezTo>
                    <a:cubicBezTo>
                      <a:pt x="268834" y="0"/>
                      <a:pt x="272408" y="3580"/>
                      <a:pt x="272408" y="7875"/>
                    </a:cubicBezTo>
                    <a:cubicBezTo>
                      <a:pt x="272408" y="7875"/>
                      <a:pt x="272408" y="7875"/>
                      <a:pt x="280988" y="430275"/>
                    </a:cubicBezTo>
                    <a:cubicBezTo>
                      <a:pt x="280988" y="434570"/>
                      <a:pt x="278128" y="438150"/>
                      <a:pt x="273838" y="438150"/>
                    </a:cubicBezTo>
                    <a:cubicBezTo>
                      <a:pt x="273838" y="438150"/>
                      <a:pt x="273838" y="438150"/>
                      <a:pt x="195190" y="438150"/>
                    </a:cubicBezTo>
                    <a:cubicBezTo>
                      <a:pt x="190900" y="438150"/>
                      <a:pt x="187325" y="434570"/>
                      <a:pt x="187325" y="430275"/>
                    </a:cubicBezTo>
                    <a:cubicBezTo>
                      <a:pt x="187325" y="430275"/>
                      <a:pt x="187325" y="430275"/>
                      <a:pt x="196620" y="7875"/>
                    </a:cubicBezTo>
                    <a:cubicBezTo>
                      <a:pt x="196620" y="3580"/>
                      <a:pt x="199480" y="0"/>
                      <a:pt x="203770" y="0"/>
                    </a:cubicBezTo>
                    <a:close/>
                    <a:moveTo>
                      <a:pt x="16444" y="0"/>
                    </a:moveTo>
                    <a:cubicBezTo>
                      <a:pt x="16444" y="0"/>
                      <a:pt x="16444" y="0"/>
                      <a:pt x="77933" y="0"/>
                    </a:cubicBezTo>
                    <a:cubicBezTo>
                      <a:pt x="81508" y="0"/>
                      <a:pt x="85083" y="3580"/>
                      <a:pt x="85083" y="7875"/>
                    </a:cubicBezTo>
                    <a:cubicBezTo>
                      <a:pt x="85083" y="7875"/>
                      <a:pt x="85083" y="7875"/>
                      <a:pt x="93663" y="430275"/>
                    </a:cubicBezTo>
                    <a:cubicBezTo>
                      <a:pt x="93663" y="434570"/>
                      <a:pt x="90803" y="438150"/>
                      <a:pt x="86513" y="438150"/>
                    </a:cubicBezTo>
                    <a:cubicBezTo>
                      <a:pt x="86513" y="438150"/>
                      <a:pt x="86513" y="438150"/>
                      <a:pt x="7150" y="438150"/>
                    </a:cubicBezTo>
                    <a:cubicBezTo>
                      <a:pt x="3575" y="438150"/>
                      <a:pt x="0" y="434570"/>
                      <a:pt x="0" y="430275"/>
                    </a:cubicBezTo>
                    <a:cubicBezTo>
                      <a:pt x="0" y="430275"/>
                      <a:pt x="0" y="430275"/>
                      <a:pt x="8580" y="7875"/>
                    </a:cubicBezTo>
                    <a:cubicBezTo>
                      <a:pt x="8580" y="3580"/>
                      <a:pt x="12154" y="0"/>
                      <a:pt x="1644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48" name="Freeform 20">
                <a:extLst>
                  <a:ext uri="{FF2B5EF4-FFF2-40B4-BE49-F238E27FC236}">
                    <a16:creationId xmlns:a16="http://schemas.microsoft.com/office/drawing/2014/main" id="{81E18C44-C89D-A64B-0780-46A3EB742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1638" y="2845336"/>
                <a:ext cx="1230313" cy="1096427"/>
              </a:xfrm>
              <a:custGeom>
                <a:avLst/>
                <a:gdLst>
                  <a:gd name="connsiteX0" fmla="*/ 97769 w 1230313"/>
                  <a:gd name="connsiteY0" fmla="*/ 928152 h 1096427"/>
                  <a:gd name="connsiteX1" fmla="*/ 1132545 w 1230313"/>
                  <a:gd name="connsiteY1" fmla="*/ 928152 h 1096427"/>
                  <a:gd name="connsiteX2" fmla="*/ 1148958 w 1230313"/>
                  <a:gd name="connsiteY2" fmla="*/ 944622 h 1096427"/>
                  <a:gd name="connsiteX3" fmla="*/ 1148958 w 1230313"/>
                  <a:gd name="connsiteY3" fmla="*/ 976844 h 1096427"/>
                  <a:gd name="connsiteX4" fmla="*/ 1213899 w 1230313"/>
                  <a:gd name="connsiteY4" fmla="*/ 976844 h 1096427"/>
                  <a:gd name="connsiteX5" fmla="*/ 1230313 w 1230313"/>
                  <a:gd name="connsiteY5" fmla="*/ 993314 h 1096427"/>
                  <a:gd name="connsiteX6" fmla="*/ 1230313 w 1230313"/>
                  <a:gd name="connsiteY6" fmla="*/ 1079958 h 1096427"/>
                  <a:gd name="connsiteX7" fmla="*/ 1213899 w 1230313"/>
                  <a:gd name="connsiteY7" fmla="*/ 1096427 h 1096427"/>
                  <a:gd name="connsiteX8" fmla="*/ 16414 w 1230313"/>
                  <a:gd name="connsiteY8" fmla="*/ 1096427 h 1096427"/>
                  <a:gd name="connsiteX9" fmla="*/ 0 w 1230313"/>
                  <a:gd name="connsiteY9" fmla="*/ 1079958 h 1096427"/>
                  <a:gd name="connsiteX10" fmla="*/ 0 w 1230313"/>
                  <a:gd name="connsiteY10" fmla="*/ 993314 h 1096427"/>
                  <a:gd name="connsiteX11" fmla="*/ 16414 w 1230313"/>
                  <a:gd name="connsiteY11" fmla="*/ 976844 h 1096427"/>
                  <a:gd name="connsiteX12" fmla="*/ 81355 w 1230313"/>
                  <a:gd name="connsiteY12" fmla="*/ 976844 h 1096427"/>
                  <a:gd name="connsiteX13" fmla="*/ 81355 w 1230313"/>
                  <a:gd name="connsiteY13" fmla="*/ 944622 h 1096427"/>
                  <a:gd name="connsiteX14" fmla="*/ 97769 w 1230313"/>
                  <a:gd name="connsiteY14" fmla="*/ 928152 h 1096427"/>
                  <a:gd name="connsiteX15" fmla="*/ 39687 w 1230313"/>
                  <a:gd name="connsiteY15" fmla="*/ 326489 h 1096427"/>
                  <a:gd name="connsiteX16" fmla="*/ 39687 w 1230313"/>
                  <a:gd name="connsiteY16" fmla="*/ 370939 h 1096427"/>
                  <a:gd name="connsiteX17" fmla="*/ 1190625 w 1230313"/>
                  <a:gd name="connsiteY17" fmla="*/ 370939 h 1096427"/>
                  <a:gd name="connsiteX18" fmla="*/ 1190625 w 1230313"/>
                  <a:gd name="connsiteY18" fmla="*/ 326489 h 1096427"/>
                  <a:gd name="connsiteX19" fmla="*/ 1100138 w 1230313"/>
                  <a:gd name="connsiteY19" fmla="*/ 326489 h 1096427"/>
                  <a:gd name="connsiteX20" fmla="*/ 130175 w 1230313"/>
                  <a:gd name="connsiteY20" fmla="*/ 326489 h 1096427"/>
                  <a:gd name="connsiteX21" fmla="*/ 615950 w 1230313"/>
                  <a:gd name="connsiteY21" fmla="*/ 32802 h 1096427"/>
                  <a:gd name="connsiteX22" fmla="*/ 146050 w 1230313"/>
                  <a:gd name="connsiteY22" fmla="*/ 228064 h 1096427"/>
                  <a:gd name="connsiteX23" fmla="*/ 146050 w 1230313"/>
                  <a:gd name="connsiteY23" fmla="*/ 294739 h 1096427"/>
                  <a:gd name="connsiteX24" fmla="*/ 1084263 w 1230313"/>
                  <a:gd name="connsiteY24" fmla="*/ 294739 h 1096427"/>
                  <a:gd name="connsiteX25" fmla="*/ 1084263 w 1230313"/>
                  <a:gd name="connsiteY25" fmla="*/ 228064 h 1096427"/>
                  <a:gd name="connsiteX26" fmla="*/ 609441 w 1230313"/>
                  <a:gd name="connsiteY26" fmla="*/ 1609 h 1096427"/>
                  <a:gd name="connsiteX27" fmla="*/ 620871 w 1230313"/>
                  <a:gd name="connsiteY27" fmla="*/ 1609 h 1096427"/>
                  <a:gd name="connsiteX28" fmla="*/ 1106646 w 1230313"/>
                  <a:gd name="connsiteY28" fmla="*/ 203221 h 1096427"/>
                  <a:gd name="connsiteX29" fmla="*/ 1116648 w 1230313"/>
                  <a:gd name="connsiteY29" fmla="*/ 217520 h 1096427"/>
                  <a:gd name="connsiteX30" fmla="*/ 1116648 w 1230313"/>
                  <a:gd name="connsiteY30" fmla="*/ 294734 h 1096427"/>
                  <a:gd name="connsiteX31" fmla="*/ 1206659 w 1230313"/>
                  <a:gd name="connsiteY31" fmla="*/ 294734 h 1096427"/>
                  <a:gd name="connsiteX32" fmla="*/ 1222375 w 1230313"/>
                  <a:gd name="connsiteY32" fmla="*/ 310462 h 1096427"/>
                  <a:gd name="connsiteX33" fmla="*/ 1222375 w 1230313"/>
                  <a:gd name="connsiteY33" fmla="*/ 386961 h 1096427"/>
                  <a:gd name="connsiteX34" fmla="*/ 1206659 w 1230313"/>
                  <a:gd name="connsiteY34" fmla="*/ 402689 h 1096427"/>
                  <a:gd name="connsiteX35" fmla="*/ 23654 w 1230313"/>
                  <a:gd name="connsiteY35" fmla="*/ 402689 h 1096427"/>
                  <a:gd name="connsiteX36" fmla="*/ 7937 w 1230313"/>
                  <a:gd name="connsiteY36" fmla="*/ 386961 h 1096427"/>
                  <a:gd name="connsiteX37" fmla="*/ 7937 w 1230313"/>
                  <a:gd name="connsiteY37" fmla="*/ 310462 h 1096427"/>
                  <a:gd name="connsiteX38" fmla="*/ 23654 w 1230313"/>
                  <a:gd name="connsiteY38" fmla="*/ 294734 h 1096427"/>
                  <a:gd name="connsiteX39" fmla="*/ 113665 w 1230313"/>
                  <a:gd name="connsiteY39" fmla="*/ 294734 h 1096427"/>
                  <a:gd name="connsiteX40" fmla="*/ 113665 w 1230313"/>
                  <a:gd name="connsiteY40" fmla="*/ 217520 h 1096427"/>
                  <a:gd name="connsiteX41" fmla="*/ 123666 w 1230313"/>
                  <a:gd name="connsiteY41" fmla="*/ 203221 h 1096427"/>
                  <a:gd name="connsiteX42" fmla="*/ 609441 w 1230313"/>
                  <a:gd name="connsiteY42" fmla="*/ 1609 h 1096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230313" h="1096427">
                    <a:moveTo>
                      <a:pt x="97769" y="928152"/>
                    </a:moveTo>
                    <a:cubicBezTo>
                      <a:pt x="97769" y="928152"/>
                      <a:pt x="97769" y="928152"/>
                      <a:pt x="1132545" y="928152"/>
                    </a:cubicBezTo>
                    <a:cubicBezTo>
                      <a:pt x="1141822" y="928152"/>
                      <a:pt x="1148958" y="936029"/>
                      <a:pt x="1148958" y="944622"/>
                    </a:cubicBezTo>
                    <a:cubicBezTo>
                      <a:pt x="1148958" y="944622"/>
                      <a:pt x="1148958" y="944622"/>
                      <a:pt x="1148958" y="976844"/>
                    </a:cubicBezTo>
                    <a:cubicBezTo>
                      <a:pt x="1148958" y="976844"/>
                      <a:pt x="1148958" y="976844"/>
                      <a:pt x="1213899" y="976844"/>
                    </a:cubicBezTo>
                    <a:cubicBezTo>
                      <a:pt x="1222463" y="976844"/>
                      <a:pt x="1230313" y="984005"/>
                      <a:pt x="1230313" y="993314"/>
                    </a:cubicBezTo>
                    <a:cubicBezTo>
                      <a:pt x="1230313" y="993314"/>
                      <a:pt x="1230313" y="993314"/>
                      <a:pt x="1230313" y="1079958"/>
                    </a:cubicBezTo>
                    <a:cubicBezTo>
                      <a:pt x="1230313" y="1089266"/>
                      <a:pt x="1222463" y="1096427"/>
                      <a:pt x="1213899" y="1096427"/>
                    </a:cubicBezTo>
                    <a:cubicBezTo>
                      <a:pt x="1213899" y="1096427"/>
                      <a:pt x="1213899" y="1096427"/>
                      <a:pt x="16414" y="1096427"/>
                    </a:cubicBezTo>
                    <a:cubicBezTo>
                      <a:pt x="7850" y="1096427"/>
                      <a:pt x="0" y="1089266"/>
                      <a:pt x="0" y="1079958"/>
                    </a:cubicBezTo>
                    <a:cubicBezTo>
                      <a:pt x="0" y="1079958"/>
                      <a:pt x="0" y="1079958"/>
                      <a:pt x="0" y="993314"/>
                    </a:cubicBezTo>
                    <a:cubicBezTo>
                      <a:pt x="0" y="984005"/>
                      <a:pt x="7850" y="976844"/>
                      <a:pt x="16414" y="976844"/>
                    </a:cubicBezTo>
                    <a:cubicBezTo>
                      <a:pt x="16414" y="976844"/>
                      <a:pt x="16414" y="976844"/>
                      <a:pt x="81355" y="976844"/>
                    </a:cubicBezTo>
                    <a:cubicBezTo>
                      <a:pt x="81355" y="976844"/>
                      <a:pt x="81355" y="976844"/>
                      <a:pt x="81355" y="944622"/>
                    </a:cubicBezTo>
                    <a:cubicBezTo>
                      <a:pt x="81355" y="936029"/>
                      <a:pt x="88491" y="928152"/>
                      <a:pt x="97769" y="928152"/>
                    </a:cubicBezTo>
                    <a:close/>
                    <a:moveTo>
                      <a:pt x="39687" y="326489"/>
                    </a:moveTo>
                    <a:lnTo>
                      <a:pt x="39687" y="370939"/>
                    </a:lnTo>
                    <a:lnTo>
                      <a:pt x="1190625" y="370939"/>
                    </a:lnTo>
                    <a:lnTo>
                      <a:pt x="1190625" y="326489"/>
                    </a:lnTo>
                    <a:lnTo>
                      <a:pt x="1100138" y="326489"/>
                    </a:lnTo>
                    <a:lnTo>
                      <a:pt x="130175" y="326489"/>
                    </a:lnTo>
                    <a:close/>
                    <a:moveTo>
                      <a:pt x="615950" y="32802"/>
                    </a:moveTo>
                    <a:lnTo>
                      <a:pt x="146050" y="228064"/>
                    </a:lnTo>
                    <a:lnTo>
                      <a:pt x="146050" y="294739"/>
                    </a:lnTo>
                    <a:lnTo>
                      <a:pt x="1084263" y="294739"/>
                    </a:lnTo>
                    <a:lnTo>
                      <a:pt x="1084263" y="228064"/>
                    </a:lnTo>
                    <a:close/>
                    <a:moveTo>
                      <a:pt x="609441" y="1609"/>
                    </a:moveTo>
                    <a:cubicBezTo>
                      <a:pt x="613013" y="-536"/>
                      <a:pt x="617299" y="-536"/>
                      <a:pt x="620871" y="1609"/>
                    </a:cubicBezTo>
                    <a:cubicBezTo>
                      <a:pt x="620871" y="1609"/>
                      <a:pt x="620871" y="1609"/>
                      <a:pt x="1106646" y="203221"/>
                    </a:cubicBezTo>
                    <a:cubicBezTo>
                      <a:pt x="1113076" y="206081"/>
                      <a:pt x="1116648" y="211801"/>
                      <a:pt x="1116648" y="217520"/>
                    </a:cubicBezTo>
                    <a:cubicBezTo>
                      <a:pt x="1116648" y="217520"/>
                      <a:pt x="1116648" y="217520"/>
                      <a:pt x="1116648" y="294734"/>
                    </a:cubicBezTo>
                    <a:cubicBezTo>
                      <a:pt x="1116648" y="294734"/>
                      <a:pt x="1116648" y="294734"/>
                      <a:pt x="1206659" y="294734"/>
                    </a:cubicBezTo>
                    <a:cubicBezTo>
                      <a:pt x="1215231" y="294734"/>
                      <a:pt x="1222375" y="301883"/>
                      <a:pt x="1222375" y="310462"/>
                    </a:cubicBezTo>
                    <a:cubicBezTo>
                      <a:pt x="1222375" y="310462"/>
                      <a:pt x="1222375" y="310462"/>
                      <a:pt x="1222375" y="386961"/>
                    </a:cubicBezTo>
                    <a:cubicBezTo>
                      <a:pt x="1222375" y="395540"/>
                      <a:pt x="1215231" y="402689"/>
                      <a:pt x="1206659" y="402689"/>
                    </a:cubicBezTo>
                    <a:cubicBezTo>
                      <a:pt x="1206659" y="402689"/>
                      <a:pt x="1206659" y="402689"/>
                      <a:pt x="23654" y="402689"/>
                    </a:cubicBezTo>
                    <a:cubicBezTo>
                      <a:pt x="15081" y="402689"/>
                      <a:pt x="7937" y="395540"/>
                      <a:pt x="7937" y="386961"/>
                    </a:cubicBezTo>
                    <a:cubicBezTo>
                      <a:pt x="7937" y="386961"/>
                      <a:pt x="7937" y="386961"/>
                      <a:pt x="7937" y="310462"/>
                    </a:cubicBezTo>
                    <a:cubicBezTo>
                      <a:pt x="7937" y="301883"/>
                      <a:pt x="15081" y="294734"/>
                      <a:pt x="23654" y="294734"/>
                    </a:cubicBezTo>
                    <a:cubicBezTo>
                      <a:pt x="23654" y="294734"/>
                      <a:pt x="23654" y="294734"/>
                      <a:pt x="113665" y="294734"/>
                    </a:cubicBezTo>
                    <a:cubicBezTo>
                      <a:pt x="113665" y="294734"/>
                      <a:pt x="113665" y="294734"/>
                      <a:pt x="113665" y="217520"/>
                    </a:cubicBezTo>
                    <a:cubicBezTo>
                      <a:pt x="113665" y="211801"/>
                      <a:pt x="117237" y="206081"/>
                      <a:pt x="123666" y="203221"/>
                    </a:cubicBezTo>
                    <a:cubicBezTo>
                      <a:pt x="123666" y="203221"/>
                      <a:pt x="123666" y="203221"/>
                      <a:pt x="609441" y="160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3" name="bcgIcons_Digital in Power ">
            <a:extLst>
              <a:ext uri="{FF2B5EF4-FFF2-40B4-BE49-F238E27FC236}">
                <a16:creationId xmlns:a16="http://schemas.microsoft.com/office/drawing/2014/main" id="{CDEE2115-50FE-D830-BBFD-5387CB13FBB7}"/>
              </a:ext>
            </a:extLst>
          </p:cNvPr>
          <p:cNvGrpSpPr>
            <a:grpSpLocks noChangeAspect="1"/>
          </p:cNvGrpSpPr>
          <p:nvPr/>
        </p:nvGrpSpPr>
        <p:grpSpPr>
          <a:xfrm>
            <a:off x="10228708" y="5702915"/>
            <a:ext cx="125450" cy="125450"/>
            <a:chOff x="5272088" y="2606675"/>
            <a:chExt cx="1644650" cy="1644650"/>
          </a:xfrm>
        </p:grpSpPr>
        <p:sp>
          <p:nvSpPr>
            <p:cNvPr id="356" name="AutoShape 3">
              <a:extLst>
                <a:ext uri="{FF2B5EF4-FFF2-40B4-BE49-F238E27FC236}">
                  <a16:creationId xmlns:a16="http://schemas.microsoft.com/office/drawing/2014/main" id="{4CA5843E-7307-0062-B602-A9633F3B56D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088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57" name="Group 356">
              <a:extLst>
                <a:ext uri="{FF2B5EF4-FFF2-40B4-BE49-F238E27FC236}">
                  <a16:creationId xmlns:a16="http://schemas.microsoft.com/office/drawing/2014/main" id="{226806CA-B89F-37A8-9DF3-EF6D0D557ABB}"/>
                </a:ext>
              </a:extLst>
            </p:cNvPr>
            <p:cNvGrpSpPr/>
            <p:nvPr/>
          </p:nvGrpSpPr>
          <p:grpSpPr>
            <a:xfrm>
              <a:off x="5635626" y="2776538"/>
              <a:ext cx="919163" cy="1304925"/>
              <a:chOff x="5635626" y="2776538"/>
              <a:chExt cx="919163" cy="1304925"/>
            </a:xfrm>
          </p:grpSpPr>
          <p:sp>
            <p:nvSpPr>
              <p:cNvPr id="358" name="Freeform 15">
                <a:extLst>
                  <a:ext uri="{FF2B5EF4-FFF2-40B4-BE49-F238E27FC236}">
                    <a16:creationId xmlns:a16="http://schemas.microsoft.com/office/drawing/2014/main" id="{E550BAB7-47C7-A5F5-9A1B-A0BB6AB93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3726" y="3122613"/>
                <a:ext cx="842963" cy="809625"/>
              </a:xfrm>
              <a:custGeom>
                <a:avLst/>
                <a:gdLst>
                  <a:gd name="connsiteX0" fmla="*/ 472400 w 842963"/>
                  <a:gd name="connsiteY0" fmla="*/ 539750 h 809625"/>
                  <a:gd name="connsiteX1" fmla="*/ 594401 w 842963"/>
                  <a:gd name="connsiteY1" fmla="*/ 539750 h 809625"/>
                  <a:gd name="connsiteX2" fmla="*/ 600075 w 842963"/>
                  <a:gd name="connsiteY2" fmla="*/ 546210 h 809625"/>
                  <a:gd name="connsiteX3" fmla="*/ 600075 w 842963"/>
                  <a:gd name="connsiteY3" fmla="*/ 802448 h 809625"/>
                  <a:gd name="connsiteX4" fmla="*/ 600075 w 842963"/>
                  <a:gd name="connsiteY4" fmla="*/ 803883 h 809625"/>
                  <a:gd name="connsiteX5" fmla="*/ 594401 w 842963"/>
                  <a:gd name="connsiteY5" fmla="*/ 809625 h 809625"/>
                  <a:gd name="connsiteX6" fmla="*/ 472400 w 842963"/>
                  <a:gd name="connsiteY6" fmla="*/ 809625 h 809625"/>
                  <a:gd name="connsiteX7" fmla="*/ 466725 w 842963"/>
                  <a:gd name="connsiteY7" fmla="*/ 803883 h 809625"/>
                  <a:gd name="connsiteX8" fmla="*/ 466725 w 842963"/>
                  <a:gd name="connsiteY8" fmla="*/ 802448 h 809625"/>
                  <a:gd name="connsiteX9" fmla="*/ 466725 w 842963"/>
                  <a:gd name="connsiteY9" fmla="*/ 546210 h 809625"/>
                  <a:gd name="connsiteX10" fmla="*/ 472400 w 842963"/>
                  <a:gd name="connsiteY10" fmla="*/ 539750 h 809625"/>
                  <a:gd name="connsiteX11" fmla="*/ 249980 w 842963"/>
                  <a:gd name="connsiteY11" fmla="*/ 539750 h 809625"/>
                  <a:gd name="connsiteX12" fmla="*/ 369144 w 842963"/>
                  <a:gd name="connsiteY12" fmla="*/ 539750 h 809625"/>
                  <a:gd name="connsiteX13" fmla="*/ 376237 w 842963"/>
                  <a:gd name="connsiteY13" fmla="*/ 546928 h 809625"/>
                  <a:gd name="connsiteX14" fmla="*/ 376237 w 842963"/>
                  <a:gd name="connsiteY14" fmla="*/ 667511 h 809625"/>
                  <a:gd name="connsiteX15" fmla="*/ 369144 w 842963"/>
                  <a:gd name="connsiteY15" fmla="*/ 674688 h 809625"/>
                  <a:gd name="connsiteX16" fmla="*/ 249980 w 842963"/>
                  <a:gd name="connsiteY16" fmla="*/ 674688 h 809625"/>
                  <a:gd name="connsiteX17" fmla="*/ 242887 w 842963"/>
                  <a:gd name="connsiteY17" fmla="*/ 667511 h 809625"/>
                  <a:gd name="connsiteX18" fmla="*/ 242887 w 842963"/>
                  <a:gd name="connsiteY18" fmla="*/ 546928 h 809625"/>
                  <a:gd name="connsiteX19" fmla="*/ 249980 w 842963"/>
                  <a:gd name="connsiteY19" fmla="*/ 539750 h 809625"/>
                  <a:gd name="connsiteX20" fmla="*/ 473818 w 842963"/>
                  <a:gd name="connsiteY20" fmla="*/ 331787 h 809625"/>
                  <a:gd name="connsiteX21" fmla="*/ 592982 w 842963"/>
                  <a:gd name="connsiteY21" fmla="*/ 331787 h 809625"/>
                  <a:gd name="connsiteX22" fmla="*/ 600075 w 842963"/>
                  <a:gd name="connsiteY22" fmla="*/ 338927 h 809625"/>
                  <a:gd name="connsiteX23" fmla="*/ 600075 w 842963"/>
                  <a:gd name="connsiteY23" fmla="*/ 459586 h 809625"/>
                  <a:gd name="connsiteX24" fmla="*/ 592982 w 842963"/>
                  <a:gd name="connsiteY24" fmla="*/ 466725 h 809625"/>
                  <a:gd name="connsiteX25" fmla="*/ 473818 w 842963"/>
                  <a:gd name="connsiteY25" fmla="*/ 466725 h 809625"/>
                  <a:gd name="connsiteX26" fmla="*/ 466725 w 842963"/>
                  <a:gd name="connsiteY26" fmla="*/ 459586 h 809625"/>
                  <a:gd name="connsiteX27" fmla="*/ 466725 w 842963"/>
                  <a:gd name="connsiteY27" fmla="*/ 338927 h 809625"/>
                  <a:gd name="connsiteX28" fmla="*/ 473818 w 842963"/>
                  <a:gd name="connsiteY28" fmla="*/ 331787 h 809625"/>
                  <a:gd name="connsiteX29" fmla="*/ 249980 w 842963"/>
                  <a:gd name="connsiteY29" fmla="*/ 331787 h 809625"/>
                  <a:gd name="connsiteX30" fmla="*/ 369144 w 842963"/>
                  <a:gd name="connsiteY30" fmla="*/ 331787 h 809625"/>
                  <a:gd name="connsiteX31" fmla="*/ 376237 w 842963"/>
                  <a:gd name="connsiteY31" fmla="*/ 338927 h 809625"/>
                  <a:gd name="connsiteX32" fmla="*/ 376237 w 842963"/>
                  <a:gd name="connsiteY32" fmla="*/ 459586 h 809625"/>
                  <a:gd name="connsiteX33" fmla="*/ 369144 w 842963"/>
                  <a:gd name="connsiteY33" fmla="*/ 466725 h 809625"/>
                  <a:gd name="connsiteX34" fmla="*/ 249980 w 842963"/>
                  <a:gd name="connsiteY34" fmla="*/ 466725 h 809625"/>
                  <a:gd name="connsiteX35" fmla="*/ 242887 w 842963"/>
                  <a:gd name="connsiteY35" fmla="*/ 459586 h 809625"/>
                  <a:gd name="connsiteX36" fmla="*/ 242887 w 842963"/>
                  <a:gd name="connsiteY36" fmla="*/ 338927 h 809625"/>
                  <a:gd name="connsiteX37" fmla="*/ 249980 w 842963"/>
                  <a:gd name="connsiteY37" fmla="*/ 331787 h 809625"/>
                  <a:gd name="connsiteX38" fmla="*/ 421482 w 842963"/>
                  <a:gd name="connsiteY38" fmla="*/ 0 h 809625"/>
                  <a:gd name="connsiteX39" fmla="*/ 425054 w 842963"/>
                  <a:gd name="connsiteY39" fmla="*/ 712 h 809625"/>
                  <a:gd name="connsiteX40" fmla="*/ 840820 w 842963"/>
                  <a:gd name="connsiteY40" fmla="*/ 358971 h 809625"/>
                  <a:gd name="connsiteX41" fmla="*/ 842963 w 842963"/>
                  <a:gd name="connsiteY41" fmla="*/ 363244 h 809625"/>
                  <a:gd name="connsiteX42" fmla="*/ 842963 w 842963"/>
                  <a:gd name="connsiteY42" fmla="*/ 445864 h 809625"/>
                  <a:gd name="connsiteX43" fmla="*/ 837248 w 842963"/>
                  <a:gd name="connsiteY43" fmla="*/ 450850 h 809625"/>
                  <a:gd name="connsiteX44" fmla="*/ 833676 w 842963"/>
                  <a:gd name="connsiteY44" fmla="*/ 449426 h 809625"/>
                  <a:gd name="connsiteX45" fmla="*/ 758667 w 842963"/>
                  <a:gd name="connsiteY45" fmla="*/ 385324 h 809625"/>
                  <a:gd name="connsiteX46" fmla="*/ 735093 w 842963"/>
                  <a:gd name="connsiteY46" fmla="*/ 364669 h 809625"/>
                  <a:gd name="connsiteX47" fmla="*/ 425054 w 842963"/>
                  <a:gd name="connsiteY47" fmla="*/ 98290 h 809625"/>
                  <a:gd name="connsiteX48" fmla="*/ 421482 w 842963"/>
                  <a:gd name="connsiteY48" fmla="*/ 96865 h 809625"/>
                  <a:gd name="connsiteX49" fmla="*/ 417910 w 842963"/>
                  <a:gd name="connsiteY49" fmla="*/ 98290 h 809625"/>
                  <a:gd name="connsiteX50" fmla="*/ 107871 w 842963"/>
                  <a:gd name="connsiteY50" fmla="*/ 364669 h 809625"/>
                  <a:gd name="connsiteX51" fmla="*/ 84297 w 842963"/>
                  <a:gd name="connsiteY51" fmla="*/ 385324 h 809625"/>
                  <a:gd name="connsiteX52" fmla="*/ 9287 w 842963"/>
                  <a:gd name="connsiteY52" fmla="*/ 449426 h 809625"/>
                  <a:gd name="connsiteX53" fmla="*/ 5715 w 842963"/>
                  <a:gd name="connsiteY53" fmla="*/ 450850 h 809625"/>
                  <a:gd name="connsiteX54" fmla="*/ 0 w 842963"/>
                  <a:gd name="connsiteY54" fmla="*/ 445864 h 809625"/>
                  <a:gd name="connsiteX55" fmla="*/ 0 w 842963"/>
                  <a:gd name="connsiteY55" fmla="*/ 363244 h 809625"/>
                  <a:gd name="connsiteX56" fmla="*/ 2143 w 842963"/>
                  <a:gd name="connsiteY56" fmla="*/ 358971 h 809625"/>
                  <a:gd name="connsiteX57" fmla="*/ 417910 w 842963"/>
                  <a:gd name="connsiteY57" fmla="*/ 712 h 809625"/>
                  <a:gd name="connsiteX58" fmla="*/ 421482 w 842963"/>
                  <a:gd name="connsiteY58" fmla="*/ 0 h 80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842963" h="809625">
                    <a:moveTo>
                      <a:pt x="472400" y="539750"/>
                    </a:moveTo>
                    <a:cubicBezTo>
                      <a:pt x="472400" y="539750"/>
                      <a:pt x="472400" y="539750"/>
                      <a:pt x="594401" y="539750"/>
                    </a:cubicBezTo>
                    <a:cubicBezTo>
                      <a:pt x="597947" y="539750"/>
                      <a:pt x="600075" y="542621"/>
                      <a:pt x="600075" y="546210"/>
                    </a:cubicBezTo>
                    <a:cubicBezTo>
                      <a:pt x="600075" y="546210"/>
                      <a:pt x="600075" y="546210"/>
                      <a:pt x="600075" y="802448"/>
                    </a:cubicBezTo>
                    <a:cubicBezTo>
                      <a:pt x="600075" y="802448"/>
                      <a:pt x="600075" y="802448"/>
                      <a:pt x="600075" y="803883"/>
                    </a:cubicBezTo>
                    <a:cubicBezTo>
                      <a:pt x="600075" y="807472"/>
                      <a:pt x="597947" y="809625"/>
                      <a:pt x="594401" y="809625"/>
                    </a:cubicBezTo>
                    <a:cubicBezTo>
                      <a:pt x="594401" y="809625"/>
                      <a:pt x="594401" y="809625"/>
                      <a:pt x="472400" y="809625"/>
                    </a:cubicBezTo>
                    <a:cubicBezTo>
                      <a:pt x="468853" y="809625"/>
                      <a:pt x="466725" y="807472"/>
                      <a:pt x="466725" y="803883"/>
                    </a:cubicBezTo>
                    <a:cubicBezTo>
                      <a:pt x="466725" y="803883"/>
                      <a:pt x="466725" y="803883"/>
                      <a:pt x="466725" y="802448"/>
                    </a:cubicBezTo>
                    <a:cubicBezTo>
                      <a:pt x="466725" y="802448"/>
                      <a:pt x="466725" y="802448"/>
                      <a:pt x="466725" y="546210"/>
                    </a:cubicBezTo>
                    <a:cubicBezTo>
                      <a:pt x="466725" y="542621"/>
                      <a:pt x="468853" y="539750"/>
                      <a:pt x="472400" y="539750"/>
                    </a:cubicBezTo>
                    <a:close/>
                    <a:moveTo>
                      <a:pt x="249980" y="539750"/>
                    </a:moveTo>
                    <a:cubicBezTo>
                      <a:pt x="249980" y="539750"/>
                      <a:pt x="249980" y="539750"/>
                      <a:pt x="369144" y="539750"/>
                    </a:cubicBezTo>
                    <a:cubicBezTo>
                      <a:pt x="373400" y="539750"/>
                      <a:pt x="376237" y="543339"/>
                      <a:pt x="376237" y="546928"/>
                    </a:cubicBezTo>
                    <a:cubicBezTo>
                      <a:pt x="376237" y="546928"/>
                      <a:pt x="376237" y="546928"/>
                      <a:pt x="376237" y="667511"/>
                    </a:cubicBezTo>
                    <a:cubicBezTo>
                      <a:pt x="376237" y="671817"/>
                      <a:pt x="373400" y="674688"/>
                      <a:pt x="369144" y="674688"/>
                    </a:cubicBezTo>
                    <a:cubicBezTo>
                      <a:pt x="369144" y="674688"/>
                      <a:pt x="369144" y="674688"/>
                      <a:pt x="249980" y="674688"/>
                    </a:cubicBezTo>
                    <a:cubicBezTo>
                      <a:pt x="245724" y="674688"/>
                      <a:pt x="242887" y="671817"/>
                      <a:pt x="242887" y="667511"/>
                    </a:cubicBezTo>
                    <a:cubicBezTo>
                      <a:pt x="242887" y="667511"/>
                      <a:pt x="242887" y="667511"/>
                      <a:pt x="242887" y="546928"/>
                    </a:cubicBezTo>
                    <a:cubicBezTo>
                      <a:pt x="242887" y="543339"/>
                      <a:pt x="245724" y="539750"/>
                      <a:pt x="249980" y="539750"/>
                    </a:cubicBezTo>
                    <a:close/>
                    <a:moveTo>
                      <a:pt x="473818" y="331787"/>
                    </a:moveTo>
                    <a:cubicBezTo>
                      <a:pt x="473818" y="331787"/>
                      <a:pt x="473818" y="331787"/>
                      <a:pt x="592982" y="331787"/>
                    </a:cubicBezTo>
                    <a:cubicBezTo>
                      <a:pt x="597238" y="331787"/>
                      <a:pt x="600075" y="335357"/>
                      <a:pt x="600075" y="338927"/>
                    </a:cubicBezTo>
                    <a:cubicBezTo>
                      <a:pt x="600075" y="338927"/>
                      <a:pt x="600075" y="338927"/>
                      <a:pt x="600075" y="459586"/>
                    </a:cubicBezTo>
                    <a:cubicBezTo>
                      <a:pt x="600075" y="463155"/>
                      <a:pt x="597238" y="466725"/>
                      <a:pt x="592982" y="466725"/>
                    </a:cubicBezTo>
                    <a:cubicBezTo>
                      <a:pt x="592982" y="466725"/>
                      <a:pt x="592982" y="466725"/>
                      <a:pt x="473818" y="466725"/>
                    </a:cubicBezTo>
                    <a:cubicBezTo>
                      <a:pt x="469562" y="466725"/>
                      <a:pt x="466725" y="463155"/>
                      <a:pt x="466725" y="459586"/>
                    </a:cubicBezTo>
                    <a:cubicBezTo>
                      <a:pt x="466725" y="459586"/>
                      <a:pt x="466725" y="459586"/>
                      <a:pt x="466725" y="338927"/>
                    </a:cubicBezTo>
                    <a:cubicBezTo>
                      <a:pt x="466725" y="335357"/>
                      <a:pt x="469562" y="331787"/>
                      <a:pt x="473818" y="331787"/>
                    </a:cubicBezTo>
                    <a:close/>
                    <a:moveTo>
                      <a:pt x="249980" y="331787"/>
                    </a:moveTo>
                    <a:cubicBezTo>
                      <a:pt x="249980" y="331787"/>
                      <a:pt x="249980" y="331787"/>
                      <a:pt x="369144" y="331787"/>
                    </a:cubicBezTo>
                    <a:cubicBezTo>
                      <a:pt x="373400" y="331787"/>
                      <a:pt x="376237" y="335357"/>
                      <a:pt x="376237" y="338927"/>
                    </a:cubicBezTo>
                    <a:cubicBezTo>
                      <a:pt x="376237" y="338927"/>
                      <a:pt x="376237" y="338927"/>
                      <a:pt x="376237" y="459586"/>
                    </a:cubicBezTo>
                    <a:cubicBezTo>
                      <a:pt x="376237" y="463155"/>
                      <a:pt x="373400" y="466725"/>
                      <a:pt x="369144" y="466725"/>
                    </a:cubicBezTo>
                    <a:cubicBezTo>
                      <a:pt x="369144" y="466725"/>
                      <a:pt x="369144" y="466725"/>
                      <a:pt x="249980" y="466725"/>
                    </a:cubicBezTo>
                    <a:cubicBezTo>
                      <a:pt x="245724" y="466725"/>
                      <a:pt x="242887" y="463155"/>
                      <a:pt x="242887" y="459586"/>
                    </a:cubicBezTo>
                    <a:cubicBezTo>
                      <a:pt x="242887" y="459586"/>
                      <a:pt x="242887" y="459586"/>
                      <a:pt x="242887" y="338927"/>
                    </a:cubicBezTo>
                    <a:cubicBezTo>
                      <a:pt x="242887" y="335357"/>
                      <a:pt x="245724" y="331787"/>
                      <a:pt x="249980" y="331787"/>
                    </a:cubicBezTo>
                    <a:close/>
                    <a:moveTo>
                      <a:pt x="421482" y="0"/>
                    </a:moveTo>
                    <a:cubicBezTo>
                      <a:pt x="422910" y="0"/>
                      <a:pt x="424339" y="0"/>
                      <a:pt x="425054" y="712"/>
                    </a:cubicBezTo>
                    <a:cubicBezTo>
                      <a:pt x="425054" y="712"/>
                      <a:pt x="425054" y="712"/>
                      <a:pt x="840820" y="358971"/>
                    </a:cubicBezTo>
                    <a:cubicBezTo>
                      <a:pt x="842249" y="359683"/>
                      <a:pt x="842963" y="361107"/>
                      <a:pt x="842963" y="363244"/>
                    </a:cubicBezTo>
                    <a:cubicBezTo>
                      <a:pt x="842963" y="363244"/>
                      <a:pt x="842963" y="363244"/>
                      <a:pt x="842963" y="445864"/>
                    </a:cubicBezTo>
                    <a:cubicBezTo>
                      <a:pt x="842963" y="448713"/>
                      <a:pt x="840106" y="450850"/>
                      <a:pt x="837248" y="450850"/>
                    </a:cubicBezTo>
                    <a:cubicBezTo>
                      <a:pt x="835819" y="450850"/>
                      <a:pt x="835105" y="450850"/>
                      <a:pt x="833676" y="449426"/>
                    </a:cubicBezTo>
                    <a:cubicBezTo>
                      <a:pt x="833676" y="449426"/>
                      <a:pt x="833676" y="449426"/>
                      <a:pt x="758667" y="385324"/>
                    </a:cubicBezTo>
                    <a:cubicBezTo>
                      <a:pt x="758667" y="385324"/>
                      <a:pt x="758667" y="385324"/>
                      <a:pt x="735093" y="364669"/>
                    </a:cubicBezTo>
                    <a:cubicBezTo>
                      <a:pt x="735093" y="364669"/>
                      <a:pt x="735093" y="364669"/>
                      <a:pt x="425054" y="98290"/>
                    </a:cubicBezTo>
                    <a:cubicBezTo>
                      <a:pt x="424339" y="96865"/>
                      <a:pt x="422910" y="96865"/>
                      <a:pt x="421482" y="96865"/>
                    </a:cubicBezTo>
                    <a:cubicBezTo>
                      <a:pt x="420053" y="96865"/>
                      <a:pt x="418624" y="96865"/>
                      <a:pt x="417910" y="98290"/>
                    </a:cubicBezTo>
                    <a:cubicBezTo>
                      <a:pt x="417910" y="98290"/>
                      <a:pt x="417910" y="98290"/>
                      <a:pt x="107871" y="364669"/>
                    </a:cubicBezTo>
                    <a:cubicBezTo>
                      <a:pt x="107871" y="364669"/>
                      <a:pt x="107871" y="364669"/>
                      <a:pt x="84297" y="385324"/>
                    </a:cubicBezTo>
                    <a:cubicBezTo>
                      <a:pt x="84297" y="385324"/>
                      <a:pt x="84297" y="385324"/>
                      <a:pt x="9287" y="449426"/>
                    </a:cubicBezTo>
                    <a:cubicBezTo>
                      <a:pt x="7858" y="450850"/>
                      <a:pt x="7144" y="450850"/>
                      <a:pt x="5715" y="450850"/>
                    </a:cubicBezTo>
                    <a:cubicBezTo>
                      <a:pt x="2858" y="450850"/>
                      <a:pt x="0" y="448713"/>
                      <a:pt x="0" y="445864"/>
                    </a:cubicBezTo>
                    <a:cubicBezTo>
                      <a:pt x="0" y="445864"/>
                      <a:pt x="0" y="445864"/>
                      <a:pt x="0" y="363244"/>
                    </a:cubicBezTo>
                    <a:cubicBezTo>
                      <a:pt x="0" y="361107"/>
                      <a:pt x="715" y="359683"/>
                      <a:pt x="2143" y="358971"/>
                    </a:cubicBezTo>
                    <a:cubicBezTo>
                      <a:pt x="2143" y="358971"/>
                      <a:pt x="2143" y="358971"/>
                      <a:pt x="417910" y="712"/>
                    </a:cubicBezTo>
                    <a:cubicBezTo>
                      <a:pt x="418624" y="0"/>
                      <a:pt x="420053" y="0"/>
                      <a:pt x="42148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59" name="Freeform 16">
                <a:extLst>
                  <a:ext uri="{FF2B5EF4-FFF2-40B4-BE49-F238E27FC236}">
                    <a16:creationId xmlns:a16="http://schemas.microsoft.com/office/drawing/2014/main" id="{712639DD-257C-48C9-B41F-816BE1312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5626" y="2776538"/>
                <a:ext cx="919163" cy="1304925"/>
              </a:xfrm>
              <a:custGeom>
                <a:avLst/>
                <a:gdLst>
                  <a:gd name="connsiteX0" fmla="*/ 72189 w 919163"/>
                  <a:gd name="connsiteY0" fmla="*/ 1179512 h 1304925"/>
                  <a:gd name="connsiteX1" fmla="*/ 122221 w 919163"/>
                  <a:gd name="connsiteY1" fmla="*/ 1179512 h 1304925"/>
                  <a:gd name="connsiteX2" fmla="*/ 153670 w 919163"/>
                  <a:gd name="connsiteY2" fmla="*/ 1179512 h 1304925"/>
                  <a:gd name="connsiteX3" fmla="*/ 765493 w 919163"/>
                  <a:gd name="connsiteY3" fmla="*/ 1179512 h 1304925"/>
                  <a:gd name="connsiteX4" fmla="*/ 796942 w 919163"/>
                  <a:gd name="connsiteY4" fmla="*/ 1179512 h 1304925"/>
                  <a:gd name="connsiteX5" fmla="*/ 846974 w 919163"/>
                  <a:gd name="connsiteY5" fmla="*/ 1179512 h 1304925"/>
                  <a:gd name="connsiteX6" fmla="*/ 859125 w 919163"/>
                  <a:gd name="connsiteY6" fmla="*/ 1191695 h 1304925"/>
                  <a:gd name="connsiteX7" fmla="*/ 859125 w 919163"/>
                  <a:gd name="connsiteY7" fmla="*/ 1216061 h 1304925"/>
                  <a:gd name="connsiteX8" fmla="*/ 907727 w 919163"/>
                  <a:gd name="connsiteY8" fmla="*/ 1216061 h 1304925"/>
                  <a:gd name="connsiteX9" fmla="*/ 919163 w 919163"/>
                  <a:gd name="connsiteY9" fmla="*/ 1228244 h 1304925"/>
                  <a:gd name="connsiteX10" fmla="*/ 919163 w 919163"/>
                  <a:gd name="connsiteY10" fmla="*/ 1292742 h 1304925"/>
                  <a:gd name="connsiteX11" fmla="*/ 907727 w 919163"/>
                  <a:gd name="connsiteY11" fmla="*/ 1304925 h 1304925"/>
                  <a:gd name="connsiteX12" fmla="*/ 11436 w 919163"/>
                  <a:gd name="connsiteY12" fmla="*/ 1304925 h 1304925"/>
                  <a:gd name="connsiteX13" fmla="*/ 0 w 919163"/>
                  <a:gd name="connsiteY13" fmla="*/ 1292742 h 1304925"/>
                  <a:gd name="connsiteX14" fmla="*/ 0 w 919163"/>
                  <a:gd name="connsiteY14" fmla="*/ 1228244 h 1304925"/>
                  <a:gd name="connsiteX15" fmla="*/ 11436 w 919163"/>
                  <a:gd name="connsiteY15" fmla="*/ 1216061 h 1304925"/>
                  <a:gd name="connsiteX16" fmla="*/ 60038 w 919163"/>
                  <a:gd name="connsiteY16" fmla="*/ 1216061 h 1304925"/>
                  <a:gd name="connsiteX17" fmla="*/ 60038 w 919163"/>
                  <a:gd name="connsiteY17" fmla="*/ 1191695 h 1304925"/>
                  <a:gd name="connsiteX18" fmla="*/ 72189 w 919163"/>
                  <a:gd name="connsiteY18" fmla="*/ 1179512 h 1304925"/>
                  <a:gd name="connsiteX19" fmla="*/ 765175 w 919163"/>
                  <a:gd name="connsiteY19" fmla="*/ 746125 h 1304925"/>
                  <a:gd name="connsiteX20" fmla="*/ 796925 w 919163"/>
                  <a:gd name="connsiteY20" fmla="*/ 773113 h 1304925"/>
                  <a:gd name="connsiteX21" fmla="*/ 796925 w 919163"/>
                  <a:gd name="connsiteY21" fmla="*/ 1155700 h 1304925"/>
                  <a:gd name="connsiteX22" fmla="*/ 765175 w 919163"/>
                  <a:gd name="connsiteY22" fmla="*/ 1155700 h 1304925"/>
                  <a:gd name="connsiteX23" fmla="*/ 153987 w 919163"/>
                  <a:gd name="connsiteY23" fmla="*/ 746125 h 1304925"/>
                  <a:gd name="connsiteX24" fmla="*/ 153987 w 919163"/>
                  <a:gd name="connsiteY24" fmla="*/ 1155700 h 1304925"/>
                  <a:gd name="connsiteX25" fmla="*/ 122237 w 919163"/>
                  <a:gd name="connsiteY25" fmla="*/ 1155700 h 1304925"/>
                  <a:gd name="connsiteX26" fmla="*/ 122237 w 919163"/>
                  <a:gd name="connsiteY26" fmla="*/ 773113 h 1304925"/>
                  <a:gd name="connsiteX27" fmla="*/ 459222 w 919163"/>
                  <a:gd name="connsiteY27" fmla="*/ 226106 h 1304925"/>
                  <a:gd name="connsiteX28" fmla="*/ 556532 w 919163"/>
                  <a:gd name="connsiteY28" fmla="*/ 261129 h 1304925"/>
                  <a:gd name="connsiteX29" fmla="*/ 557251 w 919163"/>
                  <a:gd name="connsiteY29" fmla="*/ 261849 h 1304925"/>
                  <a:gd name="connsiteX30" fmla="*/ 559405 w 919163"/>
                  <a:gd name="connsiteY30" fmla="*/ 284177 h 1304925"/>
                  <a:gd name="connsiteX31" fmla="*/ 547196 w 919163"/>
                  <a:gd name="connsiteY31" fmla="*/ 289939 h 1304925"/>
                  <a:gd name="connsiteX32" fmla="*/ 537860 w 919163"/>
                  <a:gd name="connsiteY32" fmla="*/ 287058 h 1304925"/>
                  <a:gd name="connsiteX33" fmla="*/ 537142 w 919163"/>
                  <a:gd name="connsiteY33" fmla="*/ 286338 h 1304925"/>
                  <a:gd name="connsiteX34" fmla="*/ 381302 w 919163"/>
                  <a:gd name="connsiteY34" fmla="*/ 287058 h 1304925"/>
                  <a:gd name="connsiteX35" fmla="*/ 359758 w 919163"/>
                  <a:gd name="connsiteY35" fmla="*/ 284177 h 1304925"/>
                  <a:gd name="connsiteX36" fmla="*/ 361912 w 919163"/>
                  <a:gd name="connsiteY36" fmla="*/ 261849 h 1304925"/>
                  <a:gd name="connsiteX37" fmla="*/ 459222 w 919163"/>
                  <a:gd name="connsiteY37" fmla="*/ 226106 h 1304925"/>
                  <a:gd name="connsiteX38" fmla="*/ 458869 w 919163"/>
                  <a:gd name="connsiteY38" fmla="*/ 115887 h 1304925"/>
                  <a:gd name="connsiteX39" fmla="*/ 459582 w 919163"/>
                  <a:gd name="connsiteY39" fmla="*/ 115887 h 1304925"/>
                  <a:gd name="connsiteX40" fmla="*/ 618511 w 919163"/>
                  <a:gd name="connsiteY40" fmla="*/ 173708 h 1304925"/>
                  <a:gd name="connsiteX41" fmla="*/ 619224 w 919163"/>
                  <a:gd name="connsiteY41" fmla="*/ 174431 h 1304925"/>
                  <a:gd name="connsiteX42" fmla="*/ 622074 w 919163"/>
                  <a:gd name="connsiteY42" fmla="*/ 196114 h 1304925"/>
                  <a:gd name="connsiteX43" fmla="*/ 609246 w 919163"/>
                  <a:gd name="connsiteY43" fmla="*/ 202619 h 1304925"/>
                  <a:gd name="connsiteX44" fmla="*/ 599981 w 919163"/>
                  <a:gd name="connsiteY44" fmla="*/ 199005 h 1304925"/>
                  <a:gd name="connsiteX45" fmla="*/ 599268 w 919163"/>
                  <a:gd name="connsiteY45" fmla="*/ 199005 h 1304925"/>
                  <a:gd name="connsiteX46" fmla="*/ 319182 w 919163"/>
                  <a:gd name="connsiteY46" fmla="*/ 199005 h 1304925"/>
                  <a:gd name="connsiteX47" fmla="*/ 297089 w 919163"/>
                  <a:gd name="connsiteY47" fmla="*/ 196837 h 1304925"/>
                  <a:gd name="connsiteX48" fmla="*/ 299940 w 919163"/>
                  <a:gd name="connsiteY48" fmla="*/ 174431 h 1304925"/>
                  <a:gd name="connsiteX49" fmla="*/ 458869 w 919163"/>
                  <a:gd name="connsiteY49" fmla="*/ 115887 h 1304925"/>
                  <a:gd name="connsiteX50" fmla="*/ 454577 w 919163"/>
                  <a:gd name="connsiteY50" fmla="*/ 0 h 1304925"/>
                  <a:gd name="connsiteX51" fmla="*/ 458867 w 919163"/>
                  <a:gd name="connsiteY51" fmla="*/ 0 h 1304925"/>
                  <a:gd name="connsiteX52" fmla="*/ 459582 w 919163"/>
                  <a:gd name="connsiteY52" fmla="*/ 0 h 1304925"/>
                  <a:gd name="connsiteX53" fmla="*/ 460297 w 919163"/>
                  <a:gd name="connsiteY53" fmla="*/ 0 h 1304925"/>
                  <a:gd name="connsiteX54" fmla="*/ 464587 w 919163"/>
                  <a:gd name="connsiteY54" fmla="*/ 0 h 1304925"/>
                  <a:gd name="connsiteX55" fmla="*/ 467447 w 919163"/>
                  <a:gd name="connsiteY55" fmla="*/ 714 h 1304925"/>
                  <a:gd name="connsiteX56" fmla="*/ 473882 w 919163"/>
                  <a:gd name="connsiteY56" fmla="*/ 714 h 1304925"/>
                  <a:gd name="connsiteX57" fmla="*/ 475312 w 919163"/>
                  <a:gd name="connsiteY57" fmla="*/ 714 h 1304925"/>
                  <a:gd name="connsiteX58" fmla="*/ 483178 w 919163"/>
                  <a:gd name="connsiteY58" fmla="*/ 1428 h 1304925"/>
                  <a:gd name="connsiteX59" fmla="*/ 588287 w 919163"/>
                  <a:gd name="connsiteY59" fmla="*/ 23559 h 1304925"/>
                  <a:gd name="connsiteX60" fmla="*/ 595438 w 919163"/>
                  <a:gd name="connsiteY60" fmla="*/ 26415 h 1304925"/>
                  <a:gd name="connsiteX61" fmla="*/ 596153 w 919163"/>
                  <a:gd name="connsiteY61" fmla="*/ 26415 h 1304925"/>
                  <a:gd name="connsiteX62" fmla="*/ 603303 w 919163"/>
                  <a:gd name="connsiteY62" fmla="*/ 29270 h 1304925"/>
                  <a:gd name="connsiteX63" fmla="*/ 604018 w 919163"/>
                  <a:gd name="connsiteY63" fmla="*/ 29270 h 1304925"/>
                  <a:gd name="connsiteX64" fmla="*/ 610453 w 919163"/>
                  <a:gd name="connsiteY64" fmla="*/ 32126 h 1304925"/>
                  <a:gd name="connsiteX65" fmla="*/ 611883 w 919163"/>
                  <a:gd name="connsiteY65" fmla="*/ 32840 h 1304925"/>
                  <a:gd name="connsiteX66" fmla="*/ 618319 w 919163"/>
                  <a:gd name="connsiteY66" fmla="*/ 35695 h 1304925"/>
                  <a:gd name="connsiteX67" fmla="*/ 619749 w 919163"/>
                  <a:gd name="connsiteY67" fmla="*/ 36409 h 1304925"/>
                  <a:gd name="connsiteX68" fmla="*/ 625469 w 919163"/>
                  <a:gd name="connsiteY68" fmla="*/ 39265 h 1304925"/>
                  <a:gd name="connsiteX69" fmla="*/ 627614 w 919163"/>
                  <a:gd name="connsiteY69" fmla="*/ 39979 h 1304925"/>
                  <a:gd name="connsiteX70" fmla="*/ 633334 w 919163"/>
                  <a:gd name="connsiteY70" fmla="*/ 42834 h 1304925"/>
                  <a:gd name="connsiteX71" fmla="*/ 635480 w 919163"/>
                  <a:gd name="connsiteY71" fmla="*/ 44262 h 1304925"/>
                  <a:gd name="connsiteX72" fmla="*/ 640485 w 919163"/>
                  <a:gd name="connsiteY72" fmla="*/ 46404 h 1304925"/>
                  <a:gd name="connsiteX73" fmla="*/ 643345 w 919163"/>
                  <a:gd name="connsiteY73" fmla="*/ 47832 h 1304925"/>
                  <a:gd name="connsiteX74" fmla="*/ 648350 w 919163"/>
                  <a:gd name="connsiteY74" fmla="*/ 50687 h 1304925"/>
                  <a:gd name="connsiteX75" fmla="*/ 651210 w 919163"/>
                  <a:gd name="connsiteY75" fmla="*/ 52115 h 1304925"/>
                  <a:gd name="connsiteX76" fmla="*/ 655500 w 919163"/>
                  <a:gd name="connsiteY76" fmla="*/ 54971 h 1304925"/>
                  <a:gd name="connsiteX77" fmla="*/ 658361 w 919163"/>
                  <a:gd name="connsiteY77" fmla="*/ 56399 h 1304925"/>
                  <a:gd name="connsiteX78" fmla="*/ 663366 w 919163"/>
                  <a:gd name="connsiteY78" fmla="*/ 59254 h 1304925"/>
                  <a:gd name="connsiteX79" fmla="*/ 666226 w 919163"/>
                  <a:gd name="connsiteY79" fmla="*/ 61396 h 1304925"/>
                  <a:gd name="connsiteX80" fmla="*/ 670516 w 919163"/>
                  <a:gd name="connsiteY80" fmla="*/ 63538 h 1304925"/>
                  <a:gd name="connsiteX81" fmla="*/ 673376 w 919163"/>
                  <a:gd name="connsiteY81" fmla="*/ 65679 h 1304925"/>
                  <a:gd name="connsiteX82" fmla="*/ 677666 w 919163"/>
                  <a:gd name="connsiteY82" fmla="*/ 68535 h 1304925"/>
                  <a:gd name="connsiteX83" fmla="*/ 681242 w 919163"/>
                  <a:gd name="connsiteY83" fmla="*/ 70677 h 1304925"/>
                  <a:gd name="connsiteX84" fmla="*/ 685532 w 919163"/>
                  <a:gd name="connsiteY84" fmla="*/ 73532 h 1304925"/>
                  <a:gd name="connsiteX85" fmla="*/ 688392 w 919163"/>
                  <a:gd name="connsiteY85" fmla="*/ 75674 h 1304925"/>
                  <a:gd name="connsiteX86" fmla="*/ 692682 w 919163"/>
                  <a:gd name="connsiteY86" fmla="*/ 78530 h 1304925"/>
                  <a:gd name="connsiteX87" fmla="*/ 695542 w 919163"/>
                  <a:gd name="connsiteY87" fmla="*/ 80671 h 1304925"/>
                  <a:gd name="connsiteX88" fmla="*/ 699832 w 919163"/>
                  <a:gd name="connsiteY88" fmla="*/ 84241 h 1304925"/>
                  <a:gd name="connsiteX89" fmla="*/ 702693 w 919163"/>
                  <a:gd name="connsiteY89" fmla="*/ 86383 h 1304925"/>
                  <a:gd name="connsiteX90" fmla="*/ 707698 w 919163"/>
                  <a:gd name="connsiteY90" fmla="*/ 89952 h 1304925"/>
                  <a:gd name="connsiteX91" fmla="*/ 709843 w 919163"/>
                  <a:gd name="connsiteY91" fmla="*/ 91380 h 1304925"/>
                  <a:gd name="connsiteX92" fmla="*/ 711273 w 919163"/>
                  <a:gd name="connsiteY92" fmla="*/ 92094 h 1304925"/>
                  <a:gd name="connsiteX93" fmla="*/ 714133 w 919163"/>
                  <a:gd name="connsiteY93" fmla="*/ 114225 h 1304925"/>
                  <a:gd name="connsiteX94" fmla="*/ 701262 w 919163"/>
                  <a:gd name="connsiteY94" fmla="*/ 120650 h 1304925"/>
                  <a:gd name="connsiteX95" fmla="*/ 691967 w 919163"/>
                  <a:gd name="connsiteY95" fmla="*/ 117081 h 1304925"/>
                  <a:gd name="connsiteX96" fmla="*/ 687677 w 919163"/>
                  <a:gd name="connsiteY96" fmla="*/ 114225 h 1304925"/>
                  <a:gd name="connsiteX97" fmla="*/ 684102 w 919163"/>
                  <a:gd name="connsiteY97" fmla="*/ 111369 h 1304925"/>
                  <a:gd name="connsiteX98" fmla="*/ 681242 w 919163"/>
                  <a:gd name="connsiteY98" fmla="*/ 109228 h 1304925"/>
                  <a:gd name="connsiteX99" fmla="*/ 677666 w 919163"/>
                  <a:gd name="connsiteY99" fmla="*/ 106372 h 1304925"/>
                  <a:gd name="connsiteX100" fmla="*/ 674091 w 919163"/>
                  <a:gd name="connsiteY100" fmla="*/ 104230 h 1304925"/>
                  <a:gd name="connsiteX101" fmla="*/ 670516 w 919163"/>
                  <a:gd name="connsiteY101" fmla="*/ 101375 h 1304925"/>
                  <a:gd name="connsiteX102" fmla="*/ 666941 w 919163"/>
                  <a:gd name="connsiteY102" fmla="*/ 99233 h 1304925"/>
                  <a:gd name="connsiteX103" fmla="*/ 663366 w 919163"/>
                  <a:gd name="connsiteY103" fmla="*/ 97091 h 1304925"/>
                  <a:gd name="connsiteX104" fmla="*/ 659791 w 919163"/>
                  <a:gd name="connsiteY104" fmla="*/ 94236 h 1304925"/>
                  <a:gd name="connsiteX105" fmla="*/ 656930 w 919163"/>
                  <a:gd name="connsiteY105" fmla="*/ 92094 h 1304925"/>
                  <a:gd name="connsiteX106" fmla="*/ 652640 w 919163"/>
                  <a:gd name="connsiteY106" fmla="*/ 89952 h 1304925"/>
                  <a:gd name="connsiteX107" fmla="*/ 649780 w 919163"/>
                  <a:gd name="connsiteY107" fmla="*/ 87810 h 1304925"/>
                  <a:gd name="connsiteX108" fmla="*/ 645490 w 919163"/>
                  <a:gd name="connsiteY108" fmla="*/ 85669 h 1304925"/>
                  <a:gd name="connsiteX109" fmla="*/ 642630 w 919163"/>
                  <a:gd name="connsiteY109" fmla="*/ 83527 h 1304925"/>
                  <a:gd name="connsiteX110" fmla="*/ 638340 w 919163"/>
                  <a:gd name="connsiteY110" fmla="*/ 81385 h 1304925"/>
                  <a:gd name="connsiteX111" fmla="*/ 635480 w 919163"/>
                  <a:gd name="connsiteY111" fmla="*/ 79244 h 1304925"/>
                  <a:gd name="connsiteX112" fmla="*/ 631189 w 919163"/>
                  <a:gd name="connsiteY112" fmla="*/ 77102 h 1304925"/>
                  <a:gd name="connsiteX113" fmla="*/ 628329 w 919163"/>
                  <a:gd name="connsiteY113" fmla="*/ 75674 h 1304925"/>
                  <a:gd name="connsiteX114" fmla="*/ 624039 w 919163"/>
                  <a:gd name="connsiteY114" fmla="*/ 73532 h 1304925"/>
                  <a:gd name="connsiteX115" fmla="*/ 621179 w 919163"/>
                  <a:gd name="connsiteY115" fmla="*/ 72105 h 1304925"/>
                  <a:gd name="connsiteX116" fmla="*/ 616889 w 919163"/>
                  <a:gd name="connsiteY116" fmla="*/ 69963 h 1304925"/>
                  <a:gd name="connsiteX117" fmla="*/ 614029 w 919163"/>
                  <a:gd name="connsiteY117" fmla="*/ 68535 h 1304925"/>
                  <a:gd name="connsiteX118" fmla="*/ 609738 w 919163"/>
                  <a:gd name="connsiteY118" fmla="*/ 66393 h 1304925"/>
                  <a:gd name="connsiteX119" fmla="*/ 606878 w 919163"/>
                  <a:gd name="connsiteY119" fmla="*/ 64966 h 1304925"/>
                  <a:gd name="connsiteX120" fmla="*/ 602588 w 919163"/>
                  <a:gd name="connsiteY120" fmla="*/ 62824 h 1304925"/>
                  <a:gd name="connsiteX121" fmla="*/ 599728 w 919163"/>
                  <a:gd name="connsiteY121" fmla="*/ 62110 h 1304925"/>
                  <a:gd name="connsiteX122" fmla="*/ 595438 w 919163"/>
                  <a:gd name="connsiteY122" fmla="*/ 59968 h 1304925"/>
                  <a:gd name="connsiteX123" fmla="*/ 592578 w 919163"/>
                  <a:gd name="connsiteY123" fmla="*/ 58540 h 1304925"/>
                  <a:gd name="connsiteX124" fmla="*/ 588287 w 919163"/>
                  <a:gd name="connsiteY124" fmla="*/ 57113 h 1304925"/>
                  <a:gd name="connsiteX125" fmla="*/ 585427 w 919163"/>
                  <a:gd name="connsiteY125" fmla="*/ 55685 h 1304925"/>
                  <a:gd name="connsiteX126" fmla="*/ 581137 w 919163"/>
                  <a:gd name="connsiteY126" fmla="*/ 54257 h 1304925"/>
                  <a:gd name="connsiteX127" fmla="*/ 578277 w 919163"/>
                  <a:gd name="connsiteY127" fmla="*/ 52829 h 1304925"/>
                  <a:gd name="connsiteX128" fmla="*/ 573272 w 919163"/>
                  <a:gd name="connsiteY128" fmla="*/ 51401 h 1304925"/>
                  <a:gd name="connsiteX129" fmla="*/ 571127 w 919163"/>
                  <a:gd name="connsiteY129" fmla="*/ 50687 h 1304925"/>
                  <a:gd name="connsiteX130" fmla="*/ 566121 w 919163"/>
                  <a:gd name="connsiteY130" fmla="*/ 49260 h 1304925"/>
                  <a:gd name="connsiteX131" fmla="*/ 563261 w 919163"/>
                  <a:gd name="connsiteY131" fmla="*/ 47832 h 1304925"/>
                  <a:gd name="connsiteX132" fmla="*/ 558971 w 919163"/>
                  <a:gd name="connsiteY132" fmla="*/ 46404 h 1304925"/>
                  <a:gd name="connsiteX133" fmla="*/ 556111 w 919163"/>
                  <a:gd name="connsiteY133" fmla="*/ 45690 h 1304925"/>
                  <a:gd name="connsiteX134" fmla="*/ 551821 w 919163"/>
                  <a:gd name="connsiteY134" fmla="*/ 44262 h 1304925"/>
                  <a:gd name="connsiteX135" fmla="*/ 548961 w 919163"/>
                  <a:gd name="connsiteY135" fmla="*/ 43548 h 1304925"/>
                  <a:gd name="connsiteX136" fmla="*/ 543955 w 919163"/>
                  <a:gd name="connsiteY136" fmla="*/ 42834 h 1304925"/>
                  <a:gd name="connsiteX137" fmla="*/ 541095 w 919163"/>
                  <a:gd name="connsiteY137" fmla="*/ 42121 h 1304925"/>
                  <a:gd name="connsiteX138" fmla="*/ 536805 w 919163"/>
                  <a:gd name="connsiteY138" fmla="*/ 40693 h 1304925"/>
                  <a:gd name="connsiteX139" fmla="*/ 533945 w 919163"/>
                  <a:gd name="connsiteY139" fmla="*/ 39979 h 1304925"/>
                  <a:gd name="connsiteX140" fmla="*/ 529655 w 919163"/>
                  <a:gd name="connsiteY140" fmla="*/ 39265 h 1304925"/>
                  <a:gd name="connsiteX141" fmla="*/ 526795 w 919163"/>
                  <a:gd name="connsiteY141" fmla="*/ 38551 h 1304925"/>
                  <a:gd name="connsiteX142" fmla="*/ 521789 w 919163"/>
                  <a:gd name="connsiteY142" fmla="*/ 37837 h 1304925"/>
                  <a:gd name="connsiteX143" fmla="*/ 518929 w 919163"/>
                  <a:gd name="connsiteY143" fmla="*/ 37123 h 1304925"/>
                  <a:gd name="connsiteX144" fmla="*/ 514639 w 919163"/>
                  <a:gd name="connsiteY144" fmla="*/ 36409 h 1304925"/>
                  <a:gd name="connsiteX145" fmla="*/ 511779 w 919163"/>
                  <a:gd name="connsiteY145" fmla="*/ 35695 h 1304925"/>
                  <a:gd name="connsiteX146" fmla="*/ 507489 w 919163"/>
                  <a:gd name="connsiteY146" fmla="*/ 34981 h 1304925"/>
                  <a:gd name="connsiteX147" fmla="*/ 504629 w 919163"/>
                  <a:gd name="connsiteY147" fmla="*/ 34981 h 1304925"/>
                  <a:gd name="connsiteX148" fmla="*/ 499624 w 919163"/>
                  <a:gd name="connsiteY148" fmla="*/ 34268 h 1304925"/>
                  <a:gd name="connsiteX149" fmla="*/ 496763 w 919163"/>
                  <a:gd name="connsiteY149" fmla="*/ 33554 h 1304925"/>
                  <a:gd name="connsiteX150" fmla="*/ 492473 w 919163"/>
                  <a:gd name="connsiteY150" fmla="*/ 33554 h 1304925"/>
                  <a:gd name="connsiteX151" fmla="*/ 489613 w 919163"/>
                  <a:gd name="connsiteY151" fmla="*/ 32840 h 1304925"/>
                  <a:gd name="connsiteX152" fmla="*/ 485323 w 919163"/>
                  <a:gd name="connsiteY152" fmla="*/ 32840 h 1304925"/>
                  <a:gd name="connsiteX153" fmla="*/ 481748 w 919163"/>
                  <a:gd name="connsiteY153" fmla="*/ 32840 h 1304925"/>
                  <a:gd name="connsiteX154" fmla="*/ 477458 w 919163"/>
                  <a:gd name="connsiteY154" fmla="*/ 32126 h 1304925"/>
                  <a:gd name="connsiteX155" fmla="*/ 474597 w 919163"/>
                  <a:gd name="connsiteY155" fmla="*/ 32126 h 1304925"/>
                  <a:gd name="connsiteX156" fmla="*/ 470307 w 919163"/>
                  <a:gd name="connsiteY156" fmla="*/ 32126 h 1304925"/>
                  <a:gd name="connsiteX157" fmla="*/ 467447 w 919163"/>
                  <a:gd name="connsiteY157" fmla="*/ 32126 h 1304925"/>
                  <a:gd name="connsiteX158" fmla="*/ 462442 w 919163"/>
                  <a:gd name="connsiteY158" fmla="*/ 32126 h 1304925"/>
                  <a:gd name="connsiteX159" fmla="*/ 459582 w 919163"/>
                  <a:gd name="connsiteY159" fmla="*/ 32126 h 1304925"/>
                  <a:gd name="connsiteX160" fmla="*/ 455292 w 919163"/>
                  <a:gd name="connsiteY160" fmla="*/ 32126 h 1304925"/>
                  <a:gd name="connsiteX161" fmla="*/ 452431 w 919163"/>
                  <a:gd name="connsiteY161" fmla="*/ 32126 h 1304925"/>
                  <a:gd name="connsiteX162" fmla="*/ 448141 w 919163"/>
                  <a:gd name="connsiteY162" fmla="*/ 32126 h 1304925"/>
                  <a:gd name="connsiteX163" fmla="*/ 444566 w 919163"/>
                  <a:gd name="connsiteY163" fmla="*/ 32126 h 1304925"/>
                  <a:gd name="connsiteX164" fmla="*/ 440276 w 919163"/>
                  <a:gd name="connsiteY164" fmla="*/ 32126 h 1304925"/>
                  <a:gd name="connsiteX165" fmla="*/ 437416 w 919163"/>
                  <a:gd name="connsiteY165" fmla="*/ 32840 h 1304925"/>
                  <a:gd name="connsiteX166" fmla="*/ 433126 w 919163"/>
                  <a:gd name="connsiteY166" fmla="*/ 32840 h 1304925"/>
                  <a:gd name="connsiteX167" fmla="*/ 429550 w 919163"/>
                  <a:gd name="connsiteY167" fmla="*/ 32840 h 1304925"/>
                  <a:gd name="connsiteX168" fmla="*/ 425260 w 919163"/>
                  <a:gd name="connsiteY168" fmla="*/ 33554 h 1304925"/>
                  <a:gd name="connsiteX169" fmla="*/ 422400 w 919163"/>
                  <a:gd name="connsiteY169" fmla="*/ 33554 h 1304925"/>
                  <a:gd name="connsiteX170" fmla="*/ 418110 w 919163"/>
                  <a:gd name="connsiteY170" fmla="*/ 34268 h 1304925"/>
                  <a:gd name="connsiteX171" fmla="*/ 415250 w 919163"/>
                  <a:gd name="connsiteY171" fmla="*/ 34981 h 1304925"/>
                  <a:gd name="connsiteX172" fmla="*/ 410960 w 919163"/>
                  <a:gd name="connsiteY172" fmla="*/ 35695 h 1304925"/>
                  <a:gd name="connsiteX173" fmla="*/ 407384 w 919163"/>
                  <a:gd name="connsiteY173" fmla="*/ 35695 h 1304925"/>
                  <a:gd name="connsiteX174" fmla="*/ 403094 w 919163"/>
                  <a:gd name="connsiteY174" fmla="*/ 36409 h 1304925"/>
                  <a:gd name="connsiteX175" fmla="*/ 400234 w 919163"/>
                  <a:gd name="connsiteY175" fmla="*/ 37123 h 1304925"/>
                  <a:gd name="connsiteX176" fmla="*/ 395944 w 919163"/>
                  <a:gd name="connsiteY176" fmla="*/ 37837 h 1304925"/>
                  <a:gd name="connsiteX177" fmla="*/ 393084 w 919163"/>
                  <a:gd name="connsiteY177" fmla="*/ 38551 h 1304925"/>
                  <a:gd name="connsiteX178" fmla="*/ 388794 w 919163"/>
                  <a:gd name="connsiteY178" fmla="*/ 39265 h 1304925"/>
                  <a:gd name="connsiteX179" fmla="*/ 385218 w 919163"/>
                  <a:gd name="connsiteY179" fmla="*/ 39979 h 1304925"/>
                  <a:gd name="connsiteX180" fmla="*/ 380928 w 919163"/>
                  <a:gd name="connsiteY180" fmla="*/ 40693 h 1304925"/>
                  <a:gd name="connsiteX181" fmla="*/ 378068 w 919163"/>
                  <a:gd name="connsiteY181" fmla="*/ 42121 h 1304925"/>
                  <a:gd name="connsiteX182" fmla="*/ 373778 w 919163"/>
                  <a:gd name="connsiteY182" fmla="*/ 42834 h 1304925"/>
                  <a:gd name="connsiteX183" fmla="*/ 370918 w 919163"/>
                  <a:gd name="connsiteY183" fmla="*/ 43548 h 1304925"/>
                  <a:gd name="connsiteX184" fmla="*/ 366628 w 919163"/>
                  <a:gd name="connsiteY184" fmla="*/ 44976 h 1304925"/>
                  <a:gd name="connsiteX185" fmla="*/ 363052 w 919163"/>
                  <a:gd name="connsiteY185" fmla="*/ 45690 h 1304925"/>
                  <a:gd name="connsiteX186" fmla="*/ 359477 w 919163"/>
                  <a:gd name="connsiteY186" fmla="*/ 47118 h 1304925"/>
                  <a:gd name="connsiteX187" fmla="*/ 355902 w 919163"/>
                  <a:gd name="connsiteY187" fmla="*/ 47832 h 1304925"/>
                  <a:gd name="connsiteX188" fmla="*/ 351612 w 919163"/>
                  <a:gd name="connsiteY188" fmla="*/ 49260 h 1304925"/>
                  <a:gd name="connsiteX189" fmla="*/ 348752 w 919163"/>
                  <a:gd name="connsiteY189" fmla="*/ 50687 h 1304925"/>
                  <a:gd name="connsiteX190" fmla="*/ 344462 w 919163"/>
                  <a:gd name="connsiteY190" fmla="*/ 52115 h 1304925"/>
                  <a:gd name="connsiteX191" fmla="*/ 341602 w 919163"/>
                  <a:gd name="connsiteY191" fmla="*/ 52829 h 1304925"/>
                  <a:gd name="connsiteX192" fmla="*/ 337311 w 919163"/>
                  <a:gd name="connsiteY192" fmla="*/ 54257 h 1304925"/>
                  <a:gd name="connsiteX193" fmla="*/ 333736 w 919163"/>
                  <a:gd name="connsiteY193" fmla="*/ 55685 h 1304925"/>
                  <a:gd name="connsiteX194" fmla="*/ 330161 w 919163"/>
                  <a:gd name="connsiteY194" fmla="*/ 57113 h 1304925"/>
                  <a:gd name="connsiteX195" fmla="*/ 326586 w 919163"/>
                  <a:gd name="connsiteY195" fmla="*/ 58540 h 1304925"/>
                  <a:gd name="connsiteX196" fmla="*/ 323011 w 919163"/>
                  <a:gd name="connsiteY196" fmla="*/ 60682 h 1304925"/>
                  <a:gd name="connsiteX197" fmla="*/ 319436 w 919163"/>
                  <a:gd name="connsiteY197" fmla="*/ 61396 h 1304925"/>
                  <a:gd name="connsiteX198" fmla="*/ 315145 w 919163"/>
                  <a:gd name="connsiteY198" fmla="*/ 63538 h 1304925"/>
                  <a:gd name="connsiteX199" fmla="*/ 312285 w 919163"/>
                  <a:gd name="connsiteY199" fmla="*/ 64966 h 1304925"/>
                  <a:gd name="connsiteX200" fmla="*/ 307995 w 919163"/>
                  <a:gd name="connsiteY200" fmla="*/ 67107 h 1304925"/>
                  <a:gd name="connsiteX201" fmla="*/ 305135 w 919163"/>
                  <a:gd name="connsiteY201" fmla="*/ 68535 h 1304925"/>
                  <a:gd name="connsiteX202" fmla="*/ 300845 w 919163"/>
                  <a:gd name="connsiteY202" fmla="*/ 70677 h 1304925"/>
                  <a:gd name="connsiteX203" fmla="*/ 297985 w 919163"/>
                  <a:gd name="connsiteY203" fmla="*/ 72105 h 1304925"/>
                  <a:gd name="connsiteX204" fmla="*/ 293694 w 919163"/>
                  <a:gd name="connsiteY204" fmla="*/ 74246 h 1304925"/>
                  <a:gd name="connsiteX205" fmla="*/ 290834 w 919163"/>
                  <a:gd name="connsiteY205" fmla="*/ 75674 h 1304925"/>
                  <a:gd name="connsiteX206" fmla="*/ 286544 w 919163"/>
                  <a:gd name="connsiteY206" fmla="*/ 77816 h 1304925"/>
                  <a:gd name="connsiteX207" fmla="*/ 283684 w 919163"/>
                  <a:gd name="connsiteY207" fmla="*/ 79244 h 1304925"/>
                  <a:gd name="connsiteX208" fmla="*/ 279394 w 919163"/>
                  <a:gd name="connsiteY208" fmla="*/ 82099 h 1304925"/>
                  <a:gd name="connsiteX209" fmla="*/ 276534 w 919163"/>
                  <a:gd name="connsiteY209" fmla="*/ 83527 h 1304925"/>
                  <a:gd name="connsiteX210" fmla="*/ 272243 w 919163"/>
                  <a:gd name="connsiteY210" fmla="*/ 85669 h 1304925"/>
                  <a:gd name="connsiteX211" fmla="*/ 269383 w 919163"/>
                  <a:gd name="connsiteY211" fmla="*/ 87810 h 1304925"/>
                  <a:gd name="connsiteX212" fmla="*/ 265808 w 919163"/>
                  <a:gd name="connsiteY212" fmla="*/ 90666 h 1304925"/>
                  <a:gd name="connsiteX213" fmla="*/ 262948 w 919163"/>
                  <a:gd name="connsiteY213" fmla="*/ 92094 h 1304925"/>
                  <a:gd name="connsiteX214" fmla="*/ 258658 w 919163"/>
                  <a:gd name="connsiteY214" fmla="*/ 94950 h 1304925"/>
                  <a:gd name="connsiteX215" fmla="*/ 255798 w 919163"/>
                  <a:gd name="connsiteY215" fmla="*/ 96377 h 1304925"/>
                  <a:gd name="connsiteX216" fmla="*/ 251508 w 919163"/>
                  <a:gd name="connsiteY216" fmla="*/ 99233 h 1304925"/>
                  <a:gd name="connsiteX217" fmla="*/ 248647 w 919163"/>
                  <a:gd name="connsiteY217" fmla="*/ 101375 h 1304925"/>
                  <a:gd name="connsiteX218" fmla="*/ 244357 w 919163"/>
                  <a:gd name="connsiteY218" fmla="*/ 104230 h 1304925"/>
                  <a:gd name="connsiteX219" fmla="*/ 242212 w 919163"/>
                  <a:gd name="connsiteY219" fmla="*/ 106372 h 1304925"/>
                  <a:gd name="connsiteX220" fmla="*/ 237922 w 919163"/>
                  <a:gd name="connsiteY220" fmla="*/ 109228 h 1304925"/>
                  <a:gd name="connsiteX221" fmla="*/ 235062 w 919163"/>
                  <a:gd name="connsiteY221" fmla="*/ 111369 h 1304925"/>
                  <a:gd name="connsiteX222" fmla="*/ 230772 w 919163"/>
                  <a:gd name="connsiteY222" fmla="*/ 114225 h 1304925"/>
                  <a:gd name="connsiteX223" fmla="*/ 227196 w 919163"/>
                  <a:gd name="connsiteY223" fmla="*/ 117081 h 1304925"/>
                  <a:gd name="connsiteX224" fmla="*/ 217901 w 919163"/>
                  <a:gd name="connsiteY224" fmla="*/ 120650 h 1304925"/>
                  <a:gd name="connsiteX225" fmla="*/ 205030 w 919163"/>
                  <a:gd name="connsiteY225" fmla="*/ 114225 h 1304925"/>
                  <a:gd name="connsiteX226" fmla="*/ 207891 w 919163"/>
                  <a:gd name="connsiteY226" fmla="*/ 92094 h 1304925"/>
                  <a:gd name="connsiteX227" fmla="*/ 209321 w 919163"/>
                  <a:gd name="connsiteY227" fmla="*/ 91380 h 1304925"/>
                  <a:gd name="connsiteX228" fmla="*/ 211466 w 919163"/>
                  <a:gd name="connsiteY228" fmla="*/ 89952 h 1304925"/>
                  <a:gd name="connsiteX229" fmla="*/ 216471 w 919163"/>
                  <a:gd name="connsiteY229" fmla="*/ 86383 h 1304925"/>
                  <a:gd name="connsiteX230" fmla="*/ 219331 w 919163"/>
                  <a:gd name="connsiteY230" fmla="*/ 84241 h 1304925"/>
                  <a:gd name="connsiteX231" fmla="*/ 223621 w 919163"/>
                  <a:gd name="connsiteY231" fmla="*/ 80671 h 1304925"/>
                  <a:gd name="connsiteX232" fmla="*/ 226481 w 919163"/>
                  <a:gd name="connsiteY232" fmla="*/ 78530 h 1304925"/>
                  <a:gd name="connsiteX233" fmla="*/ 230772 w 919163"/>
                  <a:gd name="connsiteY233" fmla="*/ 75674 h 1304925"/>
                  <a:gd name="connsiteX234" fmla="*/ 233632 w 919163"/>
                  <a:gd name="connsiteY234" fmla="*/ 73532 h 1304925"/>
                  <a:gd name="connsiteX235" fmla="*/ 237922 w 919163"/>
                  <a:gd name="connsiteY235" fmla="*/ 70677 h 1304925"/>
                  <a:gd name="connsiteX236" fmla="*/ 240782 w 919163"/>
                  <a:gd name="connsiteY236" fmla="*/ 68535 h 1304925"/>
                  <a:gd name="connsiteX237" fmla="*/ 245787 w 919163"/>
                  <a:gd name="connsiteY237" fmla="*/ 65679 h 1304925"/>
                  <a:gd name="connsiteX238" fmla="*/ 248647 w 919163"/>
                  <a:gd name="connsiteY238" fmla="*/ 64252 h 1304925"/>
                  <a:gd name="connsiteX239" fmla="*/ 252938 w 919163"/>
                  <a:gd name="connsiteY239" fmla="*/ 61396 h 1304925"/>
                  <a:gd name="connsiteX240" fmla="*/ 255798 w 919163"/>
                  <a:gd name="connsiteY240" fmla="*/ 59254 h 1304925"/>
                  <a:gd name="connsiteX241" fmla="*/ 260803 w 919163"/>
                  <a:gd name="connsiteY241" fmla="*/ 56399 h 1304925"/>
                  <a:gd name="connsiteX242" fmla="*/ 263663 w 919163"/>
                  <a:gd name="connsiteY242" fmla="*/ 54971 h 1304925"/>
                  <a:gd name="connsiteX243" fmla="*/ 267953 w 919163"/>
                  <a:gd name="connsiteY243" fmla="*/ 52115 h 1304925"/>
                  <a:gd name="connsiteX244" fmla="*/ 271528 w 919163"/>
                  <a:gd name="connsiteY244" fmla="*/ 50687 h 1304925"/>
                  <a:gd name="connsiteX245" fmla="*/ 275819 w 919163"/>
                  <a:gd name="connsiteY245" fmla="*/ 47832 h 1304925"/>
                  <a:gd name="connsiteX246" fmla="*/ 278679 w 919163"/>
                  <a:gd name="connsiteY246" fmla="*/ 46404 h 1304925"/>
                  <a:gd name="connsiteX247" fmla="*/ 283684 w 919163"/>
                  <a:gd name="connsiteY247" fmla="*/ 44262 h 1304925"/>
                  <a:gd name="connsiteX248" fmla="*/ 286544 w 919163"/>
                  <a:gd name="connsiteY248" fmla="*/ 42834 h 1304925"/>
                  <a:gd name="connsiteX249" fmla="*/ 290834 w 919163"/>
                  <a:gd name="connsiteY249" fmla="*/ 39979 h 1304925"/>
                  <a:gd name="connsiteX250" fmla="*/ 294409 w 919163"/>
                  <a:gd name="connsiteY250" fmla="*/ 38551 h 1304925"/>
                  <a:gd name="connsiteX251" fmla="*/ 298700 w 919163"/>
                  <a:gd name="connsiteY251" fmla="*/ 36409 h 1304925"/>
                  <a:gd name="connsiteX252" fmla="*/ 302275 w 919163"/>
                  <a:gd name="connsiteY252" fmla="*/ 34981 h 1304925"/>
                  <a:gd name="connsiteX253" fmla="*/ 306565 w 919163"/>
                  <a:gd name="connsiteY253" fmla="*/ 32840 h 1304925"/>
                  <a:gd name="connsiteX254" fmla="*/ 309425 w 919163"/>
                  <a:gd name="connsiteY254" fmla="*/ 31412 h 1304925"/>
                  <a:gd name="connsiteX255" fmla="*/ 314430 w 919163"/>
                  <a:gd name="connsiteY255" fmla="*/ 29984 h 1304925"/>
                  <a:gd name="connsiteX256" fmla="*/ 317290 w 919163"/>
                  <a:gd name="connsiteY256" fmla="*/ 28556 h 1304925"/>
                  <a:gd name="connsiteX257" fmla="*/ 322296 w 919163"/>
                  <a:gd name="connsiteY257" fmla="*/ 26415 h 1304925"/>
                  <a:gd name="connsiteX258" fmla="*/ 325156 w 919163"/>
                  <a:gd name="connsiteY258" fmla="*/ 25701 h 1304925"/>
                  <a:gd name="connsiteX259" fmla="*/ 330161 w 919163"/>
                  <a:gd name="connsiteY259" fmla="*/ 23559 h 1304925"/>
                  <a:gd name="connsiteX260" fmla="*/ 333021 w 919163"/>
                  <a:gd name="connsiteY260" fmla="*/ 22845 h 1304925"/>
                  <a:gd name="connsiteX261" fmla="*/ 338026 w 919163"/>
                  <a:gd name="connsiteY261" fmla="*/ 20703 h 1304925"/>
                  <a:gd name="connsiteX262" fmla="*/ 340886 w 919163"/>
                  <a:gd name="connsiteY262" fmla="*/ 19989 h 1304925"/>
                  <a:gd name="connsiteX263" fmla="*/ 345892 w 919163"/>
                  <a:gd name="connsiteY263" fmla="*/ 18562 h 1304925"/>
                  <a:gd name="connsiteX264" fmla="*/ 348752 w 919163"/>
                  <a:gd name="connsiteY264" fmla="*/ 17134 h 1304925"/>
                  <a:gd name="connsiteX265" fmla="*/ 353757 w 919163"/>
                  <a:gd name="connsiteY265" fmla="*/ 15706 h 1304925"/>
                  <a:gd name="connsiteX266" fmla="*/ 357332 w 919163"/>
                  <a:gd name="connsiteY266" fmla="*/ 14992 h 1304925"/>
                  <a:gd name="connsiteX267" fmla="*/ 361622 w 919163"/>
                  <a:gd name="connsiteY267" fmla="*/ 13564 h 1304925"/>
                  <a:gd name="connsiteX268" fmla="*/ 365198 w 919163"/>
                  <a:gd name="connsiteY268" fmla="*/ 12850 h 1304925"/>
                  <a:gd name="connsiteX269" fmla="*/ 370203 w 919163"/>
                  <a:gd name="connsiteY269" fmla="*/ 11423 h 1304925"/>
                  <a:gd name="connsiteX270" fmla="*/ 373063 w 919163"/>
                  <a:gd name="connsiteY270" fmla="*/ 10709 h 1304925"/>
                  <a:gd name="connsiteX271" fmla="*/ 378068 w 919163"/>
                  <a:gd name="connsiteY271" fmla="*/ 9281 h 1304925"/>
                  <a:gd name="connsiteX272" fmla="*/ 380928 w 919163"/>
                  <a:gd name="connsiteY272" fmla="*/ 8567 h 1304925"/>
                  <a:gd name="connsiteX273" fmla="*/ 385933 w 919163"/>
                  <a:gd name="connsiteY273" fmla="*/ 7853 h 1304925"/>
                  <a:gd name="connsiteX274" fmla="*/ 388794 w 919163"/>
                  <a:gd name="connsiteY274" fmla="*/ 7139 h 1304925"/>
                  <a:gd name="connsiteX275" fmla="*/ 394514 w 919163"/>
                  <a:gd name="connsiteY275" fmla="*/ 6425 h 1304925"/>
                  <a:gd name="connsiteX276" fmla="*/ 397374 w 919163"/>
                  <a:gd name="connsiteY276" fmla="*/ 5711 h 1304925"/>
                  <a:gd name="connsiteX277" fmla="*/ 402379 w 919163"/>
                  <a:gd name="connsiteY277" fmla="*/ 4997 h 1304925"/>
                  <a:gd name="connsiteX278" fmla="*/ 405239 w 919163"/>
                  <a:gd name="connsiteY278" fmla="*/ 4284 h 1304925"/>
                  <a:gd name="connsiteX279" fmla="*/ 410245 w 919163"/>
                  <a:gd name="connsiteY279" fmla="*/ 3570 h 1304925"/>
                  <a:gd name="connsiteX280" fmla="*/ 413105 w 919163"/>
                  <a:gd name="connsiteY280" fmla="*/ 3570 h 1304925"/>
                  <a:gd name="connsiteX281" fmla="*/ 418825 w 919163"/>
                  <a:gd name="connsiteY281" fmla="*/ 2856 h 1304925"/>
                  <a:gd name="connsiteX282" fmla="*/ 421685 w 919163"/>
                  <a:gd name="connsiteY282" fmla="*/ 2142 h 1304925"/>
                  <a:gd name="connsiteX283" fmla="*/ 426690 w 919163"/>
                  <a:gd name="connsiteY283" fmla="*/ 2142 h 1304925"/>
                  <a:gd name="connsiteX284" fmla="*/ 429550 w 919163"/>
                  <a:gd name="connsiteY284" fmla="*/ 1428 h 1304925"/>
                  <a:gd name="connsiteX285" fmla="*/ 434556 w 919163"/>
                  <a:gd name="connsiteY285" fmla="*/ 1428 h 1304925"/>
                  <a:gd name="connsiteX286" fmla="*/ 438131 w 919163"/>
                  <a:gd name="connsiteY286" fmla="*/ 714 h 1304925"/>
                  <a:gd name="connsiteX287" fmla="*/ 443136 w 919163"/>
                  <a:gd name="connsiteY287" fmla="*/ 714 h 1304925"/>
                  <a:gd name="connsiteX288" fmla="*/ 445996 w 919163"/>
                  <a:gd name="connsiteY288" fmla="*/ 714 h 1304925"/>
                  <a:gd name="connsiteX289" fmla="*/ 451001 w 919163"/>
                  <a:gd name="connsiteY289" fmla="*/ 714 h 1304925"/>
                  <a:gd name="connsiteX290" fmla="*/ 454577 w 919163"/>
                  <a:gd name="connsiteY290" fmla="*/ 0 h 1304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</a:cxnLst>
                <a:rect l="l" t="t" r="r" b="b"/>
                <a:pathLst>
                  <a:path w="919163" h="1304925">
                    <a:moveTo>
                      <a:pt x="72189" y="1179512"/>
                    </a:moveTo>
                    <a:cubicBezTo>
                      <a:pt x="72189" y="1179512"/>
                      <a:pt x="72189" y="1179512"/>
                      <a:pt x="122221" y="1179512"/>
                    </a:cubicBezTo>
                    <a:cubicBezTo>
                      <a:pt x="122221" y="1179512"/>
                      <a:pt x="122221" y="1179512"/>
                      <a:pt x="153670" y="1179512"/>
                    </a:cubicBezTo>
                    <a:cubicBezTo>
                      <a:pt x="153670" y="1179512"/>
                      <a:pt x="153670" y="1179512"/>
                      <a:pt x="765493" y="1179512"/>
                    </a:cubicBezTo>
                    <a:cubicBezTo>
                      <a:pt x="765493" y="1179512"/>
                      <a:pt x="765493" y="1179512"/>
                      <a:pt x="796942" y="1179512"/>
                    </a:cubicBezTo>
                    <a:cubicBezTo>
                      <a:pt x="796942" y="1179512"/>
                      <a:pt x="796942" y="1179512"/>
                      <a:pt x="846974" y="1179512"/>
                    </a:cubicBezTo>
                    <a:cubicBezTo>
                      <a:pt x="853407" y="1179512"/>
                      <a:pt x="859125" y="1185245"/>
                      <a:pt x="859125" y="1191695"/>
                    </a:cubicBezTo>
                    <a:cubicBezTo>
                      <a:pt x="859125" y="1191695"/>
                      <a:pt x="859125" y="1191695"/>
                      <a:pt x="859125" y="1216061"/>
                    </a:cubicBezTo>
                    <a:cubicBezTo>
                      <a:pt x="859125" y="1216061"/>
                      <a:pt x="859125" y="1216061"/>
                      <a:pt x="907727" y="1216061"/>
                    </a:cubicBezTo>
                    <a:cubicBezTo>
                      <a:pt x="914160" y="1216061"/>
                      <a:pt x="919163" y="1221078"/>
                      <a:pt x="919163" y="1228244"/>
                    </a:cubicBezTo>
                    <a:cubicBezTo>
                      <a:pt x="919163" y="1228244"/>
                      <a:pt x="919163" y="1228244"/>
                      <a:pt x="919163" y="1292742"/>
                    </a:cubicBezTo>
                    <a:cubicBezTo>
                      <a:pt x="919163" y="1299192"/>
                      <a:pt x="914160" y="1304925"/>
                      <a:pt x="907727" y="1304925"/>
                    </a:cubicBezTo>
                    <a:cubicBezTo>
                      <a:pt x="907727" y="1304925"/>
                      <a:pt x="907727" y="1304925"/>
                      <a:pt x="11436" y="1304925"/>
                    </a:cubicBezTo>
                    <a:cubicBezTo>
                      <a:pt x="5003" y="1304925"/>
                      <a:pt x="0" y="1299192"/>
                      <a:pt x="0" y="1292742"/>
                    </a:cubicBezTo>
                    <a:cubicBezTo>
                      <a:pt x="0" y="1292742"/>
                      <a:pt x="0" y="1292742"/>
                      <a:pt x="0" y="1228244"/>
                    </a:cubicBezTo>
                    <a:cubicBezTo>
                      <a:pt x="0" y="1221078"/>
                      <a:pt x="5003" y="1216061"/>
                      <a:pt x="11436" y="1216061"/>
                    </a:cubicBezTo>
                    <a:cubicBezTo>
                      <a:pt x="11436" y="1216061"/>
                      <a:pt x="11436" y="1216061"/>
                      <a:pt x="60038" y="1216061"/>
                    </a:cubicBezTo>
                    <a:cubicBezTo>
                      <a:pt x="60038" y="1216061"/>
                      <a:pt x="60038" y="1216061"/>
                      <a:pt x="60038" y="1191695"/>
                    </a:cubicBezTo>
                    <a:cubicBezTo>
                      <a:pt x="60038" y="1185245"/>
                      <a:pt x="65756" y="1179512"/>
                      <a:pt x="72189" y="1179512"/>
                    </a:cubicBezTo>
                    <a:close/>
                    <a:moveTo>
                      <a:pt x="765175" y="746125"/>
                    </a:moveTo>
                    <a:lnTo>
                      <a:pt x="796925" y="773113"/>
                    </a:lnTo>
                    <a:lnTo>
                      <a:pt x="796925" y="1155700"/>
                    </a:lnTo>
                    <a:lnTo>
                      <a:pt x="765175" y="1155700"/>
                    </a:lnTo>
                    <a:close/>
                    <a:moveTo>
                      <a:pt x="153987" y="746125"/>
                    </a:moveTo>
                    <a:lnTo>
                      <a:pt x="153987" y="1155700"/>
                    </a:lnTo>
                    <a:lnTo>
                      <a:pt x="122237" y="1155700"/>
                    </a:lnTo>
                    <a:lnTo>
                      <a:pt x="122237" y="773113"/>
                    </a:lnTo>
                    <a:close/>
                    <a:moveTo>
                      <a:pt x="459222" y="226106"/>
                    </a:moveTo>
                    <a:cubicBezTo>
                      <a:pt x="492616" y="226016"/>
                      <a:pt x="526011" y="237720"/>
                      <a:pt x="556532" y="261129"/>
                    </a:cubicBezTo>
                    <a:lnTo>
                      <a:pt x="557251" y="261849"/>
                    </a:lnTo>
                    <a:cubicBezTo>
                      <a:pt x="563714" y="266891"/>
                      <a:pt x="565150" y="276975"/>
                      <a:pt x="559405" y="284177"/>
                    </a:cubicBezTo>
                    <a:cubicBezTo>
                      <a:pt x="556532" y="287779"/>
                      <a:pt x="552223" y="289939"/>
                      <a:pt x="547196" y="289939"/>
                    </a:cubicBezTo>
                    <a:cubicBezTo>
                      <a:pt x="543606" y="289939"/>
                      <a:pt x="540733" y="289219"/>
                      <a:pt x="537860" y="287058"/>
                    </a:cubicBezTo>
                    <a:cubicBezTo>
                      <a:pt x="537860" y="287058"/>
                      <a:pt x="537860" y="287058"/>
                      <a:pt x="537142" y="286338"/>
                    </a:cubicBezTo>
                    <a:cubicBezTo>
                      <a:pt x="488308" y="248885"/>
                      <a:pt x="430137" y="248885"/>
                      <a:pt x="381302" y="287058"/>
                    </a:cubicBezTo>
                    <a:cubicBezTo>
                      <a:pt x="374839" y="292100"/>
                      <a:pt x="364785" y="290660"/>
                      <a:pt x="359758" y="284177"/>
                    </a:cubicBezTo>
                    <a:cubicBezTo>
                      <a:pt x="354012" y="276975"/>
                      <a:pt x="355449" y="266891"/>
                      <a:pt x="361912" y="261849"/>
                    </a:cubicBezTo>
                    <a:cubicBezTo>
                      <a:pt x="392434" y="238081"/>
                      <a:pt x="425828" y="226196"/>
                      <a:pt x="459222" y="226106"/>
                    </a:cubicBezTo>
                    <a:close/>
                    <a:moveTo>
                      <a:pt x="458869" y="115887"/>
                    </a:moveTo>
                    <a:cubicBezTo>
                      <a:pt x="459582" y="115887"/>
                      <a:pt x="459582" y="115887"/>
                      <a:pt x="459582" y="115887"/>
                    </a:cubicBezTo>
                    <a:cubicBezTo>
                      <a:pt x="515171" y="115887"/>
                      <a:pt x="570048" y="135402"/>
                      <a:pt x="618511" y="173708"/>
                    </a:cubicBezTo>
                    <a:cubicBezTo>
                      <a:pt x="618511" y="173708"/>
                      <a:pt x="618511" y="173708"/>
                      <a:pt x="619224" y="174431"/>
                    </a:cubicBezTo>
                    <a:cubicBezTo>
                      <a:pt x="625638" y="179490"/>
                      <a:pt x="627063" y="189609"/>
                      <a:pt x="622074" y="196114"/>
                    </a:cubicBezTo>
                    <a:cubicBezTo>
                      <a:pt x="619224" y="200451"/>
                      <a:pt x="614235" y="202619"/>
                      <a:pt x="609246" y="202619"/>
                    </a:cubicBezTo>
                    <a:cubicBezTo>
                      <a:pt x="606395" y="202619"/>
                      <a:pt x="602832" y="201896"/>
                      <a:pt x="599981" y="199005"/>
                    </a:cubicBezTo>
                    <a:lnTo>
                      <a:pt x="599268" y="199005"/>
                    </a:lnTo>
                    <a:cubicBezTo>
                      <a:pt x="511608" y="130342"/>
                      <a:pt x="406843" y="130342"/>
                      <a:pt x="319182" y="199005"/>
                    </a:cubicBezTo>
                    <a:cubicBezTo>
                      <a:pt x="312055" y="204787"/>
                      <a:pt x="302791" y="203342"/>
                      <a:pt x="297089" y="196837"/>
                    </a:cubicBezTo>
                    <a:cubicBezTo>
                      <a:pt x="292100" y="189609"/>
                      <a:pt x="292813" y="179490"/>
                      <a:pt x="299940" y="174431"/>
                    </a:cubicBezTo>
                    <a:cubicBezTo>
                      <a:pt x="348403" y="136125"/>
                      <a:pt x="403279" y="115887"/>
                      <a:pt x="458869" y="115887"/>
                    </a:cubicBezTo>
                    <a:close/>
                    <a:moveTo>
                      <a:pt x="454577" y="0"/>
                    </a:moveTo>
                    <a:cubicBezTo>
                      <a:pt x="456007" y="0"/>
                      <a:pt x="457437" y="0"/>
                      <a:pt x="458867" y="0"/>
                    </a:cubicBezTo>
                    <a:cubicBezTo>
                      <a:pt x="459582" y="0"/>
                      <a:pt x="459582" y="0"/>
                      <a:pt x="459582" y="0"/>
                    </a:cubicBezTo>
                    <a:cubicBezTo>
                      <a:pt x="459582" y="0"/>
                      <a:pt x="460297" y="0"/>
                      <a:pt x="460297" y="0"/>
                    </a:cubicBezTo>
                    <a:cubicBezTo>
                      <a:pt x="461727" y="0"/>
                      <a:pt x="463157" y="0"/>
                      <a:pt x="464587" y="0"/>
                    </a:cubicBezTo>
                    <a:cubicBezTo>
                      <a:pt x="465302" y="714"/>
                      <a:pt x="466732" y="714"/>
                      <a:pt x="467447" y="714"/>
                    </a:cubicBezTo>
                    <a:cubicBezTo>
                      <a:pt x="469592" y="714"/>
                      <a:pt x="471737" y="714"/>
                      <a:pt x="473882" y="714"/>
                    </a:cubicBezTo>
                    <a:cubicBezTo>
                      <a:pt x="474597" y="714"/>
                      <a:pt x="474597" y="714"/>
                      <a:pt x="475312" y="714"/>
                    </a:cubicBezTo>
                    <a:cubicBezTo>
                      <a:pt x="478173" y="714"/>
                      <a:pt x="480318" y="714"/>
                      <a:pt x="483178" y="1428"/>
                    </a:cubicBezTo>
                    <a:cubicBezTo>
                      <a:pt x="518929" y="3570"/>
                      <a:pt x="553966" y="10709"/>
                      <a:pt x="588287" y="23559"/>
                    </a:cubicBezTo>
                    <a:cubicBezTo>
                      <a:pt x="590433" y="24273"/>
                      <a:pt x="593293" y="24987"/>
                      <a:pt x="595438" y="26415"/>
                    </a:cubicBezTo>
                    <a:cubicBezTo>
                      <a:pt x="595438" y="26415"/>
                      <a:pt x="596153" y="26415"/>
                      <a:pt x="596153" y="26415"/>
                    </a:cubicBezTo>
                    <a:cubicBezTo>
                      <a:pt x="598298" y="27129"/>
                      <a:pt x="601158" y="27842"/>
                      <a:pt x="603303" y="29270"/>
                    </a:cubicBezTo>
                    <a:cubicBezTo>
                      <a:pt x="603303" y="29270"/>
                      <a:pt x="604018" y="29270"/>
                      <a:pt x="604018" y="29270"/>
                    </a:cubicBezTo>
                    <a:cubicBezTo>
                      <a:pt x="606163" y="30698"/>
                      <a:pt x="608308" y="31412"/>
                      <a:pt x="610453" y="32126"/>
                    </a:cubicBezTo>
                    <a:cubicBezTo>
                      <a:pt x="611168" y="32126"/>
                      <a:pt x="611883" y="32840"/>
                      <a:pt x="611883" y="32840"/>
                    </a:cubicBezTo>
                    <a:cubicBezTo>
                      <a:pt x="614029" y="33554"/>
                      <a:pt x="616174" y="34981"/>
                      <a:pt x="618319" y="35695"/>
                    </a:cubicBezTo>
                    <a:cubicBezTo>
                      <a:pt x="619034" y="35695"/>
                      <a:pt x="619034" y="36409"/>
                      <a:pt x="619749" y="36409"/>
                    </a:cubicBezTo>
                    <a:cubicBezTo>
                      <a:pt x="621894" y="37123"/>
                      <a:pt x="624039" y="37837"/>
                      <a:pt x="625469" y="39265"/>
                    </a:cubicBezTo>
                    <a:cubicBezTo>
                      <a:pt x="626184" y="39265"/>
                      <a:pt x="626899" y="39979"/>
                      <a:pt x="627614" y="39979"/>
                    </a:cubicBezTo>
                    <a:cubicBezTo>
                      <a:pt x="629759" y="40693"/>
                      <a:pt x="631189" y="42121"/>
                      <a:pt x="633334" y="42834"/>
                    </a:cubicBezTo>
                    <a:cubicBezTo>
                      <a:pt x="634049" y="42834"/>
                      <a:pt x="634764" y="43548"/>
                      <a:pt x="635480" y="44262"/>
                    </a:cubicBezTo>
                    <a:cubicBezTo>
                      <a:pt x="636910" y="44976"/>
                      <a:pt x="639055" y="45690"/>
                      <a:pt x="640485" y="46404"/>
                    </a:cubicBezTo>
                    <a:cubicBezTo>
                      <a:pt x="641200" y="47118"/>
                      <a:pt x="642630" y="47832"/>
                      <a:pt x="643345" y="47832"/>
                    </a:cubicBezTo>
                    <a:cubicBezTo>
                      <a:pt x="644775" y="48546"/>
                      <a:pt x="646205" y="49973"/>
                      <a:pt x="648350" y="50687"/>
                    </a:cubicBezTo>
                    <a:cubicBezTo>
                      <a:pt x="649065" y="51401"/>
                      <a:pt x="649780" y="51401"/>
                      <a:pt x="651210" y="52115"/>
                    </a:cubicBezTo>
                    <a:cubicBezTo>
                      <a:pt x="652640" y="52829"/>
                      <a:pt x="654070" y="54257"/>
                      <a:pt x="655500" y="54971"/>
                    </a:cubicBezTo>
                    <a:cubicBezTo>
                      <a:pt x="656215" y="55685"/>
                      <a:pt x="657646" y="55685"/>
                      <a:pt x="658361" y="56399"/>
                    </a:cubicBezTo>
                    <a:cubicBezTo>
                      <a:pt x="659791" y="57113"/>
                      <a:pt x="661221" y="58540"/>
                      <a:pt x="663366" y="59254"/>
                    </a:cubicBezTo>
                    <a:cubicBezTo>
                      <a:pt x="664081" y="59968"/>
                      <a:pt x="664796" y="60682"/>
                      <a:pt x="666226" y="61396"/>
                    </a:cubicBezTo>
                    <a:cubicBezTo>
                      <a:pt x="667656" y="62110"/>
                      <a:pt x="669086" y="62824"/>
                      <a:pt x="670516" y="63538"/>
                    </a:cubicBezTo>
                    <a:cubicBezTo>
                      <a:pt x="671231" y="64252"/>
                      <a:pt x="672661" y="64966"/>
                      <a:pt x="673376" y="65679"/>
                    </a:cubicBezTo>
                    <a:cubicBezTo>
                      <a:pt x="674806" y="66393"/>
                      <a:pt x="676236" y="67821"/>
                      <a:pt x="677666" y="68535"/>
                    </a:cubicBezTo>
                    <a:cubicBezTo>
                      <a:pt x="679096" y="69249"/>
                      <a:pt x="679811" y="69963"/>
                      <a:pt x="681242" y="70677"/>
                    </a:cubicBezTo>
                    <a:cubicBezTo>
                      <a:pt x="682672" y="71391"/>
                      <a:pt x="684102" y="72818"/>
                      <a:pt x="685532" y="73532"/>
                    </a:cubicBezTo>
                    <a:cubicBezTo>
                      <a:pt x="686247" y="74246"/>
                      <a:pt x="687677" y="74960"/>
                      <a:pt x="688392" y="75674"/>
                    </a:cubicBezTo>
                    <a:cubicBezTo>
                      <a:pt x="689822" y="76388"/>
                      <a:pt x="691252" y="77816"/>
                      <a:pt x="692682" y="78530"/>
                    </a:cubicBezTo>
                    <a:cubicBezTo>
                      <a:pt x="694112" y="79244"/>
                      <a:pt x="694827" y="79958"/>
                      <a:pt x="695542" y="80671"/>
                    </a:cubicBezTo>
                    <a:cubicBezTo>
                      <a:pt x="696972" y="82099"/>
                      <a:pt x="698402" y="82813"/>
                      <a:pt x="699832" y="84241"/>
                    </a:cubicBezTo>
                    <a:cubicBezTo>
                      <a:pt x="701262" y="84955"/>
                      <a:pt x="701977" y="85669"/>
                      <a:pt x="702693" y="86383"/>
                    </a:cubicBezTo>
                    <a:cubicBezTo>
                      <a:pt x="704838" y="87097"/>
                      <a:pt x="706268" y="88524"/>
                      <a:pt x="707698" y="89952"/>
                    </a:cubicBezTo>
                    <a:cubicBezTo>
                      <a:pt x="708413" y="89952"/>
                      <a:pt x="709128" y="90666"/>
                      <a:pt x="709843" y="91380"/>
                    </a:cubicBezTo>
                    <a:cubicBezTo>
                      <a:pt x="709843" y="91380"/>
                      <a:pt x="709843" y="91380"/>
                      <a:pt x="711273" y="92094"/>
                    </a:cubicBezTo>
                    <a:cubicBezTo>
                      <a:pt x="717708" y="97805"/>
                      <a:pt x="719138" y="107800"/>
                      <a:pt x="714133" y="114225"/>
                    </a:cubicBezTo>
                    <a:cubicBezTo>
                      <a:pt x="710558" y="118508"/>
                      <a:pt x="706268" y="120650"/>
                      <a:pt x="701262" y="120650"/>
                    </a:cubicBezTo>
                    <a:cubicBezTo>
                      <a:pt x="697687" y="120650"/>
                      <a:pt x="694827" y="119222"/>
                      <a:pt x="691967" y="117081"/>
                    </a:cubicBezTo>
                    <a:cubicBezTo>
                      <a:pt x="690537" y="116367"/>
                      <a:pt x="689107" y="114939"/>
                      <a:pt x="687677" y="114225"/>
                    </a:cubicBezTo>
                    <a:cubicBezTo>
                      <a:pt x="686247" y="113511"/>
                      <a:pt x="685532" y="112083"/>
                      <a:pt x="684102" y="111369"/>
                    </a:cubicBezTo>
                    <a:cubicBezTo>
                      <a:pt x="683387" y="110655"/>
                      <a:pt x="681957" y="109942"/>
                      <a:pt x="681242" y="109228"/>
                    </a:cubicBezTo>
                    <a:cubicBezTo>
                      <a:pt x="679811" y="107800"/>
                      <a:pt x="678381" y="107086"/>
                      <a:pt x="677666" y="106372"/>
                    </a:cubicBezTo>
                    <a:cubicBezTo>
                      <a:pt x="676236" y="105658"/>
                      <a:pt x="674806" y="104944"/>
                      <a:pt x="674091" y="104230"/>
                    </a:cubicBezTo>
                    <a:cubicBezTo>
                      <a:pt x="672661" y="102802"/>
                      <a:pt x="671946" y="102089"/>
                      <a:pt x="670516" y="101375"/>
                    </a:cubicBezTo>
                    <a:cubicBezTo>
                      <a:pt x="669086" y="100661"/>
                      <a:pt x="668371" y="99947"/>
                      <a:pt x="666941" y="99233"/>
                    </a:cubicBezTo>
                    <a:cubicBezTo>
                      <a:pt x="665511" y="98519"/>
                      <a:pt x="664796" y="97805"/>
                      <a:pt x="663366" y="97091"/>
                    </a:cubicBezTo>
                    <a:cubicBezTo>
                      <a:pt x="662651" y="95663"/>
                      <a:pt x="661221" y="94950"/>
                      <a:pt x="659791" y="94236"/>
                    </a:cubicBezTo>
                    <a:cubicBezTo>
                      <a:pt x="659076" y="93522"/>
                      <a:pt x="657646" y="92808"/>
                      <a:pt x="656930" y="92094"/>
                    </a:cubicBezTo>
                    <a:cubicBezTo>
                      <a:pt x="655500" y="91380"/>
                      <a:pt x="654070" y="90666"/>
                      <a:pt x="652640" y="89952"/>
                    </a:cubicBezTo>
                    <a:cubicBezTo>
                      <a:pt x="651925" y="89238"/>
                      <a:pt x="650495" y="88524"/>
                      <a:pt x="649780" y="87810"/>
                    </a:cubicBezTo>
                    <a:cubicBezTo>
                      <a:pt x="648350" y="87097"/>
                      <a:pt x="646920" y="86383"/>
                      <a:pt x="645490" y="85669"/>
                    </a:cubicBezTo>
                    <a:cubicBezTo>
                      <a:pt x="644775" y="84955"/>
                      <a:pt x="643345" y="84241"/>
                      <a:pt x="642630" y="83527"/>
                    </a:cubicBezTo>
                    <a:cubicBezTo>
                      <a:pt x="641200" y="82813"/>
                      <a:pt x="639770" y="82099"/>
                      <a:pt x="638340" y="81385"/>
                    </a:cubicBezTo>
                    <a:cubicBezTo>
                      <a:pt x="637625" y="80671"/>
                      <a:pt x="636910" y="79958"/>
                      <a:pt x="635480" y="79244"/>
                    </a:cubicBezTo>
                    <a:cubicBezTo>
                      <a:pt x="634049" y="78530"/>
                      <a:pt x="632619" y="77816"/>
                      <a:pt x="631189" y="77102"/>
                    </a:cubicBezTo>
                    <a:cubicBezTo>
                      <a:pt x="630474" y="77102"/>
                      <a:pt x="629759" y="76388"/>
                      <a:pt x="628329" y="75674"/>
                    </a:cubicBezTo>
                    <a:cubicBezTo>
                      <a:pt x="626899" y="74960"/>
                      <a:pt x="625469" y="74246"/>
                      <a:pt x="624039" y="73532"/>
                    </a:cubicBezTo>
                    <a:cubicBezTo>
                      <a:pt x="623324" y="72818"/>
                      <a:pt x="622609" y="72818"/>
                      <a:pt x="621179" y="72105"/>
                    </a:cubicBezTo>
                    <a:cubicBezTo>
                      <a:pt x="619749" y="71391"/>
                      <a:pt x="618319" y="70677"/>
                      <a:pt x="616889" y="69963"/>
                    </a:cubicBezTo>
                    <a:cubicBezTo>
                      <a:pt x="616174" y="69249"/>
                      <a:pt x="615459" y="68535"/>
                      <a:pt x="614029" y="68535"/>
                    </a:cubicBezTo>
                    <a:cubicBezTo>
                      <a:pt x="612599" y="67821"/>
                      <a:pt x="611168" y="67107"/>
                      <a:pt x="609738" y="66393"/>
                    </a:cubicBezTo>
                    <a:cubicBezTo>
                      <a:pt x="609023" y="65679"/>
                      <a:pt x="608308" y="65679"/>
                      <a:pt x="606878" y="64966"/>
                    </a:cubicBezTo>
                    <a:cubicBezTo>
                      <a:pt x="605448" y="64252"/>
                      <a:pt x="604018" y="63538"/>
                      <a:pt x="602588" y="62824"/>
                    </a:cubicBezTo>
                    <a:cubicBezTo>
                      <a:pt x="601873" y="62824"/>
                      <a:pt x="601158" y="62110"/>
                      <a:pt x="599728" y="62110"/>
                    </a:cubicBezTo>
                    <a:cubicBezTo>
                      <a:pt x="598298" y="61396"/>
                      <a:pt x="596868" y="60682"/>
                      <a:pt x="595438" y="59968"/>
                    </a:cubicBezTo>
                    <a:cubicBezTo>
                      <a:pt x="594723" y="59254"/>
                      <a:pt x="593293" y="59254"/>
                      <a:pt x="592578" y="58540"/>
                    </a:cubicBezTo>
                    <a:cubicBezTo>
                      <a:pt x="591148" y="57826"/>
                      <a:pt x="589718" y="57826"/>
                      <a:pt x="588287" y="57113"/>
                    </a:cubicBezTo>
                    <a:cubicBezTo>
                      <a:pt x="587572" y="56399"/>
                      <a:pt x="586142" y="56399"/>
                      <a:pt x="585427" y="55685"/>
                    </a:cubicBezTo>
                    <a:cubicBezTo>
                      <a:pt x="583997" y="54971"/>
                      <a:pt x="582567" y="54971"/>
                      <a:pt x="581137" y="54257"/>
                    </a:cubicBezTo>
                    <a:cubicBezTo>
                      <a:pt x="579707" y="53543"/>
                      <a:pt x="578992" y="53543"/>
                      <a:pt x="578277" y="52829"/>
                    </a:cubicBezTo>
                    <a:cubicBezTo>
                      <a:pt x="576847" y="52829"/>
                      <a:pt x="575417" y="52115"/>
                      <a:pt x="573272" y="51401"/>
                    </a:cubicBezTo>
                    <a:cubicBezTo>
                      <a:pt x="572557" y="51401"/>
                      <a:pt x="571842" y="50687"/>
                      <a:pt x="571127" y="50687"/>
                    </a:cubicBezTo>
                    <a:cubicBezTo>
                      <a:pt x="568982" y="49973"/>
                      <a:pt x="567552" y="49260"/>
                      <a:pt x="566121" y="49260"/>
                    </a:cubicBezTo>
                    <a:cubicBezTo>
                      <a:pt x="565406" y="48546"/>
                      <a:pt x="564691" y="48546"/>
                      <a:pt x="563261" y="47832"/>
                    </a:cubicBezTo>
                    <a:cubicBezTo>
                      <a:pt x="561831" y="47832"/>
                      <a:pt x="560401" y="47118"/>
                      <a:pt x="558971" y="46404"/>
                    </a:cubicBezTo>
                    <a:cubicBezTo>
                      <a:pt x="558256" y="46404"/>
                      <a:pt x="556826" y="46404"/>
                      <a:pt x="556111" y="45690"/>
                    </a:cubicBezTo>
                    <a:cubicBezTo>
                      <a:pt x="554681" y="45690"/>
                      <a:pt x="553251" y="44976"/>
                      <a:pt x="551821" y="44262"/>
                    </a:cubicBezTo>
                    <a:cubicBezTo>
                      <a:pt x="550391" y="44262"/>
                      <a:pt x="549676" y="44262"/>
                      <a:pt x="548961" y="43548"/>
                    </a:cubicBezTo>
                    <a:cubicBezTo>
                      <a:pt x="547531" y="43548"/>
                      <a:pt x="546101" y="42834"/>
                      <a:pt x="543955" y="42834"/>
                    </a:cubicBezTo>
                    <a:cubicBezTo>
                      <a:pt x="543240" y="42121"/>
                      <a:pt x="542525" y="42121"/>
                      <a:pt x="541095" y="42121"/>
                    </a:cubicBezTo>
                    <a:cubicBezTo>
                      <a:pt x="539665" y="41407"/>
                      <a:pt x="538235" y="41407"/>
                      <a:pt x="536805" y="40693"/>
                    </a:cubicBezTo>
                    <a:cubicBezTo>
                      <a:pt x="536090" y="40693"/>
                      <a:pt x="534660" y="39979"/>
                      <a:pt x="533945" y="39979"/>
                    </a:cubicBezTo>
                    <a:cubicBezTo>
                      <a:pt x="532515" y="39979"/>
                      <a:pt x="531085" y="39265"/>
                      <a:pt x="529655" y="39265"/>
                    </a:cubicBezTo>
                    <a:cubicBezTo>
                      <a:pt x="528225" y="39265"/>
                      <a:pt x="527510" y="38551"/>
                      <a:pt x="526795" y="38551"/>
                    </a:cubicBezTo>
                    <a:cubicBezTo>
                      <a:pt x="525365" y="38551"/>
                      <a:pt x="523935" y="37837"/>
                      <a:pt x="521789" y="37837"/>
                    </a:cubicBezTo>
                    <a:cubicBezTo>
                      <a:pt x="521074" y="37123"/>
                      <a:pt x="520359" y="37123"/>
                      <a:pt x="518929" y="37123"/>
                    </a:cubicBezTo>
                    <a:cubicBezTo>
                      <a:pt x="517499" y="37123"/>
                      <a:pt x="516069" y="36409"/>
                      <a:pt x="514639" y="36409"/>
                    </a:cubicBezTo>
                    <a:cubicBezTo>
                      <a:pt x="513924" y="36409"/>
                      <a:pt x="512494" y="35695"/>
                      <a:pt x="511779" y="35695"/>
                    </a:cubicBezTo>
                    <a:cubicBezTo>
                      <a:pt x="510349" y="35695"/>
                      <a:pt x="508919" y="35695"/>
                      <a:pt x="507489" y="34981"/>
                    </a:cubicBezTo>
                    <a:cubicBezTo>
                      <a:pt x="506059" y="34981"/>
                      <a:pt x="505344" y="34981"/>
                      <a:pt x="504629" y="34981"/>
                    </a:cubicBezTo>
                    <a:cubicBezTo>
                      <a:pt x="503199" y="34268"/>
                      <a:pt x="501054" y="34268"/>
                      <a:pt x="499624" y="34268"/>
                    </a:cubicBezTo>
                    <a:cubicBezTo>
                      <a:pt x="498908" y="34268"/>
                      <a:pt x="498193" y="34268"/>
                      <a:pt x="496763" y="33554"/>
                    </a:cubicBezTo>
                    <a:cubicBezTo>
                      <a:pt x="495333" y="33554"/>
                      <a:pt x="493903" y="33554"/>
                      <a:pt x="492473" y="33554"/>
                    </a:cubicBezTo>
                    <a:cubicBezTo>
                      <a:pt x="491758" y="33554"/>
                      <a:pt x="490328" y="33554"/>
                      <a:pt x="489613" y="32840"/>
                    </a:cubicBezTo>
                    <a:cubicBezTo>
                      <a:pt x="488183" y="32840"/>
                      <a:pt x="486753" y="32840"/>
                      <a:pt x="485323" y="32840"/>
                    </a:cubicBezTo>
                    <a:cubicBezTo>
                      <a:pt x="483893" y="32840"/>
                      <a:pt x="483178" y="32840"/>
                      <a:pt x="481748" y="32840"/>
                    </a:cubicBezTo>
                    <a:cubicBezTo>
                      <a:pt x="480318" y="32126"/>
                      <a:pt x="478888" y="32126"/>
                      <a:pt x="477458" y="32126"/>
                    </a:cubicBezTo>
                    <a:cubicBezTo>
                      <a:pt x="476742" y="32126"/>
                      <a:pt x="475312" y="32126"/>
                      <a:pt x="474597" y="32126"/>
                    </a:cubicBezTo>
                    <a:cubicBezTo>
                      <a:pt x="473167" y="32126"/>
                      <a:pt x="471737" y="32126"/>
                      <a:pt x="470307" y="32126"/>
                    </a:cubicBezTo>
                    <a:cubicBezTo>
                      <a:pt x="468877" y="32126"/>
                      <a:pt x="468162" y="32126"/>
                      <a:pt x="467447" y="32126"/>
                    </a:cubicBezTo>
                    <a:cubicBezTo>
                      <a:pt x="466017" y="32126"/>
                      <a:pt x="464587" y="32126"/>
                      <a:pt x="462442" y="32126"/>
                    </a:cubicBezTo>
                    <a:cubicBezTo>
                      <a:pt x="461727" y="32126"/>
                      <a:pt x="461012" y="32126"/>
                      <a:pt x="459582" y="32126"/>
                    </a:cubicBezTo>
                    <a:cubicBezTo>
                      <a:pt x="458152" y="32126"/>
                      <a:pt x="456722" y="32126"/>
                      <a:pt x="455292" y="32126"/>
                    </a:cubicBezTo>
                    <a:cubicBezTo>
                      <a:pt x="454577" y="32126"/>
                      <a:pt x="453146" y="32126"/>
                      <a:pt x="452431" y="32126"/>
                    </a:cubicBezTo>
                    <a:cubicBezTo>
                      <a:pt x="451001" y="32126"/>
                      <a:pt x="449571" y="32126"/>
                      <a:pt x="448141" y="32126"/>
                    </a:cubicBezTo>
                    <a:cubicBezTo>
                      <a:pt x="446711" y="32126"/>
                      <a:pt x="445996" y="32126"/>
                      <a:pt x="444566" y="32126"/>
                    </a:cubicBezTo>
                    <a:cubicBezTo>
                      <a:pt x="443136" y="32126"/>
                      <a:pt x="441706" y="32126"/>
                      <a:pt x="440276" y="32126"/>
                    </a:cubicBezTo>
                    <a:cubicBezTo>
                      <a:pt x="439561" y="32126"/>
                      <a:pt x="438131" y="32126"/>
                      <a:pt x="437416" y="32840"/>
                    </a:cubicBezTo>
                    <a:cubicBezTo>
                      <a:pt x="435986" y="32840"/>
                      <a:pt x="434556" y="32840"/>
                      <a:pt x="433126" y="32840"/>
                    </a:cubicBezTo>
                    <a:cubicBezTo>
                      <a:pt x="431696" y="32840"/>
                      <a:pt x="430980" y="32840"/>
                      <a:pt x="429550" y="32840"/>
                    </a:cubicBezTo>
                    <a:cubicBezTo>
                      <a:pt x="428120" y="33554"/>
                      <a:pt x="426690" y="33554"/>
                      <a:pt x="425260" y="33554"/>
                    </a:cubicBezTo>
                    <a:cubicBezTo>
                      <a:pt x="424545" y="33554"/>
                      <a:pt x="423830" y="33554"/>
                      <a:pt x="422400" y="33554"/>
                    </a:cubicBezTo>
                    <a:cubicBezTo>
                      <a:pt x="420970" y="34268"/>
                      <a:pt x="419540" y="34268"/>
                      <a:pt x="418110" y="34268"/>
                    </a:cubicBezTo>
                    <a:cubicBezTo>
                      <a:pt x="417395" y="34268"/>
                      <a:pt x="415965" y="34268"/>
                      <a:pt x="415250" y="34981"/>
                    </a:cubicBezTo>
                    <a:cubicBezTo>
                      <a:pt x="413820" y="34981"/>
                      <a:pt x="412390" y="34981"/>
                      <a:pt x="410960" y="35695"/>
                    </a:cubicBezTo>
                    <a:cubicBezTo>
                      <a:pt x="409530" y="35695"/>
                      <a:pt x="408814" y="35695"/>
                      <a:pt x="407384" y="35695"/>
                    </a:cubicBezTo>
                    <a:cubicBezTo>
                      <a:pt x="405954" y="35695"/>
                      <a:pt x="404524" y="36409"/>
                      <a:pt x="403094" y="36409"/>
                    </a:cubicBezTo>
                    <a:cubicBezTo>
                      <a:pt x="402379" y="36409"/>
                      <a:pt x="400949" y="37123"/>
                      <a:pt x="400234" y="37123"/>
                    </a:cubicBezTo>
                    <a:cubicBezTo>
                      <a:pt x="398804" y="37123"/>
                      <a:pt x="397374" y="37837"/>
                      <a:pt x="395944" y="37837"/>
                    </a:cubicBezTo>
                    <a:cubicBezTo>
                      <a:pt x="395229" y="37837"/>
                      <a:pt x="393799" y="38551"/>
                      <a:pt x="393084" y="38551"/>
                    </a:cubicBezTo>
                    <a:cubicBezTo>
                      <a:pt x="391654" y="38551"/>
                      <a:pt x="390224" y="39265"/>
                      <a:pt x="388794" y="39265"/>
                    </a:cubicBezTo>
                    <a:cubicBezTo>
                      <a:pt x="387364" y="39265"/>
                      <a:pt x="386649" y="39979"/>
                      <a:pt x="385218" y="39979"/>
                    </a:cubicBezTo>
                    <a:cubicBezTo>
                      <a:pt x="383788" y="40693"/>
                      <a:pt x="382358" y="40693"/>
                      <a:pt x="380928" y="40693"/>
                    </a:cubicBezTo>
                    <a:cubicBezTo>
                      <a:pt x="380213" y="41407"/>
                      <a:pt x="378783" y="41407"/>
                      <a:pt x="378068" y="42121"/>
                    </a:cubicBezTo>
                    <a:cubicBezTo>
                      <a:pt x="376638" y="42121"/>
                      <a:pt x="375208" y="42834"/>
                      <a:pt x="373778" y="42834"/>
                    </a:cubicBezTo>
                    <a:cubicBezTo>
                      <a:pt x="373063" y="42834"/>
                      <a:pt x="371633" y="43548"/>
                      <a:pt x="370918" y="43548"/>
                    </a:cubicBezTo>
                    <a:cubicBezTo>
                      <a:pt x="369488" y="44262"/>
                      <a:pt x="368058" y="44262"/>
                      <a:pt x="366628" y="44976"/>
                    </a:cubicBezTo>
                    <a:cubicBezTo>
                      <a:pt x="365198" y="44976"/>
                      <a:pt x="364483" y="45690"/>
                      <a:pt x="363052" y="45690"/>
                    </a:cubicBezTo>
                    <a:cubicBezTo>
                      <a:pt x="361622" y="46404"/>
                      <a:pt x="360192" y="46404"/>
                      <a:pt x="359477" y="47118"/>
                    </a:cubicBezTo>
                    <a:cubicBezTo>
                      <a:pt x="358047" y="47118"/>
                      <a:pt x="357332" y="47832"/>
                      <a:pt x="355902" y="47832"/>
                    </a:cubicBezTo>
                    <a:cubicBezTo>
                      <a:pt x="354472" y="48546"/>
                      <a:pt x="353042" y="48546"/>
                      <a:pt x="351612" y="49260"/>
                    </a:cubicBezTo>
                    <a:cubicBezTo>
                      <a:pt x="350897" y="49973"/>
                      <a:pt x="349467" y="49973"/>
                      <a:pt x="348752" y="50687"/>
                    </a:cubicBezTo>
                    <a:cubicBezTo>
                      <a:pt x="347322" y="50687"/>
                      <a:pt x="345892" y="51401"/>
                      <a:pt x="344462" y="52115"/>
                    </a:cubicBezTo>
                    <a:cubicBezTo>
                      <a:pt x="343747" y="52115"/>
                      <a:pt x="342317" y="52829"/>
                      <a:pt x="341602" y="52829"/>
                    </a:cubicBezTo>
                    <a:cubicBezTo>
                      <a:pt x="340171" y="53543"/>
                      <a:pt x="338741" y="54257"/>
                      <a:pt x="337311" y="54257"/>
                    </a:cubicBezTo>
                    <a:cubicBezTo>
                      <a:pt x="335881" y="54971"/>
                      <a:pt x="335166" y="54971"/>
                      <a:pt x="333736" y="55685"/>
                    </a:cubicBezTo>
                    <a:cubicBezTo>
                      <a:pt x="333021" y="56399"/>
                      <a:pt x="331591" y="57113"/>
                      <a:pt x="330161" y="57113"/>
                    </a:cubicBezTo>
                    <a:cubicBezTo>
                      <a:pt x="328731" y="57826"/>
                      <a:pt x="328016" y="57826"/>
                      <a:pt x="326586" y="58540"/>
                    </a:cubicBezTo>
                    <a:cubicBezTo>
                      <a:pt x="325156" y="59254"/>
                      <a:pt x="323726" y="59968"/>
                      <a:pt x="323011" y="60682"/>
                    </a:cubicBezTo>
                    <a:cubicBezTo>
                      <a:pt x="321581" y="60682"/>
                      <a:pt x="320866" y="61396"/>
                      <a:pt x="319436" y="61396"/>
                    </a:cubicBezTo>
                    <a:cubicBezTo>
                      <a:pt x="318005" y="62110"/>
                      <a:pt x="316575" y="62824"/>
                      <a:pt x="315145" y="63538"/>
                    </a:cubicBezTo>
                    <a:cubicBezTo>
                      <a:pt x="314430" y="64252"/>
                      <a:pt x="313715" y="64252"/>
                      <a:pt x="312285" y="64966"/>
                    </a:cubicBezTo>
                    <a:cubicBezTo>
                      <a:pt x="310855" y="65679"/>
                      <a:pt x="309425" y="66393"/>
                      <a:pt x="307995" y="67107"/>
                    </a:cubicBezTo>
                    <a:cubicBezTo>
                      <a:pt x="307280" y="67107"/>
                      <a:pt x="305850" y="67821"/>
                      <a:pt x="305135" y="68535"/>
                    </a:cubicBezTo>
                    <a:cubicBezTo>
                      <a:pt x="303705" y="69249"/>
                      <a:pt x="302275" y="69963"/>
                      <a:pt x="300845" y="70677"/>
                    </a:cubicBezTo>
                    <a:cubicBezTo>
                      <a:pt x="300130" y="70677"/>
                      <a:pt x="298700" y="71391"/>
                      <a:pt x="297985" y="72105"/>
                    </a:cubicBezTo>
                    <a:cubicBezTo>
                      <a:pt x="296555" y="72818"/>
                      <a:pt x="295124" y="73532"/>
                      <a:pt x="293694" y="74246"/>
                    </a:cubicBezTo>
                    <a:cubicBezTo>
                      <a:pt x="292979" y="74246"/>
                      <a:pt x="291549" y="74960"/>
                      <a:pt x="290834" y="75674"/>
                    </a:cubicBezTo>
                    <a:cubicBezTo>
                      <a:pt x="289404" y="76388"/>
                      <a:pt x="287974" y="77102"/>
                      <a:pt x="286544" y="77816"/>
                    </a:cubicBezTo>
                    <a:cubicBezTo>
                      <a:pt x="285829" y="78530"/>
                      <a:pt x="285114" y="79244"/>
                      <a:pt x="283684" y="79244"/>
                    </a:cubicBezTo>
                    <a:cubicBezTo>
                      <a:pt x="282254" y="79958"/>
                      <a:pt x="280824" y="81385"/>
                      <a:pt x="279394" y="82099"/>
                    </a:cubicBezTo>
                    <a:cubicBezTo>
                      <a:pt x="278679" y="82099"/>
                      <a:pt x="277964" y="82813"/>
                      <a:pt x="276534" y="83527"/>
                    </a:cubicBezTo>
                    <a:cubicBezTo>
                      <a:pt x="275104" y="84241"/>
                      <a:pt x="273674" y="84955"/>
                      <a:pt x="272243" y="85669"/>
                    </a:cubicBezTo>
                    <a:cubicBezTo>
                      <a:pt x="271528" y="86383"/>
                      <a:pt x="270813" y="87097"/>
                      <a:pt x="269383" y="87810"/>
                    </a:cubicBezTo>
                    <a:cubicBezTo>
                      <a:pt x="268668" y="88524"/>
                      <a:pt x="267238" y="89238"/>
                      <a:pt x="265808" y="90666"/>
                    </a:cubicBezTo>
                    <a:cubicBezTo>
                      <a:pt x="264378" y="90666"/>
                      <a:pt x="263663" y="91380"/>
                      <a:pt x="262948" y="92094"/>
                    </a:cubicBezTo>
                    <a:cubicBezTo>
                      <a:pt x="261518" y="92808"/>
                      <a:pt x="260088" y="94236"/>
                      <a:pt x="258658" y="94950"/>
                    </a:cubicBezTo>
                    <a:cubicBezTo>
                      <a:pt x="257228" y="95663"/>
                      <a:pt x="256513" y="96377"/>
                      <a:pt x="255798" y="96377"/>
                    </a:cubicBezTo>
                    <a:cubicBezTo>
                      <a:pt x="254368" y="97805"/>
                      <a:pt x="252938" y="98519"/>
                      <a:pt x="251508" y="99233"/>
                    </a:cubicBezTo>
                    <a:cubicBezTo>
                      <a:pt x="250792" y="99947"/>
                      <a:pt x="250077" y="100661"/>
                      <a:pt x="248647" y="101375"/>
                    </a:cubicBezTo>
                    <a:cubicBezTo>
                      <a:pt x="247217" y="102089"/>
                      <a:pt x="245787" y="103516"/>
                      <a:pt x="244357" y="104230"/>
                    </a:cubicBezTo>
                    <a:cubicBezTo>
                      <a:pt x="243642" y="104944"/>
                      <a:pt x="242927" y="105658"/>
                      <a:pt x="242212" y="106372"/>
                    </a:cubicBezTo>
                    <a:cubicBezTo>
                      <a:pt x="240782" y="107086"/>
                      <a:pt x="239352" y="108514"/>
                      <a:pt x="237922" y="109228"/>
                    </a:cubicBezTo>
                    <a:cubicBezTo>
                      <a:pt x="237207" y="109942"/>
                      <a:pt x="235777" y="110655"/>
                      <a:pt x="235062" y="111369"/>
                    </a:cubicBezTo>
                    <a:cubicBezTo>
                      <a:pt x="233632" y="112083"/>
                      <a:pt x="232202" y="113511"/>
                      <a:pt x="230772" y="114225"/>
                    </a:cubicBezTo>
                    <a:cubicBezTo>
                      <a:pt x="230057" y="115653"/>
                      <a:pt x="228627" y="116367"/>
                      <a:pt x="227196" y="117081"/>
                    </a:cubicBezTo>
                    <a:cubicBezTo>
                      <a:pt x="224336" y="119222"/>
                      <a:pt x="221476" y="120650"/>
                      <a:pt x="217901" y="120650"/>
                    </a:cubicBezTo>
                    <a:cubicBezTo>
                      <a:pt x="212896" y="120650"/>
                      <a:pt x="208606" y="118508"/>
                      <a:pt x="205030" y="114225"/>
                    </a:cubicBezTo>
                    <a:cubicBezTo>
                      <a:pt x="200025" y="107800"/>
                      <a:pt x="201455" y="97805"/>
                      <a:pt x="207891" y="92094"/>
                    </a:cubicBezTo>
                    <a:cubicBezTo>
                      <a:pt x="207891" y="92094"/>
                      <a:pt x="207891" y="92094"/>
                      <a:pt x="209321" y="91380"/>
                    </a:cubicBezTo>
                    <a:cubicBezTo>
                      <a:pt x="210036" y="90666"/>
                      <a:pt x="210751" y="89952"/>
                      <a:pt x="211466" y="89952"/>
                    </a:cubicBezTo>
                    <a:cubicBezTo>
                      <a:pt x="212896" y="88524"/>
                      <a:pt x="214326" y="87097"/>
                      <a:pt x="216471" y="86383"/>
                    </a:cubicBezTo>
                    <a:cubicBezTo>
                      <a:pt x="217186" y="85669"/>
                      <a:pt x="217901" y="84955"/>
                      <a:pt x="219331" y="84241"/>
                    </a:cubicBezTo>
                    <a:cubicBezTo>
                      <a:pt x="220761" y="82813"/>
                      <a:pt x="222191" y="82099"/>
                      <a:pt x="223621" y="80671"/>
                    </a:cubicBezTo>
                    <a:cubicBezTo>
                      <a:pt x="224336" y="79958"/>
                      <a:pt x="225051" y="79244"/>
                      <a:pt x="226481" y="78530"/>
                    </a:cubicBezTo>
                    <a:cubicBezTo>
                      <a:pt x="227911" y="77816"/>
                      <a:pt x="229342" y="77102"/>
                      <a:pt x="230772" y="75674"/>
                    </a:cubicBezTo>
                    <a:cubicBezTo>
                      <a:pt x="231487" y="74960"/>
                      <a:pt x="232917" y="74246"/>
                      <a:pt x="233632" y="73532"/>
                    </a:cubicBezTo>
                    <a:cubicBezTo>
                      <a:pt x="235062" y="72818"/>
                      <a:pt x="236492" y="71391"/>
                      <a:pt x="237922" y="70677"/>
                    </a:cubicBezTo>
                    <a:cubicBezTo>
                      <a:pt x="239352" y="69963"/>
                      <a:pt x="240067" y="69249"/>
                      <a:pt x="240782" y="68535"/>
                    </a:cubicBezTo>
                    <a:cubicBezTo>
                      <a:pt x="242927" y="67821"/>
                      <a:pt x="244357" y="67107"/>
                      <a:pt x="245787" y="65679"/>
                    </a:cubicBezTo>
                    <a:cubicBezTo>
                      <a:pt x="246502" y="64966"/>
                      <a:pt x="247217" y="64252"/>
                      <a:pt x="248647" y="64252"/>
                    </a:cubicBezTo>
                    <a:cubicBezTo>
                      <a:pt x="250077" y="62824"/>
                      <a:pt x="251508" y="62110"/>
                      <a:pt x="252938" y="61396"/>
                    </a:cubicBezTo>
                    <a:cubicBezTo>
                      <a:pt x="253653" y="60682"/>
                      <a:pt x="255083" y="59968"/>
                      <a:pt x="255798" y="59254"/>
                    </a:cubicBezTo>
                    <a:cubicBezTo>
                      <a:pt x="257228" y="58540"/>
                      <a:pt x="259373" y="57826"/>
                      <a:pt x="260803" y="56399"/>
                    </a:cubicBezTo>
                    <a:cubicBezTo>
                      <a:pt x="261518" y="55685"/>
                      <a:pt x="262948" y="55685"/>
                      <a:pt x="263663" y="54971"/>
                    </a:cubicBezTo>
                    <a:cubicBezTo>
                      <a:pt x="265093" y="54257"/>
                      <a:pt x="266523" y="52829"/>
                      <a:pt x="267953" y="52115"/>
                    </a:cubicBezTo>
                    <a:cubicBezTo>
                      <a:pt x="269383" y="51401"/>
                      <a:pt x="270098" y="51401"/>
                      <a:pt x="271528" y="50687"/>
                    </a:cubicBezTo>
                    <a:cubicBezTo>
                      <a:pt x="272958" y="49973"/>
                      <a:pt x="274389" y="49260"/>
                      <a:pt x="275819" y="47832"/>
                    </a:cubicBezTo>
                    <a:cubicBezTo>
                      <a:pt x="276534" y="47832"/>
                      <a:pt x="277964" y="47118"/>
                      <a:pt x="278679" y="46404"/>
                    </a:cubicBezTo>
                    <a:cubicBezTo>
                      <a:pt x="280109" y="45690"/>
                      <a:pt x="281539" y="44976"/>
                      <a:pt x="283684" y="44262"/>
                    </a:cubicBezTo>
                    <a:cubicBezTo>
                      <a:pt x="284399" y="43548"/>
                      <a:pt x="285114" y="42834"/>
                      <a:pt x="286544" y="42834"/>
                    </a:cubicBezTo>
                    <a:cubicBezTo>
                      <a:pt x="287974" y="41407"/>
                      <a:pt x="289404" y="40693"/>
                      <a:pt x="290834" y="39979"/>
                    </a:cubicBezTo>
                    <a:cubicBezTo>
                      <a:pt x="292264" y="39979"/>
                      <a:pt x="292979" y="39265"/>
                      <a:pt x="294409" y="38551"/>
                    </a:cubicBezTo>
                    <a:cubicBezTo>
                      <a:pt x="295839" y="37837"/>
                      <a:pt x="297270" y="37123"/>
                      <a:pt x="298700" y="36409"/>
                    </a:cubicBezTo>
                    <a:cubicBezTo>
                      <a:pt x="300130" y="36409"/>
                      <a:pt x="300845" y="35695"/>
                      <a:pt x="302275" y="34981"/>
                    </a:cubicBezTo>
                    <a:cubicBezTo>
                      <a:pt x="303705" y="34268"/>
                      <a:pt x="305135" y="33554"/>
                      <a:pt x="306565" y="32840"/>
                    </a:cubicBezTo>
                    <a:cubicBezTo>
                      <a:pt x="307280" y="32840"/>
                      <a:pt x="308710" y="32126"/>
                      <a:pt x="309425" y="31412"/>
                    </a:cubicBezTo>
                    <a:cubicBezTo>
                      <a:pt x="311570" y="31412"/>
                      <a:pt x="313000" y="30698"/>
                      <a:pt x="314430" y="29984"/>
                    </a:cubicBezTo>
                    <a:cubicBezTo>
                      <a:pt x="315145" y="29270"/>
                      <a:pt x="316575" y="29270"/>
                      <a:pt x="317290" y="28556"/>
                    </a:cubicBezTo>
                    <a:cubicBezTo>
                      <a:pt x="319436" y="27842"/>
                      <a:pt x="320866" y="27129"/>
                      <a:pt x="322296" y="26415"/>
                    </a:cubicBezTo>
                    <a:cubicBezTo>
                      <a:pt x="323011" y="26415"/>
                      <a:pt x="324441" y="25701"/>
                      <a:pt x="325156" y="25701"/>
                    </a:cubicBezTo>
                    <a:cubicBezTo>
                      <a:pt x="327301" y="24987"/>
                      <a:pt x="328731" y="24273"/>
                      <a:pt x="330161" y="23559"/>
                    </a:cubicBezTo>
                    <a:cubicBezTo>
                      <a:pt x="330876" y="23559"/>
                      <a:pt x="332306" y="22845"/>
                      <a:pt x="333021" y="22845"/>
                    </a:cubicBezTo>
                    <a:cubicBezTo>
                      <a:pt x="335166" y="22131"/>
                      <a:pt x="336596" y="21417"/>
                      <a:pt x="338026" y="20703"/>
                    </a:cubicBezTo>
                    <a:cubicBezTo>
                      <a:pt x="338741" y="20703"/>
                      <a:pt x="340171" y="19989"/>
                      <a:pt x="340886" y="19989"/>
                    </a:cubicBezTo>
                    <a:cubicBezTo>
                      <a:pt x="343032" y="19276"/>
                      <a:pt x="344462" y="18562"/>
                      <a:pt x="345892" y="18562"/>
                    </a:cubicBezTo>
                    <a:cubicBezTo>
                      <a:pt x="347322" y="17848"/>
                      <a:pt x="348037" y="17848"/>
                      <a:pt x="348752" y="17134"/>
                    </a:cubicBezTo>
                    <a:cubicBezTo>
                      <a:pt x="350897" y="17134"/>
                      <a:pt x="352327" y="16420"/>
                      <a:pt x="353757" y="15706"/>
                    </a:cubicBezTo>
                    <a:cubicBezTo>
                      <a:pt x="355187" y="15706"/>
                      <a:pt x="355902" y="14992"/>
                      <a:pt x="357332" y="14992"/>
                    </a:cubicBezTo>
                    <a:cubicBezTo>
                      <a:pt x="358762" y="14278"/>
                      <a:pt x="360192" y="14278"/>
                      <a:pt x="361622" y="13564"/>
                    </a:cubicBezTo>
                    <a:cubicBezTo>
                      <a:pt x="363052" y="13564"/>
                      <a:pt x="363767" y="12850"/>
                      <a:pt x="365198" y="12850"/>
                    </a:cubicBezTo>
                    <a:cubicBezTo>
                      <a:pt x="366628" y="12137"/>
                      <a:pt x="368058" y="12137"/>
                      <a:pt x="370203" y="11423"/>
                    </a:cubicBezTo>
                    <a:cubicBezTo>
                      <a:pt x="370918" y="11423"/>
                      <a:pt x="371633" y="10709"/>
                      <a:pt x="373063" y="10709"/>
                    </a:cubicBezTo>
                    <a:cubicBezTo>
                      <a:pt x="374493" y="9995"/>
                      <a:pt x="376638" y="9995"/>
                      <a:pt x="378068" y="9281"/>
                    </a:cubicBezTo>
                    <a:cubicBezTo>
                      <a:pt x="378783" y="9281"/>
                      <a:pt x="380213" y="9281"/>
                      <a:pt x="380928" y="8567"/>
                    </a:cubicBezTo>
                    <a:cubicBezTo>
                      <a:pt x="382358" y="8567"/>
                      <a:pt x="384503" y="7853"/>
                      <a:pt x="385933" y="7853"/>
                    </a:cubicBezTo>
                    <a:cubicBezTo>
                      <a:pt x="387364" y="7853"/>
                      <a:pt x="388079" y="7139"/>
                      <a:pt x="388794" y="7139"/>
                    </a:cubicBezTo>
                    <a:cubicBezTo>
                      <a:pt x="390939" y="7139"/>
                      <a:pt x="392369" y="6425"/>
                      <a:pt x="394514" y="6425"/>
                    </a:cubicBezTo>
                    <a:cubicBezTo>
                      <a:pt x="395229" y="5711"/>
                      <a:pt x="395944" y="5711"/>
                      <a:pt x="397374" y="5711"/>
                    </a:cubicBezTo>
                    <a:cubicBezTo>
                      <a:pt x="398804" y="5711"/>
                      <a:pt x="400234" y="4997"/>
                      <a:pt x="402379" y="4997"/>
                    </a:cubicBezTo>
                    <a:cubicBezTo>
                      <a:pt x="403094" y="4997"/>
                      <a:pt x="404524" y="4284"/>
                      <a:pt x="405239" y="4284"/>
                    </a:cubicBezTo>
                    <a:cubicBezTo>
                      <a:pt x="406669" y="4284"/>
                      <a:pt x="408814" y="3570"/>
                      <a:pt x="410245" y="3570"/>
                    </a:cubicBezTo>
                    <a:cubicBezTo>
                      <a:pt x="411675" y="3570"/>
                      <a:pt x="412390" y="3570"/>
                      <a:pt x="413105" y="3570"/>
                    </a:cubicBezTo>
                    <a:cubicBezTo>
                      <a:pt x="415250" y="2856"/>
                      <a:pt x="416680" y="2856"/>
                      <a:pt x="418825" y="2856"/>
                    </a:cubicBezTo>
                    <a:cubicBezTo>
                      <a:pt x="419540" y="2856"/>
                      <a:pt x="420255" y="2142"/>
                      <a:pt x="421685" y="2142"/>
                    </a:cubicBezTo>
                    <a:cubicBezTo>
                      <a:pt x="423115" y="2142"/>
                      <a:pt x="425260" y="2142"/>
                      <a:pt x="426690" y="2142"/>
                    </a:cubicBezTo>
                    <a:cubicBezTo>
                      <a:pt x="427405" y="1428"/>
                      <a:pt x="428835" y="1428"/>
                      <a:pt x="429550" y="1428"/>
                    </a:cubicBezTo>
                    <a:cubicBezTo>
                      <a:pt x="431696" y="1428"/>
                      <a:pt x="433126" y="1428"/>
                      <a:pt x="434556" y="1428"/>
                    </a:cubicBezTo>
                    <a:cubicBezTo>
                      <a:pt x="435986" y="1428"/>
                      <a:pt x="436701" y="714"/>
                      <a:pt x="438131" y="714"/>
                    </a:cubicBezTo>
                    <a:cubicBezTo>
                      <a:pt x="439561" y="714"/>
                      <a:pt x="440991" y="714"/>
                      <a:pt x="443136" y="714"/>
                    </a:cubicBezTo>
                    <a:cubicBezTo>
                      <a:pt x="443851" y="714"/>
                      <a:pt x="445281" y="714"/>
                      <a:pt x="445996" y="714"/>
                    </a:cubicBezTo>
                    <a:cubicBezTo>
                      <a:pt x="448141" y="714"/>
                      <a:pt x="449571" y="714"/>
                      <a:pt x="451001" y="714"/>
                    </a:cubicBezTo>
                    <a:cubicBezTo>
                      <a:pt x="452431" y="714"/>
                      <a:pt x="453146" y="714"/>
                      <a:pt x="4545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1E2A05D-6252-478E-D057-5C5DCD18AD72}"/>
              </a:ext>
            </a:extLst>
          </p:cNvPr>
          <p:cNvGrpSpPr/>
          <p:nvPr/>
        </p:nvGrpSpPr>
        <p:grpSpPr>
          <a:xfrm>
            <a:off x="8037268" y="2461927"/>
            <a:ext cx="3355320" cy="236384"/>
            <a:chOff x="3557790" y="1617916"/>
            <a:chExt cx="8076627" cy="346089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AC092A4-FDBC-65FB-E58F-D7179AC88A12}"/>
                </a:ext>
              </a:extLst>
            </p:cNvPr>
            <p:cNvCxnSpPr/>
            <p:nvPr/>
          </p:nvCxnSpPr>
          <p:spPr>
            <a:xfrm flipH="1">
              <a:off x="3557790" y="1790961"/>
              <a:ext cx="8076627" cy="0"/>
            </a:xfrm>
            <a:prstGeom prst="line">
              <a:avLst/>
            </a:prstGeom>
            <a:ln w="9525" cap="rnd">
              <a:solidFill>
                <a:schemeClr val="tx2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: Diagonal Corners Snipped 15">
              <a:extLst>
                <a:ext uri="{FF2B5EF4-FFF2-40B4-BE49-F238E27FC236}">
                  <a16:creationId xmlns:a16="http://schemas.microsoft.com/office/drawing/2014/main" id="{95F02F82-0F14-BA43-4FAB-6450D59BAD31}"/>
                </a:ext>
              </a:extLst>
            </p:cNvPr>
            <p:cNvSpPr/>
            <p:nvPr/>
          </p:nvSpPr>
          <p:spPr>
            <a:xfrm>
              <a:off x="5468027" y="1617917"/>
              <a:ext cx="4079315" cy="346088"/>
            </a:xfrm>
            <a:prstGeom prst="snip2Diag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rgbClr val="00000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</a:rPr>
                <a:t>KPIs do </a:t>
              </a:r>
              <a:r>
                <a:rPr lang="en-US" sz="1200" err="1">
                  <a:solidFill>
                    <a:schemeClr val="bg1"/>
                  </a:solidFill>
                </a:rPr>
                <a:t>filtro</a:t>
              </a: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16">
              <a:extLst>
                <a:ext uri="{FF2B5EF4-FFF2-40B4-BE49-F238E27FC236}">
                  <a16:creationId xmlns:a16="http://schemas.microsoft.com/office/drawing/2014/main" id="{AB7F4B3D-3A2D-362F-3BB1-F56C47E9B272}"/>
                </a:ext>
              </a:extLst>
            </p:cNvPr>
            <p:cNvSpPr/>
            <p:nvPr/>
          </p:nvSpPr>
          <p:spPr>
            <a:xfrm rot="16200000">
              <a:off x="5267355" y="1590290"/>
              <a:ext cx="173045" cy="228298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rgbClr val="00000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0000"/>
                </a:lnSpc>
              </a:pPr>
              <a:endParaRPr lang="en-US" sz="2000" err="1"/>
            </a:p>
          </p:txBody>
        </p:sp>
        <p:sp>
          <p:nvSpPr>
            <p:cNvPr id="18" name="Right Triangle 17">
              <a:extLst>
                <a:ext uri="{FF2B5EF4-FFF2-40B4-BE49-F238E27FC236}">
                  <a16:creationId xmlns:a16="http://schemas.microsoft.com/office/drawing/2014/main" id="{27BD2391-DEE6-2386-FFFE-D8B8715FFA17}"/>
                </a:ext>
              </a:extLst>
            </p:cNvPr>
            <p:cNvSpPr/>
            <p:nvPr/>
          </p:nvSpPr>
          <p:spPr>
            <a:xfrm rot="5400000">
              <a:off x="9570623" y="1763334"/>
              <a:ext cx="173045" cy="228298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rgbClr val="00000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0000"/>
                </a:lnSpc>
              </a:pPr>
              <a:endParaRPr lang="en-US" sz="2000" err="1"/>
            </a:p>
          </p:txBody>
        </p:sp>
      </p:grpSp>
      <p:sp>
        <p:nvSpPr>
          <p:cNvPr id="32" name="Rectangle: Top Corners Rounded 64">
            <a:extLst>
              <a:ext uri="{FF2B5EF4-FFF2-40B4-BE49-F238E27FC236}">
                <a16:creationId xmlns:a16="http://schemas.microsoft.com/office/drawing/2014/main" id="{F0C42827-7527-3CD0-C9EF-0FEF1CF180E6}"/>
              </a:ext>
            </a:extLst>
          </p:cNvPr>
          <p:cNvSpPr>
            <a:spLocks/>
          </p:cNvSpPr>
          <p:nvPr/>
        </p:nvSpPr>
        <p:spPr>
          <a:xfrm>
            <a:off x="9758539" y="2841352"/>
            <a:ext cx="765407" cy="110407"/>
          </a:xfrm>
          <a:prstGeom prst="snip2SameRect">
            <a:avLst/>
          </a:prstGeom>
          <a:solidFill>
            <a:schemeClr val="tx2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noProof="0">
              <a:solidFill>
                <a:schemeClr val="bg1"/>
              </a:solidFill>
            </a:endParaRPr>
          </a:p>
        </p:txBody>
      </p:sp>
      <p:sp>
        <p:nvSpPr>
          <p:cNvPr id="35" name="Rectangle: Top Corners Rounded 64">
            <a:extLst>
              <a:ext uri="{FF2B5EF4-FFF2-40B4-BE49-F238E27FC236}">
                <a16:creationId xmlns:a16="http://schemas.microsoft.com/office/drawing/2014/main" id="{E276B8E0-007B-3EDF-1EF6-E27F24684736}"/>
              </a:ext>
            </a:extLst>
          </p:cNvPr>
          <p:cNvSpPr>
            <a:spLocks/>
          </p:cNvSpPr>
          <p:nvPr/>
        </p:nvSpPr>
        <p:spPr>
          <a:xfrm>
            <a:off x="10588949" y="2841352"/>
            <a:ext cx="765407" cy="110407"/>
          </a:xfrm>
          <a:prstGeom prst="snip2SameRect">
            <a:avLst/>
          </a:prstGeom>
          <a:solidFill>
            <a:schemeClr val="tx2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noProof="0">
              <a:solidFill>
                <a:schemeClr val="bg1"/>
              </a:solidFill>
            </a:endParaRPr>
          </a:p>
        </p:txBody>
      </p:sp>
      <p:sp>
        <p:nvSpPr>
          <p:cNvPr id="40" name="Rectangle: Top Corners Rounded 64">
            <a:extLst>
              <a:ext uri="{FF2B5EF4-FFF2-40B4-BE49-F238E27FC236}">
                <a16:creationId xmlns:a16="http://schemas.microsoft.com/office/drawing/2014/main" id="{F4045904-994B-550C-8351-97CF8DDA08AF}"/>
              </a:ext>
            </a:extLst>
          </p:cNvPr>
          <p:cNvSpPr>
            <a:spLocks/>
          </p:cNvSpPr>
          <p:nvPr/>
        </p:nvSpPr>
        <p:spPr>
          <a:xfrm>
            <a:off x="8097715" y="2841352"/>
            <a:ext cx="765407" cy="110407"/>
          </a:xfrm>
          <a:prstGeom prst="snip2SameRect">
            <a:avLst/>
          </a:prstGeom>
          <a:solidFill>
            <a:schemeClr val="tx2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noProof="0">
              <a:solidFill>
                <a:schemeClr val="bg1"/>
              </a:solidFill>
            </a:endParaRPr>
          </a:p>
        </p:txBody>
      </p:sp>
      <p:sp>
        <p:nvSpPr>
          <p:cNvPr id="44" name="Rectangle: Top Corners Rounded 64">
            <a:extLst>
              <a:ext uri="{FF2B5EF4-FFF2-40B4-BE49-F238E27FC236}">
                <a16:creationId xmlns:a16="http://schemas.microsoft.com/office/drawing/2014/main" id="{9DA84908-E329-68CE-D4F2-5B957A7209BF}"/>
              </a:ext>
            </a:extLst>
          </p:cNvPr>
          <p:cNvSpPr>
            <a:spLocks/>
          </p:cNvSpPr>
          <p:nvPr/>
        </p:nvSpPr>
        <p:spPr>
          <a:xfrm>
            <a:off x="8928115" y="2841352"/>
            <a:ext cx="765407" cy="110407"/>
          </a:xfrm>
          <a:prstGeom prst="snip2SameRect">
            <a:avLst/>
          </a:prstGeom>
          <a:solidFill>
            <a:schemeClr val="tx2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noProof="0">
              <a:solidFill>
                <a:schemeClr val="bg1"/>
              </a:solidFill>
            </a:endParaRPr>
          </a:p>
        </p:txBody>
      </p:sp>
      <p:sp>
        <p:nvSpPr>
          <p:cNvPr id="220" name="Rectangle: Top Corners Rounded 64">
            <a:extLst>
              <a:ext uri="{FF2B5EF4-FFF2-40B4-BE49-F238E27FC236}">
                <a16:creationId xmlns:a16="http://schemas.microsoft.com/office/drawing/2014/main" id="{7F209E8C-6CC3-FBBD-AF38-013AC424D28A}"/>
              </a:ext>
            </a:extLst>
          </p:cNvPr>
          <p:cNvSpPr>
            <a:spLocks/>
          </p:cNvSpPr>
          <p:nvPr/>
        </p:nvSpPr>
        <p:spPr>
          <a:xfrm>
            <a:off x="9758539" y="2863275"/>
            <a:ext cx="765407" cy="110407"/>
          </a:xfrm>
          <a:prstGeom prst="snip2Same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>
                <a:solidFill>
                  <a:schemeClr val="bg1"/>
                </a:solidFill>
              </a:rPr>
              <a:t>Aging (R$)</a:t>
            </a:r>
          </a:p>
        </p:txBody>
      </p:sp>
      <p:sp>
        <p:nvSpPr>
          <p:cNvPr id="303" name="Rectangle: Top Corners Rounded 64">
            <a:extLst>
              <a:ext uri="{FF2B5EF4-FFF2-40B4-BE49-F238E27FC236}">
                <a16:creationId xmlns:a16="http://schemas.microsoft.com/office/drawing/2014/main" id="{BA0EF85B-FA03-645D-2F3F-DA11D392965C}"/>
              </a:ext>
            </a:extLst>
          </p:cNvPr>
          <p:cNvSpPr>
            <a:spLocks/>
          </p:cNvSpPr>
          <p:nvPr/>
        </p:nvSpPr>
        <p:spPr>
          <a:xfrm>
            <a:off x="10588949" y="2863275"/>
            <a:ext cx="765407" cy="110407"/>
          </a:xfrm>
          <a:prstGeom prst="snip2Same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 err="1">
                <a:solidFill>
                  <a:schemeClr val="bg1"/>
                </a:solidFill>
              </a:rPr>
              <a:t>Ruptura</a:t>
            </a:r>
            <a:r>
              <a:rPr lang="en-US" sz="600" noProof="0">
                <a:solidFill>
                  <a:schemeClr val="bg1"/>
                </a:solidFill>
              </a:rPr>
              <a:t> (% R$)</a:t>
            </a:r>
          </a:p>
        </p:txBody>
      </p:sp>
      <p:sp>
        <p:nvSpPr>
          <p:cNvPr id="103" name="Rectangle: Top Corners Rounded 64">
            <a:extLst>
              <a:ext uri="{FF2B5EF4-FFF2-40B4-BE49-F238E27FC236}">
                <a16:creationId xmlns:a16="http://schemas.microsoft.com/office/drawing/2014/main" id="{D7768A1A-7D64-7667-205B-BA8AC48DE464}"/>
              </a:ext>
            </a:extLst>
          </p:cNvPr>
          <p:cNvSpPr>
            <a:spLocks/>
          </p:cNvSpPr>
          <p:nvPr/>
        </p:nvSpPr>
        <p:spPr>
          <a:xfrm>
            <a:off x="8097715" y="2863275"/>
            <a:ext cx="765407" cy="110407"/>
          </a:xfrm>
          <a:prstGeom prst="snip2Same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 err="1">
                <a:solidFill>
                  <a:schemeClr val="bg1"/>
                </a:solidFill>
              </a:rPr>
              <a:t>Estq</a:t>
            </a:r>
            <a:r>
              <a:rPr lang="en-US" sz="600" noProof="0">
                <a:solidFill>
                  <a:schemeClr val="bg1"/>
                </a:solidFill>
              </a:rPr>
              <a:t> Tot. (R$)</a:t>
            </a:r>
          </a:p>
        </p:txBody>
      </p:sp>
      <p:sp>
        <p:nvSpPr>
          <p:cNvPr id="201" name="Rectangle: Top Corners Rounded 64">
            <a:extLst>
              <a:ext uri="{FF2B5EF4-FFF2-40B4-BE49-F238E27FC236}">
                <a16:creationId xmlns:a16="http://schemas.microsoft.com/office/drawing/2014/main" id="{E9F06CF7-4C3B-0107-77D6-0588F547E69A}"/>
              </a:ext>
            </a:extLst>
          </p:cNvPr>
          <p:cNvSpPr>
            <a:spLocks/>
          </p:cNvSpPr>
          <p:nvPr/>
        </p:nvSpPr>
        <p:spPr>
          <a:xfrm>
            <a:off x="8928115" y="2863275"/>
            <a:ext cx="765407" cy="110407"/>
          </a:xfrm>
          <a:prstGeom prst="snip2Same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noProof="0" err="1">
                <a:solidFill>
                  <a:schemeClr val="bg1"/>
                </a:solidFill>
              </a:rPr>
              <a:t>Cobertura</a:t>
            </a:r>
            <a:endParaRPr lang="en-US" sz="600" noProof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798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E425039-69B1-8D37-6A65-C4DEDFFA48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651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7772400" imgH="10058400" progId="TCLayout.ActiveDocument.1">
                  <p:embed/>
                </p:oleObj>
              </mc:Choice>
              <mc:Fallback>
                <p:oleObj name="think-cell Slide" r:id="rId4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425039-69B1-8D37-6A65-C4DEDFFA4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3496B8D0-A891-60C8-43AF-EA179E244AB1}"/>
              </a:ext>
            </a:extLst>
          </p:cNvPr>
          <p:cNvSpPr/>
          <p:nvPr/>
        </p:nvSpPr>
        <p:spPr>
          <a:xfrm>
            <a:off x="1725134" y="0"/>
            <a:ext cx="3831794" cy="377950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69265E11-E6FA-410E-04BA-CC4D4747DB74}"/>
              </a:ext>
            </a:extLst>
          </p:cNvPr>
          <p:cNvSpPr/>
          <p:nvPr/>
        </p:nvSpPr>
        <p:spPr>
          <a:xfrm rot="5400000">
            <a:off x="48" y="-44"/>
            <a:ext cx="1517830" cy="1517923"/>
          </a:xfrm>
          <a:prstGeom prst="triangle">
            <a:avLst>
              <a:gd name="adj" fmla="val 0"/>
            </a:avLst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Diagonal Stripe 9">
            <a:extLst>
              <a:ext uri="{FF2B5EF4-FFF2-40B4-BE49-F238E27FC236}">
                <a16:creationId xmlns:a16="http://schemas.microsoft.com/office/drawing/2014/main" id="{8B74BB10-5D95-896E-CD7C-E44E4EDBD221}"/>
              </a:ext>
            </a:extLst>
          </p:cNvPr>
          <p:cNvSpPr/>
          <p:nvPr/>
        </p:nvSpPr>
        <p:spPr>
          <a:xfrm>
            <a:off x="1" y="1"/>
            <a:ext cx="2286000" cy="2286000"/>
          </a:xfrm>
          <a:prstGeom prst="diagStripe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DFACB6E6-8F21-6F5B-A4D3-99213AC60C41}"/>
              </a:ext>
            </a:extLst>
          </p:cNvPr>
          <p:cNvSpPr/>
          <p:nvPr/>
        </p:nvSpPr>
        <p:spPr>
          <a:xfrm rot="16200000">
            <a:off x="10675781" y="5341781"/>
            <a:ext cx="1516172" cy="1516264"/>
          </a:xfrm>
          <a:prstGeom prst="triangle">
            <a:avLst>
              <a:gd name="adj" fmla="val 0"/>
            </a:avLst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Diagonal Stripe 12">
            <a:extLst>
              <a:ext uri="{FF2B5EF4-FFF2-40B4-BE49-F238E27FC236}">
                <a16:creationId xmlns:a16="http://schemas.microsoft.com/office/drawing/2014/main" id="{9DA950BB-D691-7159-8617-A3B84A075570}"/>
              </a:ext>
            </a:extLst>
          </p:cNvPr>
          <p:cNvSpPr/>
          <p:nvPr/>
        </p:nvSpPr>
        <p:spPr>
          <a:xfrm rot="10800000">
            <a:off x="9908497" y="4574499"/>
            <a:ext cx="2283502" cy="2283502"/>
          </a:xfrm>
          <a:prstGeom prst="diagStripe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F98FA1-7025-369A-2FBF-040B9809C956}"/>
              </a:ext>
            </a:extLst>
          </p:cNvPr>
          <p:cNvSpPr/>
          <p:nvPr/>
        </p:nvSpPr>
        <p:spPr>
          <a:xfrm>
            <a:off x="164704" y="270950"/>
            <a:ext cx="11862590" cy="6316098"/>
          </a:xfrm>
          <a:prstGeom prst="rect">
            <a:avLst/>
          </a:prstGeom>
          <a:solidFill>
            <a:srgbClr val="F2F2F2"/>
          </a:solidFill>
          <a:ln w="381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50FF7E-69C5-D1E0-7235-DE72AFAC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92049"/>
            <a:ext cx="10933200" cy="430887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rgbClr val="E71A3A"/>
                </a:solidFill>
              </a:rPr>
              <a:t>Supply | </a:t>
            </a:r>
            <a:r>
              <a:rPr lang="en-US" err="1"/>
              <a:t>Visão</a:t>
            </a:r>
            <a:r>
              <a:rPr lang="en-US"/>
              <a:t> </a:t>
            </a:r>
            <a:r>
              <a:rPr lang="en-US" err="1"/>
              <a:t>detalhada</a:t>
            </a:r>
            <a:r>
              <a:rPr lang="en-US"/>
              <a:t> para </a:t>
            </a:r>
            <a:r>
              <a:rPr lang="en-US" err="1"/>
              <a:t>atuação</a:t>
            </a:r>
            <a:r>
              <a:rPr lang="en-US"/>
              <a:t> do time de </a:t>
            </a:r>
            <a:r>
              <a:rPr lang="en-US" err="1"/>
              <a:t>lojas</a:t>
            </a:r>
            <a:endParaRPr lang="en-US"/>
          </a:p>
        </p:txBody>
      </p:sp>
      <p:sp>
        <p:nvSpPr>
          <p:cNvPr id="477" name="Textfeld 1">
            <a:extLst>
              <a:ext uri="{FF2B5EF4-FFF2-40B4-BE49-F238E27FC236}">
                <a16:creationId xmlns:a16="http://schemas.microsoft.com/office/drawing/2014/main" id="{25389694-2F94-60A2-7892-7D3E1FD3086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32002" y="-786477"/>
            <a:ext cx="961475" cy="317010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SD 22.Oct.25:
</a:t>
            </a: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como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é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feita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 a </a:t>
            </a: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projeção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?</a:t>
            </a:r>
          </a:p>
        </p:txBody>
      </p:sp>
      <p:graphicFrame>
        <p:nvGraphicFramePr>
          <p:cNvPr id="954" name="Chart 953">
            <a:extLst>
              <a:ext uri="{FF2B5EF4-FFF2-40B4-BE49-F238E27FC236}">
                <a16:creationId xmlns:a16="http://schemas.microsoft.com/office/drawing/2014/main" id="{E44666E2-A660-C2E5-B077-54CF22E4F43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1038452"/>
              </p:ext>
            </p:extLst>
          </p:nvPr>
        </p:nvGraphicFramePr>
        <p:xfrm>
          <a:off x="968375" y="4448175"/>
          <a:ext cx="9023350" cy="739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686" name="Text Placeholder 3">
            <a:extLst>
              <a:ext uri="{FF2B5EF4-FFF2-40B4-BE49-F238E27FC236}">
                <a16:creationId xmlns:a16="http://schemas.microsoft.com/office/drawing/2014/main" id="{863F8F9D-63BE-50DB-9903-C0176A76865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30250" y="4799013"/>
            <a:ext cx="2540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12F4764-403C-491B-8376-4E547195E94B}" type="datetime'''''5'''',''''''''''''''''0''''''0''0'''''''''''''''''">
              <a:rPr lang="en-US" altLang="en-US" sz="8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,000</a:t>
            </a:fld>
            <a:endParaRPr lang="en-US" sz="800"/>
          </a:p>
        </p:txBody>
      </p:sp>
      <p:sp>
        <p:nvSpPr>
          <p:cNvPr id="672" name="Text Placeholder 3">
            <a:extLst>
              <a:ext uri="{FF2B5EF4-FFF2-40B4-BE49-F238E27FC236}">
                <a16:creationId xmlns:a16="http://schemas.microsoft.com/office/drawing/2014/main" id="{41175000-BF03-0CC2-9475-6B2646FFDBC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76275" y="4460875"/>
            <a:ext cx="3079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CE7A75E-F053-4582-88A9-6D14007FF7A8}" type="datetime'10'''''''''',''''''''''''''''0''''''0''''''0'''''''''''''''''">
              <a:rPr lang="en-US" altLang="en-US" sz="8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,000</a:t>
            </a:fld>
            <a:endParaRPr lang="en-US" sz="800"/>
          </a:p>
        </p:txBody>
      </p:sp>
      <p:sp>
        <p:nvSpPr>
          <p:cNvPr id="654" name="Text Placeholder 3">
            <a:extLst>
              <a:ext uri="{FF2B5EF4-FFF2-40B4-BE49-F238E27FC236}">
                <a16:creationId xmlns:a16="http://schemas.microsoft.com/office/drawing/2014/main" id="{3704EE9B-7382-A62A-CED5-4F7AF81AD8B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0009188" y="4748213"/>
            <a:ext cx="1619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800">
                <a:effectLst/>
              </a:rPr>
              <a:t>450</a:t>
            </a:r>
            <a:endParaRPr lang="en-US" sz="800"/>
          </a:p>
        </p:txBody>
      </p:sp>
      <p:sp>
        <p:nvSpPr>
          <p:cNvPr id="655" name="Text Placeholder 3">
            <a:extLst>
              <a:ext uri="{FF2B5EF4-FFF2-40B4-BE49-F238E27FC236}">
                <a16:creationId xmlns:a16="http://schemas.microsoft.com/office/drawing/2014/main" id="{87B37382-FDF5-18E2-B204-AF40375110C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0009188" y="4460875"/>
            <a:ext cx="1619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/>
              <a:t>900</a:t>
            </a:r>
          </a:p>
        </p:txBody>
      </p:sp>
      <p:sp>
        <p:nvSpPr>
          <p:cNvPr id="660" name="Text Placeholder 3">
            <a:extLst>
              <a:ext uri="{FF2B5EF4-FFF2-40B4-BE49-F238E27FC236}">
                <a16:creationId xmlns:a16="http://schemas.microsoft.com/office/drawing/2014/main" id="{455B6B92-25DA-B5DE-C671-A3F60BFE69A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676275" y="4246563"/>
            <a:ext cx="4254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800" err="1">
                <a:effectLst/>
              </a:rPr>
              <a:t>Etq</a:t>
            </a:r>
            <a:r>
              <a:rPr lang="en-US" altLang="en-US" sz="800">
                <a:effectLst/>
              </a:rPr>
              <a:t> (und)</a:t>
            </a:r>
            <a:endParaRPr lang="en-US" sz="800"/>
          </a:p>
        </p:txBody>
      </p:sp>
      <p:sp>
        <p:nvSpPr>
          <p:cNvPr id="652" name="Text Placeholder 3">
            <a:extLst>
              <a:ext uri="{FF2B5EF4-FFF2-40B4-BE49-F238E27FC236}">
                <a16:creationId xmlns:a16="http://schemas.microsoft.com/office/drawing/2014/main" id="{94D76D99-E6B8-CBAA-A165-F1792D65E05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572625" y="4246563"/>
            <a:ext cx="5984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800" err="1">
                <a:effectLst/>
              </a:rPr>
              <a:t>Vendas</a:t>
            </a:r>
            <a:r>
              <a:rPr lang="en-US" altLang="en-US" sz="800">
                <a:effectLst/>
              </a:rPr>
              <a:t> (und)</a:t>
            </a:r>
            <a:endParaRPr lang="en-US" sz="800"/>
          </a:p>
        </p:txBody>
      </p:sp>
      <p:sp>
        <p:nvSpPr>
          <p:cNvPr id="608" name="Text Placeholder 3">
            <a:extLst>
              <a:ext uri="{FF2B5EF4-FFF2-40B4-BE49-F238E27FC236}">
                <a16:creationId xmlns:a16="http://schemas.microsoft.com/office/drawing/2014/main" id="{703FDAEC-18D2-DBB8-06C0-112ACC51B7E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74725" y="5138738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E5DB4EFC-2262-407D-9CC5-BFA51AC47F0C}" type="datetime'''''''''S''''''''''-''''''''''''''5''''''''''''''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5</a:t>
            </a:fld>
            <a:endParaRPr lang="en-US" sz="800"/>
          </a:p>
        </p:txBody>
      </p:sp>
      <p:sp>
        <p:nvSpPr>
          <p:cNvPr id="609" name="Text Placeholder 3">
            <a:extLst>
              <a:ext uri="{FF2B5EF4-FFF2-40B4-BE49-F238E27FC236}">
                <a16:creationId xmlns:a16="http://schemas.microsoft.com/office/drawing/2014/main" id="{893B561B-1162-4DAA-DB9C-838180D29B8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46375" y="5138738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94C968B-488A-4088-A6A6-13750A06DFB7}" type="datetime'''''S''-''''''''''4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4</a:t>
            </a:fld>
            <a:endParaRPr lang="en-US" sz="800"/>
          </a:p>
        </p:txBody>
      </p:sp>
      <p:sp>
        <p:nvSpPr>
          <p:cNvPr id="610" name="Text Placeholder 3">
            <a:extLst>
              <a:ext uri="{FF2B5EF4-FFF2-40B4-BE49-F238E27FC236}">
                <a16:creationId xmlns:a16="http://schemas.microsoft.com/office/drawing/2014/main" id="{CD4D9B78-4722-801B-EDAC-BE39E4557A0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18025" y="5138738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01A0B67-3ACB-4B07-B21E-E537F58EBF36}" type="datetime'''''''''''''''''''S''''''''''''''-''''''''''''''''''3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3</a:t>
            </a:fld>
            <a:endParaRPr lang="en-US" sz="800"/>
          </a:p>
        </p:txBody>
      </p:sp>
      <p:sp>
        <p:nvSpPr>
          <p:cNvPr id="611" name="Text Placeholder 3">
            <a:extLst>
              <a:ext uri="{FF2B5EF4-FFF2-40B4-BE49-F238E27FC236}">
                <a16:creationId xmlns:a16="http://schemas.microsoft.com/office/drawing/2014/main" id="{BB05E19E-BC8D-3BD7-F428-CA4300EE99C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289675" y="5138738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EC81F9A-AB61-4FA2-8C51-A791EEFF8E93}" type="datetime'''''''''''''''''S''''''''''''''''''''''''''''-''''''''2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2</a:t>
            </a:fld>
            <a:endParaRPr lang="en-US" sz="800"/>
          </a:p>
        </p:txBody>
      </p:sp>
      <p:sp>
        <p:nvSpPr>
          <p:cNvPr id="612" name="Text Placeholder 3">
            <a:extLst>
              <a:ext uri="{FF2B5EF4-FFF2-40B4-BE49-F238E27FC236}">
                <a16:creationId xmlns:a16="http://schemas.microsoft.com/office/drawing/2014/main" id="{D7E0CD04-760E-A8C2-5C6F-78AF40F9498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061325" y="5138738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7B8A401-E16D-42F3-BFAB-44B7C3B6EBDF}" type="datetime'''''''''''S''''''''''''''''''''''''''''''''''''-1''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1</a:t>
            </a:fld>
            <a:endParaRPr lang="en-US" sz="800"/>
          </a:p>
        </p:txBody>
      </p:sp>
      <p:sp>
        <p:nvSpPr>
          <p:cNvPr id="613" name="Text Placeholder 3">
            <a:extLst>
              <a:ext uri="{FF2B5EF4-FFF2-40B4-BE49-F238E27FC236}">
                <a16:creationId xmlns:a16="http://schemas.microsoft.com/office/drawing/2014/main" id="{4C9F4F36-034C-C1A6-2796-1B58CADDEBD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796463" y="5138738"/>
            <a:ext cx="225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58C5901B-B7F2-4F19-B918-029A15D2DEAF}" type="datetime'''''Ho''''''''''''''''''''''''''je''''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oje</a:t>
            </a:fld>
            <a:endParaRPr lang="en-US" sz="800"/>
          </a:p>
        </p:txBody>
      </p:sp>
      <p:cxnSp>
        <p:nvCxnSpPr>
          <p:cNvPr id="634" name="Straight Connector 633">
            <a:extLst>
              <a:ext uri="{FF2B5EF4-FFF2-40B4-BE49-F238E27FC236}">
                <a16:creationId xmlns:a16="http://schemas.microsoft.com/office/drawing/2014/main" id="{29332601-F993-FE13-1FB7-959F51E3A88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10647363" y="4627563"/>
            <a:ext cx="114300" cy="0"/>
          </a:xfrm>
          <a:prstGeom prst="line">
            <a:avLst/>
          </a:prstGeom>
          <a:ln w="2857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3" name="Straight Connector 692">
            <a:extLst>
              <a:ext uri="{FF2B5EF4-FFF2-40B4-BE49-F238E27FC236}">
                <a16:creationId xmlns:a16="http://schemas.microsoft.com/office/drawing/2014/main" id="{22613C83-B74D-C647-4B44-80C1EDA5977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10647363" y="4811713"/>
            <a:ext cx="114300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7" name="Straight Connector 706">
            <a:extLst>
              <a:ext uri="{FF2B5EF4-FFF2-40B4-BE49-F238E27FC236}">
                <a16:creationId xmlns:a16="http://schemas.microsoft.com/office/drawing/2014/main" id="{D1225900-EC8E-14CC-2E41-BBAA53DE7CB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10647363" y="4995863"/>
            <a:ext cx="114300" cy="0"/>
          </a:xfrm>
          <a:prstGeom prst="line">
            <a:avLst/>
          </a:prstGeom>
          <a:ln w="28575" cap="rnd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2" name="Text Placeholder 3">
            <a:extLst>
              <a:ext uri="{FF2B5EF4-FFF2-40B4-BE49-F238E27FC236}">
                <a16:creationId xmlns:a16="http://schemas.microsoft.com/office/drawing/2014/main" id="{399EE0A6-BFA7-5B77-E326-47593AA8490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10826750" y="4562475"/>
            <a:ext cx="5508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9791CA8-195F-4646-806B-FC24EC338E4E}" type="datetime'E''''''''''''''''s''''t''''''oqu''''''''''''''''''e'' ''CD''s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Estoque CDs</a:t>
            </a:fld>
            <a:endParaRPr lang="en-US" sz="800"/>
          </a:p>
        </p:txBody>
      </p:sp>
      <p:sp>
        <p:nvSpPr>
          <p:cNvPr id="690" name="Text Placeholder 3">
            <a:extLst>
              <a:ext uri="{FF2B5EF4-FFF2-40B4-BE49-F238E27FC236}">
                <a16:creationId xmlns:a16="http://schemas.microsoft.com/office/drawing/2014/main" id="{5956BD13-EF5D-173A-8828-A4CF3EC5B6F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10826750" y="4746625"/>
            <a:ext cx="6238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8135C47-80C2-44FC-A8E5-1F7655E449C0}" type="datetime'E''''''s''''''t''oq''''''''''''''''''''u''e'' L''''o''''j''as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Estoque Lojas</a:t>
            </a:fld>
            <a:endParaRPr lang="en-US" sz="800"/>
          </a:p>
        </p:txBody>
      </p:sp>
      <p:sp>
        <p:nvSpPr>
          <p:cNvPr id="704" name="Text Placeholder 3">
            <a:extLst>
              <a:ext uri="{FF2B5EF4-FFF2-40B4-BE49-F238E27FC236}">
                <a16:creationId xmlns:a16="http://schemas.microsoft.com/office/drawing/2014/main" id="{2C8FE36F-D5DC-AF14-9C05-3D7426C20C11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10826750" y="4930775"/>
            <a:ext cx="3238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7C9BB5-D079-4833-A181-4D6F9DA1953C}" type="datetime'V''e''''''''''''n''''d''''''''''''''''''''''''''''''a''''''s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Vendas</a:t>
            </a:fld>
            <a:endParaRPr lang="en-US" sz="800"/>
          </a:p>
        </p:txBody>
      </p:sp>
      <p:graphicFrame>
        <p:nvGraphicFramePr>
          <p:cNvPr id="955" name="Chart 954">
            <a:extLst>
              <a:ext uri="{FF2B5EF4-FFF2-40B4-BE49-F238E27FC236}">
                <a16:creationId xmlns:a16="http://schemas.microsoft.com/office/drawing/2014/main" id="{E01A833A-6694-E8C9-7B7C-4ACB711BCAC6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79814578"/>
              </p:ext>
            </p:extLst>
          </p:nvPr>
        </p:nvGraphicFramePr>
        <p:xfrm>
          <a:off x="968375" y="5634038"/>
          <a:ext cx="9023350" cy="739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89" name="Text Placeholder 3">
            <a:extLst>
              <a:ext uri="{FF2B5EF4-FFF2-40B4-BE49-F238E27FC236}">
                <a16:creationId xmlns:a16="http://schemas.microsoft.com/office/drawing/2014/main" id="{A60B9DA3-8B2C-0F7C-1FBF-16D47F5D42DE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930275" y="5984875"/>
            <a:ext cx="539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800"/>
              <a:t>7</a:t>
            </a:r>
            <a:endParaRPr lang="en-US" sz="800"/>
          </a:p>
        </p:txBody>
      </p:sp>
      <p:sp>
        <p:nvSpPr>
          <p:cNvPr id="790" name="Text Placeholder 3">
            <a:extLst>
              <a:ext uri="{FF2B5EF4-FFF2-40B4-BE49-F238E27FC236}">
                <a16:creationId xmlns:a16="http://schemas.microsoft.com/office/drawing/2014/main" id="{832C6A5E-ED87-6ADD-BDAF-4B6B1B43E628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876300" y="5646738"/>
            <a:ext cx="1079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800"/>
              <a:t>15</a:t>
            </a:r>
            <a:endParaRPr lang="en-US" sz="800"/>
          </a:p>
        </p:txBody>
      </p:sp>
      <p:sp>
        <p:nvSpPr>
          <p:cNvPr id="866" name="Text Placeholder 3">
            <a:extLst>
              <a:ext uri="{FF2B5EF4-FFF2-40B4-BE49-F238E27FC236}">
                <a16:creationId xmlns:a16="http://schemas.microsoft.com/office/drawing/2014/main" id="{D1819FB5-0E92-0821-1FE6-F46EF96F01D2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0009188" y="5934075"/>
            <a:ext cx="1079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800">
                <a:effectLst/>
              </a:rPr>
              <a:t>35</a:t>
            </a:r>
            <a:endParaRPr lang="en-US" sz="800"/>
          </a:p>
        </p:txBody>
      </p:sp>
      <p:sp>
        <p:nvSpPr>
          <p:cNvPr id="867" name="Text Placeholder 3">
            <a:extLst>
              <a:ext uri="{FF2B5EF4-FFF2-40B4-BE49-F238E27FC236}">
                <a16:creationId xmlns:a16="http://schemas.microsoft.com/office/drawing/2014/main" id="{E401C744-DE32-29D3-D821-88A6024D03A7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0009188" y="5646738"/>
            <a:ext cx="1079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800">
                <a:effectLst/>
              </a:rPr>
              <a:t>70</a:t>
            </a:r>
            <a:endParaRPr lang="en-US" sz="800"/>
          </a:p>
        </p:txBody>
      </p:sp>
      <p:sp>
        <p:nvSpPr>
          <p:cNvPr id="797" name="Text Placeholder 3">
            <a:extLst>
              <a:ext uri="{FF2B5EF4-FFF2-40B4-BE49-F238E27FC236}">
                <a16:creationId xmlns:a16="http://schemas.microsoft.com/office/drawing/2014/main" id="{C407149C-2C95-CC4E-53E4-47599E9A2642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76300" y="5432425"/>
            <a:ext cx="10366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800" err="1">
                <a:effectLst/>
              </a:rPr>
              <a:t>Ruptura</a:t>
            </a:r>
            <a:r>
              <a:rPr lang="en-US" altLang="en-US" sz="800">
                <a:effectLst/>
              </a:rPr>
              <a:t> e aging (R$ M)</a:t>
            </a:r>
            <a:endParaRPr lang="en-US" sz="800"/>
          </a:p>
        </p:txBody>
      </p:sp>
      <p:sp>
        <p:nvSpPr>
          <p:cNvPr id="864" name="Text Placeholder 3">
            <a:extLst>
              <a:ext uri="{FF2B5EF4-FFF2-40B4-BE49-F238E27FC236}">
                <a16:creationId xmlns:a16="http://schemas.microsoft.com/office/drawing/2014/main" id="{44ABCB69-5C40-D097-015D-41817AAD6CBE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9620250" y="5432425"/>
            <a:ext cx="4968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800"/>
              <a:t>Cob. (</a:t>
            </a:r>
            <a:r>
              <a:rPr lang="en-US" sz="800" err="1"/>
              <a:t>dias</a:t>
            </a:r>
            <a:r>
              <a:rPr lang="en-US" sz="800"/>
              <a:t>)</a:t>
            </a:r>
          </a:p>
        </p:txBody>
      </p:sp>
      <p:sp>
        <p:nvSpPr>
          <p:cNvPr id="794" name="Text Placeholder 3">
            <a:extLst>
              <a:ext uri="{FF2B5EF4-FFF2-40B4-BE49-F238E27FC236}">
                <a16:creationId xmlns:a16="http://schemas.microsoft.com/office/drawing/2014/main" id="{C2040AB6-B5F8-63CC-17C5-775C7221949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74725" y="6324600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C209BC9A-1DA8-412D-B45C-01ED5C420162}" type="datetime'''S''''''-''''''''''''5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5</a:t>
            </a:fld>
            <a:endParaRPr lang="en-US" sz="800"/>
          </a:p>
        </p:txBody>
      </p:sp>
      <p:sp>
        <p:nvSpPr>
          <p:cNvPr id="799" name="Text Placeholder 3">
            <a:extLst>
              <a:ext uri="{FF2B5EF4-FFF2-40B4-BE49-F238E27FC236}">
                <a16:creationId xmlns:a16="http://schemas.microsoft.com/office/drawing/2014/main" id="{83C08454-CD65-4D9B-4F42-29152DE1D9E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746375" y="6324600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1CC5A36-6A3E-4F17-8BB7-4BA212BDDB44}" type="datetime'S''''-''''''''''''''''''''''''''''4''''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4</a:t>
            </a:fld>
            <a:endParaRPr lang="en-US" sz="800"/>
          </a:p>
        </p:txBody>
      </p:sp>
      <p:sp>
        <p:nvSpPr>
          <p:cNvPr id="798" name="Text Placeholder 3">
            <a:extLst>
              <a:ext uri="{FF2B5EF4-FFF2-40B4-BE49-F238E27FC236}">
                <a16:creationId xmlns:a16="http://schemas.microsoft.com/office/drawing/2014/main" id="{58F793B2-EF6A-F86D-6839-3C709281702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18025" y="6324600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9179445-6EA3-49B1-9895-58B8F995A7A1}" type="datetime'''''''''''''''''''''''''''''''''''''''''''''''''S''''-''''''3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3</a:t>
            </a:fld>
            <a:endParaRPr lang="en-US" sz="800"/>
          </a:p>
        </p:txBody>
      </p:sp>
      <p:sp>
        <p:nvSpPr>
          <p:cNvPr id="796" name="Text Placeholder 3">
            <a:extLst>
              <a:ext uri="{FF2B5EF4-FFF2-40B4-BE49-F238E27FC236}">
                <a16:creationId xmlns:a16="http://schemas.microsoft.com/office/drawing/2014/main" id="{A4DAE9A3-1093-D799-6B01-C1649ECF79B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289675" y="6324600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4CFD24A-9EED-4AED-BBB7-8177BA371F06}" type="datetime'''''''''''''''''''''''''''''S''-2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2</a:t>
            </a:fld>
            <a:endParaRPr lang="en-US" sz="800"/>
          </a:p>
        </p:txBody>
      </p:sp>
      <p:sp>
        <p:nvSpPr>
          <p:cNvPr id="795" name="Text Placeholder 3">
            <a:extLst>
              <a:ext uri="{FF2B5EF4-FFF2-40B4-BE49-F238E27FC236}">
                <a16:creationId xmlns:a16="http://schemas.microsoft.com/office/drawing/2014/main" id="{9EC90218-3FCE-813E-E5EB-535209AA74F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61325" y="6324600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D08AB9D-DDD5-454B-9842-FE005ACA88D0}" type="datetime'''''''''''S-1''''''''''''''''''''''''''''''''''''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1</a:t>
            </a:fld>
            <a:endParaRPr lang="en-US" sz="800"/>
          </a:p>
        </p:txBody>
      </p:sp>
      <p:sp>
        <p:nvSpPr>
          <p:cNvPr id="793" name="Text Placeholder 3">
            <a:extLst>
              <a:ext uri="{FF2B5EF4-FFF2-40B4-BE49-F238E27FC236}">
                <a16:creationId xmlns:a16="http://schemas.microsoft.com/office/drawing/2014/main" id="{0B70684C-78EA-5445-55C0-E33B29674A7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796463" y="6324600"/>
            <a:ext cx="225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F3F05C6-A686-4C2A-9F31-5587E674104E}" type="datetime'''''''''''''''''H''''''o''''''j''''e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oje</a:t>
            </a:fld>
            <a:endParaRPr lang="en-US" sz="800"/>
          </a:p>
        </p:txBody>
      </p:sp>
      <p:cxnSp>
        <p:nvCxnSpPr>
          <p:cNvPr id="801" name="Straight Connector 800">
            <a:extLst>
              <a:ext uri="{FF2B5EF4-FFF2-40B4-BE49-F238E27FC236}">
                <a16:creationId xmlns:a16="http://schemas.microsoft.com/office/drawing/2014/main" id="{0E9DD3D7-B3A7-5DD7-F8B6-908ABB38BD62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10577513" y="5813425"/>
            <a:ext cx="114300" cy="0"/>
          </a:xfrm>
          <a:prstGeom prst="line">
            <a:avLst/>
          </a:prstGeom>
          <a:ln w="28575" cap="rnd" cmpd="sng" algn="ctr">
            <a:solidFill>
              <a:srgbClr val="F18D1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60870176-9FAD-DB04-713E-048B5C7D6B11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10577513" y="5997575"/>
            <a:ext cx="114300" cy="0"/>
          </a:xfrm>
          <a:prstGeom prst="line">
            <a:avLst/>
          </a:prstGeom>
          <a:ln w="28575" cap="rnd" cmpd="sng" algn="ctr">
            <a:solidFill>
              <a:srgbClr val="7B122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3" name="Straight Connector 802">
            <a:extLst>
              <a:ext uri="{FF2B5EF4-FFF2-40B4-BE49-F238E27FC236}">
                <a16:creationId xmlns:a16="http://schemas.microsoft.com/office/drawing/2014/main" id="{CFEF49BB-9BDF-79DE-271B-80703DBAD8B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10577513" y="6181725"/>
            <a:ext cx="114300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04" name="Text Placeholder 3">
            <a:extLst>
              <a:ext uri="{FF2B5EF4-FFF2-40B4-BE49-F238E27FC236}">
                <a16:creationId xmlns:a16="http://schemas.microsoft.com/office/drawing/2014/main" id="{5176AA89-0673-EFD6-F3B7-6681756CF3D6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10756900" y="5748338"/>
            <a:ext cx="7651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fld id="{340D91AC-4E50-46F6-88BE-735C00EB277C}" type="datetime'''''''Co''ber''t''''''u''ra'''''''''' ''''méd''''i''a''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  <a:buNone/>
              </a:pPr>
              <a:t>Cobertura média</a:t>
            </a:fld>
            <a:endParaRPr lang="en-US" sz="800"/>
          </a:p>
        </p:txBody>
      </p:sp>
      <p:sp>
        <p:nvSpPr>
          <p:cNvPr id="805" name="Text Placeholder 3">
            <a:extLst>
              <a:ext uri="{FF2B5EF4-FFF2-40B4-BE49-F238E27FC236}">
                <a16:creationId xmlns:a16="http://schemas.microsoft.com/office/drawing/2014/main" id="{B81C83D4-483C-8771-FCBB-7E6E7A467C32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10756900" y="5932488"/>
            <a:ext cx="246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D800FBC-E88B-4754-8415-29CB02F7007A}" type="datetime'A''g''''''''''''''''''''i''n''''''''''''''''g''''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Aging</a:t>
            </a:fld>
            <a:endParaRPr lang="en-US" sz="800"/>
          </a:p>
        </p:txBody>
      </p:sp>
      <p:sp>
        <p:nvSpPr>
          <p:cNvPr id="806" name="Text Placeholder 3">
            <a:extLst>
              <a:ext uri="{FF2B5EF4-FFF2-40B4-BE49-F238E27FC236}">
                <a16:creationId xmlns:a16="http://schemas.microsoft.com/office/drawing/2014/main" id="{12DB7304-E717-6F69-EEF6-C5B8EE55D5B3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10756900" y="6116638"/>
            <a:ext cx="3238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94F7160-5C34-42D8-93A0-8AC17586D065}" type="datetime'''''V''''e''''''''''''''n''''''''''''''''''''''da''''''''s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Vendas</a:t>
            </a:fld>
            <a:endParaRPr lang="en-US" sz="800"/>
          </a:p>
        </p:txBody>
      </p:sp>
      <p:sp>
        <p:nvSpPr>
          <p:cNvPr id="915" name="Rectangle 914">
            <a:extLst>
              <a:ext uri="{FF2B5EF4-FFF2-40B4-BE49-F238E27FC236}">
                <a16:creationId xmlns:a16="http://schemas.microsoft.com/office/drawing/2014/main" id="{89CCCE6E-4738-BA52-5AA6-9FE842E43E7A}"/>
              </a:ext>
            </a:extLst>
          </p:cNvPr>
          <p:cNvSpPr/>
          <p:nvPr/>
        </p:nvSpPr>
        <p:spPr>
          <a:xfrm>
            <a:off x="10293069" y="4158854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498" name="Rectangle: Rounded Corners 12">
            <a:extLst>
              <a:ext uri="{FF2B5EF4-FFF2-40B4-BE49-F238E27FC236}">
                <a16:creationId xmlns:a16="http://schemas.microsoft.com/office/drawing/2014/main" id="{C9E6D498-AFD8-3E20-4ECA-510E94A1B6C2}"/>
              </a:ext>
            </a:extLst>
          </p:cNvPr>
          <p:cNvSpPr/>
          <p:nvPr/>
        </p:nvSpPr>
        <p:spPr>
          <a:xfrm>
            <a:off x="996148" y="1930307"/>
            <a:ext cx="1152000" cy="15081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>
                <a:solidFill>
                  <a:srgbClr val="575757"/>
                </a:solidFill>
                <a:cs typeface="Arial" panose="020B0604020202020204" pitchFamily="34" charset="0"/>
              </a:rPr>
              <a:t>TODAS</a:t>
            </a:r>
            <a:endParaRPr lang="pt-BR" sz="7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499" name="TextBox 498">
            <a:extLst>
              <a:ext uri="{FF2B5EF4-FFF2-40B4-BE49-F238E27FC236}">
                <a16:creationId xmlns:a16="http://schemas.microsoft.com/office/drawing/2014/main" id="{50961BC7-6067-E320-16EC-E0453138102B}"/>
              </a:ext>
            </a:extLst>
          </p:cNvPr>
          <p:cNvSpPr txBox="1"/>
          <p:nvPr/>
        </p:nvSpPr>
        <p:spPr>
          <a:xfrm>
            <a:off x="996148" y="1724026"/>
            <a:ext cx="914400" cy="157840"/>
          </a:xfrm>
          <a:prstGeom prst="round2DiagRect">
            <a:avLst>
              <a:gd name="adj1" fmla="val 44565"/>
              <a:gd name="adj2" fmla="val 0"/>
            </a:avLst>
          </a:prstGeom>
          <a:solidFill>
            <a:schemeClr val="accent4">
              <a:lumMod val="20000"/>
              <a:lumOff val="80000"/>
            </a:schemeClr>
          </a:solidFill>
          <a:ln w="9525" cap="rnd">
            <a:solidFill>
              <a:schemeClr val="accent4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Categoria</a:t>
            </a:r>
          </a:p>
        </p:txBody>
      </p:sp>
      <p:sp>
        <p:nvSpPr>
          <p:cNvPr id="500" name="Isosceles Triangle 17">
            <a:extLst>
              <a:ext uri="{FF2B5EF4-FFF2-40B4-BE49-F238E27FC236}">
                <a16:creationId xmlns:a16="http://schemas.microsoft.com/office/drawing/2014/main" id="{80C42363-C93C-4DB3-1A62-AA9290B6D0A9}"/>
              </a:ext>
            </a:extLst>
          </p:cNvPr>
          <p:cNvSpPr/>
          <p:nvPr/>
        </p:nvSpPr>
        <p:spPr>
          <a:xfrm flipV="1">
            <a:off x="2027783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02" name="Rectangle: Rounded Corners 22">
            <a:extLst>
              <a:ext uri="{FF2B5EF4-FFF2-40B4-BE49-F238E27FC236}">
                <a16:creationId xmlns:a16="http://schemas.microsoft.com/office/drawing/2014/main" id="{C2F881C4-6C88-DA01-C2F3-B5F072B147F7}"/>
              </a:ext>
            </a:extLst>
          </p:cNvPr>
          <p:cNvSpPr/>
          <p:nvPr/>
        </p:nvSpPr>
        <p:spPr>
          <a:xfrm>
            <a:off x="2265384" y="1930307"/>
            <a:ext cx="1152000" cy="15081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  <a:endParaRPr lang="pt-BR" sz="7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503" name="TextBox 502">
            <a:extLst>
              <a:ext uri="{FF2B5EF4-FFF2-40B4-BE49-F238E27FC236}">
                <a16:creationId xmlns:a16="http://schemas.microsoft.com/office/drawing/2014/main" id="{D2AFD311-2FEE-26B8-0B0E-9661E231C00D}"/>
              </a:ext>
            </a:extLst>
          </p:cNvPr>
          <p:cNvSpPr txBox="1"/>
          <p:nvPr/>
        </p:nvSpPr>
        <p:spPr>
          <a:xfrm>
            <a:off x="2265384" y="1724026"/>
            <a:ext cx="914400" cy="157840"/>
          </a:xfrm>
          <a:prstGeom prst="round2DiagRect">
            <a:avLst>
              <a:gd name="adj1" fmla="val 44565"/>
              <a:gd name="adj2" fmla="val 0"/>
            </a:avLst>
          </a:prstGeom>
          <a:solidFill>
            <a:schemeClr val="accent4">
              <a:lumMod val="20000"/>
              <a:lumOff val="80000"/>
            </a:schemeClr>
          </a:solidFill>
          <a:ln w="9525" cap="rnd">
            <a:solidFill>
              <a:schemeClr val="accent4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Setor</a:t>
            </a:r>
          </a:p>
        </p:txBody>
      </p:sp>
      <p:sp>
        <p:nvSpPr>
          <p:cNvPr id="504" name="Isosceles Triangle 27">
            <a:extLst>
              <a:ext uri="{FF2B5EF4-FFF2-40B4-BE49-F238E27FC236}">
                <a16:creationId xmlns:a16="http://schemas.microsoft.com/office/drawing/2014/main" id="{CC63B3AF-C5A1-C77F-3994-834C5AE96311}"/>
              </a:ext>
            </a:extLst>
          </p:cNvPr>
          <p:cNvSpPr/>
          <p:nvPr/>
        </p:nvSpPr>
        <p:spPr>
          <a:xfrm flipV="1">
            <a:off x="3297019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18" name="Rectangle: Rounded Corners 448">
            <a:extLst>
              <a:ext uri="{FF2B5EF4-FFF2-40B4-BE49-F238E27FC236}">
                <a16:creationId xmlns:a16="http://schemas.microsoft.com/office/drawing/2014/main" id="{C83B2381-8FBB-5C2F-33A0-E5A4F3D474F1}"/>
              </a:ext>
            </a:extLst>
          </p:cNvPr>
          <p:cNvSpPr/>
          <p:nvPr/>
        </p:nvSpPr>
        <p:spPr>
          <a:xfrm>
            <a:off x="3531942" y="1930307"/>
            <a:ext cx="1152000" cy="15081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70AF4AA7-4434-BF5A-9FEC-9328FEFF634A}"/>
              </a:ext>
            </a:extLst>
          </p:cNvPr>
          <p:cNvSpPr txBox="1"/>
          <p:nvPr/>
        </p:nvSpPr>
        <p:spPr>
          <a:xfrm>
            <a:off x="3531942" y="1724026"/>
            <a:ext cx="914400" cy="157840"/>
          </a:xfrm>
          <a:prstGeom prst="round2DiagRect">
            <a:avLst>
              <a:gd name="adj1" fmla="val 44565"/>
              <a:gd name="adj2" fmla="val 0"/>
            </a:avLst>
          </a:prstGeom>
          <a:solidFill>
            <a:schemeClr val="accent4">
              <a:lumMod val="20000"/>
              <a:lumOff val="80000"/>
            </a:schemeClr>
          </a:solidFill>
          <a:ln w="9525" cap="rnd">
            <a:solidFill>
              <a:schemeClr val="accent4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SKU</a:t>
            </a:r>
          </a:p>
        </p:txBody>
      </p:sp>
      <p:sp>
        <p:nvSpPr>
          <p:cNvPr id="520" name="Isosceles Triangle 450">
            <a:extLst>
              <a:ext uri="{FF2B5EF4-FFF2-40B4-BE49-F238E27FC236}">
                <a16:creationId xmlns:a16="http://schemas.microsoft.com/office/drawing/2014/main" id="{5DE1A0DB-51F4-C9B4-A672-4D14035A83CC}"/>
              </a:ext>
            </a:extLst>
          </p:cNvPr>
          <p:cNvSpPr/>
          <p:nvPr/>
        </p:nvSpPr>
        <p:spPr>
          <a:xfrm flipV="1">
            <a:off x="4563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26" name="Rectangle: Rounded Corners 448">
            <a:extLst>
              <a:ext uri="{FF2B5EF4-FFF2-40B4-BE49-F238E27FC236}">
                <a16:creationId xmlns:a16="http://schemas.microsoft.com/office/drawing/2014/main" id="{1AB3E8C8-7761-1715-DAB5-878B07168FAD}"/>
              </a:ext>
            </a:extLst>
          </p:cNvPr>
          <p:cNvSpPr/>
          <p:nvPr/>
        </p:nvSpPr>
        <p:spPr>
          <a:xfrm>
            <a:off x="4827942" y="1930307"/>
            <a:ext cx="1152000" cy="15081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11F7866E-758A-3145-5C48-D1D16B20777B}"/>
              </a:ext>
            </a:extLst>
          </p:cNvPr>
          <p:cNvSpPr txBox="1"/>
          <p:nvPr/>
        </p:nvSpPr>
        <p:spPr>
          <a:xfrm>
            <a:off x="4827942" y="1724026"/>
            <a:ext cx="914400" cy="157840"/>
          </a:xfrm>
          <a:prstGeom prst="round2DiagRect">
            <a:avLst>
              <a:gd name="adj1" fmla="val 44565"/>
              <a:gd name="adj2" fmla="val 0"/>
            </a:avLst>
          </a:prstGeom>
          <a:solidFill>
            <a:schemeClr val="accent4">
              <a:lumMod val="20000"/>
              <a:lumOff val="80000"/>
            </a:schemeClr>
          </a:solidFill>
          <a:ln w="9525" cap="rnd">
            <a:solidFill>
              <a:schemeClr val="accent4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Região</a:t>
            </a:r>
          </a:p>
        </p:txBody>
      </p:sp>
      <p:sp>
        <p:nvSpPr>
          <p:cNvPr id="528" name="Isosceles Triangle 450">
            <a:extLst>
              <a:ext uri="{FF2B5EF4-FFF2-40B4-BE49-F238E27FC236}">
                <a16:creationId xmlns:a16="http://schemas.microsoft.com/office/drawing/2014/main" id="{064C3A49-4526-62DA-77F7-3D82F53B6768}"/>
              </a:ext>
            </a:extLst>
          </p:cNvPr>
          <p:cNvSpPr/>
          <p:nvPr/>
        </p:nvSpPr>
        <p:spPr>
          <a:xfrm flipV="1">
            <a:off x="5859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30" name="Rectangle: Rounded Corners 448">
            <a:extLst>
              <a:ext uri="{FF2B5EF4-FFF2-40B4-BE49-F238E27FC236}">
                <a16:creationId xmlns:a16="http://schemas.microsoft.com/office/drawing/2014/main" id="{578C9582-ECB1-CC6D-4202-EDB55E3FF525}"/>
              </a:ext>
            </a:extLst>
          </p:cNvPr>
          <p:cNvSpPr/>
          <p:nvPr/>
        </p:nvSpPr>
        <p:spPr>
          <a:xfrm>
            <a:off x="6123942" y="1930307"/>
            <a:ext cx="1152000" cy="15081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62E3A558-8419-1C6C-438B-91B0589499CC}"/>
              </a:ext>
            </a:extLst>
          </p:cNvPr>
          <p:cNvSpPr txBox="1"/>
          <p:nvPr/>
        </p:nvSpPr>
        <p:spPr>
          <a:xfrm>
            <a:off x="6123942" y="1724026"/>
            <a:ext cx="914400" cy="157840"/>
          </a:xfrm>
          <a:prstGeom prst="round2DiagRect">
            <a:avLst>
              <a:gd name="adj1" fmla="val 44565"/>
              <a:gd name="adj2" fmla="val 0"/>
            </a:avLst>
          </a:prstGeom>
          <a:solidFill>
            <a:schemeClr val="accent4">
              <a:lumMod val="20000"/>
              <a:lumOff val="80000"/>
            </a:schemeClr>
          </a:solidFill>
          <a:ln w="9525" cap="rnd">
            <a:solidFill>
              <a:schemeClr val="accent4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Diretoria Regional</a:t>
            </a:r>
          </a:p>
        </p:txBody>
      </p:sp>
      <p:sp>
        <p:nvSpPr>
          <p:cNvPr id="532" name="Isosceles Triangle 450">
            <a:extLst>
              <a:ext uri="{FF2B5EF4-FFF2-40B4-BE49-F238E27FC236}">
                <a16:creationId xmlns:a16="http://schemas.microsoft.com/office/drawing/2014/main" id="{D78E1D21-21DD-E4B2-FF97-D73D7ABE8334}"/>
              </a:ext>
            </a:extLst>
          </p:cNvPr>
          <p:cNvSpPr/>
          <p:nvPr/>
        </p:nvSpPr>
        <p:spPr>
          <a:xfrm flipV="1">
            <a:off x="7155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34" name="Rectangle: Rounded Corners 448">
            <a:extLst>
              <a:ext uri="{FF2B5EF4-FFF2-40B4-BE49-F238E27FC236}">
                <a16:creationId xmlns:a16="http://schemas.microsoft.com/office/drawing/2014/main" id="{1F9A3E5F-ACEA-E456-39C0-704336D77FB3}"/>
              </a:ext>
            </a:extLst>
          </p:cNvPr>
          <p:cNvSpPr/>
          <p:nvPr/>
        </p:nvSpPr>
        <p:spPr>
          <a:xfrm>
            <a:off x="7419942" y="1930307"/>
            <a:ext cx="1152000" cy="15081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35" name="TextBox 534">
            <a:extLst>
              <a:ext uri="{FF2B5EF4-FFF2-40B4-BE49-F238E27FC236}">
                <a16:creationId xmlns:a16="http://schemas.microsoft.com/office/drawing/2014/main" id="{362C23CB-41A6-056B-993B-0A9EDCE1EDA8}"/>
              </a:ext>
            </a:extLst>
          </p:cNvPr>
          <p:cNvSpPr txBox="1"/>
          <p:nvPr/>
        </p:nvSpPr>
        <p:spPr>
          <a:xfrm>
            <a:off x="7419942" y="1724026"/>
            <a:ext cx="914400" cy="157840"/>
          </a:xfrm>
          <a:prstGeom prst="round2DiagRect">
            <a:avLst>
              <a:gd name="adj1" fmla="val 44565"/>
              <a:gd name="adj2" fmla="val 0"/>
            </a:avLst>
          </a:prstGeom>
          <a:solidFill>
            <a:schemeClr val="accent4">
              <a:lumMod val="20000"/>
              <a:lumOff val="80000"/>
            </a:schemeClr>
          </a:solidFill>
          <a:ln w="9525" cap="rnd">
            <a:solidFill>
              <a:schemeClr val="accent4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UF</a:t>
            </a:r>
          </a:p>
        </p:txBody>
      </p:sp>
      <p:sp>
        <p:nvSpPr>
          <p:cNvPr id="536" name="Isosceles Triangle 450">
            <a:extLst>
              <a:ext uri="{FF2B5EF4-FFF2-40B4-BE49-F238E27FC236}">
                <a16:creationId xmlns:a16="http://schemas.microsoft.com/office/drawing/2014/main" id="{6E057437-FD5E-25B5-4F8E-A23CD7ED2C45}"/>
              </a:ext>
            </a:extLst>
          </p:cNvPr>
          <p:cNvSpPr/>
          <p:nvPr/>
        </p:nvSpPr>
        <p:spPr>
          <a:xfrm flipV="1">
            <a:off x="8451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38" name="Rectangle: Rounded Corners 448">
            <a:extLst>
              <a:ext uri="{FF2B5EF4-FFF2-40B4-BE49-F238E27FC236}">
                <a16:creationId xmlns:a16="http://schemas.microsoft.com/office/drawing/2014/main" id="{B06D70DC-958A-7193-7ADC-AFB1DF78D35D}"/>
              </a:ext>
            </a:extLst>
          </p:cNvPr>
          <p:cNvSpPr/>
          <p:nvPr/>
        </p:nvSpPr>
        <p:spPr>
          <a:xfrm>
            <a:off x="8715942" y="1930307"/>
            <a:ext cx="1152000" cy="15081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39" name="TextBox 538">
            <a:extLst>
              <a:ext uri="{FF2B5EF4-FFF2-40B4-BE49-F238E27FC236}">
                <a16:creationId xmlns:a16="http://schemas.microsoft.com/office/drawing/2014/main" id="{D0ABE69E-2739-6807-8C64-7E19E19C9BE4}"/>
              </a:ext>
            </a:extLst>
          </p:cNvPr>
          <p:cNvSpPr txBox="1"/>
          <p:nvPr/>
        </p:nvSpPr>
        <p:spPr>
          <a:xfrm>
            <a:off x="8715942" y="1724026"/>
            <a:ext cx="914400" cy="157840"/>
          </a:xfrm>
          <a:prstGeom prst="round2DiagRect">
            <a:avLst>
              <a:gd name="adj1" fmla="val 44565"/>
              <a:gd name="adj2" fmla="val 0"/>
            </a:avLst>
          </a:prstGeom>
          <a:solidFill>
            <a:schemeClr val="accent4">
              <a:lumMod val="20000"/>
              <a:lumOff val="80000"/>
            </a:schemeClr>
          </a:solidFill>
          <a:ln w="9525" cap="rnd">
            <a:solidFill>
              <a:schemeClr val="accent4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Regional</a:t>
            </a:r>
          </a:p>
        </p:txBody>
      </p:sp>
      <p:sp>
        <p:nvSpPr>
          <p:cNvPr id="540" name="Isosceles Triangle 450">
            <a:extLst>
              <a:ext uri="{FF2B5EF4-FFF2-40B4-BE49-F238E27FC236}">
                <a16:creationId xmlns:a16="http://schemas.microsoft.com/office/drawing/2014/main" id="{43517844-AACA-F801-30AB-4411AA1CBB8F}"/>
              </a:ext>
            </a:extLst>
          </p:cNvPr>
          <p:cNvSpPr/>
          <p:nvPr/>
        </p:nvSpPr>
        <p:spPr>
          <a:xfrm flipV="1">
            <a:off x="9747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42" name="Rectangle: Rounded Corners 448">
            <a:extLst>
              <a:ext uri="{FF2B5EF4-FFF2-40B4-BE49-F238E27FC236}">
                <a16:creationId xmlns:a16="http://schemas.microsoft.com/office/drawing/2014/main" id="{777FA62E-4B38-F63F-6905-D7B71FF9634D}"/>
              </a:ext>
            </a:extLst>
          </p:cNvPr>
          <p:cNvSpPr/>
          <p:nvPr/>
        </p:nvSpPr>
        <p:spPr>
          <a:xfrm>
            <a:off x="10011942" y="1930307"/>
            <a:ext cx="1152000" cy="15081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43" name="TextBox 542">
            <a:extLst>
              <a:ext uri="{FF2B5EF4-FFF2-40B4-BE49-F238E27FC236}">
                <a16:creationId xmlns:a16="http://schemas.microsoft.com/office/drawing/2014/main" id="{AB177716-8A83-6340-4481-13A2F23448A0}"/>
              </a:ext>
            </a:extLst>
          </p:cNvPr>
          <p:cNvSpPr txBox="1"/>
          <p:nvPr/>
        </p:nvSpPr>
        <p:spPr>
          <a:xfrm>
            <a:off x="10011942" y="1724026"/>
            <a:ext cx="914400" cy="157840"/>
          </a:xfrm>
          <a:prstGeom prst="round2DiagRect">
            <a:avLst>
              <a:gd name="adj1" fmla="val 44565"/>
              <a:gd name="adj2" fmla="val 0"/>
            </a:avLst>
          </a:prstGeom>
          <a:solidFill>
            <a:schemeClr val="accent4">
              <a:lumMod val="20000"/>
              <a:lumOff val="80000"/>
            </a:schemeClr>
          </a:solidFill>
          <a:ln w="9525" cap="rnd">
            <a:solidFill>
              <a:schemeClr val="accent4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Lojas</a:t>
            </a:r>
          </a:p>
        </p:txBody>
      </p:sp>
      <p:sp>
        <p:nvSpPr>
          <p:cNvPr id="544" name="Isosceles Triangle 450">
            <a:extLst>
              <a:ext uri="{FF2B5EF4-FFF2-40B4-BE49-F238E27FC236}">
                <a16:creationId xmlns:a16="http://schemas.microsoft.com/office/drawing/2014/main" id="{1FA82473-9315-9CBA-C47F-32536546F54D}"/>
              </a:ext>
            </a:extLst>
          </p:cNvPr>
          <p:cNvSpPr/>
          <p:nvPr/>
        </p:nvSpPr>
        <p:spPr>
          <a:xfrm flipV="1">
            <a:off x="11043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478" name="Textfeld 1">
            <a:extLst>
              <a:ext uri="{FF2B5EF4-FFF2-40B4-BE49-F238E27FC236}">
                <a16:creationId xmlns:a16="http://schemas.microsoft.com/office/drawing/2014/main" id="{043122C0-9B20-1C02-0F82-116969B0D0F6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3159855" y="2099603"/>
            <a:ext cx="493388" cy="2677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1" err="1">
                <a:solidFill>
                  <a:srgbClr val="575757"/>
                </a:solidFill>
                <a:sym typeface="Trebuchet MS" panose="020B0603020202020204" pitchFamily="34" charset="0"/>
              </a:rPr>
              <a:t>Médio</a:t>
            </a:r>
            <a:r>
              <a:rPr lang="en-US" sz="700" b="1">
                <a:solidFill>
                  <a:srgbClr val="575757"/>
                </a:solidFill>
                <a:sym typeface="Trebuchet MS" panose="020B0603020202020204" pitchFamily="34" charset="0"/>
              </a:rPr>
              <a:t> de que?</a:t>
            </a:r>
          </a:p>
        </p:txBody>
      </p:sp>
      <p:sp>
        <p:nvSpPr>
          <p:cNvPr id="576" name="Rounded Rectangle 285">
            <a:extLst>
              <a:ext uri="{FF2B5EF4-FFF2-40B4-BE49-F238E27FC236}">
                <a16:creationId xmlns:a16="http://schemas.microsoft.com/office/drawing/2014/main" id="{7FB57407-A74B-FC56-12C8-16C95BCE310D}"/>
              </a:ext>
            </a:extLst>
          </p:cNvPr>
          <p:cNvSpPr/>
          <p:nvPr/>
        </p:nvSpPr>
        <p:spPr>
          <a:xfrm>
            <a:off x="1593340" y="1437035"/>
            <a:ext cx="653706" cy="221383"/>
          </a:xfrm>
          <a:prstGeom prst="roundRect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b="1" noProof="0">
                <a:solidFill>
                  <a:srgbClr val="D0D0F8"/>
                </a:solidFill>
              </a:rPr>
              <a:t>Alocação</a:t>
            </a:r>
          </a:p>
        </p:txBody>
      </p:sp>
      <p:sp>
        <p:nvSpPr>
          <p:cNvPr id="577" name="Rounded Rectangle 285">
            <a:extLst>
              <a:ext uri="{FF2B5EF4-FFF2-40B4-BE49-F238E27FC236}">
                <a16:creationId xmlns:a16="http://schemas.microsoft.com/office/drawing/2014/main" id="{4D2EAADD-C564-F658-3406-82D084B9E8C3}"/>
              </a:ext>
            </a:extLst>
          </p:cNvPr>
          <p:cNvSpPr/>
          <p:nvPr/>
        </p:nvSpPr>
        <p:spPr>
          <a:xfrm>
            <a:off x="1606475" y="1427258"/>
            <a:ext cx="653706" cy="221383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b="1" noProof="0">
                <a:solidFill>
                  <a:srgbClr val="7173E9"/>
                </a:solidFill>
              </a:rPr>
              <a:t>CDs</a:t>
            </a:r>
          </a:p>
        </p:txBody>
      </p:sp>
      <p:sp>
        <p:nvSpPr>
          <p:cNvPr id="579" name="Rounded Rectangle 287">
            <a:extLst>
              <a:ext uri="{FF2B5EF4-FFF2-40B4-BE49-F238E27FC236}">
                <a16:creationId xmlns:a16="http://schemas.microsoft.com/office/drawing/2014/main" id="{0B7AA7BC-AC93-FC1E-9F1E-38248FCFA08D}"/>
              </a:ext>
            </a:extLst>
          </p:cNvPr>
          <p:cNvSpPr/>
          <p:nvPr/>
        </p:nvSpPr>
        <p:spPr>
          <a:xfrm>
            <a:off x="777734" y="1437035"/>
            <a:ext cx="653706" cy="221383"/>
          </a:xfrm>
          <a:prstGeom prst="roundRect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7173E9"/>
                </a:solidFill>
              </a:rPr>
              <a:t>Lojas</a:t>
            </a:r>
          </a:p>
        </p:txBody>
      </p:sp>
      <p:sp>
        <p:nvSpPr>
          <p:cNvPr id="580" name="Rounded Rectangle 287">
            <a:extLst>
              <a:ext uri="{FF2B5EF4-FFF2-40B4-BE49-F238E27FC236}">
                <a16:creationId xmlns:a16="http://schemas.microsoft.com/office/drawing/2014/main" id="{55E1BA97-9371-AE26-A091-30D3C772A948}"/>
              </a:ext>
            </a:extLst>
          </p:cNvPr>
          <p:cNvSpPr/>
          <p:nvPr/>
        </p:nvSpPr>
        <p:spPr>
          <a:xfrm>
            <a:off x="790869" y="1427258"/>
            <a:ext cx="653706" cy="221383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7173E9"/>
                </a:solidFill>
              </a:rPr>
              <a:t>Alocação</a:t>
            </a:r>
          </a:p>
        </p:txBody>
      </p:sp>
      <p:sp>
        <p:nvSpPr>
          <p:cNvPr id="582" name="Rounded Rectangle 286">
            <a:extLst>
              <a:ext uri="{FF2B5EF4-FFF2-40B4-BE49-F238E27FC236}">
                <a16:creationId xmlns:a16="http://schemas.microsoft.com/office/drawing/2014/main" id="{CE6C5739-6F00-AB7D-25A1-BDA800E32C48}"/>
              </a:ext>
            </a:extLst>
          </p:cNvPr>
          <p:cNvSpPr/>
          <p:nvPr/>
        </p:nvSpPr>
        <p:spPr>
          <a:xfrm>
            <a:off x="2408948" y="1437035"/>
            <a:ext cx="653706" cy="221383"/>
          </a:xfrm>
          <a:prstGeom prst="roundRect">
            <a:avLst/>
          </a:prstGeom>
          <a:solidFill>
            <a:srgbClr val="1F22CF"/>
          </a:solidFill>
          <a:ln w="9525" cap="rnd" cmpd="sng" algn="ctr">
            <a:solidFill>
              <a:srgbClr val="4B4FE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1F22CF"/>
                </a:solidFill>
              </a:rPr>
              <a:t>CDs</a:t>
            </a:r>
          </a:p>
        </p:txBody>
      </p:sp>
      <p:sp>
        <p:nvSpPr>
          <p:cNvPr id="583" name="Rounded Rectangle 286">
            <a:extLst>
              <a:ext uri="{FF2B5EF4-FFF2-40B4-BE49-F238E27FC236}">
                <a16:creationId xmlns:a16="http://schemas.microsoft.com/office/drawing/2014/main" id="{494AEE5A-51A3-7BC4-93FA-E9A098EA17B5}"/>
              </a:ext>
            </a:extLst>
          </p:cNvPr>
          <p:cNvSpPr/>
          <p:nvPr/>
        </p:nvSpPr>
        <p:spPr>
          <a:xfrm>
            <a:off x="2422083" y="1427258"/>
            <a:ext cx="653706" cy="221383"/>
          </a:xfrm>
          <a:prstGeom prst="roundRect">
            <a:avLst/>
          </a:prstGeom>
          <a:solidFill>
            <a:srgbClr val="D0D0F8"/>
          </a:solidFill>
          <a:ln w="9525" cap="rnd" cmpd="sng" algn="ctr">
            <a:solidFill>
              <a:srgbClr val="4B4FE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1F22CF"/>
                </a:solidFill>
              </a:rPr>
              <a:t>Lojas</a:t>
            </a:r>
          </a:p>
        </p:txBody>
      </p:sp>
      <p:sp>
        <p:nvSpPr>
          <p:cNvPr id="585" name="Rounded Rectangle 284">
            <a:extLst>
              <a:ext uri="{FF2B5EF4-FFF2-40B4-BE49-F238E27FC236}">
                <a16:creationId xmlns:a16="http://schemas.microsoft.com/office/drawing/2014/main" id="{8044CFAC-B388-EB18-0A58-549A6A02FE35}"/>
              </a:ext>
            </a:extLst>
          </p:cNvPr>
          <p:cNvSpPr/>
          <p:nvPr/>
        </p:nvSpPr>
        <p:spPr>
          <a:xfrm>
            <a:off x="3224555" y="1437035"/>
            <a:ext cx="653706" cy="221383"/>
          </a:xfrm>
          <a:prstGeom prst="roundRect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7173E9"/>
                </a:solidFill>
              </a:rPr>
              <a:t>Produtos</a:t>
            </a:r>
          </a:p>
        </p:txBody>
      </p:sp>
      <p:sp>
        <p:nvSpPr>
          <p:cNvPr id="586" name="Rounded Rectangle 284">
            <a:extLst>
              <a:ext uri="{FF2B5EF4-FFF2-40B4-BE49-F238E27FC236}">
                <a16:creationId xmlns:a16="http://schemas.microsoft.com/office/drawing/2014/main" id="{C3814031-5CDC-F235-E87E-F2B48F1EA10D}"/>
              </a:ext>
            </a:extLst>
          </p:cNvPr>
          <p:cNvSpPr/>
          <p:nvPr/>
        </p:nvSpPr>
        <p:spPr>
          <a:xfrm>
            <a:off x="3237690" y="1427258"/>
            <a:ext cx="653706" cy="221383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7173E9"/>
                </a:solidFill>
              </a:rPr>
              <a:t>Produto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2946FFE-2EC2-1298-FF35-0C23BE0B514D}"/>
              </a:ext>
            </a:extLst>
          </p:cNvPr>
          <p:cNvSpPr/>
          <p:nvPr/>
        </p:nvSpPr>
        <p:spPr>
          <a:xfrm>
            <a:off x="836069" y="2257480"/>
            <a:ext cx="403581" cy="323153"/>
          </a:xfrm>
          <a:prstGeom prst="rect">
            <a:avLst/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FILIAL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DD9C02F-9485-DF46-85AA-56DFF960548F}"/>
              </a:ext>
            </a:extLst>
          </p:cNvPr>
          <p:cNvSpPr/>
          <p:nvPr/>
        </p:nvSpPr>
        <p:spPr>
          <a:xfrm>
            <a:off x="836069" y="2651564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002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81E3D438-D79E-2E7E-2E8D-74A39C26E3D6}"/>
              </a:ext>
            </a:extLst>
          </p:cNvPr>
          <p:cNvSpPr/>
          <p:nvPr/>
        </p:nvSpPr>
        <p:spPr>
          <a:xfrm>
            <a:off x="836069" y="2785975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210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60888722-AA81-DD08-1AEC-EF06919A9B3A}"/>
              </a:ext>
            </a:extLst>
          </p:cNvPr>
          <p:cNvSpPr/>
          <p:nvPr/>
        </p:nvSpPr>
        <p:spPr>
          <a:xfrm>
            <a:off x="836069" y="2920387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235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5ECED185-3C24-9EC5-F14F-59D6740A4009}"/>
              </a:ext>
            </a:extLst>
          </p:cNvPr>
          <p:cNvSpPr/>
          <p:nvPr/>
        </p:nvSpPr>
        <p:spPr>
          <a:xfrm>
            <a:off x="836069" y="3054798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221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23684C8C-0F69-5A00-6094-373697295162}"/>
              </a:ext>
            </a:extLst>
          </p:cNvPr>
          <p:cNvSpPr/>
          <p:nvPr/>
        </p:nvSpPr>
        <p:spPr>
          <a:xfrm>
            <a:off x="836069" y="3189209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220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5BD5B60E-FBB2-384F-6F29-EA241EE11D2B}"/>
              </a:ext>
            </a:extLst>
          </p:cNvPr>
          <p:cNvSpPr/>
          <p:nvPr/>
        </p:nvSpPr>
        <p:spPr>
          <a:xfrm>
            <a:off x="836069" y="3323621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467</a:t>
            </a: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3CC43220-2F81-9339-A19A-735041DE910C}"/>
              </a:ext>
            </a:extLst>
          </p:cNvPr>
          <p:cNvSpPr/>
          <p:nvPr/>
        </p:nvSpPr>
        <p:spPr>
          <a:xfrm>
            <a:off x="836069" y="3458033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008</a:t>
            </a: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3F828142-A015-E41C-4891-70B04CC65E22}"/>
              </a:ext>
            </a:extLst>
          </p:cNvPr>
          <p:cNvSpPr/>
          <p:nvPr/>
        </p:nvSpPr>
        <p:spPr>
          <a:xfrm>
            <a:off x="836069" y="3591973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409</a:t>
            </a: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6F7D548A-E324-475C-FC3E-3769E3913580}"/>
              </a:ext>
            </a:extLst>
          </p:cNvPr>
          <p:cNvSpPr/>
          <p:nvPr/>
        </p:nvSpPr>
        <p:spPr>
          <a:xfrm>
            <a:off x="836069" y="3722092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01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C6A503F-6963-5261-D45E-3391E090F90B}"/>
              </a:ext>
            </a:extLst>
          </p:cNvPr>
          <p:cNvSpPr/>
          <p:nvPr/>
        </p:nvSpPr>
        <p:spPr>
          <a:xfrm>
            <a:off x="1246075" y="2257480"/>
            <a:ext cx="625552" cy="323153"/>
          </a:xfrm>
          <a:prstGeom prst="rect">
            <a:avLst/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UF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5F2BB43-C8F9-A8C9-03BF-70D0772C9A15}"/>
              </a:ext>
            </a:extLst>
          </p:cNvPr>
          <p:cNvSpPr/>
          <p:nvPr/>
        </p:nvSpPr>
        <p:spPr>
          <a:xfrm>
            <a:off x="1246075" y="2651564"/>
            <a:ext cx="62555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4CBC0D7-1E27-7B86-983D-9C442C04EDFA}"/>
              </a:ext>
            </a:extLst>
          </p:cNvPr>
          <p:cNvSpPr/>
          <p:nvPr/>
        </p:nvSpPr>
        <p:spPr>
          <a:xfrm>
            <a:off x="1246075" y="2785975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D250BFD7-4024-DA98-5123-4D35B84270C4}"/>
              </a:ext>
            </a:extLst>
          </p:cNvPr>
          <p:cNvSpPr/>
          <p:nvPr/>
        </p:nvSpPr>
        <p:spPr>
          <a:xfrm>
            <a:off x="1246075" y="2920387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C5C5507F-7AB1-15F6-FC96-902F24B9B0DB}"/>
              </a:ext>
            </a:extLst>
          </p:cNvPr>
          <p:cNvSpPr/>
          <p:nvPr/>
        </p:nvSpPr>
        <p:spPr>
          <a:xfrm>
            <a:off x="1246075" y="3054798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28CE95D9-0058-3037-FC98-95212B6BAB8F}"/>
              </a:ext>
            </a:extLst>
          </p:cNvPr>
          <p:cNvSpPr/>
          <p:nvPr/>
        </p:nvSpPr>
        <p:spPr>
          <a:xfrm>
            <a:off x="1246075" y="3189209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B1977E23-C54B-89B0-E80C-AA6C1545C0AE}"/>
              </a:ext>
            </a:extLst>
          </p:cNvPr>
          <p:cNvSpPr/>
          <p:nvPr/>
        </p:nvSpPr>
        <p:spPr>
          <a:xfrm>
            <a:off x="1246075" y="3323621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BA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86615DD1-8D15-1D17-F4D9-0CA2AF8C449B}"/>
              </a:ext>
            </a:extLst>
          </p:cNvPr>
          <p:cNvSpPr/>
          <p:nvPr/>
        </p:nvSpPr>
        <p:spPr>
          <a:xfrm>
            <a:off x="1246075" y="3458033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F931F224-83A0-4F09-EAD1-046BCEFF1917}"/>
              </a:ext>
            </a:extLst>
          </p:cNvPr>
          <p:cNvSpPr/>
          <p:nvPr/>
        </p:nvSpPr>
        <p:spPr>
          <a:xfrm>
            <a:off x="1246075" y="3570674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8FB4E5B5-3EDD-4489-FED9-72AA37E4572C}"/>
              </a:ext>
            </a:extLst>
          </p:cNvPr>
          <p:cNvSpPr/>
          <p:nvPr/>
        </p:nvSpPr>
        <p:spPr>
          <a:xfrm>
            <a:off x="1246075" y="3722092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045DE0-5788-92C1-08CE-A46444307B76}"/>
              </a:ext>
            </a:extLst>
          </p:cNvPr>
          <p:cNvSpPr/>
          <p:nvPr/>
        </p:nvSpPr>
        <p:spPr>
          <a:xfrm>
            <a:off x="1878052" y="2257480"/>
            <a:ext cx="317821" cy="323153"/>
          </a:xfrm>
          <a:prstGeom prst="rect">
            <a:avLst/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CD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vínculo</a:t>
            </a:r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212DCA1-A80B-C21B-79A5-D4CFCC231204}"/>
              </a:ext>
            </a:extLst>
          </p:cNvPr>
          <p:cNvSpPr/>
          <p:nvPr/>
        </p:nvSpPr>
        <p:spPr>
          <a:xfrm>
            <a:off x="1878052" y="2651564"/>
            <a:ext cx="317821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D0DDE79-5BA2-A646-4C9F-93C61834DFAF}"/>
              </a:ext>
            </a:extLst>
          </p:cNvPr>
          <p:cNvSpPr/>
          <p:nvPr/>
        </p:nvSpPr>
        <p:spPr>
          <a:xfrm>
            <a:off x="1878052" y="2785975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F3CE984-B1C4-0338-F8E0-D9E53050B3BB}"/>
              </a:ext>
            </a:extLst>
          </p:cNvPr>
          <p:cNvSpPr/>
          <p:nvPr/>
        </p:nvSpPr>
        <p:spPr>
          <a:xfrm>
            <a:off x="1878052" y="2920387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A977B90B-D6D5-BCB5-CCB6-A1D2867B6C94}"/>
              </a:ext>
            </a:extLst>
          </p:cNvPr>
          <p:cNvSpPr/>
          <p:nvPr/>
        </p:nvSpPr>
        <p:spPr>
          <a:xfrm>
            <a:off x="1878052" y="3054798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20EB5068-CF65-C513-83D0-02B5171EF947}"/>
              </a:ext>
            </a:extLst>
          </p:cNvPr>
          <p:cNvSpPr/>
          <p:nvPr/>
        </p:nvSpPr>
        <p:spPr>
          <a:xfrm>
            <a:off x="1878052" y="3189209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8D197894-AE1D-B98A-78E2-708527BDDF81}"/>
              </a:ext>
            </a:extLst>
          </p:cNvPr>
          <p:cNvSpPr/>
          <p:nvPr/>
        </p:nvSpPr>
        <p:spPr>
          <a:xfrm>
            <a:off x="1878052" y="3323621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400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9772A3AA-1A67-F472-A347-289BB9781DE0}"/>
              </a:ext>
            </a:extLst>
          </p:cNvPr>
          <p:cNvSpPr/>
          <p:nvPr/>
        </p:nvSpPr>
        <p:spPr>
          <a:xfrm>
            <a:off x="1878052" y="3458033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A33CC9DF-C0A1-96AB-04B2-8D12A8DD0307}"/>
              </a:ext>
            </a:extLst>
          </p:cNvPr>
          <p:cNvSpPr/>
          <p:nvPr/>
        </p:nvSpPr>
        <p:spPr>
          <a:xfrm>
            <a:off x="1878052" y="3570674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BB5C4E7E-406E-D5D6-AECF-895C9E4ACBA6}"/>
              </a:ext>
            </a:extLst>
          </p:cNvPr>
          <p:cNvSpPr/>
          <p:nvPr/>
        </p:nvSpPr>
        <p:spPr>
          <a:xfrm>
            <a:off x="1878052" y="3722092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9FCD42F-EF39-2821-9646-92A17BDA1CBF}"/>
              </a:ext>
            </a:extLst>
          </p:cNvPr>
          <p:cNvSpPr/>
          <p:nvPr/>
        </p:nvSpPr>
        <p:spPr>
          <a:xfrm>
            <a:off x="10561520" y="2257480"/>
            <a:ext cx="403580" cy="323153"/>
          </a:xfrm>
          <a:prstGeom prst="rect">
            <a:avLst/>
          </a:prstGeom>
          <a:solidFill>
            <a:srgbClr val="E7A1A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921035"/>
                </a:solidFill>
                <a:latin typeface="Calibri" panose="020F0502020204030204" pitchFamily="34" charset="0"/>
              </a:rPr>
              <a:t>$ </a:t>
            </a:r>
            <a:r>
              <a:rPr lang="en-US" sz="700" b="1" err="1">
                <a:solidFill>
                  <a:srgbClr val="921035"/>
                </a:solidFill>
                <a:latin typeface="Calibri" panose="020F0502020204030204" pitchFamily="34" charset="0"/>
              </a:rPr>
              <a:t>Ruptura</a:t>
            </a:r>
            <a:endParaRPr lang="en-US" sz="700" b="1">
              <a:solidFill>
                <a:srgbClr val="921035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700" b="1">
                <a:solidFill>
                  <a:srgbClr val="921035"/>
                </a:solidFill>
                <a:latin typeface="Calibri" panose="020F0502020204030204" pitchFamily="34" charset="0"/>
              </a:rPr>
              <a:t>(%)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8E96CCF-C31E-C0F5-D01E-351920C38E06}"/>
              </a:ext>
            </a:extLst>
          </p:cNvPr>
          <p:cNvSpPr/>
          <p:nvPr/>
        </p:nvSpPr>
        <p:spPr>
          <a:xfrm>
            <a:off x="10561520" y="2651564"/>
            <a:ext cx="403580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C577017E-5E0A-F444-A1DD-E9AEF0571D5A}"/>
              </a:ext>
            </a:extLst>
          </p:cNvPr>
          <p:cNvSpPr/>
          <p:nvPr/>
        </p:nvSpPr>
        <p:spPr>
          <a:xfrm>
            <a:off x="10561520" y="2785975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53404F5D-EA1D-0E4D-67BB-6BEF005670D9}"/>
              </a:ext>
            </a:extLst>
          </p:cNvPr>
          <p:cNvSpPr/>
          <p:nvPr/>
        </p:nvSpPr>
        <p:spPr>
          <a:xfrm>
            <a:off x="10561520" y="2920387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DC702641-CC35-4E54-1A49-E8E29AB2201A}"/>
              </a:ext>
            </a:extLst>
          </p:cNvPr>
          <p:cNvSpPr/>
          <p:nvPr/>
        </p:nvSpPr>
        <p:spPr>
          <a:xfrm>
            <a:off x="10561520" y="3054798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D8B3793A-D4A4-2375-4F4A-95285F343C8C}"/>
              </a:ext>
            </a:extLst>
          </p:cNvPr>
          <p:cNvSpPr/>
          <p:nvPr/>
        </p:nvSpPr>
        <p:spPr>
          <a:xfrm>
            <a:off x="10561520" y="3189209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48F537BF-0E90-7D2F-485E-5A4F0607E684}"/>
              </a:ext>
            </a:extLst>
          </p:cNvPr>
          <p:cNvSpPr/>
          <p:nvPr/>
        </p:nvSpPr>
        <p:spPr>
          <a:xfrm>
            <a:off x="10561520" y="3323621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F426D952-35C9-043A-ED24-D4B87F553DE0}"/>
              </a:ext>
            </a:extLst>
          </p:cNvPr>
          <p:cNvSpPr/>
          <p:nvPr/>
        </p:nvSpPr>
        <p:spPr>
          <a:xfrm>
            <a:off x="10561520" y="3458033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C272E191-4F9A-9883-D995-B08931DEDD96}"/>
              </a:ext>
            </a:extLst>
          </p:cNvPr>
          <p:cNvSpPr/>
          <p:nvPr/>
        </p:nvSpPr>
        <p:spPr>
          <a:xfrm>
            <a:off x="10561520" y="3570674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F047A4AC-DA18-5494-9A7A-BF15023B9E8A}"/>
              </a:ext>
            </a:extLst>
          </p:cNvPr>
          <p:cNvSpPr/>
          <p:nvPr/>
        </p:nvSpPr>
        <p:spPr>
          <a:xfrm>
            <a:off x="10561520" y="3722092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B1B4EA5-5CAA-2547-6635-A4C413BA3760}"/>
              </a:ext>
            </a:extLst>
          </p:cNvPr>
          <p:cNvSpPr/>
          <p:nvPr/>
        </p:nvSpPr>
        <p:spPr>
          <a:xfrm>
            <a:off x="2202297" y="2651564"/>
            <a:ext cx="282670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7DADA4A4-CD7F-21A5-93FF-2CC8E9C6FFB5}"/>
              </a:ext>
            </a:extLst>
          </p:cNvPr>
          <p:cNvSpPr/>
          <p:nvPr/>
        </p:nvSpPr>
        <p:spPr>
          <a:xfrm>
            <a:off x="2202297" y="2785975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3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AB9127D3-204F-7727-1FFD-BE7C16BA9886}"/>
              </a:ext>
            </a:extLst>
          </p:cNvPr>
          <p:cNvSpPr/>
          <p:nvPr/>
        </p:nvSpPr>
        <p:spPr>
          <a:xfrm>
            <a:off x="2202297" y="2920387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3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F4AFE040-45B2-EB1F-C26D-143CA7B9A2E3}"/>
              </a:ext>
            </a:extLst>
          </p:cNvPr>
          <p:cNvSpPr/>
          <p:nvPr/>
        </p:nvSpPr>
        <p:spPr>
          <a:xfrm>
            <a:off x="2202297" y="3054798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1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06E77727-EB1F-F8BF-F9FC-F89EB0488CEE}"/>
              </a:ext>
            </a:extLst>
          </p:cNvPr>
          <p:cNvSpPr/>
          <p:nvPr/>
        </p:nvSpPr>
        <p:spPr>
          <a:xfrm>
            <a:off x="2202297" y="3189209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4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24441F23-776E-37AE-6550-8A97BA8D48BB}"/>
              </a:ext>
            </a:extLst>
          </p:cNvPr>
          <p:cNvSpPr/>
          <p:nvPr/>
        </p:nvSpPr>
        <p:spPr>
          <a:xfrm>
            <a:off x="2202297" y="3323621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3</a:t>
            </a: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0E821226-2D0F-6612-D7CC-1764D71BC58B}"/>
              </a:ext>
            </a:extLst>
          </p:cNvPr>
          <p:cNvSpPr/>
          <p:nvPr/>
        </p:nvSpPr>
        <p:spPr>
          <a:xfrm>
            <a:off x="2202297" y="3458033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5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8B378D91-FD63-41FA-C90A-5AEE7C9AC5B3}"/>
              </a:ext>
            </a:extLst>
          </p:cNvPr>
          <p:cNvSpPr/>
          <p:nvPr/>
        </p:nvSpPr>
        <p:spPr>
          <a:xfrm>
            <a:off x="2202297" y="3570674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2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84DEB0E1-022C-FA77-5B91-2BDF6833EAAE}"/>
              </a:ext>
            </a:extLst>
          </p:cNvPr>
          <p:cNvSpPr/>
          <p:nvPr/>
        </p:nvSpPr>
        <p:spPr>
          <a:xfrm>
            <a:off x="2202297" y="3722092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FA1691-544C-4CC6-F7DA-E0F989DBF1B1}"/>
              </a:ext>
            </a:extLst>
          </p:cNvPr>
          <p:cNvSpPr/>
          <p:nvPr/>
        </p:nvSpPr>
        <p:spPr>
          <a:xfrm>
            <a:off x="2202298" y="2257480"/>
            <a:ext cx="282670" cy="323153"/>
          </a:xfrm>
          <a:prstGeom prst="rect">
            <a:avLst/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Port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D3BF568-D248-E9B4-4C6B-8CDC59CD71CA}"/>
              </a:ext>
            </a:extLst>
          </p:cNvPr>
          <p:cNvSpPr/>
          <p:nvPr/>
        </p:nvSpPr>
        <p:spPr>
          <a:xfrm>
            <a:off x="3171533" y="2257480"/>
            <a:ext cx="398536" cy="323153"/>
          </a:xfrm>
          <a:prstGeom prst="rect">
            <a:avLst/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Estq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Loja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Projetado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F68D268-F7CC-8657-BF07-DC6BAA93CEEF}"/>
              </a:ext>
            </a:extLst>
          </p:cNvPr>
          <p:cNvSpPr/>
          <p:nvPr/>
        </p:nvSpPr>
        <p:spPr>
          <a:xfrm>
            <a:off x="3171533" y="2651564"/>
            <a:ext cx="398536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C9A16FD-6668-8193-1B96-2651D37E0632}"/>
              </a:ext>
            </a:extLst>
          </p:cNvPr>
          <p:cNvSpPr/>
          <p:nvPr/>
        </p:nvSpPr>
        <p:spPr>
          <a:xfrm>
            <a:off x="3171533" y="2785975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3444E308-5ED9-34A4-9000-A79395A37632}"/>
              </a:ext>
            </a:extLst>
          </p:cNvPr>
          <p:cNvSpPr/>
          <p:nvPr/>
        </p:nvSpPr>
        <p:spPr>
          <a:xfrm>
            <a:off x="3171533" y="2920387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71A35B5A-D837-C2CF-5046-0FD6EA1AF64A}"/>
              </a:ext>
            </a:extLst>
          </p:cNvPr>
          <p:cNvSpPr/>
          <p:nvPr/>
        </p:nvSpPr>
        <p:spPr>
          <a:xfrm>
            <a:off x="3171533" y="3054798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C0AAF885-1891-B4F8-1DAF-4D5AA07042C5}"/>
              </a:ext>
            </a:extLst>
          </p:cNvPr>
          <p:cNvSpPr/>
          <p:nvPr/>
        </p:nvSpPr>
        <p:spPr>
          <a:xfrm>
            <a:off x="3171533" y="3189209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C05303CB-72F6-3877-F356-67CA86DB0116}"/>
              </a:ext>
            </a:extLst>
          </p:cNvPr>
          <p:cNvSpPr/>
          <p:nvPr/>
        </p:nvSpPr>
        <p:spPr>
          <a:xfrm>
            <a:off x="3171533" y="3323621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15F3EDB7-1DB6-36F8-3473-541CE5FF7AA1}"/>
              </a:ext>
            </a:extLst>
          </p:cNvPr>
          <p:cNvSpPr/>
          <p:nvPr/>
        </p:nvSpPr>
        <p:spPr>
          <a:xfrm>
            <a:off x="3171533" y="3458033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EEE2C357-95F3-2A45-CBEA-09ED43682102}"/>
              </a:ext>
            </a:extLst>
          </p:cNvPr>
          <p:cNvSpPr/>
          <p:nvPr/>
        </p:nvSpPr>
        <p:spPr>
          <a:xfrm>
            <a:off x="3171533" y="3570674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4797CF81-F3FB-418A-75B9-B7D36636E021}"/>
              </a:ext>
            </a:extLst>
          </p:cNvPr>
          <p:cNvSpPr/>
          <p:nvPr/>
        </p:nvSpPr>
        <p:spPr>
          <a:xfrm>
            <a:off x="3171533" y="3722092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EBD9AB-75E6-523C-C38B-857D7D55CFA9}"/>
              </a:ext>
            </a:extLst>
          </p:cNvPr>
          <p:cNvSpPr/>
          <p:nvPr/>
        </p:nvSpPr>
        <p:spPr>
          <a:xfrm>
            <a:off x="3576494" y="2257480"/>
            <a:ext cx="398536" cy="323153"/>
          </a:xfrm>
          <a:prstGeom prst="rect">
            <a:avLst/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Estq. Médio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2925BE8-2D38-5D73-4636-6971DBAD56CE}"/>
              </a:ext>
            </a:extLst>
          </p:cNvPr>
          <p:cNvSpPr/>
          <p:nvPr/>
        </p:nvSpPr>
        <p:spPr>
          <a:xfrm>
            <a:off x="3576494" y="2651564"/>
            <a:ext cx="398536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986A695-3AD5-B039-7E1B-9715AD74BCF0}"/>
              </a:ext>
            </a:extLst>
          </p:cNvPr>
          <p:cNvSpPr/>
          <p:nvPr/>
        </p:nvSpPr>
        <p:spPr>
          <a:xfrm>
            <a:off x="3576494" y="2785975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C1C4718-11A1-2571-68C2-52D4E957CBD8}"/>
              </a:ext>
            </a:extLst>
          </p:cNvPr>
          <p:cNvSpPr/>
          <p:nvPr/>
        </p:nvSpPr>
        <p:spPr>
          <a:xfrm>
            <a:off x="3576494" y="2920387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16ACA99E-750B-E8EE-90DA-479461136158}"/>
              </a:ext>
            </a:extLst>
          </p:cNvPr>
          <p:cNvSpPr/>
          <p:nvPr/>
        </p:nvSpPr>
        <p:spPr>
          <a:xfrm>
            <a:off x="3576494" y="3054798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CB92B4FB-DC3C-1C63-527B-55A1E6D69C1F}"/>
              </a:ext>
            </a:extLst>
          </p:cNvPr>
          <p:cNvSpPr/>
          <p:nvPr/>
        </p:nvSpPr>
        <p:spPr>
          <a:xfrm>
            <a:off x="3576494" y="3189209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4E5E9C25-F28D-A67C-587F-0242F7AB5C1E}"/>
              </a:ext>
            </a:extLst>
          </p:cNvPr>
          <p:cNvSpPr/>
          <p:nvPr/>
        </p:nvSpPr>
        <p:spPr>
          <a:xfrm>
            <a:off x="3576494" y="3323621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D325D1E6-4FA7-3775-C19A-D55FA7574F99}"/>
              </a:ext>
            </a:extLst>
          </p:cNvPr>
          <p:cNvSpPr/>
          <p:nvPr/>
        </p:nvSpPr>
        <p:spPr>
          <a:xfrm>
            <a:off x="3576494" y="3458033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0E0D76BD-007E-48D3-CA8A-1E91169C61AF}"/>
              </a:ext>
            </a:extLst>
          </p:cNvPr>
          <p:cNvSpPr/>
          <p:nvPr/>
        </p:nvSpPr>
        <p:spPr>
          <a:xfrm>
            <a:off x="3576494" y="3570674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0D3DA400-7642-0FF2-F6DA-19858D7F60BD}"/>
              </a:ext>
            </a:extLst>
          </p:cNvPr>
          <p:cNvSpPr/>
          <p:nvPr/>
        </p:nvSpPr>
        <p:spPr>
          <a:xfrm>
            <a:off x="3576494" y="3722092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1A56B4-3C54-B402-C0B9-BC7176DB2DF9}"/>
              </a:ext>
            </a:extLst>
          </p:cNvPr>
          <p:cNvSpPr/>
          <p:nvPr/>
        </p:nvSpPr>
        <p:spPr>
          <a:xfrm>
            <a:off x="2847287" y="2257480"/>
            <a:ext cx="317821" cy="323153"/>
          </a:xfrm>
          <a:prstGeom prst="rect">
            <a:avLst/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Etq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</a:p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loja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73019C65-3B21-7A61-0A59-B92BBCBCD935}"/>
              </a:ext>
            </a:extLst>
          </p:cNvPr>
          <p:cNvSpPr/>
          <p:nvPr/>
        </p:nvSpPr>
        <p:spPr>
          <a:xfrm>
            <a:off x="2847287" y="2651564"/>
            <a:ext cx="317821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0635E4C-1339-0240-3834-2857E76F0458}"/>
              </a:ext>
            </a:extLst>
          </p:cNvPr>
          <p:cNvSpPr/>
          <p:nvPr/>
        </p:nvSpPr>
        <p:spPr>
          <a:xfrm>
            <a:off x="2847287" y="2785975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28D98BD6-FA0F-33E4-15CC-D927E806C878}"/>
              </a:ext>
            </a:extLst>
          </p:cNvPr>
          <p:cNvSpPr/>
          <p:nvPr/>
        </p:nvSpPr>
        <p:spPr>
          <a:xfrm>
            <a:off x="2847287" y="2920387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39DABC53-7F04-DA11-5BE3-0CC6C621C80A}"/>
              </a:ext>
            </a:extLst>
          </p:cNvPr>
          <p:cNvSpPr/>
          <p:nvPr/>
        </p:nvSpPr>
        <p:spPr>
          <a:xfrm>
            <a:off x="2847287" y="3054798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1778C9E5-1416-2790-8426-424CEB93613E}"/>
              </a:ext>
            </a:extLst>
          </p:cNvPr>
          <p:cNvSpPr/>
          <p:nvPr/>
        </p:nvSpPr>
        <p:spPr>
          <a:xfrm>
            <a:off x="2847287" y="3189209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6ADF9033-EAF0-3EF9-F310-355F76FE34E8}"/>
              </a:ext>
            </a:extLst>
          </p:cNvPr>
          <p:cNvSpPr/>
          <p:nvPr/>
        </p:nvSpPr>
        <p:spPr>
          <a:xfrm>
            <a:off x="2847287" y="3323621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67CB8883-8585-55D5-0F29-DD43C7D00FB1}"/>
              </a:ext>
            </a:extLst>
          </p:cNvPr>
          <p:cNvSpPr/>
          <p:nvPr/>
        </p:nvSpPr>
        <p:spPr>
          <a:xfrm>
            <a:off x="2847287" y="3458033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155A7DB5-98AB-A34F-9871-B64410CF8005}"/>
              </a:ext>
            </a:extLst>
          </p:cNvPr>
          <p:cNvSpPr/>
          <p:nvPr/>
        </p:nvSpPr>
        <p:spPr>
          <a:xfrm>
            <a:off x="2847287" y="3570674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C1E00ED3-CDB7-10CC-3EA4-7B4E3D8B49A3}"/>
              </a:ext>
            </a:extLst>
          </p:cNvPr>
          <p:cNvSpPr/>
          <p:nvPr/>
        </p:nvSpPr>
        <p:spPr>
          <a:xfrm>
            <a:off x="2847287" y="3722092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92B4D9C-BB8C-E266-82EF-3F15205C597F}"/>
              </a:ext>
            </a:extLst>
          </p:cNvPr>
          <p:cNvSpPr/>
          <p:nvPr/>
        </p:nvSpPr>
        <p:spPr>
          <a:xfrm>
            <a:off x="10203341" y="2257480"/>
            <a:ext cx="358179" cy="323153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0F1167"/>
                </a:solidFill>
                <a:latin typeface="Calibri" panose="020F0502020204030204" pitchFamily="34" charset="0"/>
              </a:rPr>
              <a:t>% </a:t>
            </a:r>
            <a:r>
              <a:rPr lang="en-US" sz="700" b="1" err="1">
                <a:solidFill>
                  <a:srgbClr val="0F1167"/>
                </a:solidFill>
                <a:latin typeface="Calibri" panose="020F0502020204030204" pitchFamily="34" charset="0"/>
              </a:rPr>
              <a:t>Ating</a:t>
            </a:r>
            <a:r>
              <a:rPr lang="en-US" sz="700" b="1">
                <a:solidFill>
                  <a:srgbClr val="0F1167"/>
                </a:solidFill>
                <a:latin typeface="Calibri" panose="020F0502020204030204" pitchFamily="34" charset="0"/>
              </a:rPr>
              <a:t>. S&amp;OP OFF LINE 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ED439D12-5B34-44F7-957F-8C64ABECD513}"/>
              </a:ext>
            </a:extLst>
          </p:cNvPr>
          <p:cNvSpPr/>
          <p:nvPr/>
        </p:nvSpPr>
        <p:spPr>
          <a:xfrm>
            <a:off x="10203341" y="2651564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44%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8341B4A4-EACA-22E4-15D0-77EFF4317695}"/>
              </a:ext>
            </a:extLst>
          </p:cNvPr>
          <p:cNvSpPr/>
          <p:nvPr/>
        </p:nvSpPr>
        <p:spPr>
          <a:xfrm>
            <a:off x="10203341" y="2785975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71%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DCAEFCE7-0605-A891-A9FB-F77A953CA552}"/>
              </a:ext>
            </a:extLst>
          </p:cNvPr>
          <p:cNvSpPr/>
          <p:nvPr/>
        </p:nvSpPr>
        <p:spPr>
          <a:xfrm>
            <a:off x="10203341" y="2920387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56%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23D549FF-F873-B301-A75E-4C27A66C4F1E}"/>
              </a:ext>
            </a:extLst>
          </p:cNvPr>
          <p:cNvSpPr/>
          <p:nvPr/>
        </p:nvSpPr>
        <p:spPr>
          <a:xfrm>
            <a:off x="10203341" y="3054798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57%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42F6E3E4-16DA-B48C-7216-DB4226E68368}"/>
              </a:ext>
            </a:extLst>
          </p:cNvPr>
          <p:cNvSpPr/>
          <p:nvPr/>
        </p:nvSpPr>
        <p:spPr>
          <a:xfrm>
            <a:off x="10203341" y="3189209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49%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4FCA75C8-FFC3-3161-7908-E68EFBE3A237}"/>
              </a:ext>
            </a:extLst>
          </p:cNvPr>
          <p:cNvSpPr/>
          <p:nvPr/>
        </p:nvSpPr>
        <p:spPr>
          <a:xfrm>
            <a:off x="10203341" y="3323621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20%</a:t>
            </a: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09A7DB64-65DE-D096-FF79-348F34BA237D}"/>
              </a:ext>
            </a:extLst>
          </p:cNvPr>
          <p:cNvSpPr/>
          <p:nvPr/>
        </p:nvSpPr>
        <p:spPr>
          <a:xfrm>
            <a:off x="10203341" y="3458033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66%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E9E66241-63F8-B948-E403-DED17436B6E8}"/>
              </a:ext>
            </a:extLst>
          </p:cNvPr>
          <p:cNvSpPr/>
          <p:nvPr/>
        </p:nvSpPr>
        <p:spPr>
          <a:xfrm>
            <a:off x="10203341" y="3570674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96%</a:t>
            </a: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9E7D64C8-AE41-A80A-138D-DEA113A5FF3C}"/>
              </a:ext>
            </a:extLst>
          </p:cNvPr>
          <p:cNvSpPr/>
          <p:nvPr/>
        </p:nvSpPr>
        <p:spPr>
          <a:xfrm>
            <a:off x="10203341" y="3722092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80%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C6F000C-F202-1408-0017-99214A1EC414}"/>
              </a:ext>
            </a:extLst>
          </p:cNvPr>
          <p:cNvSpPr/>
          <p:nvPr/>
        </p:nvSpPr>
        <p:spPr>
          <a:xfrm>
            <a:off x="3981455" y="2257480"/>
            <a:ext cx="383402" cy="323153"/>
          </a:xfrm>
          <a:prstGeom prst="rect">
            <a:avLst/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Prog. Loja 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0FEFC99-7A69-38D2-7520-DD5BAEB2EBE3}"/>
              </a:ext>
            </a:extLst>
          </p:cNvPr>
          <p:cNvSpPr/>
          <p:nvPr/>
        </p:nvSpPr>
        <p:spPr>
          <a:xfrm>
            <a:off x="3981455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299A4D7D-67D6-23E6-0EAF-A99DCA8B2080}"/>
              </a:ext>
            </a:extLst>
          </p:cNvPr>
          <p:cNvSpPr/>
          <p:nvPr/>
        </p:nvSpPr>
        <p:spPr>
          <a:xfrm>
            <a:off x="3981455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F9E73E7-2C11-4D4F-B3CF-ADF1AD5636EE}"/>
              </a:ext>
            </a:extLst>
          </p:cNvPr>
          <p:cNvSpPr/>
          <p:nvPr/>
        </p:nvSpPr>
        <p:spPr>
          <a:xfrm>
            <a:off x="3981455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23770A7C-C9E2-A0A9-221C-E72C19D6CA2F}"/>
              </a:ext>
            </a:extLst>
          </p:cNvPr>
          <p:cNvSpPr/>
          <p:nvPr/>
        </p:nvSpPr>
        <p:spPr>
          <a:xfrm>
            <a:off x="3981455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759619F8-33A9-3340-FCE6-8BE9255ED27F}"/>
              </a:ext>
            </a:extLst>
          </p:cNvPr>
          <p:cNvSpPr/>
          <p:nvPr/>
        </p:nvSpPr>
        <p:spPr>
          <a:xfrm>
            <a:off x="3981455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D8571A3F-386E-BBC5-2474-3CB65E76973D}"/>
              </a:ext>
            </a:extLst>
          </p:cNvPr>
          <p:cNvSpPr/>
          <p:nvPr/>
        </p:nvSpPr>
        <p:spPr>
          <a:xfrm>
            <a:off x="3981455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D1557C4F-D19F-5B21-B67E-AC9291074506}"/>
              </a:ext>
            </a:extLst>
          </p:cNvPr>
          <p:cNvSpPr/>
          <p:nvPr/>
        </p:nvSpPr>
        <p:spPr>
          <a:xfrm>
            <a:off x="3981455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CC24A879-2D9E-12FC-9ED5-E244B57F7475}"/>
              </a:ext>
            </a:extLst>
          </p:cNvPr>
          <p:cNvSpPr/>
          <p:nvPr/>
        </p:nvSpPr>
        <p:spPr>
          <a:xfrm>
            <a:off x="3981455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EC6FE7A9-6241-1725-3871-C71EF3B53F90}"/>
              </a:ext>
            </a:extLst>
          </p:cNvPr>
          <p:cNvSpPr/>
          <p:nvPr/>
        </p:nvSpPr>
        <p:spPr>
          <a:xfrm>
            <a:off x="3981455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07EF05-A560-B276-55DD-7F8257B81CD1}"/>
              </a:ext>
            </a:extLst>
          </p:cNvPr>
          <p:cNvSpPr/>
          <p:nvPr/>
        </p:nvSpPr>
        <p:spPr>
          <a:xfrm>
            <a:off x="4371284" y="2257480"/>
            <a:ext cx="423760" cy="323153"/>
          </a:xfrm>
          <a:prstGeom prst="rect">
            <a:avLst/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Estq CD Origem 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B6678EC-F550-0D1E-4D9B-CB801522E91A}"/>
              </a:ext>
            </a:extLst>
          </p:cNvPr>
          <p:cNvSpPr/>
          <p:nvPr/>
        </p:nvSpPr>
        <p:spPr>
          <a:xfrm>
            <a:off x="4371284" y="2651564"/>
            <a:ext cx="423760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390919A-A937-562A-AD17-44E4CED30D69}"/>
              </a:ext>
            </a:extLst>
          </p:cNvPr>
          <p:cNvSpPr/>
          <p:nvPr/>
        </p:nvSpPr>
        <p:spPr>
          <a:xfrm>
            <a:off x="4371284" y="2785975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60486B35-48CC-D71B-1FE0-BA654CFA3A19}"/>
              </a:ext>
            </a:extLst>
          </p:cNvPr>
          <p:cNvSpPr/>
          <p:nvPr/>
        </p:nvSpPr>
        <p:spPr>
          <a:xfrm>
            <a:off x="4371284" y="2920387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8DC113CB-6E0E-1BA7-5BD1-FC47AA7CF149}"/>
              </a:ext>
            </a:extLst>
          </p:cNvPr>
          <p:cNvSpPr/>
          <p:nvPr/>
        </p:nvSpPr>
        <p:spPr>
          <a:xfrm>
            <a:off x="4371284" y="3054798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BCD4C824-2996-5B64-39FF-8F5060CA52E9}"/>
              </a:ext>
            </a:extLst>
          </p:cNvPr>
          <p:cNvSpPr/>
          <p:nvPr/>
        </p:nvSpPr>
        <p:spPr>
          <a:xfrm>
            <a:off x="4371284" y="3189209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3C773981-E501-5414-E930-418200F75E00}"/>
              </a:ext>
            </a:extLst>
          </p:cNvPr>
          <p:cNvSpPr/>
          <p:nvPr/>
        </p:nvSpPr>
        <p:spPr>
          <a:xfrm>
            <a:off x="4371284" y="3323621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6F2F8135-8E9B-E93F-F374-CA93AAC8F943}"/>
              </a:ext>
            </a:extLst>
          </p:cNvPr>
          <p:cNvSpPr/>
          <p:nvPr/>
        </p:nvSpPr>
        <p:spPr>
          <a:xfrm>
            <a:off x="4371284" y="3458033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DCA7E90A-5A15-9061-BD79-67878318F968}"/>
              </a:ext>
            </a:extLst>
          </p:cNvPr>
          <p:cNvSpPr/>
          <p:nvPr/>
        </p:nvSpPr>
        <p:spPr>
          <a:xfrm>
            <a:off x="4371284" y="3570674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6DA625CF-F812-F311-4A00-461F3228BDF1}"/>
              </a:ext>
            </a:extLst>
          </p:cNvPr>
          <p:cNvSpPr/>
          <p:nvPr/>
        </p:nvSpPr>
        <p:spPr>
          <a:xfrm>
            <a:off x="4371284" y="3722092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AA957E4-A915-097C-6F99-7C48C1116943}"/>
              </a:ext>
            </a:extLst>
          </p:cNvPr>
          <p:cNvSpPr/>
          <p:nvPr/>
        </p:nvSpPr>
        <p:spPr>
          <a:xfrm>
            <a:off x="4801469" y="2257480"/>
            <a:ext cx="423760" cy="323153"/>
          </a:xfrm>
          <a:prstGeom prst="rect">
            <a:avLst/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DDV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calculado</a:t>
            </a:r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9255DD7-68B4-8D4D-62B9-59A12A457D2B}"/>
              </a:ext>
            </a:extLst>
          </p:cNvPr>
          <p:cNvSpPr/>
          <p:nvPr/>
        </p:nvSpPr>
        <p:spPr>
          <a:xfrm>
            <a:off x="4801469" y="2651564"/>
            <a:ext cx="423760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0467477-1D7F-6F46-3DE3-E8E0ADB63C65}"/>
              </a:ext>
            </a:extLst>
          </p:cNvPr>
          <p:cNvSpPr/>
          <p:nvPr/>
        </p:nvSpPr>
        <p:spPr>
          <a:xfrm>
            <a:off x="4801469" y="2785975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A7E53839-22C8-EF46-9787-84B4970D0269}"/>
              </a:ext>
            </a:extLst>
          </p:cNvPr>
          <p:cNvSpPr/>
          <p:nvPr/>
        </p:nvSpPr>
        <p:spPr>
          <a:xfrm>
            <a:off x="4801469" y="2920387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AE567D62-352E-D5A1-9BC6-8A665F022E9B}"/>
              </a:ext>
            </a:extLst>
          </p:cNvPr>
          <p:cNvSpPr/>
          <p:nvPr/>
        </p:nvSpPr>
        <p:spPr>
          <a:xfrm>
            <a:off x="4801469" y="3054798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E622CAB3-0AF4-A83E-DB86-9C4F36CDD175}"/>
              </a:ext>
            </a:extLst>
          </p:cNvPr>
          <p:cNvSpPr/>
          <p:nvPr/>
        </p:nvSpPr>
        <p:spPr>
          <a:xfrm>
            <a:off x="4801469" y="3189209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4F714070-D1FF-554E-6616-9F1214D3A6DC}"/>
              </a:ext>
            </a:extLst>
          </p:cNvPr>
          <p:cNvSpPr/>
          <p:nvPr/>
        </p:nvSpPr>
        <p:spPr>
          <a:xfrm>
            <a:off x="4801469" y="3323621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49576143-192B-EDD5-282B-FAC43312B247}"/>
              </a:ext>
            </a:extLst>
          </p:cNvPr>
          <p:cNvSpPr/>
          <p:nvPr/>
        </p:nvSpPr>
        <p:spPr>
          <a:xfrm>
            <a:off x="4801469" y="3458033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CD5D2011-2BAD-4DCB-8228-EBD7AE301D59}"/>
              </a:ext>
            </a:extLst>
          </p:cNvPr>
          <p:cNvSpPr/>
          <p:nvPr/>
        </p:nvSpPr>
        <p:spPr>
          <a:xfrm>
            <a:off x="4801469" y="3570674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F89DE831-9978-E6D4-2AEE-FFF19AF4F0DD}"/>
              </a:ext>
            </a:extLst>
          </p:cNvPr>
          <p:cNvSpPr/>
          <p:nvPr/>
        </p:nvSpPr>
        <p:spPr>
          <a:xfrm>
            <a:off x="4801469" y="3722092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443E39-8781-3239-EB68-89BBBE9DDC09}"/>
              </a:ext>
            </a:extLst>
          </p:cNvPr>
          <p:cNvSpPr/>
          <p:nvPr/>
        </p:nvSpPr>
        <p:spPr>
          <a:xfrm>
            <a:off x="5231654" y="2257480"/>
            <a:ext cx="491024" cy="323153"/>
          </a:xfrm>
          <a:prstGeom prst="rect">
            <a:avLst/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Vendas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ACM 30d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4A12D8E-1624-8D51-5AC4-F172FF4F12E2}"/>
              </a:ext>
            </a:extLst>
          </p:cNvPr>
          <p:cNvSpPr/>
          <p:nvPr/>
        </p:nvSpPr>
        <p:spPr>
          <a:xfrm>
            <a:off x="5231654" y="2651564"/>
            <a:ext cx="491024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6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645D9EF-EC98-2423-C234-6A17283CC3A4}"/>
              </a:ext>
            </a:extLst>
          </p:cNvPr>
          <p:cNvSpPr/>
          <p:nvPr/>
        </p:nvSpPr>
        <p:spPr>
          <a:xfrm>
            <a:off x="5231654" y="2785975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26D33427-9E79-B516-7CF9-0A647A793C0D}"/>
              </a:ext>
            </a:extLst>
          </p:cNvPr>
          <p:cNvSpPr/>
          <p:nvPr/>
        </p:nvSpPr>
        <p:spPr>
          <a:xfrm>
            <a:off x="5231654" y="2920387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95D1EB92-A571-27EC-0BA3-B23F3382ECC4}"/>
              </a:ext>
            </a:extLst>
          </p:cNvPr>
          <p:cNvSpPr/>
          <p:nvPr/>
        </p:nvSpPr>
        <p:spPr>
          <a:xfrm>
            <a:off x="5231654" y="3054798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1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B8377EA2-6BD7-F44E-F809-E3DE2F47F95A}"/>
              </a:ext>
            </a:extLst>
          </p:cNvPr>
          <p:cNvSpPr/>
          <p:nvPr/>
        </p:nvSpPr>
        <p:spPr>
          <a:xfrm>
            <a:off x="5231654" y="3189209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9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6DEEB6F3-D32A-965E-BBFA-65DE97F38562}"/>
              </a:ext>
            </a:extLst>
          </p:cNvPr>
          <p:cNvSpPr/>
          <p:nvPr/>
        </p:nvSpPr>
        <p:spPr>
          <a:xfrm>
            <a:off x="5231654" y="3323621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7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B854ACD5-DDE4-517E-5FB5-2A5BF3C02FB4}"/>
              </a:ext>
            </a:extLst>
          </p:cNvPr>
          <p:cNvSpPr/>
          <p:nvPr/>
        </p:nvSpPr>
        <p:spPr>
          <a:xfrm>
            <a:off x="5231654" y="3458033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7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441BD271-B0EA-0C16-10C0-7A40B82D7ECE}"/>
              </a:ext>
            </a:extLst>
          </p:cNvPr>
          <p:cNvSpPr/>
          <p:nvPr/>
        </p:nvSpPr>
        <p:spPr>
          <a:xfrm>
            <a:off x="5231654" y="3570674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BBFE2281-7642-8AE1-A1AE-009CA0C51CF0}"/>
              </a:ext>
            </a:extLst>
          </p:cNvPr>
          <p:cNvSpPr/>
          <p:nvPr/>
        </p:nvSpPr>
        <p:spPr>
          <a:xfrm>
            <a:off x="5231654" y="3722092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C0F75A-F2D2-F092-CADB-3AFF811E2161}"/>
              </a:ext>
            </a:extLst>
          </p:cNvPr>
          <p:cNvSpPr/>
          <p:nvPr/>
        </p:nvSpPr>
        <p:spPr>
          <a:xfrm>
            <a:off x="5729103" y="2257480"/>
            <a:ext cx="383402" cy="323153"/>
          </a:xfrm>
          <a:prstGeom prst="rect">
            <a:avLst/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Vendas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ACM 10d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679E1A7-F165-D92A-EC56-23081FD61E88}"/>
              </a:ext>
            </a:extLst>
          </p:cNvPr>
          <p:cNvSpPr/>
          <p:nvPr/>
        </p:nvSpPr>
        <p:spPr>
          <a:xfrm>
            <a:off x="5729103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7056AA2-8C20-1241-0F2A-F3F113DE8C41}"/>
              </a:ext>
            </a:extLst>
          </p:cNvPr>
          <p:cNvSpPr/>
          <p:nvPr/>
        </p:nvSpPr>
        <p:spPr>
          <a:xfrm>
            <a:off x="5729103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08C12A2-D112-8033-B385-D7C0CE447082}"/>
              </a:ext>
            </a:extLst>
          </p:cNvPr>
          <p:cNvSpPr/>
          <p:nvPr/>
        </p:nvSpPr>
        <p:spPr>
          <a:xfrm>
            <a:off x="5729103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026B3A5A-3B15-E680-994D-3FDAFBA1E42E}"/>
              </a:ext>
            </a:extLst>
          </p:cNvPr>
          <p:cNvSpPr/>
          <p:nvPr/>
        </p:nvSpPr>
        <p:spPr>
          <a:xfrm>
            <a:off x="5729103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B02400DA-51F5-9ED5-E5B7-69DA38269F52}"/>
              </a:ext>
            </a:extLst>
          </p:cNvPr>
          <p:cNvSpPr/>
          <p:nvPr/>
        </p:nvSpPr>
        <p:spPr>
          <a:xfrm>
            <a:off x="5729103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7C9B2895-896F-6822-57D9-ACE8BAB84A36}"/>
              </a:ext>
            </a:extLst>
          </p:cNvPr>
          <p:cNvSpPr/>
          <p:nvPr/>
        </p:nvSpPr>
        <p:spPr>
          <a:xfrm>
            <a:off x="5729103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3F0D7274-C595-883D-743E-4F499849460B}"/>
              </a:ext>
            </a:extLst>
          </p:cNvPr>
          <p:cNvSpPr/>
          <p:nvPr/>
        </p:nvSpPr>
        <p:spPr>
          <a:xfrm>
            <a:off x="5729103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1C9B9916-1BB1-BB51-828F-94A8D8024A9D}"/>
              </a:ext>
            </a:extLst>
          </p:cNvPr>
          <p:cNvSpPr/>
          <p:nvPr/>
        </p:nvSpPr>
        <p:spPr>
          <a:xfrm>
            <a:off x="5729103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71202098-D487-2FBE-6004-8ACF77598093}"/>
              </a:ext>
            </a:extLst>
          </p:cNvPr>
          <p:cNvSpPr/>
          <p:nvPr/>
        </p:nvSpPr>
        <p:spPr>
          <a:xfrm>
            <a:off x="5729103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DB743D8-8CA0-D720-F1AB-DC3A669FC62C}"/>
              </a:ext>
            </a:extLst>
          </p:cNvPr>
          <p:cNvSpPr/>
          <p:nvPr/>
        </p:nvSpPr>
        <p:spPr>
          <a:xfrm>
            <a:off x="6118931" y="2257480"/>
            <a:ext cx="423760" cy="323153"/>
          </a:xfrm>
          <a:prstGeom prst="rect">
            <a:avLst/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Tendência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10d/30d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D6C2B88-B123-48A5-7B14-46A68F9937B7}"/>
              </a:ext>
            </a:extLst>
          </p:cNvPr>
          <p:cNvSpPr/>
          <p:nvPr/>
        </p:nvSpPr>
        <p:spPr>
          <a:xfrm>
            <a:off x="6118931" y="2651564"/>
            <a:ext cx="423760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8%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79107A5-D3ED-4F2E-D099-63644A377572}"/>
              </a:ext>
            </a:extLst>
          </p:cNvPr>
          <p:cNvSpPr/>
          <p:nvPr/>
        </p:nvSpPr>
        <p:spPr>
          <a:xfrm>
            <a:off x="6118931" y="2785975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7%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D9D073F7-ACC3-AB30-1EBF-6DF3BA1C4559}"/>
              </a:ext>
            </a:extLst>
          </p:cNvPr>
          <p:cNvSpPr/>
          <p:nvPr/>
        </p:nvSpPr>
        <p:spPr>
          <a:xfrm>
            <a:off x="6118931" y="2920387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0%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46324B4D-ED9E-7880-1656-8C8CD1F3ED1B}"/>
              </a:ext>
            </a:extLst>
          </p:cNvPr>
          <p:cNvSpPr/>
          <p:nvPr/>
        </p:nvSpPr>
        <p:spPr>
          <a:xfrm>
            <a:off x="6118931" y="3054798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6%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53810FFD-EFF4-5E47-5A57-D1A4CD86E6F7}"/>
              </a:ext>
            </a:extLst>
          </p:cNvPr>
          <p:cNvSpPr/>
          <p:nvPr/>
        </p:nvSpPr>
        <p:spPr>
          <a:xfrm>
            <a:off x="6118931" y="3189209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4%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5B8B98C0-FE79-09FB-41EA-8FE87181230B}"/>
              </a:ext>
            </a:extLst>
          </p:cNvPr>
          <p:cNvSpPr/>
          <p:nvPr/>
        </p:nvSpPr>
        <p:spPr>
          <a:xfrm>
            <a:off x="6118931" y="3323621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9%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120A2363-C1D1-C000-0524-F4A766E513C8}"/>
              </a:ext>
            </a:extLst>
          </p:cNvPr>
          <p:cNvSpPr/>
          <p:nvPr/>
        </p:nvSpPr>
        <p:spPr>
          <a:xfrm>
            <a:off x="6118931" y="3458033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3%</a:t>
            </a: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325F034C-4E72-7BFA-19BC-8BCF5F71F79C}"/>
              </a:ext>
            </a:extLst>
          </p:cNvPr>
          <p:cNvSpPr/>
          <p:nvPr/>
        </p:nvSpPr>
        <p:spPr>
          <a:xfrm>
            <a:off x="6118931" y="3570674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0%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1D2D37B7-173E-4088-B83C-411B90444CF1}"/>
              </a:ext>
            </a:extLst>
          </p:cNvPr>
          <p:cNvSpPr/>
          <p:nvPr/>
        </p:nvSpPr>
        <p:spPr>
          <a:xfrm>
            <a:off x="6118931" y="3722092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0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271421F-A327-D52D-8127-52C67009C1C5}"/>
              </a:ext>
            </a:extLst>
          </p:cNvPr>
          <p:cNvSpPr/>
          <p:nvPr/>
        </p:nvSpPr>
        <p:spPr>
          <a:xfrm>
            <a:off x="6549116" y="2257480"/>
            <a:ext cx="369949" cy="323153"/>
          </a:xfrm>
          <a:prstGeom prst="rect">
            <a:avLst/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Venda ACM MTD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859DEA9-AF1D-3076-6185-6F31170019F3}"/>
              </a:ext>
            </a:extLst>
          </p:cNvPr>
          <p:cNvSpPr/>
          <p:nvPr/>
        </p:nvSpPr>
        <p:spPr>
          <a:xfrm>
            <a:off x="6549116" y="2651564"/>
            <a:ext cx="36994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1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7397086D-AF15-882C-3387-0E17EFDE6558}"/>
              </a:ext>
            </a:extLst>
          </p:cNvPr>
          <p:cNvSpPr/>
          <p:nvPr/>
        </p:nvSpPr>
        <p:spPr>
          <a:xfrm>
            <a:off x="6549116" y="2785975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0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B655B951-C21C-0154-6FE2-7E47F68DFBF9}"/>
              </a:ext>
            </a:extLst>
          </p:cNvPr>
          <p:cNvSpPr/>
          <p:nvPr/>
        </p:nvSpPr>
        <p:spPr>
          <a:xfrm>
            <a:off x="6549116" y="2920387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9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16B97248-B3B3-3A9C-0261-FEABD09D515E}"/>
              </a:ext>
            </a:extLst>
          </p:cNvPr>
          <p:cNvSpPr/>
          <p:nvPr/>
        </p:nvSpPr>
        <p:spPr>
          <a:xfrm>
            <a:off x="6549116" y="3054798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104A7D34-0F53-47B8-2640-EF4FD7FEAF3F}"/>
              </a:ext>
            </a:extLst>
          </p:cNvPr>
          <p:cNvSpPr/>
          <p:nvPr/>
        </p:nvSpPr>
        <p:spPr>
          <a:xfrm>
            <a:off x="6549116" y="3189209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10286418-89A9-13E9-921F-D578FCC3859D}"/>
              </a:ext>
            </a:extLst>
          </p:cNvPr>
          <p:cNvSpPr/>
          <p:nvPr/>
        </p:nvSpPr>
        <p:spPr>
          <a:xfrm>
            <a:off x="6549116" y="3323621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EA263F6F-CBC7-F50E-2D32-95EC2B043D69}"/>
              </a:ext>
            </a:extLst>
          </p:cNvPr>
          <p:cNvSpPr/>
          <p:nvPr/>
        </p:nvSpPr>
        <p:spPr>
          <a:xfrm>
            <a:off x="6549116" y="3458033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96A9ED71-3E20-997A-C411-7D716F9BC653}"/>
              </a:ext>
            </a:extLst>
          </p:cNvPr>
          <p:cNvSpPr/>
          <p:nvPr/>
        </p:nvSpPr>
        <p:spPr>
          <a:xfrm>
            <a:off x="6549116" y="3570674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90B0B566-3996-226B-1CFA-052B244A6679}"/>
              </a:ext>
            </a:extLst>
          </p:cNvPr>
          <p:cNvSpPr/>
          <p:nvPr/>
        </p:nvSpPr>
        <p:spPr>
          <a:xfrm>
            <a:off x="6549116" y="3722092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75A5315-0526-A365-AC5B-6F34980F9C0D}"/>
              </a:ext>
            </a:extLst>
          </p:cNvPr>
          <p:cNvSpPr/>
          <p:nvPr/>
        </p:nvSpPr>
        <p:spPr>
          <a:xfrm>
            <a:off x="8855913" y="2257480"/>
            <a:ext cx="302685" cy="323153"/>
          </a:xfrm>
          <a:prstGeom prst="rect">
            <a:avLst/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DDE CD OFF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782FDAA-453A-7AE7-81FA-5188E42AED7A}"/>
              </a:ext>
            </a:extLst>
          </p:cNvPr>
          <p:cNvSpPr/>
          <p:nvPr/>
        </p:nvSpPr>
        <p:spPr>
          <a:xfrm>
            <a:off x="8855913" y="2651564"/>
            <a:ext cx="302685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7C91155F-3D9F-5036-A190-4E93F47DDD2D}"/>
              </a:ext>
            </a:extLst>
          </p:cNvPr>
          <p:cNvSpPr/>
          <p:nvPr/>
        </p:nvSpPr>
        <p:spPr>
          <a:xfrm>
            <a:off x="8855913" y="2785975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AED05C4F-CC4C-3786-8A88-D8D6BF83F0DB}"/>
              </a:ext>
            </a:extLst>
          </p:cNvPr>
          <p:cNvSpPr/>
          <p:nvPr/>
        </p:nvSpPr>
        <p:spPr>
          <a:xfrm>
            <a:off x="8855913" y="2920387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2D586AAD-6527-B2B1-9E98-09A96571CC0D}"/>
              </a:ext>
            </a:extLst>
          </p:cNvPr>
          <p:cNvSpPr/>
          <p:nvPr/>
        </p:nvSpPr>
        <p:spPr>
          <a:xfrm>
            <a:off x="8855913" y="3054798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D15B3CAA-C01D-08BD-0EC2-FC260A643ED2}"/>
              </a:ext>
            </a:extLst>
          </p:cNvPr>
          <p:cNvSpPr/>
          <p:nvPr/>
        </p:nvSpPr>
        <p:spPr>
          <a:xfrm>
            <a:off x="8855913" y="3189209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C3C403E9-4FF1-3B8D-0B66-04A5E46EB54B}"/>
              </a:ext>
            </a:extLst>
          </p:cNvPr>
          <p:cNvSpPr/>
          <p:nvPr/>
        </p:nvSpPr>
        <p:spPr>
          <a:xfrm>
            <a:off x="8855913" y="3323621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F2ECC57C-13E5-2397-0F66-2CC56EEF1C73}"/>
              </a:ext>
            </a:extLst>
          </p:cNvPr>
          <p:cNvSpPr/>
          <p:nvPr/>
        </p:nvSpPr>
        <p:spPr>
          <a:xfrm>
            <a:off x="8855913" y="3458033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A539D43C-425B-62A9-0354-8F3BC6F30E64}"/>
              </a:ext>
            </a:extLst>
          </p:cNvPr>
          <p:cNvSpPr/>
          <p:nvPr/>
        </p:nvSpPr>
        <p:spPr>
          <a:xfrm>
            <a:off x="8855913" y="3570674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00D959CB-31B6-66C4-3DE1-343B18ABAD4E}"/>
              </a:ext>
            </a:extLst>
          </p:cNvPr>
          <p:cNvSpPr/>
          <p:nvPr/>
        </p:nvSpPr>
        <p:spPr>
          <a:xfrm>
            <a:off x="8855913" y="3722092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E47907D-F449-EDDD-20F4-9913F3A5CCE8}"/>
              </a:ext>
            </a:extLst>
          </p:cNvPr>
          <p:cNvSpPr/>
          <p:nvPr/>
        </p:nvSpPr>
        <p:spPr>
          <a:xfrm>
            <a:off x="9165024" y="2257480"/>
            <a:ext cx="302687" cy="323153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0F1167"/>
                </a:solidFill>
                <a:latin typeface="Calibri" panose="020F0502020204030204" pitchFamily="34" charset="0"/>
              </a:rPr>
              <a:t>S&amp;OP TOTAL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16EB72E-7614-928C-B6BE-5F41AE347065}"/>
              </a:ext>
            </a:extLst>
          </p:cNvPr>
          <p:cNvSpPr/>
          <p:nvPr/>
        </p:nvSpPr>
        <p:spPr>
          <a:xfrm>
            <a:off x="9165024" y="2651564"/>
            <a:ext cx="302687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F8ED1C1-0F46-45CE-2E29-AD98D48D56E0}"/>
              </a:ext>
            </a:extLst>
          </p:cNvPr>
          <p:cNvSpPr/>
          <p:nvPr/>
        </p:nvSpPr>
        <p:spPr>
          <a:xfrm>
            <a:off x="9165024" y="2785975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E86C6B04-213C-0D4B-F0D4-5BB7E76341D2}"/>
              </a:ext>
            </a:extLst>
          </p:cNvPr>
          <p:cNvSpPr/>
          <p:nvPr/>
        </p:nvSpPr>
        <p:spPr>
          <a:xfrm>
            <a:off x="9165024" y="2920387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C20A8C1C-D8C0-C9AC-5CBF-05F053057D68}"/>
              </a:ext>
            </a:extLst>
          </p:cNvPr>
          <p:cNvSpPr/>
          <p:nvPr/>
        </p:nvSpPr>
        <p:spPr>
          <a:xfrm>
            <a:off x="9165024" y="3054798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6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F4705D5E-E8C2-EF02-02B1-684B939ACC46}"/>
              </a:ext>
            </a:extLst>
          </p:cNvPr>
          <p:cNvSpPr/>
          <p:nvPr/>
        </p:nvSpPr>
        <p:spPr>
          <a:xfrm>
            <a:off x="9165024" y="3189209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9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67DAB564-055D-1AC8-6608-A30EEA2EBAE1}"/>
              </a:ext>
            </a:extLst>
          </p:cNvPr>
          <p:cNvSpPr/>
          <p:nvPr/>
        </p:nvSpPr>
        <p:spPr>
          <a:xfrm>
            <a:off x="9165024" y="3323621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5C001386-B771-78EA-CC8B-EFF9DF780EDA}"/>
              </a:ext>
            </a:extLst>
          </p:cNvPr>
          <p:cNvSpPr/>
          <p:nvPr/>
        </p:nvSpPr>
        <p:spPr>
          <a:xfrm>
            <a:off x="9165024" y="3458033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AE7EB7E0-9FEC-435E-A144-11ABE9C547FE}"/>
              </a:ext>
            </a:extLst>
          </p:cNvPr>
          <p:cNvSpPr/>
          <p:nvPr/>
        </p:nvSpPr>
        <p:spPr>
          <a:xfrm>
            <a:off x="9165024" y="3570674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1B7AE0A2-9F1A-5480-2C4D-A1135DB7DF58}"/>
              </a:ext>
            </a:extLst>
          </p:cNvPr>
          <p:cNvSpPr/>
          <p:nvPr/>
        </p:nvSpPr>
        <p:spPr>
          <a:xfrm>
            <a:off x="9165024" y="3722092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20035E8-F7C0-183A-2129-D2C638B1873C}"/>
              </a:ext>
            </a:extLst>
          </p:cNvPr>
          <p:cNvSpPr/>
          <p:nvPr/>
        </p:nvSpPr>
        <p:spPr>
          <a:xfrm>
            <a:off x="9474135" y="2257480"/>
            <a:ext cx="358179" cy="323153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0F1167"/>
                </a:solidFill>
                <a:latin typeface="Calibri" panose="020F0502020204030204" pitchFamily="34" charset="0"/>
              </a:rPr>
              <a:t>S&amp;OP OFF LIN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211D8D7-7B05-57ED-56BA-5D43E247FA6E}"/>
              </a:ext>
            </a:extLst>
          </p:cNvPr>
          <p:cNvSpPr/>
          <p:nvPr/>
        </p:nvSpPr>
        <p:spPr>
          <a:xfrm>
            <a:off x="9474135" y="2651564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4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3D9ECB0F-F545-F5FC-C1F4-45B7C87D1D38}"/>
              </a:ext>
            </a:extLst>
          </p:cNvPr>
          <p:cNvSpPr/>
          <p:nvPr/>
        </p:nvSpPr>
        <p:spPr>
          <a:xfrm>
            <a:off x="9474135" y="2785975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1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98E16051-0743-8FE2-5CFE-F71F6D360508}"/>
              </a:ext>
            </a:extLst>
          </p:cNvPr>
          <p:cNvSpPr/>
          <p:nvPr/>
        </p:nvSpPr>
        <p:spPr>
          <a:xfrm>
            <a:off x="9474135" y="2920387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364F59D2-264B-F766-2C51-613DDD7354F0}"/>
              </a:ext>
            </a:extLst>
          </p:cNvPr>
          <p:cNvSpPr/>
          <p:nvPr/>
        </p:nvSpPr>
        <p:spPr>
          <a:xfrm>
            <a:off x="9474135" y="3054798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4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9BB992E1-7709-2F86-A9B4-26E3E13734C6}"/>
              </a:ext>
            </a:extLst>
          </p:cNvPr>
          <p:cNvSpPr/>
          <p:nvPr/>
        </p:nvSpPr>
        <p:spPr>
          <a:xfrm>
            <a:off x="9474135" y="3189209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1D233457-CE5F-8316-95A4-8D4701E59E09}"/>
              </a:ext>
            </a:extLst>
          </p:cNvPr>
          <p:cNvSpPr/>
          <p:nvPr/>
        </p:nvSpPr>
        <p:spPr>
          <a:xfrm>
            <a:off x="9474135" y="3323621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95BCC98A-BBCF-73E2-5229-E951674D0BA8}"/>
              </a:ext>
            </a:extLst>
          </p:cNvPr>
          <p:cNvSpPr/>
          <p:nvPr/>
        </p:nvSpPr>
        <p:spPr>
          <a:xfrm>
            <a:off x="9474135" y="3458033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B6A060FF-863E-6937-6C8C-3A7DC6DAEACB}"/>
              </a:ext>
            </a:extLst>
          </p:cNvPr>
          <p:cNvSpPr/>
          <p:nvPr/>
        </p:nvSpPr>
        <p:spPr>
          <a:xfrm>
            <a:off x="9474135" y="3570674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F2D94194-B91D-27B8-9401-E77F9372E91E}"/>
              </a:ext>
            </a:extLst>
          </p:cNvPr>
          <p:cNvSpPr/>
          <p:nvPr/>
        </p:nvSpPr>
        <p:spPr>
          <a:xfrm>
            <a:off x="9474135" y="3722092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B1233D-CD5C-FAF6-62A7-6129706E41C0}"/>
              </a:ext>
            </a:extLst>
          </p:cNvPr>
          <p:cNvSpPr/>
          <p:nvPr/>
        </p:nvSpPr>
        <p:spPr>
          <a:xfrm>
            <a:off x="9838738" y="2257480"/>
            <a:ext cx="358179" cy="323153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0F1167"/>
                </a:solidFill>
                <a:latin typeface="Calibri" panose="020F0502020204030204" pitchFamily="34" charset="0"/>
              </a:rPr>
              <a:t>S&amp;OP ON LINE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9627557-E4A9-0CB5-7C2F-67AF23AF7E82}"/>
              </a:ext>
            </a:extLst>
          </p:cNvPr>
          <p:cNvSpPr/>
          <p:nvPr/>
        </p:nvSpPr>
        <p:spPr>
          <a:xfrm>
            <a:off x="9838738" y="2651564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2B44942-4C10-F8F5-FE73-F59D31512D66}"/>
              </a:ext>
            </a:extLst>
          </p:cNvPr>
          <p:cNvSpPr/>
          <p:nvPr/>
        </p:nvSpPr>
        <p:spPr>
          <a:xfrm>
            <a:off x="9838738" y="2785975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3BBA3632-FE60-21F0-C306-8B3F7CA7B1EA}"/>
              </a:ext>
            </a:extLst>
          </p:cNvPr>
          <p:cNvSpPr/>
          <p:nvPr/>
        </p:nvSpPr>
        <p:spPr>
          <a:xfrm>
            <a:off x="9838738" y="2920387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157678C8-FA52-C696-D48A-BF07B97F7026}"/>
              </a:ext>
            </a:extLst>
          </p:cNvPr>
          <p:cNvSpPr/>
          <p:nvPr/>
        </p:nvSpPr>
        <p:spPr>
          <a:xfrm>
            <a:off x="9838738" y="3054798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0B3983AC-C8B8-D27D-8325-D4E251C45BE5}"/>
              </a:ext>
            </a:extLst>
          </p:cNvPr>
          <p:cNvSpPr/>
          <p:nvPr/>
        </p:nvSpPr>
        <p:spPr>
          <a:xfrm>
            <a:off x="9838738" y="3189209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BD7274C0-B85B-BCDD-65C1-982858166442}"/>
              </a:ext>
            </a:extLst>
          </p:cNvPr>
          <p:cNvSpPr/>
          <p:nvPr/>
        </p:nvSpPr>
        <p:spPr>
          <a:xfrm>
            <a:off x="9838738" y="3323621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7B33859E-7A10-E84B-58E5-FE25BC7738C1}"/>
              </a:ext>
            </a:extLst>
          </p:cNvPr>
          <p:cNvSpPr/>
          <p:nvPr/>
        </p:nvSpPr>
        <p:spPr>
          <a:xfrm>
            <a:off x="9838738" y="3458033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3B7DBAAC-107F-FAC0-4D1A-DC7ADEC91B89}"/>
              </a:ext>
            </a:extLst>
          </p:cNvPr>
          <p:cNvSpPr/>
          <p:nvPr/>
        </p:nvSpPr>
        <p:spPr>
          <a:xfrm>
            <a:off x="9838738" y="3570674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5F1A3D92-2F77-4F11-680C-787E520DC0F0}"/>
              </a:ext>
            </a:extLst>
          </p:cNvPr>
          <p:cNvSpPr/>
          <p:nvPr/>
        </p:nvSpPr>
        <p:spPr>
          <a:xfrm>
            <a:off x="9838738" y="3722092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0C6414C-DE0B-C9E0-80D4-A58D381685A2}"/>
              </a:ext>
            </a:extLst>
          </p:cNvPr>
          <p:cNvSpPr/>
          <p:nvPr/>
        </p:nvSpPr>
        <p:spPr>
          <a:xfrm>
            <a:off x="6925490" y="2257480"/>
            <a:ext cx="383402" cy="323153"/>
          </a:xfrm>
          <a:prstGeom prst="rect">
            <a:avLst/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DDE Loja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5646056-0E3B-CCAA-FE59-6A7C24E32259}"/>
              </a:ext>
            </a:extLst>
          </p:cNvPr>
          <p:cNvSpPr/>
          <p:nvPr/>
        </p:nvSpPr>
        <p:spPr>
          <a:xfrm>
            <a:off x="6925490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9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1875AE42-1C19-2D78-C797-BC0C16D9F208}"/>
              </a:ext>
            </a:extLst>
          </p:cNvPr>
          <p:cNvSpPr/>
          <p:nvPr/>
        </p:nvSpPr>
        <p:spPr>
          <a:xfrm>
            <a:off x="6925490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EEBBAD75-D290-F6BF-4A3E-027559999717}"/>
              </a:ext>
            </a:extLst>
          </p:cNvPr>
          <p:cNvSpPr/>
          <p:nvPr/>
        </p:nvSpPr>
        <p:spPr>
          <a:xfrm>
            <a:off x="6925490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0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2D1FDB33-0C6D-734B-DA2F-5AB828A4EE71}"/>
              </a:ext>
            </a:extLst>
          </p:cNvPr>
          <p:cNvSpPr/>
          <p:nvPr/>
        </p:nvSpPr>
        <p:spPr>
          <a:xfrm>
            <a:off x="6925490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E291D95A-841E-0D5B-8809-B6E6EFC1F6DE}"/>
              </a:ext>
            </a:extLst>
          </p:cNvPr>
          <p:cNvSpPr/>
          <p:nvPr/>
        </p:nvSpPr>
        <p:spPr>
          <a:xfrm>
            <a:off x="6925490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1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4D208194-DCE3-A606-0E4D-63576BCFD09F}"/>
              </a:ext>
            </a:extLst>
          </p:cNvPr>
          <p:cNvSpPr/>
          <p:nvPr/>
        </p:nvSpPr>
        <p:spPr>
          <a:xfrm>
            <a:off x="6925490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6C12E866-C926-BF00-F0C0-73FD3AEF8D05}"/>
              </a:ext>
            </a:extLst>
          </p:cNvPr>
          <p:cNvSpPr/>
          <p:nvPr/>
        </p:nvSpPr>
        <p:spPr>
          <a:xfrm>
            <a:off x="6925490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7</a:t>
            </a: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2F4EB216-C86E-7509-B4A5-762C3A543D94}"/>
              </a:ext>
            </a:extLst>
          </p:cNvPr>
          <p:cNvSpPr/>
          <p:nvPr/>
        </p:nvSpPr>
        <p:spPr>
          <a:xfrm>
            <a:off x="6925490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3</a:t>
            </a: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866348E7-96ED-9C0A-E583-669114D90F24}"/>
              </a:ext>
            </a:extLst>
          </p:cNvPr>
          <p:cNvSpPr/>
          <p:nvPr/>
        </p:nvSpPr>
        <p:spPr>
          <a:xfrm>
            <a:off x="6925490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0</a:t>
            </a:r>
          </a:p>
        </p:txBody>
      </p:sp>
      <p:sp>
        <p:nvSpPr>
          <p:cNvPr id="482" name="Rectangle 481">
            <a:extLst>
              <a:ext uri="{FF2B5EF4-FFF2-40B4-BE49-F238E27FC236}">
                <a16:creationId xmlns:a16="http://schemas.microsoft.com/office/drawing/2014/main" id="{894C7AE5-5EDB-05CA-642A-417009848A7F}"/>
              </a:ext>
            </a:extLst>
          </p:cNvPr>
          <p:cNvSpPr/>
          <p:nvPr/>
        </p:nvSpPr>
        <p:spPr>
          <a:xfrm>
            <a:off x="8456931" y="2257480"/>
            <a:ext cx="383402" cy="323153"/>
          </a:xfrm>
          <a:prstGeom prst="rect">
            <a:avLst/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Cobertura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proj</a:t>
            </a:r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83" name="Rectangle 482">
            <a:extLst>
              <a:ext uri="{FF2B5EF4-FFF2-40B4-BE49-F238E27FC236}">
                <a16:creationId xmlns:a16="http://schemas.microsoft.com/office/drawing/2014/main" id="{3F03F926-1BFF-7F7B-F766-E4D44E8C2B45}"/>
              </a:ext>
            </a:extLst>
          </p:cNvPr>
          <p:cNvSpPr/>
          <p:nvPr/>
        </p:nvSpPr>
        <p:spPr>
          <a:xfrm>
            <a:off x="8456931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9FCAD0EC-1656-43E6-D070-E664FA90A988}"/>
              </a:ext>
            </a:extLst>
          </p:cNvPr>
          <p:cNvSpPr/>
          <p:nvPr/>
        </p:nvSpPr>
        <p:spPr>
          <a:xfrm>
            <a:off x="8456931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9E94FFF2-88AE-FE6B-63CF-5AAA42EC6DB3}"/>
              </a:ext>
            </a:extLst>
          </p:cNvPr>
          <p:cNvSpPr/>
          <p:nvPr/>
        </p:nvSpPr>
        <p:spPr>
          <a:xfrm>
            <a:off x="8456931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0</a:t>
            </a:r>
          </a:p>
        </p:txBody>
      </p:sp>
      <p:sp>
        <p:nvSpPr>
          <p:cNvPr id="486" name="Rectangle 485">
            <a:extLst>
              <a:ext uri="{FF2B5EF4-FFF2-40B4-BE49-F238E27FC236}">
                <a16:creationId xmlns:a16="http://schemas.microsoft.com/office/drawing/2014/main" id="{606C26C8-84A6-25DA-4C88-D750D27E5540}"/>
              </a:ext>
            </a:extLst>
          </p:cNvPr>
          <p:cNvSpPr/>
          <p:nvPr/>
        </p:nvSpPr>
        <p:spPr>
          <a:xfrm>
            <a:off x="8456931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BCF43605-EADE-EEF9-DF45-D9BA7B5A4896}"/>
              </a:ext>
            </a:extLst>
          </p:cNvPr>
          <p:cNvSpPr/>
          <p:nvPr/>
        </p:nvSpPr>
        <p:spPr>
          <a:xfrm>
            <a:off x="8456931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1</a:t>
            </a:r>
          </a:p>
        </p:txBody>
      </p:sp>
      <p:sp>
        <p:nvSpPr>
          <p:cNvPr id="488" name="Rectangle 487">
            <a:extLst>
              <a:ext uri="{FF2B5EF4-FFF2-40B4-BE49-F238E27FC236}">
                <a16:creationId xmlns:a16="http://schemas.microsoft.com/office/drawing/2014/main" id="{84541565-4440-92A6-6C09-D72CD320AA2D}"/>
              </a:ext>
            </a:extLst>
          </p:cNvPr>
          <p:cNvSpPr/>
          <p:nvPr/>
        </p:nvSpPr>
        <p:spPr>
          <a:xfrm>
            <a:off x="8456931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DA870E7C-7B04-88E6-E610-1F23D1D39253}"/>
              </a:ext>
            </a:extLst>
          </p:cNvPr>
          <p:cNvSpPr/>
          <p:nvPr/>
        </p:nvSpPr>
        <p:spPr>
          <a:xfrm>
            <a:off x="8456931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7</a:t>
            </a:r>
          </a:p>
        </p:txBody>
      </p:sp>
      <p:sp>
        <p:nvSpPr>
          <p:cNvPr id="490" name="Rectangle 489">
            <a:extLst>
              <a:ext uri="{FF2B5EF4-FFF2-40B4-BE49-F238E27FC236}">
                <a16:creationId xmlns:a16="http://schemas.microsoft.com/office/drawing/2014/main" id="{F198AF1A-B22C-5EB0-8E11-2E33413121E9}"/>
              </a:ext>
            </a:extLst>
          </p:cNvPr>
          <p:cNvSpPr/>
          <p:nvPr/>
        </p:nvSpPr>
        <p:spPr>
          <a:xfrm>
            <a:off x="8456931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3</a:t>
            </a: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B5E5AD67-C076-65F9-AB5E-D3A4F2BC26F4}"/>
              </a:ext>
            </a:extLst>
          </p:cNvPr>
          <p:cNvSpPr/>
          <p:nvPr/>
        </p:nvSpPr>
        <p:spPr>
          <a:xfrm>
            <a:off x="8456931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0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B45FA6F9-83B4-153D-12EC-74047E39F048}"/>
              </a:ext>
            </a:extLst>
          </p:cNvPr>
          <p:cNvSpPr txBox="1"/>
          <p:nvPr/>
        </p:nvSpPr>
        <p:spPr>
          <a:xfrm>
            <a:off x="8744921" y="2849895"/>
            <a:ext cx="0" cy="0"/>
          </a:xfrm>
          <a:prstGeom prst="rect">
            <a:avLst/>
          </a:prstGeom>
          <a:solidFill>
            <a:srgbClr val="F2F2F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590" name="Rectangle 589">
            <a:extLst>
              <a:ext uri="{FF2B5EF4-FFF2-40B4-BE49-F238E27FC236}">
                <a16:creationId xmlns:a16="http://schemas.microsoft.com/office/drawing/2014/main" id="{C9D18CD3-8AB3-3807-EFA3-DD3783BE95C8}"/>
              </a:ext>
            </a:extLst>
          </p:cNvPr>
          <p:cNvSpPr/>
          <p:nvPr/>
        </p:nvSpPr>
        <p:spPr>
          <a:xfrm>
            <a:off x="2497179" y="2257480"/>
            <a:ext cx="343045" cy="323153"/>
          </a:xfrm>
          <a:prstGeom prst="rect">
            <a:avLst/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Cluster OBG </a:t>
            </a:r>
          </a:p>
        </p:txBody>
      </p:sp>
      <p:sp>
        <p:nvSpPr>
          <p:cNvPr id="591" name="Rectangle 590">
            <a:extLst>
              <a:ext uri="{FF2B5EF4-FFF2-40B4-BE49-F238E27FC236}">
                <a16:creationId xmlns:a16="http://schemas.microsoft.com/office/drawing/2014/main" id="{D4614210-9BB2-FB26-DCDB-44FB4D1FEBED}"/>
              </a:ext>
            </a:extLst>
          </p:cNvPr>
          <p:cNvSpPr/>
          <p:nvPr/>
        </p:nvSpPr>
        <p:spPr>
          <a:xfrm>
            <a:off x="2497179" y="2651564"/>
            <a:ext cx="343045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2" name="Rectangle 591">
            <a:extLst>
              <a:ext uri="{FF2B5EF4-FFF2-40B4-BE49-F238E27FC236}">
                <a16:creationId xmlns:a16="http://schemas.microsoft.com/office/drawing/2014/main" id="{8330DB5F-B918-DD7A-2662-75514BC0AFA7}"/>
              </a:ext>
            </a:extLst>
          </p:cNvPr>
          <p:cNvSpPr/>
          <p:nvPr/>
        </p:nvSpPr>
        <p:spPr>
          <a:xfrm>
            <a:off x="2497179" y="2785975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3" name="Rectangle 592">
            <a:extLst>
              <a:ext uri="{FF2B5EF4-FFF2-40B4-BE49-F238E27FC236}">
                <a16:creationId xmlns:a16="http://schemas.microsoft.com/office/drawing/2014/main" id="{7556F2BE-31A4-1A88-1E1B-108AA5B952B6}"/>
              </a:ext>
            </a:extLst>
          </p:cNvPr>
          <p:cNvSpPr/>
          <p:nvPr/>
        </p:nvSpPr>
        <p:spPr>
          <a:xfrm>
            <a:off x="2497179" y="2920387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4" name="Rectangle 593">
            <a:extLst>
              <a:ext uri="{FF2B5EF4-FFF2-40B4-BE49-F238E27FC236}">
                <a16:creationId xmlns:a16="http://schemas.microsoft.com/office/drawing/2014/main" id="{7926E5FA-5D6E-206E-4E1E-CAB68BDDE1E7}"/>
              </a:ext>
            </a:extLst>
          </p:cNvPr>
          <p:cNvSpPr/>
          <p:nvPr/>
        </p:nvSpPr>
        <p:spPr>
          <a:xfrm>
            <a:off x="2497179" y="3054798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5" name="Rectangle 594">
            <a:extLst>
              <a:ext uri="{FF2B5EF4-FFF2-40B4-BE49-F238E27FC236}">
                <a16:creationId xmlns:a16="http://schemas.microsoft.com/office/drawing/2014/main" id="{0606FAF4-D216-E119-A235-E41954C42422}"/>
              </a:ext>
            </a:extLst>
          </p:cNvPr>
          <p:cNvSpPr/>
          <p:nvPr/>
        </p:nvSpPr>
        <p:spPr>
          <a:xfrm>
            <a:off x="2497179" y="3189209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6" name="Rectangle 595">
            <a:extLst>
              <a:ext uri="{FF2B5EF4-FFF2-40B4-BE49-F238E27FC236}">
                <a16:creationId xmlns:a16="http://schemas.microsoft.com/office/drawing/2014/main" id="{C8EB24E7-A3D5-2080-6E93-9C74E0E9FAE4}"/>
              </a:ext>
            </a:extLst>
          </p:cNvPr>
          <p:cNvSpPr/>
          <p:nvPr/>
        </p:nvSpPr>
        <p:spPr>
          <a:xfrm>
            <a:off x="2497179" y="3323621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7" name="Rectangle 596">
            <a:extLst>
              <a:ext uri="{FF2B5EF4-FFF2-40B4-BE49-F238E27FC236}">
                <a16:creationId xmlns:a16="http://schemas.microsoft.com/office/drawing/2014/main" id="{46995741-CABF-0565-A878-40FC0C3426C6}"/>
              </a:ext>
            </a:extLst>
          </p:cNvPr>
          <p:cNvSpPr/>
          <p:nvPr/>
        </p:nvSpPr>
        <p:spPr>
          <a:xfrm>
            <a:off x="2497179" y="3458033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8" name="Rectangle 597">
            <a:extLst>
              <a:ext uri="{FF2B5EF4-FFF2-40B4-BE49-F238E27FC236}">
                <a16:creationId xmlns:a16="http://schemas.microsoft.com/office/drawing/2014/main" id="{B979C28E-E2C5-29CA-A96D-1C3BF1D408AE}"/>
              </a:ext>
            </a:extLst>
          </p:cNvPr>
          <p:cNvSpPr/>
          <p:nvPr/>
        </p:nvSpPr>
        <p:spPr>
          <a:xfrm>
            <a:off x="2497179" y="3570674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9" name="Rectangle 598">
            <a:extLst>
              <a:ext uri="{FF2B5EF4-FFF2-40B4-BE49-F238E27FC236}">
                <a16:creationId xmlns:a16="http://schemas.microsoft.com/office/drawing/2014/main" id="{4E202F49-EF67-1BBE-AA77-EA344240A5C6}"/>
              </a:ext>
            </a:extLst>
          </p:cNvPr>
          <p:cNvSpPr/>
          <p:nvPr/>
        </p:nvSpPr>
        <p:spPr>
          <a:xfrm>
            <a:off x="2497179" y="3722092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907" name="Textfeld 1">
            <a:extLst>
              <a:ext uri="{FF2B5EF4-FFF2-40B4-BE49-F238E27FC236}">
                <a16:creationId xmlns:a16="http://schemas.microsoft.com/office/drawing/2014/main" id="{45EED43D-FCA6-CC87-407B-1A100C1A7381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3229736" y="2571498"/>
            <a:ext cx="278505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Proj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. </a:t>
            </a: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como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?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BFC06C0-38ED-119D-837D-3139CE6A7A1C}"/>
              </a:ext>
            </a:extLst>
          </p:cNvPr>
          <p:cNvSpPr/>
          <p:nvPr/>
        </p:nvSpPr>
        <p:spPr>
          <a:xfrm>
            <a:off x="10971526" y="2257480"/>
            <a:ext cx="443941" cy="323153"/>
          </a:xfrm>
          <a:prstGeom prst="rect">
            <a:avLst/>
          </a:prstGeom>
          <a:solidFill>
            <a:srgbClr val="E7A1A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921035"/>
                </a:solidFill>
                <a:latin typeface="Calibri" panose="020F0502020204030204" pitchFamily="34" charset="0"/>
              </a:rPr>
              <a:t>$ Aging</a:t>
            </a:r>
          </a:p>
          <a:p>
            <a:pPr algn="ctr"/>
            <a:r>
              <a:rPr lang="en-US" sz="700" b="1">
                <a:solidFill>
                  <a:srgbClr val="921035"/>
                </a:solidFill>
                <a:latin typeface="Calibri" panose="020F0502020204030204" pitchFamily="34" charset="0"/>
              </a:rPr>
              <a:t>(%)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E12AEC6C-9F05-EDED-0E22-7592E56DECC7}"/>
              </a:ext>
            </a:extLst>
          </p:cNvPr>
          <p:cNvSpPr/>
          <p:nvPr/>
        </p:nvSpPr>
        <p:spPr>
          <a:xfrm>
            <a:off x="10971526" y="2651564"/>
            <a:ext cx="443941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0755A780-B28D-5740-E1EA-08312E6E2A64}"/>
              </a:ext>
            </a:extLst>
          </p:cNvPr>
          <p:cNvSpPr/>
          <p:nvPr/>
        </p:nvSpPr>
        <p:spPr>
          <a:xfrm>
            <a:off x="10971526" y="2785975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09" name="Rectangle 908">
            <a:extLst>
              <a:ext uri="{FF2B5EF4-FFF2-40B4-BE49-F238E27FC236}">
                <a16:creationId xmlns:a16="http://schemas.microsoft.com/office/drawing/2014/main" id="{81461C66-429B-FC2A-01D3-F20A56339B3C}"/>
              </a:ext>
            </a:extLst>
          </p:cNvPr>
          <p:cNvSpPr/>
          <p:nvPr/>
        </p:nvSpPr>
        <p:spPr>
          <a:xfrm>
            <a:off x="10971526" y="2920387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0" name="Rectangle 909">
            <a:extLst>
              <a:ext uri="{FF2B5EF4-FFF2-40B4-BE49-F238E27FC236}">
                <a16:creationId xmlns:a16="http://schemas.microsoft.com/office/drawing/2014/main" id="{1EE64A9F-BA44-3F51-1CB4-28B846403DAB}"/>
              </a:ext>
            </a:extLst>
          </p:cNvPr>
          <p:cNvSpPr/>
          <p:nvPr/>
        </p:nvSpPr>
        <p:spPr>
          <a:xfrm>
            <a:off x="10971526" y="3054798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1" name="Rectangle 910">
            <a:extLst>
              <a:ext uri="{FF2B5EF4-FFF2-40B4-BE49-F238E27FC236}">
                <a16:creationId xmlns:a16="http://schemas.microsoft.com/office/drawing/2014/main" id="{AF29F4FC-8391-3845-A0A5-BED5E096DF2B}"/>
              </a:ext>
            </a:extLst>
          </p:cNvPr>
          <p:cNvSpPr/>
          <p:nvPr/>
        </p:nvSpPr>
        <p:spPr>
          <a:xfrm>
            <a:off x="10971526" y="3189209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2" name="Rectangle 911">
            <a:extLst>
              <a:ext uri="{FF2B5EF4-FFF2-40B4-BE49-F238E27FC236}">
                <a16:creationId xmlns:a16="http://schemas.microsoft.com/office/drawing/2014/main" id="{A7CB6A97-21C9-5D64-CE50-52C02C69042F}"/>
              </a:ext>
            </a:extLst>
          </p:cNvPr>
          <p:cNvSpPr/>
          <p:nvPr/>
        </p:nvSpPr>
        <p:spPr>
          <a:xfrm>
            <a:off x="10971526" y="3323621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3" name="Rectangle 912">
            <a:extLst>
              <a:ext uri="{FF2B5EF4-FFF2-40B4-BE49-F238E27FC236}">
                <a16:creationId xmlns:a16="http://schemas.microsoft.com/office/drawing/2014/main" id="{4ACD6B0B-803D-8C5E-464B-DEDB0120943D}"/>
              </a:ext>
            </a:extLst>
          </p:cNvPr>
          <p:cNvSpPr/>
          <p:nvPr/>
        </p:nvSpPr>
        <p:spPr>
          <a:xfrm>
            <a:off x="10971526" y="3458033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4" name="Rectangle 913">
            <a:extLst>
              <a:ext uri="{FF2B5EF4-FFF2-40B4-BE49-F238E27FC236}">
                <a16:creationId xmlns:a16="http://schemas.microsoft.com/office/drawing/2014/main" id="{FE69316A-8FC7-86E3-A8BD-134DB14FA884}"/>
              </a:ext>
            </a:extLst>
          </p:cNvPr>
          <p:cNvSpPr/>
          <p:nvPr/>
        </p:nvSpPr>
        <p:spPr>
          <a:xfrm>
            <a:off x="10971526" y="3570674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6" name="Rectangle 915">
            <a:extLst>
              <a:ext uri="{FF2B5EF4-FFF2-40B4-BE49-F238E27FC236}">
                <a16:creationId xmlns:a16="http://schemas.microsoft.com/office/drawing/2014/main" id="{EBB0266E-97E9-5272-251A-8CBD0AE93C68}"/>
              </a:ext>
            </a:extLst>
          </p:cNvPr>
          <p:cNvSpPr/>
          <p:nvPr/>
        </p:nvSpPr>
        <p:spPr>
          <a:xfrm>
            <a:off x="10971526" y="3722092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31" name="Rectangle 930">
            <a:extLst>
              <a:ext uri="{FF2B5EF4-FFF2-40B4-BE49-F238E27FC236}">
                <a16:creationId xmlns:a16="http://schemas.microsoft.com/office/drawing/2014/main" id="{6010172E-93F2-7339-9BFC-4A3A224ED78A}"/>
              </a:ext>
            </a:extLst>
          </p:cNvPr>
          <p:cNvSpPr/>
          <p:nvPr/>
        </p:nvSpPr>
        <p:spPr>
          <a:xfrm>
            <a:off x="7332577" y="2257480"/>
            <a:ext cx="383402" cy="323153"/>
          </a:xfrm>
          <a:prstGeom prst="rect">
            <a:avLst/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Faixa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DDE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saudável</a:t>
            </a:r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32" name="Rectangle 931">
            <a:extLst>
              <a:ext uri="{FF2B5EF4-FFF2-40B4-BE49-F238E27FC236}">
                <a16:creationId xmlns:a16="http://schemas.microsoft.com/office/drawing/2014/main" id="{2FD6106F-FC12-F8AC-2E7C-BA9624CADFC8}"/>
              </a:ext>
            </a:extLst>
          </p:cNvPr>
          <p:cNvSpPr/>
          <p:nvPr/>
        </p:nvSpPr>
        <p:spPr>
          <a:xfrm>
            <a:off x="7332577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3" name="Rectangle 932">
            <a:extLst>
              <a:ext uri="{FF2B5EF4-FFF2-40B4-BE49-F238E27FC236}">
                <a16:creationId xmlns:a16="http://schemas.microsoft.com/office/drawing/2014/main" id="{BCA1ACBC-7352-8855-6D58-5D72715FCE32}"/>
              </a:ext>
            </a:extLst>
          </p:cNvPr>
          <p:cNvSpPr/>
          <p:nvPr/>
        </p:nvSpPr>
        <p:spPr>
          <a:xfrm>
            <a:off x="7332577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4" name="Rectangle 933">
            <a:extLst>
              <a:ext uri="{FF2B5EF4-FFF2-40B4-BE49-F238E27FC236}">
                <a16:creationId xmlns:a16="http://schemas.microsoft.com/office/drawing/2014/main" id="{523C35F5-9829-5944-88D8-1A3C04B4D3BC}"/>
              </a:ext>
            </a:extLst>
          </p:cNvPr>
          <p:cNvSpPr/>
          <p:nvPr/>
        </p:nvSpPr>
        <p:spPr>
          <a:xfrm>
            <a:off x="7332577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5" name="Rectangle 934">
            <a:extLst>
              <a:ext uri="{FF2B5EF4-FFF2-40B4-BE49-F238E27FC236}">
                <a16:creationId xmlns:a16="http://schemas.microsoft.com/office/drawing/2014/main" id="{C3CC992B-2166-8B54-C071-D23191190DCB}"/>
              </a:ext>
            </a:extLst>
          </p:cNvPr>
          <p:cNvSpPr/>
          <p:nvPr/>
        </p:nvSpPr>
        <p:spPr>
          <a:xfrm>
            <a:off x="7332577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6" name="Rectangle 935">
            <a:extLst>
              <a:ext uri="{FF2B5EF4-FFF2-40B4-BE49-F238E27FC236}">
                <a16:creationId xmlns:a16="http://schemas.microsoft.com/office/drawing/2014/main" id="{2F0568C8-C663-96DC-EEAE-40C24ED7B8A2}"/>
              </a:ext>
            </a:extLst>
          </p:cNvPr>
          <p:cNvSpPr/>
          <p:nvPr/>
        </p:nvSpPr>
        <p:spPr>
          <a:xfrm>
            <a:off x="7332577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7" name="Rectangle 936">
            <a:extLst>
              <a:ext uri="{FF2B5EF4-FFF2-40B4-BE49-F238E27FC236}">
                <a16:creationId xmlns:a16="http://schemas.microsoft.com/office/drawing/2014/main" id="{14BB8137-C77C-88D0-5605-9E9C89F92688}"/>
              </a:ext>
            </a:extLst>
          </p:cNvPr>
          <p:cNvSpPr/>
          <p:nvPr/>
        </p:nvSpPr>
        <p:spPr>
          <a:xfrm>
            <a:off x="7332577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8" name="Rectangle 937">
            <a:extLst>
              <a:ext uri="{FF2B5EF4-FFF2-40B4-BE49-F238E27FC236}">
                <a16:creationId xmlns:a16="http://schemas.microsoft.com/office/drawing/2014/main" id="{5ADBEBF9-C89C-8E78-8AA0-ABB30715806C}"/>
              </a:ext>
            </a:extLst>
          </p:cNvPr>
          <p:cNvSpPr/>
          <p:nvPr/>
        </p:nvSpPr>
        <p:spPr>
          <a:xfrm>
            <a:off x="7332577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9" name="Rectangle 938">
            <a:extLst>
              <a:ext uri="{FF2B5EF4-FFF2-40B4-BE49-F238E27FC236}">
                <a16:creationId xmlns:a16="http://schemas.microsoft.com/office/drawing/2014/main" id="{1F2E2862-5465-7D98-23D1-38CA17E172C8}"/>
              </a:ext>
            </a:extLst>
          </p:cNvPr>
          <p:cNvSpPr/>
          <p:nvPr/>
        </p:nvSpPr>
        <p:spPr>
          <a:xfrm>
            <a:off x="7332577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0" name="Rectangle 939">
            <a:extLst>
              <a:ext uri="{FF2B5EF4-FFF2-40B4-BE49-F238E27FC236}">
                <a16:creationId xmlns:a16="http://schemas.microsoft.com/office/drawing/2014/main" id="{600D8C99-512F-94F6-57A2-AA24743CC68F}"/>
              </a:ext>
            </a:extLst>
          </p:cNvPr>
          <p:cNvSpPr/>
          <p:nvPr/>
        </p:nvSpPr>
        <p:spPr>
          <a:xfrm>
            <a:off x="7332577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3" name="Rectangle 942">
            <a:extLst>
              <a:ext uri="{FF2B5EF4-FFF2-40B4-BE49-F238E27FC236}">
                <a16:creationId xmlns:a16="http://schemas.microsoft.com/office/drawing/2014/main" id="{E3A77B48-E824-9D4D-CE0D-9529420875C0}"/>
              </a:ext>
            </a:extLst>
          </p:cNvPr>
          <p:cNvSpPr/>
          <p:nvPr/>
        </p:nvSpPr>
        <p:spPr>
          <a:xfrm>
            <a:off x="7731693" y="2257480"/>
            <a:ext cx="383402" cy="323153"/>
          </a:xfrm>
          <a:prstGeom prst="rect">
            <a:avLst/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Classficação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de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saúde</a:t>
            </a:r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44" name="Rectangle 943">
            <a:extLst>
              <a:ext uri="{FF2B5EF4-FFF2-40B4-BE49-F238E27FC236}">
                <a16:creationId xmlns:a16="http://schemas.microsoft.com/office/drawing/2014/main" id="{AF5B7DBC-3989-AF45-08A8-9A5C973282F4}"/>
              </a:ext>
            </a:extLst>
          </p:cNvPr>
          <p:cNvSpPr/>
          <p:nvPr/>
        </p:nvSpPr>
        <p:spPr>
          <a:xfrm>
            <a:off x="7731693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5" name="Rectangle 944">
            <a:extLst>
              <a:ext uri="{FF2B5EF4-FFF2-40B4-BE49-F238E27FC236}">
                <a16:creationId xmlns:a16="http://schemas.microsoft.com/office/drawing/2014/main" id="{905B79A4-A72F-0249-9D3E-9F130A87AE8F}"/>
              </a:ext>
            </a:extLst>
          </p:cNvPr>
          <p:cNvSpPr/>
          <p:nvPr/>
        </p:nvSpPr>
        <p:spPr>
          <a:xfrm>
            <a:off x="7731693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6" name="Rectangle 945">
            <a:extLst>
              <a:ext uri="{FF2B5EF4-FFF2-40B4-BE49-F238E27FC236}">
                <a16:creationId xmlns:a16="http://schemas.microsoft.com/office/drawing/2014/main" id="{FB46D8BF-48C3-BC2C-F3AC-5E705937E798}"/>
              </a:ext>
            </a:extLst>
          </p:cNvPr>
          <p:cNvSpPr/>
          <p:nvPr/>
        </p:nvSpPr>
        <p:spPr>
          <a:xfrm>
            <a:off x="7731693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7" name="Rectangle 946">
            <a:extLst>
              <a:ext uri="{FF2B5EF4-FFF2-40B4-BE49-F238E27FC236}">
                <a16:creationId xmlns:a16="http://schemas.microsoft.com/office/drawing/2014/main" id="{B0DDB460-8248-F766-6645-8F6C49E49CFE}"/>
              </a:ext>
            </a:extLst>
          </p:cNvPr>
          <p:cNvSpPr/>
          <p:nvPr/>
        </p:nvSpPr>
        <p:spPr>
          <a:xfrm>
            <a:off x="7731693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8" name="Rectangle 947">
            <a:extLst>
              <a:ext uri="{FF2B5EF4-FFF2-40B4-BE49-F238E27FC236}">
                <a16:creationId xmlns:a16="http://schemas.microsoft.com/office/drawing/2014/main" id="{69005CF3-1913-538D-7633-6C8A3C7788A6}"/>
              </a:ext>
            </a:extLst>
          </p:cNvPr>
          <p:cNvSpPr/>
          <p:nvPr/>
        </p:nvSpPr>
        <p:spPr>
          <a:xfrm>
            <a:off x="7731693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9" name="Rectangle 948">
            <a:extLst>
              <a:ext uri="{FF2B5EF4-FFF2-40B4-BE49-F238E27FC236}">
                <a16:creationId xmlns:a16="http://schemas.microsoft.com/office/drawing/2014/main" id="{55066F52-5652-E473-C884-0441B815CB27}"/>
              </a:ext>
            </a:extLst>
          </p:cNvPr>
          <p:cNvSpPr/>
          <p:nvPr/>
        </p:nvSpPr>
        <p:spPr>
          <a:xfrm>
            <a:off x="7731693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50" name="Rectangle 949">
            <a:extLst>
              <a:ext uri="{FF2B5EF4-FFF2-40B4-BE49-F238E27FC236}">
                <a16:creationId xmlns:a16="http://schemas.microsoft.com/office/drawing/2014/main" id="{F67D677E-DC39-572F-7BB3-A1FC6BA657DC}"/>
              </a:ext>
            </a:extLst>
          </p:cNvPr>
          <p:cNvSpPr/>
          <p:nvPr/>
        </p:nvSpPr>
        <p:spPr>
          <a:xfrm>
            <a:off x="7731693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51" name="Rectangle 950">
            <a:extLst>
              <a:ext uri="{FF2B5EF4-FFF2-40B4-BE49-F238E27FC236}">
                <a16:creationId xmlns:a16="http://schemas.microsoft.com/office/drawing/2014/main" id="{7192405F-4593-2960-9C67-61952F78EBC8}"/>
              </a:ext>
            </a:extLst>
          </p:cNvPr>
          <p:cNvSpPr/>
          <p:nvPr/>
        </p:nvSpPr>
        <p:spPr>
          <a:xfrm>
            <a:off x="7731693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52" name="Rectangle 951">
            <a:extLst>
              <a:ext uri="{FF2B5EF4-FFF2-40B4-BE49-F238E27FC236}">
                <a16:creationId xmlns:a16="http://schemas.microsoft.com/office/drawing/2014/main" id="{F7CD7542-92F0-2C8E-6D55-B2FE8198DE1D}"/>
              </a:ext>
            </a:extLst>
          </p:cNvPr>
          <p:cNvSpPr/>
          <p:nvPr/>
        </p:nvSpPr>
        <p:spPr>
          <a:xfrm>
            <a:off x="7731693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59" name="Rectangle 958">
            <a:extLst>
              <a:ext uri="{FF2B5EF4-FFF2-40B4-BE49-F238E27FC236}">
                <a16:creationId xmlns:a16="http://schemas.microsoft.com/office/drawing/2014/main" id="{E728741B-4983-E3D9-E38C-F6895F20FFD6}"/>
              </a:ext>
            </a:extLst>
          </p:cNvPr>
          <p:cNvSpPr/>
          <p:nvPr/>
        </p:nvSpPr>
        <p:spPr>
          <a:xfrm>
            <a:off x="836069" y="3875553"/>
            <a:ext cx="403581" cy="16835"/>
          </a:xfrm>
          <a:prstGeom prst="rect">
            <a:avLst/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7C6FACF-161A-55E7-37B0-54A1096E08DF}"/>
              </a:ext>
            </a:extLst>
          </p:cNvPr>
          <p:cNvSpPr/>
          <p:nvPr/>
        </p:nvSpPr>
        <p:spPr>
          <a:xfrm>
            <a:off x="1246075" y="3875553"/>
            <a:ext cx="625552" cy="16835"/>
          </a:xfrm>
          <a:prstGeom prst="rect">
            <a:avLst/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777C99-73C3-5D45-A136-22E568DF5DB6}"/>
              </a:ext>
            </a:extLst>
          </p:cNvPr>
          <p:cNvSpPr/>
          <p:nvPr/>
        </p:nvSpPr>
        <p:spPr>
          <a:xfrm>
            <a:off x="1878052" y="3875553"/>
            <a:ext cx="317821" cy="16835"/>
          </a:xfrm>
          <a:prstGeom prst="rect">
            <a:avLst/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EC60645-0DE7-086F-F522-5B3CB948E4AC}"/>
              </a:ext>
            </a:extLst>
          </p:cNvPr>
          <p:cNvSpPr/>
          <p:nvPr/>
        </p:nvSpPr>
        <p:spPr>
          <a:xfrm>
            <a:off x="10561520" y="3875553"/>
            <a:ext cx="403580" cy="16835"/>
          </a:xfrm>
          <a:prstGeom prst="rect">
            <a:avLst/>
          </a:prstGeom>
          <a:solidFill>
            <a:srgbClr val="E7A1A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921035"/>
              </a:solidFill>
              <a:latin typeface="Calibri" panose="020F05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82DED16-0E2C-6371-542C-72530C38FBE2}"/>
              </a:ext>
            </a:extLst>
          </p:cNvPr>
          <p:cNvSpPr/>
          <p:nvPr/>
        </p:nvSpPr>
        <p:spPr>
          <a:xfrm>
            <a:off x="2202298" y="3875553"/>
            <a:ext cx="282670" cy="16835"/>
          </a:xfrm>
          <a:prstGeom prst="rect">
            <a:avLst/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C9A8356-3385-73A5-D209-A2C8ABB88152}"/>
              </a:ext>
            </a:extLst>
          </p:cNvPr>
          <p:cNvSpPr/>
          <p:nvPr/>
        </p:nvSpPr>
        <p:spPr>
          <a:xfrm>
            <a:off x="3171533" y="3875553"/>
            <a:ext cx="398536" cy="16835"/>
          </a:xfrm>
          <a:prstGeom prst="rect">
            <a:avLst/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78EFE5-1739-3552-236F-F7A2B3AEE84A}"/>
              </a:ext>
            </a:extLst>
          </p:cNvPr>
          <p:cNvSpPr/>
          <p:nvPr/>
        </p:nvSpPr>
        <p:spPr>
          <a:xfrm>
            <a:off x="3576494" y="3875553"/>
            <a:ext cx="398536" cy="16835"/>
          </a:xfrm>
          <a:prstGeom prst="rect">
            <a:avLst/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B4BA819-AA90-8BAA-A08E-1A3A3088DD66}"/>
              </a:ext>
            </a:extLst>
          </p:cNvPr>
          <p:cNvSpPr/>
          <p:nvPr/>
        </p:nvSpPr>
        <p:spPr>
          <a:xfrm>
            <a:off x="2847287" y="3875553"/>
            <a:ext cx="317821" cy="16835"/>
          </a:xfrm>
          <a:prstGeom prst="rect">
            <a:avLst/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569D3E1-6659-22EC-FB75-1D7C3CBD13F3}"/>
              </a:ext>
            </a:extLst>
          </p:cNvPr>
          <p:cNvSpPr/>
          <p:nvPr/>
        </p:nvSpPr>
        <p:spPr>
          <a:xfrm>
            <a:off x="10203341" y="3875553"/>
            <a:ext cx="358179" cy="16835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0F1167"/>
              </a:solidFill>
              <a:latin typeface="Calibri" panose="020F050202020403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28BEA01-76B3-D76A-3894-DC54491F751A}"/>
              </a:ext>
            </a:extLst>
          </p:cNvPr>
          <p:cNvSpPr/>
          <p:nvPr/>
        </p:nvSpPr>
        <p:spPr>
          <a:xfrm>
            <a:off x="3981455" y="3875553"/>
            <a:ext cx="383402" cy="16835"/>
          </a:xfrm>
          <a:prstGeom prst="rect">
            <a:avLst/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2B26FBF-6F0E-C4D8-63B3-9849AFA91C80}"/>
              </a:ext>
            </a:extLst>
          </p:cNvPr>
          <p:cNvSpPr/>
          <p:nvPr/>
        </p:nvSpPr>
        <p:spPr>
          <a:xfrm>
            <a:off x="4371284" y="3875553"/>
            <a:ext cx="423760" cy="16835"/>
          </a:xfrm>
          <a:prstGeom prst="rect">
            <a:avLst/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9EB0572-61A0-6469-B636-05889194F9E7}"/>
              </a:ext>
            </a:extLst>
          </p:cNvPr>
          <p:cNvSpPr/>
          <p:nvPr/>
        </p:nvSpPr>
        <p:spPr>
          <a:xfrm>
            <a:off x="4801469" y="3875553"/>
            <a:ext cx="423760" cy="16835"/>
          </a:xfrm>
          <a:prstGeom prst="rect">
            <a:avLst/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7A61D2B-11DB-DAFF-B7B2-94106B215322}"/>
              </a:ext>
            </a:extLst>
          </p:cNvPr>
          <p:cNvSpPr/>
          <p:nvPr/>
        </p:nvSpPr>
        <p:spPr>
          <a:xfrm>
            <a:off x="5231654" y="3875553"/>
            <a:ext cx="491024" cy="16835"/>
          </a:xfrm>
          <a:prstGeom prst="rect">
            <a:avLst/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392826E-23D1-A38E-404E-DB10A2F851AB}"/>
              </a:ext>
            </a:extLst>
          </p:cNvPr>
          <p:cNvSpPr/>
          <p:nvPr/>
        </p:nvSpPr>
        <p:spPr>
          <a:xfrm>
            <a:off x="5729103" y="3875553"/>
            <a:ext cx="383402" cy="16835"/>
          </a:xfrm>
          <a:prstGeom prst="rect">
            <a:avLst/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BCFEAE9-5FDE-ADEE-2717-74460181679D}"/>
              </a:ext>
            </a:extLst>
          </p:cNvPr>
          <p:cNvSpPr/>
          <p:nvPr/>
        </p:nvSpPr>
        <p:spPr>
          <a:xfrm>
            <a:off x="6118931" y="3875553"/>
            <a:ext cx="423760" cy="16835"/>
          </a:xfrm>
          <a:prstGeom prst="rect">
            <a:avLst/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A68DF03-7B6B-E49F-001F-35B902FF1467}"/>
              </a:ext>
            </a:extLst>
          </p:cNvPr>
          <p:cNvSpPr/>
          <p:nvPr/>
        </p:nvSpPr>
        <p:spPr>
          <a:xfrm>
            <a:off x="6549116" y="3875553"/>
            <a:ext cx="369949" cy="16835"/>
          </a:xfrm>
          <a:prstGeom prst="rect">
            <a:avLst/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D0478077-4F26-C516-0E99-3CEBDB1D7691}"/>
              </a:ext>
            </a:extLst>
          </p:cNvPr>
          <p:cNvSpPr/>
          <p:nvPr/>
        </p:nvSpPr>
        <p:spPr>
          <a:xfrm>
            <a:off x="8855913" y="3875553"/>
            <a:ext cx="302685" cy="16835"/>
          </a:xfrm>
          <a:prstGeom prst="rect">
            <a:avLst/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7533EF6-3D14-FD3B-25C7-AFFF30471F77}"/>
              </a:ext>
            </a:extLst>
          </p:cNvPr>
          <p:cNvSpPr/>
          <p:nvPr/>
        </p:nvSpPr>
        <p:spPr>
          <a:xfrm>
            <a:off x="9165024" y="3875553"/>
            <a:ext cx="302687" cy="16835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0F1167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85E7C80-EE5A-7A9B-7723-96D26E6C6292}"/>
              </a:ext>
            </a:extLst>
          </p:cNvPr>
          <p:cNvSpPr/>
          <p:nvPr/>
        </p:nvSpPr>
        <p:spPr>
          <a:xfrm>
            <a:off x="9474135" y="3875553"/>
            <a:ext cx="358179" cy="16835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0F1167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4984F22-2323-B574-8D92-5C4124F7FBCB}"/>
              </a:ext>
            </a:extLst>
          </p:cNvPr>
          <p:cNvSpPr/>
          <p:nvPr/>
        </p:nvSpPr>
        <p:spPr>
          <a:xfrm>
            <a:off x="9838738" y="3875553"/>
            <a:ext cx="358179" cy="16835"/>
          </a:xfrm>
          <a:prstGeom prst="rect">
            <a:avLst/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0F1167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7D77D49-D772-08E7-3ABB-13FC829D8AD8}"/>
              </a:ext>
            </a:extLst>
          </p:cNvPr>
          <p:cNvSpPr/>
          <p:nvPr/>
        </p:nvSpPr>
        <p:spPr>
          <a:xfrm>
            <a:off x="6925490" y="3875553"/>
            <a:ext cx="383402" cy="16835"/>
          </a:xfrm>
          <a:prstGeom prst="rect">
            <a:avLst/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AFF406E-CAD2-443C-4C17-8D4C5788C41E}"/>
              </a:ext>
            </a:extLst>
          </p:cNvPr>
          <p:cNvSpPr/>
          <p:nvPr/>
        </p:nvSpPr>
        <p:spPr>
          <a:xfrm>
            <a:off x="8456931" y="3875553"/>
            <a:ext cx="383402" cy="16835"/>
          </a:xfrm>
          <a:prstGeom prst="rect">
            <a:avLst/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D256B5E-B6F1-7245-F1B6-580256643D15}"/>
              </a:ext>
            </a:extLst>
          </p:cNvPr>
          <p:cNvSpPr/>
          <p:nvPr/>
        </p:nvSpPr>
        <p:spPr>
          <a:xfrm>
            <a:off x="2497179" y="3875553"/>
            <a:ext cx="343045" cy="16835"/>
          </a:xfrm>
          <a:prstGeom prst="rect">
            <a:avLst/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5C32AC4-031C-E476-9ACA-F767BA92FCD6}"/>
              </a:ext>
            </a:extLst>
          </p:cNvPr>
          <p:cNvSpPr/>
          <p:nvPr/>
        </p:nvSpPr>
        <p:spPr>
          <a:xfrm>
            <a:off x="10971526" y="3875553"/>
            <a:ext cx="443941" cy="16835"/>
          </a:xfrm>
          <a:prstGeom prst="rect">
            <a:avLst/>
          </a:prstGeom>
          <a:solidFill>
            <a:srgbClr val="E7A1A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921035"/>
              </a:solidFill>
              <a:latin typeface="Calibri" panose="020F050202020403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C0AB6E6-A1CA-7E81-031B-4ECAFEA31634}"/>
              </a:ext>
            </a:extLst>
          </p:cNvPr>
          <p:cNvSpPr/>
          <p:nvPr/>
        </p:nvSpPr>
        <p:spPr>
          <a:xfrm>
            <a:off x="7332577" y="3875553"/>
            <a:ext cx="383402" cy="16835"/>
          </a:xfrm>
          <a:prstGeom prst="rect">
            <a:avLst/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0E54820-A20C-3FBA-C8D4-9AD03FD20B98}"/>
              </a:ext>
            </a:extLst>
          </p:cNvPr>
          <p:cNvSpPr/>
          <p:nvPr/>
        </p:nvSpPr>
        <p:spPr>
          <a:xfrm>
            <a:off x="7731693" y="3875553"/>
            <a:ext cx="383402" cy="16835"/>
          </a:xfrm>
          <a:prstGeom prst="rect">
            <a:avLst/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341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3EA380-96DE-B13B-65AE-7B76FCBEF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C6851C7-C609-5D12-A549-1D4FCACAEB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5238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7772400" imgH="10058400" progId="TCLayout.ActiveDocument.1">
                  <p:embed/>
                </p:oleObj>
              </mc:Choice>
              <mc:Fallback>
                <p:oleObj name="think-cell Slide" r:id="rId4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6851C7-C609-5D12-A549-1D4FCACAEB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7902A306-A600-7D54-9562-6E7EC9D3A9B0}"/>
              </a:ext>
            </a:extLst>
          </p:cNvPr>
          <p:cNvGrpSpPr/>
          <p:nvPr/>
        </p:nvGrpSpPr>
        <p:grpSpPr>
          <a:xfrm>
            <a:off x="406654" y="1135786"/>
            <a:ext cx="11378692" cy="5326449"/>
            <a:chOff x="524403" y="1863969"/>
            <a:chExt cx="10791297" cy="4445004"/>
          </a:xfrm>
        </p:grpSpPr>
        <p:sp>
          <p:nvSpPr>
            <p:cNvPr id="928" name="Rectangle: Rounded Corners 927">
              <a:extLst>
                <a:ext uri="{FF2B5EF4-FFF2-40B4-BE49-F238E27FC236}">
                  <a16:creationId xmlns:a16="http://schemas.microsoft.com/office/drawing/2014/main" id="{086134D5-637C-4977-03F5-35435691001B}"/>
                </a:ext>
              </a:extLst>
            </p:cNvPr>
            <p:cNvSpPr/>
            <p:nvPr/>
          </p:nvSpPr>
          <p:spPr>
            <a:xfrm>
              <a:off x="524403" y="1924809"/>
              <a:ext cx="10694582" cy="4384164"/>
            </a:xfrm>
            <a:prstGeom prst="roundRect">
              <a:avLst>
                <a:gd name="adj" fmla="val 3741"/>
              </a:avLst>
            </a:prstGeom>
            <a:noFill/>
            <a:ln w="3810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29" name="Rectangle 928">
              <a:extLst>
                <a:ext uri="{FF2B5EF4-FFF2-40B4-BE49-F238E27FC236}">
                  <a16:creationId xmlns:a16="http://schemas.microsoft.com/office/drawing/2014/main" id="{A51119B7-8C76-399E-178B-F152F0D0B80F}"/>
                </a:ext>
              </a:extLst>
            </p:cNvPr>
            <p:cNvSpPr/>
            <p:nvPr/>
          </p:nvSpPr>
          <p:spPr>
            <a:xfrm>
              <a:off x="9258300" y="1863969"/>
              <a:ext cx="2057400" cy="2540977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C7A9D08-A4FF-6AD4-468F-56598F6632DE}"/>
                </a:ext>
              </a:extLst>
            </p:cNvPr>
            <p:cNvSpPr/>
            <p:nvPr/>
          </p:nvSpPr>
          <p:spPr>
            <a:xfrm>
              <a:off x="9293469" y="1923422"/>
              <a:ext cx="1926037" cy="2481522"/>
            </a:xfrm>
            <a:custGeom>
              <a:avLst/>
              <a:gdLst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62025 w 990600"/>
                <a:gd name="connsiteY2" fmla="*/ 66675 h 1219200"/>
                <a:gd name="connsiteX3" fmla="*/ 990600 w 990600"/>
                <a:gd name="connsiteY3" fmla="*/ 95250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90600 w 990600"/>
                <a:gd name="connsiteY3" fmla="*/ 95250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9 w 990600"/>
                <a:gd name="connsiteY3" fmla="*/ 104775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9 w 990600"/>
                <a:gd name="connsiteY3" fmla="*/ 104775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9 w 990600"/>
                <a:gd name="connsiteY3" fmla="*/ 104775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9 w 990600"/>
                <a:gd name="connsiteY3" fmla="*/ 104775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9 w 990600"/>
                <a:gd name="connsiteY3" fmla="*/ 102400 h 1219200"/>
                <a:gd name="connsiteX4" fmla="*/ 990600 w 990600"/>
                <a:gd name="connsiteY4" fmla="*/ 1219200 h 1219200"/>
                <a:gd name="connsiteX0" fmla="*/ 0 w 990829"/>
                <a:gd name="connsiteY0" fmla="*/ 0 h 1219200"/>
                <a:gd name="connsiteX1" fmla="*/ 876300 w 990829"/>
                <a:gd name="connsiteY1" fmla="*/ 0 h 1219200"/>
                <a:gd name="connsiteX2" fmla="*/ 952500 w 990829"/>
                <a:gd name="connsiteY2" fmla="*/ 35719 h 1219200"/>
                <a:gd name="connsiteX3" fmla="*/ 990600 w 990829"/>
                <a:gd name="connsiteY3" fmla="*/ 114280 h 1219200"/>
                <a:gd name="connsiteX4" fmla="*/ 990600 w 990829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8 w 990600"/>
                <a:gd name="connsiteY3" fmla="*/ 114280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8 w 990600"/>
                <a:gd name="connsiteY3" fmla="*/ 114280 h 1219200"/>
                <a:gd name="connsiteX4" fmla="*/ 990600 w 990600"/>
                <a:gd name="connsiteY4" fmla="*/ 1219200 h 1219200"/>
                <a:gd name="connsiteX0" fmla="*/ 0 w 990828"/>
                <a:gd name="connsiteY0" fmla="*/ 0 h 1219200"/>
                <a:gd name="connsiteX1" fmla="*/ 876300 w 990828"/>
                <a:gd name="connsiteY1" fmla="*/ 0 h 1219200"/>
                <a:gd name="connsiteX2" fmla="*/ 952500 w 990828"/>
                <a:gd name="connsiteY2" fmla="*/ 35719 h 1219200"/>
                <a:gd name="connsiteX3" fmla="*/ 990599 w 990828"/>
                <a:gd name="connsiteY3" fmla="*/ 114280 h 1219200"/>
                <a:gd name="connsiteX4" fmla="*/ 990600 w 990828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8 w 990600"/>
                <a:gd name="connsiteY3" fmla="*/ 114280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8 w 990600"/>
                <a:gd name="connsiteY3" fmla="*/ 114280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8 w 990600"/>
                <a:gd name="connsiteY3" fmla="*/ 114280 h 1219200"/>
                <a:gd name="connsiteX4" fmla="*/ 990600 w 990600"/>
                <a:gd name="connsiteY4" fmla="*/ 1219200 h 1219200"/>
                <a:gd name="connsiteX0" fmla="*/ 0 w 990828"/>
                <a:gd name="connsiteY0" fmla="*/ 0 h 1219200"/>
                <a:gd name="connsiteX1" fmla="*/ 876300 w 990828"/>
                <a:gd name="connsiteY1" fmla="*/ 0 h 1219200"/>
                <a:gd name="connsiteX2" fmla="*/ 952500 w 990828"/>
                <a:gd name="connsiteY2" fmla="*/ 35719 h 1219200"/>
                <a:gd name="connsiteX3" fmla="*/ 990599 w 990828"/>
                <a:gd name="connsiteY3" fmla="*/ 107152 h 1219200"/>
                <a:gd name="connsiteX4" fmla="*/ 990600 w 990828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5837 w 990600"/>
                <a:gd name="connsiteY3" fmla="*/ 109528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5837 w 990600"/>
                <a:gd name="connsiteY3" fmla="*/ 121408 h 1219200"/>
                <a:gd name="connsiteX4" fmla="*/ 990600 w 990600"/>
                <a:gd name="connsiteY4" fmla="*/ 1219200 h 1219200"/>
                <a:gd name="connsiteX0" fmla="*/ 0 w 990600"/>
                <a:gd name="connsiteY0" fmla="*/ 0 h 1219200"/>
                <a:gd name="connsiteX1" fmla="*/ 876300 w 990600"/>
                <a:gd name="connsiteY1" fmla="*/ 0 h 1219200"/>
                <a:gd name="connsiteX2" fmla="*/ 952500 w 990600"/>
                <a:gd name="connsiteY2" fmla="*/ 35719 h 1219200"/>
                <a:gd name="connsiteX3" fmla="*/ 988219 w 990600"/>
                <a:gd name="connsiteY3" fmla="*/ 126160 h 1219200"/>
                <a:gd name="connsiteX4" fmla="*/ 990600 w 990600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52500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52500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5355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7737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7737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7737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7737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7737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7737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7737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7737 w 993087"/>
                <a:gd name="connsiteY2" fmla="*/ 35719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5355 w 993087"/>
                <a:gd name="connsiteY2" fmla="*/ 28591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76300 w 993087"/>
                <a:gd name="connsiteY1" fmla="*/ 0 h 1219200"/>
                <a:gd name="connsiteX2" fmla="*/ 940593 w 993087"/>
                <a:gd name="connsiteY2" fmla="*/ 30968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69155 w 993087"/>
                <a:gd name="connsiteY1" fmla="*/ 0 h 1219200"/>
                <a:gd name="connsiteX2" fmla="*/ 940593 w 993087"/>
                <a:gd name="connsiteY2" fmla="*/ 30968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69155 w 993087"/>
                <a:gd name="connsiteY1" fmla="*/ 0 h 1219200"/>
                <a:gd name="connsiteX2" fmla="*/ 958111 w 993087"/>
                <a:gd name="connsiteY2" fmla="*/ 30968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  <a:gd name="connsiteX0" fmla="*/ 0 w 993087"/>
                <a:gd name="connsiteY0" fmla="*/ 0 h 1219200"/>
                <a:gd name="connsiteX1" fmla="*/ 869155 w 993087"/>
                <a:gd name="connsiteY1" fmla="*/ 0 h 1219200"/>
                <a:gd name="connsiteX2" fmla="*/ 971250 w 993087"/>
                <a:gd name="connsiteY2" fmla="*/ 26648 h 1219200"/>
                <a:gd name="connsiteX3" fmla="*/ 992982 w 993087"/>
                <a:gd name="connsiteY3" fmla="*/ 123783 h 1219200"/>
                <a:gd name="connsiteX4" fmla="*/ 990600 w 993087"/>
                <a:gd name="connsiteY4" fmla="*/ 1219200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087" h="1219200">
                  <a:moveTo>
                    <a:pt x="0" y="0"/>
                  </a:moveTo>
                  <a:lnTo>
                    <a:pt x="869155" y="0"/>
                  </a:lnTo>
                  <a:cubicBezTo>
                    <a:pt x="901698" y="2381"/>
                    <a:pt x="948232" y="12365"/>
                    <a:pt x="971250" y="26648"/>
                  </a:cubicBezTo>
                  <a:cubicBezTo>
                    <a:pt x="990301" y="52043"/>
                    <a:pt x="981077" y="62743"/>
                    <a:pt x="992982" y="123783"/>
                  </a:cubicBezTo>
                  <a:cubicBezTo>
                    <a:pt x="993776" y="495258"/>
                    <a:pt x="989806" y="847725"/>
                    <a:pt x="990600" y="1219200"/>
                  </a:cubicBezTo>
                </a:path>
              </a:pathLst>
            </a:custGeom>
            <a:noFill/>
            <a:ln w="38100" cap="rnd" cmpd="sng" algn="ctr">
              <a:solidFill>
                <a:schemeClr val="accent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1" name="Rectangle: Rounded Corners 940">
              <a:extLst>
                <a:ext uri="{FF2B5EF4-FFF2-40B4-BE49-F238E27FC236}">
                  <a16:creationId xmlns:a16="http://schemas.microsoft.com/office/drawing/2014/main" id="{135D539F-D65F-E232-B8DC-B8E0FD078CB2}"/>
                </a:ext>
              </a:extLst>
            </p:cNvPr>
            <p:cNvSpPr/>
            <p:nvPr/>
          </p:nvSpPr>
          <p:spPr>
            <a:xfrm>
              <a:off x="615461" y="2005913"/>
              <a:ext cx="10506806" cy="4221956"/>
            </a:xfrm>
            <a:prstGeom prst="roundRect">
              <a:avLst>
                <a:gd name="adj" fmla="val 3935"/>
              </a:avLst>
            </a:prstGeom>
            <a:solidFill>
              <a:srgbClr val="F2F2F2"/>
            </a:solidFill>
            <a:ln w="38100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E4DB3C31-4200-4E7E-5E5F-E4D0B4BCA87E}"/>
              </a:ext>
            </a:extLst>
          </p:cNvPr>
          <p:cNvSpPr/>
          <p:nvPr/>
        </p:nvSpPr>
        <p:spPr>
          <a:xfrm>
            <a:off x="676275" y="2367369"/>
            <a:ext cx="10845800" cy="1626781"/>
          </a:xfrm>
          <a:prstGeom prst="roundRect">
            <a:avLst>
              <a:gd name="adj" fmla="val 4957"/>
            </a:avLst>
          </a:prstGeom>
          <a:solidFill>
            <a:srgbClr val="F2F2F2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882CA0-9454-6F52-5D5B-FA81A34EB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92049"/>
            <a:ext cx="10933200" cy="430887"/>
          </a:xfrm>
        </p:spPr>
        <p:txBody>
          <a:bodyPr vert="horz">
            <a:noAutofit/>
          </a:bodyPr>
          <a:lstStyle/>
          <a:p>
            <a:r>
              <a:rPr lang="en-US">
                <a:solidFill>
                  <a:srgbClr val="E71A3A"/>
                </a:solidFill>
              </a:rPr>
              <a:t>Supply | </a:t>
            </a:r>
            <a:r>
              <a:rPr lang="en-US" err="1"/>
              <a:t>Visão</a:t>
            </a:r>
            <a:r>
              <a:rPr lang="en-US"/>
              <a:t> </a:t>
            </a:r>
            <a:r>
              <a:rPr lang="en-US" err="1"/>
              <a:t>detalhada</a:t>
            </a:r>
            <a:r>
              <a:rPr lang="en-US"/>
              <a:t> para </a:t>
            </a:r>
            <a:r>
              <a:rPr lang="en-US" err="1"/>
              <a:t>atuação</a:t>
            </a:r>
            <a:r>
              <a:rPr lang="en-US"/>
              <a:t> do time de </a:t>
            </a:r>
            <a:r>
              <a:rPr lang="en-US" err="1"/>
              <a:t>lojas</a:t>
            </a:r>
            <a:endParaRPr lang="en-US"/>
          </a:p>
        </p:txBody>
      </p:sp>
      <p:sp>
        <p:nvSpPr>
          <p:cNvPr id="477" name="Textfeld 1">
            <a:extLst>
              <a:ext uri="{FF2B5EF4-FFF2-40B4-BE49-F238E27FC236}">
                <a16:creationId xmlns:a16="http://schemas.microsoft.com/office/drawing/2014/main" id="{7392BA0A-CBFA-1BC5-DB8B-4277FC908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32002" y="-786477"/>
            <a:ext cx="961475" cy="317010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SD 22.Oct.25:
</a:t>
            </a: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como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é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 </a:t>
            </a: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feita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 a </a:t>
            </a: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projeção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?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8A71F512-3A49-B53E-413D-5847DAC0815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1242539"/>
              </p:ext>
            </p:extLst>
          </p:nvPr>
        </p:nvGraphicFramePr>
        <p:xfrm>
          <a:off x="968375" y="4362450"/>
          <a:ext cx="9023350" cy="739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686" name="Text Placeholder 3">
            <a:extLst>
              <a:ext uri="{FF2B5EF4-FFF2-40B4-BE49-F238E27FC236}">
                <a16:creationId xmlns:a16="http://schemas.microsoft.com/office/drawing/2014/main" id="{A141B855-94DD-667A-078F-B713082386C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30250" y="4713288"/>
            <a:ext cx="25400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12F4764-403C-491B-8376-4E547195E94B}" type="datetime'''''5'''',''''''''''''''''0''''''0''0'''''''''''''''''">
              <a:rPr lang="en-US" altLang="en-US" sz="8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,000</a:t>
            </a:fld>
            <a:endParaRPr lang="en-US" sz="800"/>
          </a:p>
        </p:txBody>
      </p:sp>
      <p:sp>
        <p:nvSpPr>
          <p:cNvPr id="672" name="Text Placeholder 3">
            <a:extLst>
              <a:ext uri="{FF2B5EF4-FFF2-40B4-BE49-F238E27FC236}">
                <a16:creationId xmlns:a16="http://schemas.microsoft.com/office/drawing/2014/main" id="{5B86F60A-DF50-A0F3-279F-C3F912982BF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76275" y="4375150"/>
            <a:ext cx="3079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CE7A75E-F053-4582-88A9-6D14007FF7A8}" type="datetime'10'''''''''',''''''''''''''''0''''''0''''''0'''''''''''''''''">
              <a:rPr lang="en-US" altLang="en-US" sz="800" smtClean="0">
                <a:effectLst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,000</a:t>
            </a:fld>
            <a:endParaRPr lang="en-US" sz="800"/>
          </a:p>
        </p:txBody>
      </p:sp>
      <p:sp>
        <p:nvSpPr>
          <p:cNvPr id="654" name="Text Placeholder 3">
            <a:extLst>
              <a:ext uri="{FF2B5EF4-FFF2-40B4-BE49-F238E27FC236}">
                <a16:creationId xmlns:a16="http://schemas.microsoft.com/office/drawing/2014/main" id="{4E52AEB1-0290-77AE-88CB-52B11B75C03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0009188" y="4662488"/>
            <a:ext cx="1619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800">
                <a:effectLst/>
              </a:rPr>
              <a:t>450</a:t>
            </a:r>
            <a:endParaRPr lang="en-US" sz="800"/>
          </a:p>
        </p:txBody>
      </p:sp>
      <p:sp>
        <p:nvSpPr>
          <p:cNvPr id="655" name="Text Placeholder 3">
            <a:extLst>
              <a:ext uri="{FF2B5EF4-FFF2-40B4-BE49-F238E27FC236}">
                <a16:creationId xmlns:a16="http://schemas.microsoft.com/office/drawing/2014/main" id="{1AD4A341-87C7-0B1D-F9E5-12A7CA3EF69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0009188" y="4375150"/>
            <a:ext cx="16192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/>
              <a:t>900</a:t>
            </a:r>
          </a:p>
        </p:txBody>
      </p:sp>
      <p:sp>
        <p:nvSpPr>
          <p:cNvPr id="660" name="Text Placeholder 3">
            <a:extLst>
              <a:ext uri="{FF2B5EF4-FFF2-40B4-BE49-F238E27FC236}">
                <a16:creationId xmlns:a16="http://schemas.microsoft.com/office/drawing/2014/main" id="{4EA86240-50A4-A433-4F02-27B33ABCC99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676275" y="4160838"/>
            <a:ext cx="4254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800" err="1">
                <a:effectLst/>
              </a:rPr>
              <a:t>Etq</a:t>
            </a:r>
            <a:r>
              <a:rPr lang="en-US" altLang="en-US" sz="800">
                <a:effectLst/>
              </a:rPr>
              <a:t> (und)</a:t>
            </a:r>
            <a:endParaRPr lang="en-US" sz="800"/>
          </a:p>
        </p:txBody>
      </p:sp>
      <p:sp>
        <p:nvSpPr>
          <p:cNvPr id="652" name="Text Placeholder 3">
            <a:extLst>
              <a:ext uri="{FF2B5EF4-FFF2-40B4-BE49-F238E27FC236}">
                <a16:creationId xmlns:a16="http://schemas.microsoft.com/office/drawing/2014/main" id="{8224961F-2884-2DA1-58CE-8C4F9836BE5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572625" y="4160838"/>
            <a:ext cx="5984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800" err="1">
                <a:effectLst/>
              </a:rPr>
              <a:t>Vendas</a:t>
            </a:r>
            <a:r>
              <a:rPr lang="en-US" altLang="en-US" sz="800">
                <a:effectLst/>
              </a:rPr>
              <a:t> (und)</a:t>
            </a:r>
            <a:endParaRPr lang="en-US" sz="800"/>
          </a:p>
        </p:txBody>
      </p:sp>
      <p:sp>
        <p:nvSpPr>
          <p:cNvPr id="608" name="Text Placeholder 3">
            <a:extLst>
              <a:ext uri="{FF2B5EF4-FFF2-40B4-BE49-F238E27FC236}">
                <a16:creationId xmlns:a16="http://schemas.microsoft.com/office/drawing/2014/main" id="{9972A629-4E4F-8699-BFDB-D7BB5E7CCFA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74725" y="5053013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E5DB4EFC-2262-407D-9CC5-BFA51AC47F0C}" type="datetime'''''''''S''''''''''-''''''''''''''5''''''''''''''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5</a:t>
            </a:fld>
            <a:endParaRPr lang="en-US" sz="800"/>
          </a:p>
        </p:txBody>
      </p:sp>
      <p:sp>
        <p:nvSpPr>
          <p:cNvPr id="609" name="Text Placeholder 3">
            <a:extLst>
              <a:ext uri="{FF2B5EF4-FFF2-40B4-BE49-F238E27FC236}">
                <a16:creationId xmlns:a16="http://schemas.microsoft.com/office/drawing/2014/main" id="{0A21BA58-2170-058A-9084-50C9B9B5C64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46375" y="5053013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94C968B-488A-4088-A6A6-13750A06DFB7}" type="datetime'''''S''-''''''''''4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4</a:t>
            </a:fld>
            <a:endParaRPr lang="en-US" sz="800"/>
          </a:p>
        </p:txBody>
      </p:sp>
      <p:sp>
        <p:nvSpPr>
          <p:cNvPr id="610" name="Text Placeholder 3">
            <a:extLst>
              <a:ext uri="{FF2B5EF4-FFF2-40B4-BE49-F238E27FC236}">
                <a16:creationId xmlns:a16="http://schemas.microsoft.com/office/drawing/2014/main" id="{E29B42ED-4CBA-CCB7-8C9B-92DED9D2AC9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18025" y="5053013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01A0B67-3ACB-4B07-B21E-E537F58EBF36}" type="datetime'''''''''''''''''''S''''''''''''''-''''''''''''''''''3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3</a:t>
            </a:fld>
            <a:endParaRPr lang="en-US" sz="800"/>
          </a:p>
        </p:txBody>
      </p:sp>
      <p:sp>
        <p:nvSpPr>
          <p:cNvPr id="611" name="Text Placeholder 3">
            <a:extLst>
              <a:ext uri="{FF2B5EF4-FFF2-40B4-BE49-F238E27FC236}">
                <a16:creationId xmlns:a16="http://schemas.microsoft.com/office/drawing/2014/main" id="{00B675F2-C149-A003-4EE9-D45ED57BD2E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289675" y="5053013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EC81F9A-AB61-4FA2-8C51-A791EEFF8E93}" type="datetime'''''''''''''''''S''''''''''''''''''''''''''''-''''''''2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2</a:t>
            </a:fld>
            <a:endParaRPr lang="en-US" sz="800"/>
          </a:p>
        </p:txBody>
      </p:sp>
      <p:sp>
        <p:nvSpPr>
          <p:cNvPr id="612" name="Text Placeholder 3">
            <a:extLst>
              <a:ext uri="{FF2B5EF4-FFF2-40B4-BE49-F238E27FC236}">
                <a16:creationId xmlns:a16="http://schemas.microsoft.com/office/drawing/2014/main" id="{A63D949A-EBF3-220E-E94B-AF9DC39BF7A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061325" y="5053013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7B8A401-E16D-42F3-BFAB-44B7C3B6EBDF}" type="datetime'''''''''''S''''''''''''''''''''''''''''''''''''-1''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1</a:t>
            </a:fld>
            <a:endParaRPr lang="en-US" sz="800"/>
          </a:p>
        </p:txBody>
      </p:sp>
      <p:sp>
        <p:nvSpPr>
          <p:cNvPr id="613" name="Text Placeholder 3">
            <a:extLst>
              <a:ext uri="{FF2B5EF4-FFF2-40B4-BE49-F238E27FC236}">
                <a16:creationId xmlns:a16="http://schemas.microsoft.com/office/drawing/2014/main" id="{B639C312-B572-E687-A44D-6C8C20F355B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796463" y="5053013"/>
            <a:ext cx="225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58C5901B-B7F2-4F19-B918-029A15D2DEAF}" type="datetime'''''Ho''''''''''''''''''''''''''je''''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oje</a:t>
            </a:fld>
            <a:endParaRPr lang="en-US" sz="800"/>
          </a:p>
        </p:txBody>
      </p:sp>
      <p:cxnSp>
        <p:nvCxnSpPr>
          <p:cNvPr id="634" name="Straight Connector 633">
            <a:extLst>
              <a:ext uri="{FF2B5EF4-FFF2-40B4-BE49-F238E27FC236}">
                <a16:creationId xmlns:a16="http://schemas.microsoft.com/office/drawing/2014/main" id="{14565A0F-31CF-F791-A968-1DA80095FF7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10647363" y="4541838"/>
            <a:ext cx="114300" cy="0"/>
          </a:xfrm>
          <a:prstGeom prst="line">
            <a:avLst/>
          </a:prstGeom>
          <a:ln w="2857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3" name="Straight Connector 692">
            <a:extLst>
              <a:ext uri="{FF2B5EF4-FFF2-40B4-BE49-F238E27FC236}">
                <a16:creationId xmlns:a16="http://schemas.microsoft.com/office/drawing/2014/main" id="{A24B8CDD-14DB-6FFE-300B-1D2E6E5A13E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10647363" y="4725988"/>
            <a:ext cx="114300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7" name="Straight Connector 706">
            <a:extLst>
              <a:ext uri="{FF2B5EF4-FFF2-40B4-BE49-F238E27FC236}">
                <a16:creationId xmlns:a16="http://schemas.microsoft.com/office/drawing/2014/main" id="{0ED3356A-E8AD-AFC6-F25A-29032E6FE66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10647363" y="4910138"/>
            <a:ext cx="114300" cy="0"/>
          </a:xfrm>
          <a:prstGeom prst="line">
            <a:avLst/>
          </a:prstGeom>
          <a:ln w="28575" cap="rnd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2" name="Text Placeholder 3">
            <a:extLst>
              <a:ext uri="{FF2B5EF4-FFF2-40B4-BE49-F238E27FC236}">
                <a16:creationId xmlns:a16="http://schemas.microsoft.com/office/drawing/2014/main" id="{68D19FE5-8E42-05E9-01B3-A5A1CC0B0D8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10826750" y="4476750"/>
            <a:ext cx="5508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9791CA8-195F-4646-806B-FC24EC338E4E}" type="datetime'E''''''''''''''''s''''t''''''oqu''''''''''''''''''e'' ''CD''s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Estoque CDs</a:t>
            </a:fld>
            <a:endParaRPr lang="en-US" sz="800"/>
          </a:p>
        </p:txBody>
      </p:sp>
      <p:sp>
        <p:nvSpPr>
          <p:cNvPr id="690" name="Text Placeholder 3">
            <a:extLst>
              <a:ext uri="{FF2B5EF4-FFF2-40B4-BE49-F238E27FC236}">
                <a16:creationId xmlns:a16="http://schemas.microsoft.com/office/drawing/2014/main" id="{F6C302A6-275B-BD3C-58CB-B6E2F9162637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10826750" y="4660900"/>
            <a:ext cx="6238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8135C47-80C2-44FC-A8E5-1F7655E449C0}" type="datetime'E''''''s''''''t''oq''''''''''''''''''''u''e'' L''''o''''j''as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Estoque Lojas</a:t>
            </a:fld>
            <a:endParaRPr lang="en-US" sz="800"/>
          </a:p>
        </p:txBody>
      </p:sp>
      <p:sp>
        <p:nvSpPr>
          <p:cNvPr id="704" name="Text Placeholder 3">
            <a:extLst>
              <a:ext uri="{FF2B5EF4-FFF2-40B4-BE49-F238E27FC236}">
                <a16:creationId xmlns:a16="http://schemas.microsoft.com/office/drawing/2014/main" id="{211DCC36-1CEB-0506-5091-14871533A44A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10826750" y="4845050"/>
            <a:ext cx="3238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7C9BB5-D079-4833-A181-4D6F9DA1953C}" type="datetime'V''e''''''''''''n''''d''''''''''''''''''''''''''''''a''''''s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Vendas</a:t>
            </a:fld>
            <a:endParaRPr lang="en-US" sz="800"/>
          </a:p>
        </p:txBody>
      </p:sp>
      <p:graphicFrame>
        <p:nvGraphicFramePr>
          <p:cNvPr id="956" name="Chart 955">
            <a:extLst>
              <a:ext uri="{FF2B5EF4-FFF2-40B4-BE49-F238E27FC236}">
                <a16:creationId xmlns:a16="http://schemas.microsoft.com/office/drawing/2014/main" id="{90D149A6-0959-1822-EC25-CF601636470C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971087459"/>
              </p:ext>
            </p:extLst>
          </p:nvPr>
        </p:nvGraphicFramePr>
        <p:xfrm>
          <a:off x="968375" y="5538788"/>
          <a:ext cx="9023350" cy="739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89" name="Text Placeholder 3">
            <a:extLst>
              <a:ext uri="{FF2B5EF4-FFF2-40B4-BE49-F238E27FC236}">
                <a16:creationId xmlns:a16="http://schemas.microsoft.com/office/drawing/2014/main" id="{12C8D971-4987-5A98-9E1C-3C32E85C8218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930275" y="5889625"/>
            <a:ext cx="539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800"/>
              <a:t>7</a:t>
            </a:r>
            <a:endParaRPr lang="en-US" sz="800"/>
          </a:p>
        </p:txBody>
      </p:sp>
      <p:sp>
        <p:nvSpPr>
          <p:cNvPr id="790" name="Text Placeholder 3">
            <a:extLst>
              <a:ext uri="{FF2B5EF4-FFF2-40B4-BE49-F238E27FC236}">
                <a16:creationId xmlns:a16="http://schemas.microsoft.com/office/drawing/2014/main" id="{CDCFE79A-8451-BB13-B98A-C8CE4138AAB1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876300" y="5551488"/>
            <a:ext cx="1079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800"/>
              <a:t>15</a:t>
            </a:r>
            <a:endParaRPr lang="en-US" sz="800"/>
          </a:p>
        </p:txBody>
      </p:sp>
      <p:sp>
        <p:nvSpPr>
          <p:cNvPr id="866" name="Text Placeholder 3">
            <a:extLst>
              <a:ext uri="{FF2B5EF4-FFF2-40B4-BE49-F238E27FC236}">
                <a16:creationId xmlns:a16="http://schemas.microsoft.com/office/drawing/2014/main" id="{7BD2E834-A73C-9E15-C0FC-2EBDB85447F3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0009188" y="5838825"/>
            <a:ext cx="1079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800">
                <a:effectLst/>
              </a:rPr>
              <a:t>35</a:t>
            </a:r>
            <a:endParaRPr lang="en-US" sz="800"/>
          </a:p>
        </p:txBody>
      </p:sp>
      <p:sp>
        <p:nvSpPr>
          <p:cNvPr id="867" name="Text Placeholder 3">
            <a:extLst>
              <a:ext uri="{FF2B5EF4-FFF2-40B4-BE49-F238E27FC236}">
                <a16:creationId xmlns:a16="http://schemas.microsoft.com/office/drawing/2014/main" id="{45E520C3-C4B9-B9DE-21C8-2CA613BE164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0009188" y="5551488"/>
            <a:ext cx="1079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800">
                <a:effectLst/>
              </a:rPr>
              <a:t>70</a:t>
            </a:r>
            <a:endParaRPr lang="en-US" sz="800"/>
          </a:p>
        </p:txBody>
      </p:sp>
      <p:sp>
        <p:nvSpPr>
          <p:cNvPr id="797" name="Text Placeholder 3">
            <a:extLst>
              <a:ext uri="{FF2B5EF4-FFF2-40B4-BE49-F238E27FC236}">
                <a16:creationId xmlns:a16="http://schemas.microsoft.com/office/drawing/2014/main" id="{5798086A-8D81-6C2F-9EF9-0E760DEF98B9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876300" y="5337175"/>
            <a:ext cx="103663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800" err="1">
                <a:effectLst/>
              </a:rPr>
              <a:t>Ruptura</a:t>
            </a:r>
            <a:r>
              <a:rPr lang="en-US" altLang="en-US" sz="800">
                <a:effectLst/>
              </a:rPr>
              <a:t> e aging (R$ M)</a:t>
            </a:r>
            <a:endParaRPr lang="en-US" sz="800"/>
          </a:p>
        </p:txBody>
      </p:sp>
      <p:sp>
        <p:nvSpPr>
          <p:cNvPr id="864" name="Text Placeholder 3">
            <a:extLst>
              <a:ext uri="{FF2B5EF4-FFF2-40B4-BE49-F238E27FC236}">
                <a16:creationId xmlns:a16="http://schemas.microsoft.com/office/drawing/2014/main" id="{81D13388-E2A3-29C8-987B-5FFBBDC960E3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9620250" y="5337175"/>
            <a:ext cx="4968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800"/>
              <a:t>Cob. (</a:t>
            </a:r>
            <a:r>
              <a:rPr lang="en-US" sz="800" err="1"/>
              <a:t>dias</a:t>
            </a:r>
            <a:r>
              <a:rPr lang="en-US" sz="800"/>
              <a:t>)</a:t>
            </a:r>
          </a:p>
        </p:txBody>
      </p:sp>
      <p:sp>
        <p:nvSpPr>
          <p:cNvPr id="794" name="Text Placeholder 3">
            <a:extLst>
              <a:ext uri="{FF2B5EF4-FFF2-40B4-BE49-F238E27FC236}">
                <a16:creationId xmlns:a16="http://schemas.microsoft.com/office/drawing/2014/main" id="{14A2D111-F397-2308-8BAF-FEA329FB921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74725" y="6229350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C209BC9A-1DA8-412D-B45C-01ED5C420162}" type="datetime'''S''''''-''''''''''''5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5</a:t>
            </a:fld>
            <a:endParaRPr lang="en-US" sz="800"/>
          </a:p>
        </p:txBody>
      </p:sp>
      <p:sp>
        <p:nvSpPr>
          <p:cNvPr id="799" name="Text Placeholder 3">
            <a:extLst>
              <a:ext uri="{FF2B5EF4-FFF2-40B4-BE49-F238E27FC236}">
                <a16:creationId xmlns:a16="http://schemas.microsoft.com/office/drawing/2014/main" id="{02FB1DF8-0D25-929A-4102-FDF3925E9C9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746375" y="6229350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1CC5A36-6A3E-4F17-8BB7-4BA212BDDB44}" type="datetime'S''''-''''''''''''''''''''''''''''4''''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4</a:t>
            </a:fld>
            <a:endParaRPr lang="en-US" sz="800"/>
          </a:p>
        </p:txBody>
      </p:sp>
      <p:sp>
        <p:nvSpPr>
          <p:cNvPr id="798" name="Text Placeholder 3">
            <a:extLst>
              <a:ext uri="{FF2B5EF4-FFF2-40B4-BE49-F238E27FC236}">
                <a16:creationId xmlns:a16="http://schemas.microsoft.com/office/drawing/2014/main" id="{487E0EFC-99DF-1124-D9B3-0E6C45EF05C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18025" y="6229350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9179445-6EA3-49B1-9895-58B8F995A7A1}" type="datetime'''''''''''''''''''''''''''''''''''''''''''''''''S''''-''''''3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3</a:t>
            </a:fld>
            <a:endParaRPr lang="en-US" sz="800"/>
          </a:p>
        </p:txBody>
      </p:sp>
      <p:sp>
        <p:nvSpPr>
          <p:cNvPr id="796" name="Text Placeholder 3">
            <a:extLst>
              <a:ext uri="{FF2B5EF4-FFF2-40B4-BE49-F238E27FC236}">
                <a16:creationId xmlns:a16="http://schemas.microsoft.com/office/drawing/2014/main" id="{6F0774CE-A87B-A03C-9899-FB140A889FC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289675" y="6229350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94CFD24A-9EED-4AED-BBB7-8177BA371F06}" type="datetime'''''''''''''''''''''''''''''S''-2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2</a:t>
            </a:fld>
            <a:endParaRPr lang="en-US" sz="800"/>
          </a:p>
        </p:txBody>
      </p:sp>
      <p:sp>
        <p:nvSpPr>
          <p:cNvPr id="795" name="Text Placeholder 3">
            <a:extLst>
              <a:ext uri="{FF2B5EF4-FFF2-40B4-BE49-F238E27FC236}">
                <a16:creationId xmlns:a16="http://schemas.microsoft.com/office/drawing/2014/main" id="{D7404B7B-5B4A-FE97-CEF8-4D551442132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061325" y="6229350"/>
            <a:ext cx="1539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D08AB9D-DDD5-454B-9842-FE005ACA88D0}" type="datetime'''''''''''S-1''''''''''''''''''''''''''''''''''''''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-1</a:t>
            </a:fld>
            <a:endParaRPr lang="en-US" sz="800"/>
          </a:p>
        </p:txBody>
      </p:sp>
      <p:sp>
        <p:nvSpPr>
          <p:cNvPr id="793" name="Text Placeholder 3">
            <a:extLst>
              <a:ext uri="{FF2B5EF4-FFF2-40B4-BE49-F238E27FC236}">
                <a16:creationId xmlns:a16="http://schemas.microsoft.com/office/drawing/2014/main" id="{C043272D-520E-7D32-C0C3-5C57ED95F03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796463" y="6229350"/>
            <a:ext cx="2254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F3F05C6-A686-4C2A-9F31-5587E674104E}" type="datetime'''''''''''''''''H''''''o''''''j''''e'''''''">
              <a:rPr lang="en-US" altLang="en-US" sz="8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oje</a:t>
            </a:fld>
            <a:endParaRPr lang="en-US" sz="800"/>
          </a:p>
        </p:txBody>
      </p:sp>
      <p:cxnSp>
        <p:nvCxnSpPr>
          <p:cNvPr id="801" name="Straight Connector 800">
            <a:extLst>
              <a:ext uri="{FF2B5EF4-FFF2-40B4-BE49-F238E27FC236}">
                <a16:creationId xmlns:a16="http://schemas.microsoft.com/office/drawing/2014/main" id="{C6995239-23DD-D888-362C-E5962DBAB127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10577513" y="5718175"/>
            <a:ext cx="114300" cy="0"/>
          </a:xfrm>
          <a:prstGeom prst="line">
            <a:avLst/>
          </a:prstGeom>
          <a:ln w="28575" cap="rnd" cmpd="sng" algn="ctr">
            <a:solidFill>
              <a:srgbClr val="F18D1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97E3767C-7987-E3DE-C332-7A836C78755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10577513" y="5902325"/>
            <a:ext cx="114300" cy="0"/>
          </a:xfrm>
          <a:prstGeom prst="line">
            <a:avLst/>
          </a:prstGeom>
          <a:ln w="28575" cap="rnd" cmpd="sng" algn="ctr">
            <a:solidFill>
              <a:srgbClr val="7B122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3" name="Straight Connector 802">
            <a:extLst>
              <a:ext uri="{FF2B5EF4-FFF2-40B4-BE49-F238E27FC236}">
                <a16:creationId xmlns:a16="http://schemas.microsoft.com/office/drawing/2014/main" id="{512A08A0-AFC1-436E-877B-BC7D0D40AE22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10577513" y="6086475"/>
            <a:ext cx="114300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04" name="Text Placeholder 3">
            <a:extLst>
              <a:ext uri="{FF2B5EF4-FFF2-40B4-BE49-F238E27FC236}">
                <a16:creationId xmlns:a16="http://schemas.microsoft.com/office/drawing/2014/main" id="{AAD2076A-70D0-ADDC-C13A-CE36A03CA0A6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10756900" y="5653088"/>
            <a:ext cx="765175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fld id="{340D91AC-4E50-46F6-88BE-735C00EB277C}" type="datetime'''''''Co''ber''t''''''u''ra'''''''''' ''''méd''''i''a''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  <a:buNone/>
              </a:pPr>
              <a:t>Cobertura média</a:t>
            </a:fld>
            <a:endParaRPr lang="en-US" sz="800"/>
          </a:p>
        </p:txBody>
      </p:sp>
      <p:sp>
        <p:nvSpPr>
          <p:cNvPr id="805" name="Text Placeholder 3">
            <a:extLst>
              <a:ext uri="{FF2B5EF4-FFF2-40B4-BE49-F238E27FC236}">
                <a16:creationId xmlns:a16="http://schemas.microsoft.com/office/drawing/2014/main" id="{479EFDBB-01BF-5D78-D871-F515BFC96013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10756900" y="5837238"/>
            <a:ext cx="2460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D800FBC-E88B-4754-8415-29CB02F7007A}" type="datetime'A''g''''''''''''''''''''i''n''''''''''''''''g''''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Aging</a:t>
            </a:fld>
            <a:endParaRPr lang="en-US" sz="800"/>
          </a:p>
        </p:txBody>
      </p:sp>
      <p:sp>
        <p:nvSpPr>
          <p:cNvPr id="806" name="Text Placeholder 3">
            <a:extLst>
              <a:ext uri="{FF2B5EF4-FFF2-40B4-BE49-F238E27FC236}">
                <a16:creationId xmlns:a16="http://schemas.microsoft.com/office/drawing/2014/main" id="{9C866099-7353-B237-7B0F-DA783D4084ED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10756900" y="6021388"/>
            <a:ext cx="323850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E71A3A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b="1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71A3A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94F7160-5C34-42D8-93A0-8AC17586D065}" type="datetime'''''V''''e''''''''''''''n''''''''''''''''''''''da''''''''s'">
              <a:rPr lang="en-US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Vendas</a:t>
            </a:fld>
            <a:endParaRPr lang="en-US" sz="800"/>
          </a:p>
        </p:txBody>
      </p:sp>
      <p:sp>
        <p:nvSpPr>
          <p:cNvPr id="915" name="Rectangle 914">
            <a:extLst>
              <a:ext uri="{FF2B5EF4-FFF2-40B4-BE49-F238E27FC236}">
                <a16:creationId xmlns:a16="http://schemas.microsoft.com/office/drawing/2014/main" id="{F3E1E847-4F2E-593C-6961-073E8A422180}"/>
              </a:ext>
            </a:extLst>
          </p:cNvPr>
          <p:cNvSpPr/>
          <p:nvPr/>
        </p:nvSpPr>
        <p:spPr>
          <a:xfrm>
            <a:off x="10293069" y="4158854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498" name="Rectangle: Rounded Corners 12">
            <a:extLst>
              <a:ext uri="{FF2B5EF4-FFF2-40B4-BE49-F238E27FC236}">
                <a16:creationId xmlns:a16="http://schemas.microsoft.com/office/drawing/2014/main" id="{9F2232FA-4262-5835-6956-A2E8B55209EC}"/>
              </a:ext>
            </a:extLst>
          </p:cNvPr>
          <p:cNvSpPr/>
          <p:nvPr/>
        </p:nvSpPr>
        <p:spPr>
          <a:xfrm>
            <a:off x="996148" y="1930307"/>
            <a:ext cx="1152000" cy="150813"/>
          </a:xfrm>
          <a:prstGeom prst="roundRect">
            <a:avLst>
              <a:gd name="adj" fmla="val 24253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>
                <a:solidFill>
                  <a:srgbClr val="575757"/>
                </a:solidFill>
                <a:cs typeface="Arial" panose="020B0604020202020204" pitchFamily="34" charset="0"/>
              </a:rPr>
              <a:t>TODAS</a:t>
            </a:r>
            <a:endParaRPr lang="pt-BR" sz="7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499" name="TextBox 498">
            <a:extLst>
              <a:ext uri="{FF2B5EF4-FFF2-40B4-BE49-F238E27FC236}">
                <a16:creationId xmlns:a16="http://schemas.microsoft.com/office/drawing/2014/main" id="{076065EF-F1F5-4DA0-2D28-842EBD3A44AB}"/>
              </a:ext>
            </a:extLst>
          </p:cNvPr>
          <p:cNvSpPr txBox="1"/>
          <p:nvPr/>
        </p:nvSpPr>
        <p:spPr>
          <a:xfrm>
            <a:off x="996148" y="1724026"/>
            <a:ext cx="914400" cy="157840"/>
          </a:xfrm>
          <a:prstGeom prst="snip2DiagRect">
            <a:avLst/>
          </a:prstGeom>
          <a:solidFill>
            <a:srgbClr val="E5E5FB"/>
          </a:solidFill>
          <a:ln w="9525" cap="rnd" cmpd="sng" algn="ctr">
            <a:solidFill>
              <a:schemeClr val="accent4"/>
            </a:solidFill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Categoria</a:t>
            </a:r>
          </a:p>
        </p:txBody>
      </p:sp>
      <p:sp>
        <p:nvSpPr>
          <p:cNvPr id="500" name="Isosceles Triangle 17">
            <a:extLst>
              <a:ext uri="{FF2B5EF4-FFF2-40B4-BE49-F238E27FC236}">
                <a16:creationId xmlns:a16="http://schemas.microsoft.com/office/drawing/2014/main" id="{F4C86D60-312E-60B3-E571-6E63186DD115}"/>
              </a:ext>
            </a:extLst>
          </p:cNvPr>
          <p:cNvSpPr/>
          <p:nvPr/>
        </p:nvSpPr>
        <p:spPr>
          <a:xfrm flipV="1">
            <a:off x="2027783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02" name="Rectangle: Rounded Corners 22">
            <a:extLst>
              <a:ext uri="{FF2B5EF4-FFF2-40B4-BE49-F238E27FC236}">
                <a16:creationId xmlns:a16="http://schemas.microsoft.com/office/drawing/2014/main" id="{1BB17E2C-BAA1-A55E-3F17-B5CB98978C03}"/>
              </a:ext>
            </a:extLst>
          </p:cNvPr>
          <p:cNvSpPr/>
          <p:nvPr/>
        </p:nvSpPr>
        <p:spPr>
          <a:xfrm>
            <a:off x="2265384" y="1930307"/>
            <a:ext cx="1152000" cy="150813"/>
          </a:xfrm>
          <a:prstGeom prst="roundRect">
            <a:avLst>
              <a:gd name="adj" fmla="val 24253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  <a:endParaRPr lang="pt-BR" sz="700" noProof="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503" name="TextBox 502">
            <a:extLst>
              <a:ext uri="{FF2B5EF4-FFF2-40B4-BE49-F238E27FC236}">
                <a16:creationId xmlns:a16="http://schemas.microsoft.com/office/drawing/2014/main" id="{13FEDB6C-B233-94DF-C1AA-182C8EDF33F2}"/>
              </a:ext>
            </a:extLst>
          </p:cNvPr>
          <p:cNvSpPr txBox="1"/>
          <p:nvPr/>
        </p:nvSpPr>
        <p:spPr>
          <a:xfrm>
            <a:off x="2265384" y="1724026"/>
            <a:ext cx="914400" cy="157840"/>
          </a:xfrm>
          <a:prstGeom prst="snip2DiagRect">
            <a:avLst/>
          </a:prstGeom>
          <a:solidFill>
            <a:srgbClr val="E5E5FB"/>
          </a:solidFill>
          <a:ln w="9525" cap="rnd" cmpd="sng" algn="ctr">
            <a:solidFill>
              <a:schemeClr val="accent4"/>
            </a:solidFill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Setor</a:t>
            </a:r>
          </a:p>
        </p:txBody>
      </p:sp>
      <p:sp>
        <p:nvSpPr>
          <p:cNvPr id="504" name="Isosceles Triangle 27">
            <a:extLst>
              <a:ext uri="{FF2B5EF4-FFF2-40B4-BE49-F238E27FC236}">
                <a16:creationId xmlns:a16="http://schemas.microsoft.com/office/drawing/2014/main" id="{8E15F349-3F2D-3A50-885D-CCED1D466635}"/>
              </a:ext>
            </a:extLst>
          </p:cNvPr>
          <p:cNvSpPr/>
          <p:nvPr/>
        </p:nvSpPr>
        <p:spPr>
          <a:xfrm flipV="1">
            <a:off x="3297019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18" name="Rectangle: Rounded Corners 448">
            <a:extLst>
              <a:ext uri="{FF2B5EF4-FFF2-40B4-BE49-F238E27FC236}">
                <a16:creationId xmlns:a16="http://schemas.microsoft.com/office/drawing/2014/main" id="{AE67711C-8FF9-38C8-EB1E-C228787534D0}"/>
              </a:ext>
            </a:extLst>
          </p:cNvPr>
          <p:cNvSpPr/>
          <p:nvPr/>
        </p:nvSpPr>
        <p:spPr>
          <a:xfrm>
            <a:off x="3531942" y="1930307"/>
            <a:ext cx="1152000" cy="150813"/>
          </a:xfrm>
          <a:prstGeom prst="roundRect">
            <a:avLst>
              <a:gd name="adj" fmla="val 24253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955846AA-CADA-F7DA-74AF-35EE6A30FC4D}"/>
              </a:ext>
            </a:extLst>
          </p:cNvPr>
          <p:cNvSpPr txBox="1"/>
          <p:nvPr/>
        </p:nvSpPr>
        <p:spPr>
          <a:xfrm>
            <a:off x="3531942" y="1724026"/>
            <a:ext cx="914400" cy="157840"/>
          </a:xfrm>
          <a:prstGeom prst="snip2DiagRect">
            <a:avLst/>
          </a:prstGeom>
          <a:solidFill>
            <a:srgbClr val="E5E5FB"/>
          </a:solidFill>
          <a:ln w="9525" cap="rnd" cmpd="sng" algn="ctr">
            <a:solidFill>
              <a:schemeClr val="accent4"/>
            </a:solidFill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SKU</a:t>
            </a:r>
          </a:p>
        </p:txBody>
      </p:sp>
      <p:sp>
        <p:nvSpPr>
          <p:cNvPr id="520" name="Isosceles Triangle 450">
            <a:extLst>
              <a:ext uri="{FF2B5EF4-FFF2-40B4-BE49-F238E27FC236}">
                <a16:creationId xmlns:a16="http://schemas.microsoft.com/office/drawing/2014/main" id="{077BDBAC-6D2C-585A-9ED7-5FDA11B0D9CE}"/>
              </a:ext>
            </a:extLst>
          </p:cNvPr>
          <p:cNvSpPr/>
          <p:nvPr/>
        </p:nvSpPr>
        <p:spPr>
          <a:xfrm flipV="1">
            <a:off x="4563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26" name="Rectangle: Rounded Corners 448">
            <a:extLst>
              <a:ext uri="{FF2B5EF4-FFF2-40B4-BE49-F238E27FC236}">
                <a16:creationId xmlns:a16="http://schemas.microsoft.com/office/drawing/2014/main" id="{ECE02B38-90D7-7DD3-F3CD-C8270AAF3C15}"/>
              </a:ext>
            </a:extLst>
          </p:cNvPr>
          <p:cNvSpPr/>
          <p:nvPr/>
        </p:nvSpPr>
        <p:spPr>
          <a:xfrm>
            <a:off x="4827942" y="1930307"/>
            <a:ext cx="1152000" cy="150813"/>
          </a:xfrm>
          <a:prstGeom prst="roundRect">
            <a:avLst>
              <a:gd name="adj" fmla="val 24253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BADB1422-B036-DE73-9ADD-2A576A64959B}"/>
              </a:ext>
            </a:extLst>
          </p:cNvPr>
          <p:cNvSpPr txBox="1"/>
          <p:nvPr/>
        </p:nvSpPr>
        <p:spPr>
          <a:xfrm>
            <a:off x="4827942" y="1724026"/>
            <a:ext cx="914400" cy="157840"/>
          </a:xfrm>
          <a:prstGeom prst="snip2DiagRect">
            <a:avLst/>
          </a:prstGeom>
          <a:solidFill>
            <a:srgbClr val="E5E5FB"/>
          </a:solidFill>
          <a:ln w="9525" cap="rnd" cmpd="sng" algn="ctr">
            <a:solidFill>
              <a:schemeClr val="accent4"/>
            </a:solidFill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Região</a:t>
            </a:r>
          </a:p>
        </p:txBody>
      </p:sp>
      <p:sp>
        <p:nvSpPr>
          <p:cNvPr id="528" name="Isosceles Triangle 450">
            <a:extLst>
              <a:ext uri="{FF2B5EF4-FFF2-40B4-BE49-F238E27FC236}">
                <a16:creationId xmlns:a16="http://schemas.microsoft.com/office/drawing/2014/main" id="{53608D94-ED4B-9ECC-7BF7-1CE608CC199F}"/>
              </a:ext>
            </a:extLst>
          </p:cNvPr>
          <p:cNvSpPr/>
          <p:nvPr/>
        </p:nvSpPr>
        <p:spPr>
          <a:xfrm flipV="1">
            <a:off x="5859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30" name="Rectangle: Rounded Corners 448">
            <a:extLst>
              <a:ext uri="{FF2B5EF4-FFF2-40B4-BE49-F238E27FC236}">
                <a16:creationId xmlns:a16="http://schemas.microsoft.com/office/drawing/2014/main" id="{4CFE6BCB-EAAA-38BA-58E3-C4438B626334}"/>
              </a:ext>
            </a:extLst>
          </p:cNvPr>
          <p:cNvSpPr/>
          <p:nvPr/>
        </p:nvSpPr>
        <p:spPr>
          <a:xfrm>
            <a:off x="6123942" y="1930307"/>
            <a:ext cx="1152000" cy="150813"/>
          </a:xfrm>
          <a:prstGeom prst="roundRect">
            <a:avLst>
              <a:gd name="adj" fmla="val 24253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3FA59743-5D59-6C73-3EEA-0C3723E6F27D}"/>
              </a:ext>
            </a:extLst>
          </p:cNvPr>
          <p:cNvSpPr txBox="1"/>
          <p:nvPr/>
        </p:nvSpPr>
        <p:spPr>
          <a:xfrm>
            <a:off x="6123942" y="1724026"/>
            <a:ext cx="914400" cy="157840"/>
          </a:xfrm>
          <a:prstGeom prst="snip2DiagRect">
            <a:avLst/>
          </a:prstGeom>
          <a:solidFill>
            <a:srgbClr val="E5E5FB"/>
          </a:solidFill>
          <a:ln w="9525" cap="rnd" cmpd="sng" algn="ctr">
            <a:solidFill>
              <a:schemeClr val="accent4"/>
            </a:solidFill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Diretoria Regional</a:t>
            </a:r>
          </a:p>
        </p:txBody>
      </p:sp>
      <p:sp>
        <p:nvSpPr>
          <p:cNvPr id="532" name="Isosceles Triangle 450">
            <a:extLst>
              <a:ext uri="{FF2B5EF4-FFF2-40B4-BE49-F238E27FC236}">
                <a16:creationId xmlns:a16="http://schemas.microsoft.com/office/drawing/2014/main" id="{EA504085-6BF0-D077-6783-EA009C7A00F8}"/>
              </a:ext>
            </a:extLst>
          </p:cNvPr>
          <p:cNvSpPr/>
          <p:nvPr/>
        </p:nvSpPr>
        <p:spPr>
          <a:xfrm flipV="1">
            <a:off x="7155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34" name="Rectangle: Rounded Corners 448">
            <a:extLst>
              <a:ext uri="{FF2B5EF4-FFF2-40B4-BE49-F238E27FC236}">
                <a16:creationId xmlns:a16="http://schemas.microsoft.com/office/drawing/2014/main" id="{C607678D-812D-6CE0-679B-01AC5C204DE2}"/>
              </a:ext>
            </a:extLst>
          </p:cNvPr>
          <p:cNvSpPr/>
          <p:nvPr/>
        </p:nvSpPr>
        <p:spPr>
          <a:xfrm>
            <a:off x="7419942" y="1930307"/>
            <a:ext cx="1152000" cy="150813"/>
          </a:xfrm>
          <a:prstGeom prst="roundRect">
            <a:avLst>
              <a:gd name="adj" fmla="val 24253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35" name="TextBox 534">
            <a:extLst>
              <a:ext uri="{FF2B5EF4-FFF2-40B4-BE49-F238E27FC236}">
                <a16:creationId xmlns:a16="http://schemas.microsoft.com/office/drawing/2014/main" id="{A608138E-C1B2-5994-61CA-022DD7AEAB92}"/>
              </a:ext>
            </a:extLst>
          </p:cNvPr>
          <p:cNvSpPr txBox="1"/>
          <p:nvPr/>
        </p:nvSpPr>
        <p:spPr>
          <a:xfrm>
            <a:off x="7419942" y="1724026"/>
            <a:ext cx="914400" cy="157840"/>
          </a:xfrm>
          <a:prstGeom prst="snip2DiagRect">
            <a:avLst/>
          </a:prstGeom>
          <a:solidFill>
            <a:srgbClr val="E5E5FB"/>
          </a:solidFill>
          <a:ln w="9525" cap="rnd" cmpd="sng" algn="ctr">
            <a:solidFill>
              <a:schemeClr val="accent4"/>
            </a:solidFill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UF</a:t>
            </a:r>
          </a:p>
        </p:txBody>
      </p:sp>
      <p:sp>
        <p:nvSpPr>
          <p:cNvPr id="536" name="Isosceles Triangle 450">
            <a:extLst>
              <a:ext uri="{FF2B5EF4-FFF2-40B4-BE49-F238E27FC236}">
                <a16:creationId xmlns:a16="http://schemas.microsoft.com/office/drawing/2014/main" id="{15285DC4-8513-CE20-E9C9-F8F13BF920CF}"/>
              </a:ext>
            </a:extLst>
          </p:cNvPr>
          <p:cNvSpPr/>
          <p:nvPr/>
        </p:nvSpPr>
        <p:spPr>
          <a:xfrm flipV="1">
            <a:off x="8451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38" name="Rectangle: Rounded Corners 448">
            <a:extLst>
              <a:ext uri="{FF2B5EF4-FFF2-40B4-BE49-F238E27FC236}">
                <a16:creationId xmlns:a16="http://schemas.microsoft.com/office/drawing/2014/main" id="{B84983F3-83B0-8DD4-871C-DE40FAFAEE73}"/>
              </a:ext>
            </a:extLst>
          </p:cNvPr>
          <p:cNvSpPr/>
          <p:nvPr/>
        </p:nvSpPr>
        <p:spPr>
          <a:xfrm>
            <a:off x="8715942" y="1930307"/>
            <a:ext cx="1152000" cy="150813"/>
          </a:xfrm>
          <a:prstGeom prst="roundRect">
            <a:avLst>
              <a:gd name="adj" fmla="val 24253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39" name="TextBox 538">
            <a:extLst>
              <a:ext uri="{FF2B5EF4-FFF2-40B4-BE49-F238E27FC236}">
                <a16:creationId xmlns:a16="http://schemas.microsoft.com/office/drawing/2014/main" id="{0BDF577D-9FFA-2FDE-E9F4-751D6AC3AFCD}"/>
              </a:ext>
            </a:extLst>
          </p:cNvPr>
          <p:cNvSpPr txBox="1"/>
          <p:nvPr/>
        </p:nvSpPr>
        <p:spPr>
          <a:xfrm>
            <a:off x="8715942" y="1724026"/>
            <a:ext cx="914400" cy="157840"/>
          </a:xfrm>
          <a:prstGeom prst="snip2DiagRect">
            <a:avLst/>
          </a:prstGeom>
          <a:solidFill>
            <a:srgbClr val="E5E5FB"/>
          </a:solidFill>
          <a:ln w="9525" cap="rnd" cmpd="sng" algn="ctr">
            <a:solidFill>
              <a:schemeClr val="accent4"/>
            </a:solidFill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Regional</a:t>
            </a:r>
          </a:p>
        </p:txBody>
      </p:sp>
      <p:sp>
        <p:nvSpPr>
          <p:cNvPr id="540" name="Isosceles Triangle 450">
            <a:extLst>
              <a:ext uri="{FF2B5EF4-FFF2-40B4-BE49-F238E27FC236}">
                <a16:creationId xmlns:a16="http://schemas.microsoft.com/office/drawing/2014/main" id="{5B3A501F-2FBC-0F78-B9A8-0DCD8DFBAC24}"/>
              </a:ext>
            </a:extLst>
          </p:cNvPr>
          <p:cNvSpPr/>
          <p:nvPr/>
        </p:nvSpPr>
        <p:spPr>
          <a:xfrm flipV="1">
            <a:off x="9747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542" name="Rectangle: Rounded Corners 448">
            <a:extLst>
              <a:ext uri="{FF2B5EF4-FFF2-40B4-BE49-F238E27FC236}">
                <a16:creationId xmlns:a16="http://schemas.microsoft.com/office/drawing/2014/main" id="{0FDE3EFC-AF16-A0EA-8838-1B988CBF104F}"/>
              </a:ext>
            </a:extLst>
          </p:cNvPr>
          <p:cNvSpPr/>
          <p:nvPr/>
        </p:nvSpPr>
        <p:spPr>
          <a:xfrm>
            <a:off x="10011942" y="1930307"/>
            <a:ext cx="1152000" cy="150813"/>
          </a:xfrm>
          <a:prstGeom prst="roundRect">
            <a:avLst>
              <a:gd name="adj" fmla="val 24253"/>
            </a:avLst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173E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700" noProof="0">
                <a:solidFill>
                  <a:srgbClr val="575757"/>
                </a:solidFill>
                <a:cs typeface="Arial" panose="020B0604020202020204" pitchFamily="34" charset="0"/>
              </a:rPr>
              <a:t>TODOS</a:t>
            </a:r>
          </a:p>
        </p:txBody>
      </p:sp>
      <p:sp>
        <p:nvSpPr>
          <p:cNvPr id="543" name="TextBox 542">
            <a:extLst>
              <a:ext uri="{FF2B5EF4-FFF2-40B4-BE49-F238E27FC236}">
                <a16:creationId xmlns:a16="http://schemas.microsoft.com/office/drawing/2014/main" id="{1A396CC2-5DAE-2040-2E12-F805936968FF}"/>
              </a:ext>
            </a:extLst>
          </p:cNvPr>
          <p:cNvSpPr txBox="1"/>
          <p:nvPr/>
        </p:nvSpPr>
        <p:spPr>
          <a:xfrm>
            <a:off x="10011942" y="1724026"/>
            <a:ext cx="914400" cy="157840"/>
          </a:xfrm>
          <a:prstGeom prst="snip2DiagRect">
            <a:avLst/>
          </a:prstGeom>
          <a:solidFill>
            <a:srgbClr val="E5E5FB"/>
          </a:solidFill>
          <a:ln w="9525" cap="rnd" cmpd="sng" algn="ctr">
            <a:solidFill>
              <a:schemeClr val="accent4"/>
            </a:solidFill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800" noProof="0">
                <a:solidFill>
                  <a:srgbClr val="1F22CF"/>
                </a:solidFill>
                <a:cs typeface="Arial" panose="020B0604020202020204" pitchFamily="34" charset="0"/>
              </a:rPr>
              <a:t>Lojas</a:t>
            </a:r>
          </a:p>
        </p:txBody>
      </p:sp>
      <p:sp>
        <p:nvSpPr>
          <p:cNvPr id="544" name="Isosceles Triangle 450">
            <a:extLst>
              <a:ext uri="{FF2B5EF4-FFF2-40B4-BE49-F238E27FC236}">
                <a16:creationId xmlns:a16="http://schemas.microsoft.com/office/drawing/2014/main" id="{F2A9402D-9B16-95C7-7C35-BDFCE3262E50}"/>
              </a:ext>
            </a:extLst>
          </p:cNvPr>
          <p:cNvSpPr/>
          <p:nvPr/>
        </p:nvSpPr>
        <p:spPr>
          <a:xfrm flipV="1">
            <a:off x="11043577" y="1982854"/>
            <a:ext cx="90507" cy="45719"/>
          </a:xfrm>
          <a:prstGeom prst="triangl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D0D0F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noProof="0">
              <a:solidFill>
                <a:srgbClr val="FFFFFF"/>
              </a:solidFill>
            </a:endParaRPr>
          </a:p>
        </p:txBody>
      </p:sp>
      <p:sp>
        <p:nvSpPr>
          <p:cNvPr id="478" name="Textfeld 1">
            <a:extLst>
              <a:ext uri="{FF2B5EF4-FFF2-40B4-BE49-F238E27FC236}">
                <a16:creationId xmlns:a16="http://schemas.microsoft.com/office/drawing/2014/main" id="{B065A868-385C-8C70-7CA7-AF66AD4B50E6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3159855" y="2099603"/>
            <a:ext cx="493388" cy="2677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1" err="1">
                <a:solidFill>
                  <a:srgbClr val="575757"/>
                </a:solidFill>
                <a:sym typeface="Trebuchet MS" panose="020B0603020202020204" pitchFamily="34" charset="0"/>
              </a:rPr>
              <a:t>Médio</a:t>
            </a:r>
            <a:r>
              <a:rPr lang="en-US" sz="700" b="1">
                <a:solidFill>
                  <a:srgbClr val="575757"/>
                </a:solidFill>
                <a:sym typeface="Trebuchet MS" panose="020B0603020202020204" pitchFamily="34" charset="0"/>
              </a:rPr>
              <a:t> de que?</a:t>
            </a:r>
          </a:p>
        </p:txBody>
      </p:sp>
      <p:sp>
        <p:nvSpPr>
          <p:cNvPr id="576" name="Rounded Rectangle 285">
            <a:extLst>
              <a:ext uri="{FF2B5EF4-FFF2-40B4-BE49-F238E27FC236}">
                <a16:creationId xmlns:a16="http://schemas.microsoft.com/office/drawing/2014/main" id="{A57761A8-CCD1-65C1-743E-2735D1426D42}"/>
              </a:ext>
            </a:extLst>
          </p:cNvPr>
          <p:cNvSpPr/>
          <p:nvPr/>
        </p:nvSpPr>
        <p:spPr>
          <a:xfrm>
            <a:off x="1593340" y="1437035"/>
            <a:ext cx="653706" cy="221383"/>
          </a:xfrm>
          <a:prstGeom prst="roundRect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b="1" noProof="0">
                <a:solidFill>
                  <a:srgbClr val="D0D0F8"/>
                </a:solidFill>
              </a:rPr>
              <a:t>Alocação</a:t>
            </a:r>
          </a:p>
        </p:txBody>
      </p:sp>
      <p:sp>
        <p:nvSpPr>
          <p:cNvPr id="577" name="Rounded Rectangle 285">
            <a:extLst>
              <a:ext uri="{FF2B5EF4-FFF2-40B4-BE49-F238E27FC236}">
                <a16:creationId xmlns:a16="http://schemas.microsoft.com/office/drawing/2014/main" id="{37B8B8D4-64F7-E8CD-23E9-B5917A03A91A}"/>
              </a:ext>
            </a:extLst>
          </p:cNvPr>
          <p:cNvSpPr/>
          <p:nvPr/>
        </p:nvSpPr>
        <p:spPr>
          <a:xfrm>
            <a:off x="1606475" y="1427258"/>
            <a:ext cx="653706" cy="221383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b="1" noProof="0">
                <a:solidFill>
                  <a:srgbClr val="7173E9"/>
                </a:solidFill>
              </a:rPr>
              <a:t>CDs</a:t>
            </a:r>
          </a:p>
        </p:txBody>
      </p:sp>
      <p:sp>
        <p:nvSpPr>
          <p:cNvPr id="579" name="Rounded Rectangle 287">
            <a:extLst>
              <a:ext uri="{FF2B5EF4-FFF2-40B4-BE49-F238E27FC236}">
                <a16:creationId xmlns:a16="http://schemas.microsoft.com/office/drawing/2014/main" id="{F2FD4244-73D0-8BFC-C635-62419AA62620}"/>
              </a:ext>
            </a:extLst>
          </p:cNvPr>
          <p:cNvSpPr/>
          <p:nvPr/>
        </p:nvSpPr>
        <p:spPr>
          <a:xfrm>
            <a:off x="777734" y="1437035"/>
            <a:ext cx="653706" cy="221383"/>
          </a:xfrm>
          <a:prstGeom prst="roundRect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7173E9"/>
                </a:solidFill>
              </a:rPr>
              <a:t>Lojas</a:t>
            </a:r>
          </a:p>
        </p:txBody>
      </p:sp>
      <p:sp>
        <p:nvSpPr>
          <p:cNvPr id="580" name="Rounded Rectangle 287">
            <a:extLst>
              <a:ext uri="{FF2B5EF4-FFF2-40B4-BE49-F238E27FC236}">
                <a16:creationId xmlns:a16="http://schemas.microsoft.com/office/drawing/2014/main" id="{526E6602-6CEC-6066-5B4A-8ECCE8130EB6}"/>
              </a:ext>
            </a:extLst>
          </p:cNvPr>
          <p:cNvSpPr/>
          <p:nvPr/>
        </p:nvSpPr>
        <p:spPr>
          <a:xfrm>
            <a:off x="790869" y="1427258"/>
            <a:ext cx="653706" cy="221383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7173E9"/>
                </a:solidFill>
              </a:rPr>
              <a:t>Alocação</a:t>
            </a:r>
          </a:p>
        </p:txBody>
      </p:sp>
      <p:sp>
        <p:nvSpPr>
          <p:cNvPr id="582" name="Rounded Rectangle 286">
            <a:extLst>
              <a:ext uri="{FF2B5EF4-FFF2-40B4-BE49-F238E27FC236}">
                <a16:creationId xmlns:a16="http://schemas.microsoft.com/office/drawing/2014/main" id="{58125EB2-604D-F6EE-88DB-3F737BCE09E1}"/>
              </a:ext>
            </a:extLst>
          </p:cNvPr>
          <p:cNvSpPr/>
          <p:nvPr/>
        </p:nvSpPr>
        <p:spPr>
          <a:xfrm>
            <a:off x="2408948" y="1437035"/>
            <a:ext cx="653706" cy="221383"/>
          </a:xfrm>
          <a:prstGeom prst="roundRect">
            <a:avLst/>
          </a:prstGeom>
          <a:solidFill>
            <a:srgbClr val="1F22CF"/>
          </a:solidFill>
          <a:ln w="9525" cap="rnd" cmpd="sng" algn="ctr">
            <a:solidFill>
              <a:srgbClr val="4B4FE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1F22CF"/>
                </a:solidFill>
              </a:rPr>
              <a:t>CDs</a:t>
            </a:r>
          </a:p>
        </p:txBody>
      </p:sp>
      <p:sp>
        <p:nvSpPr>
          <p:cNvPr id="583" name="Rounded Rectangle 286">
            <a:extLst>
              <a:ext uri="{FF2B5EF4-FFF2-40B4-BE49-F238E27FC236}">
                <a16:creationId xmlns:a16="http://schemas.microsoft.com/office/drawing/2014/main" id="{F3D5222C-B0A3-FD6E-0366-C5162C6172D9}"/>
              </a:ext>
            </a:extLst>
          </p:cNvPr>
          <p:cNvSpPr/>
          <p:nvPr/>
        </p:nvSpPr>
        <p:spPr>
          <a:xfrm>
            <a:off x="2422083" y="1427258"/>
            <a:ext cx="653706" cy="221383"/>
          </a:xfrm>
          <a:prstGeom prst="roundRect">
            <a:avLst/>
          </a:prstGeom>
          <a:solidFill>
            <a:srgbClr val="D0D0F8"/>
          </a:solidFill>
          <a:ln w="9525" cap="rnd" cmpd="sng" algn="ctr">
            <a:solidFill>
              <a:srgbClr val="4B4FE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1F22CF"/>
                </a:solidFill>
              </a:rPr>
              <a:t>Lojas</a:t>
            </a:r>
          </a:p>
        </p:txBody>
      </p:sp>
      <p:sp>
        <p:nvSpPr>
          <p:cNvPr id="585" name="Rounded Rectangle 284">
            <a:extLst>
              <a:ext uri="{FF2B5EF4-FFF2-40B4-BE49-F238E27FC236}">
                <a16:creationId xmlns:a16="http://schemas.microsoft.com/office/drawing/2014/main" id="{9D384D2A-E35D-2896-0D8B-829652FEF202}"/>
              </a:ext>
            </a:extLst>
          </p:cNvPr>
          <p:cNvSpPr/>
          <p:nvPr/>
        </p:nvSpPr>
        <p:spPr>
          <a:xfrm>
            <a:off x="3224555" y="1437035"/>
            <a:ext cx="653706" cy="221383"/>
          </a:xfrm>
          <a:prstGeom prst="roundRect">
            <a:avLst/>
          </a:prstGeom>
          <a:solidFill>
            <a:srgbClr val="D0D0F8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7173E9"/>
                </a:solidFill>
              </a:rPr>
              <a:t>Produtos</a:t>
            </a:r>
          </a:p>
        </p:txBody>
      </p:sp>
      <p:sp>
        <p:nvSpPr>
          <p:cNvPr id="586" name="Rounded Rectangle 284">
            <a:extLst>
              <a:ext uri="{FF2B5EF4-FFF2-40B4-BE49-F238E27FC236}">
                <a16:creationId xmlns:a16="http://schemas.microsoft.com/office/drawing/2014/main" id="{E9A71F81-436D-7DE1-4DE5-B1A1C11A0DC2}"/>
              </a:ext>
            </a:extLst>
          </p:cNvPr>
          <p:cNvSpPr/>
          <p:nvPr/>
        </p:nvSpPr>
        <p:spPr>
          <a:xfrm>
            <a:off x="3237690" y="1427258"/>
            <a:ext cx="653706" cy="221383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D0D0F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000" noProof="0">
                <a:solidFill>
                  <a:srgbClr val="7173E9"/>
                </a:solidFill>
              </a:rPr>
              <a:t>Produto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D870DFD-D21D-5B4E-B848-50428F1BB9E6}"/>
              </a:ext>
            </a:extLst>
          </p:cNvPr>
          <p:cNvSpPr/>
          <p:nvPr/>
        </p:nvSpPr>
        <p:spPr>
          <a:xfrm>
            <a:off x="836069" y="2257480"/>
            <a:ext cx="403581" cy="323153"/>
          </a:xfrm>
          <a:prstGeom prst="roundRect">
            <a:avLst>
              <a:gd name="adj" fmla="val 8489"/>
            </a:avLst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FILIAL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113F46C-046F-D572-C032-54C87268B27D}"/>
              </a:ext>
            </a:extLst>
          </p:cNvPr>
          <p:cNvSpPr/>
          <p:nvPr/>
        </p:nvSpPr>
        <p:spPr>
          <a:xfrm>
            <a:off x="836069" y="2651564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002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48A3017-8D5E-4B9F-59DD-B33A97A19CAF}"/>
              </a:ext>
            </a:extLst>
          </p:cNvPr>
          <p:cNvSpPr/>
          <p:nvPr/>
        </p:nvSpPr>
        <p:spPr>
          <a:xfrm>
            <a:off x="836069" y="2785975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210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F80D13D-ACD0-A11E-2993-28C9A41458B3}"/>
              </a:ext>
            </a:extLst>
          </p:cNvPr>
          <p:cNvSpPr/>
          <p:nvPr/>
        </p:nvSpPr>
        <p:spPr>
          <a:xfrm>
            <a:off x="836069" y="2920387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235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B9A4787-A680-39F3-4CC2-7E1B605113A8}"/>
              </a:ext>
            </a:extLst>
          </p:cNvPr>
          <p:cNvSpPr/>
          <p:nvPr/>
        </p:nvSpPr>
        <p:spPr>
          <a:xfrm>
            <a:off x="836069" y="3054798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221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9400CA9D-C74E-1C75-0B36-79268E4411DA}"/>
              </a:ext>
            </a:extLst>
          </p:cNvPr>
          <p:cNvSpPr/>
          <p:nvPr/>
        </p:nvSpPr>
        <p:spPr>
          <a:xfrm>
            <a:off x="836069" y="3189209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220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77B7D944-01F5-8F0A-E5FA-37ECC69B67A9}"/>
              </a:ext>
            </a:extLst>
          </p:cNvPr>
          <p:cNvSpPr/>
          <p:nvPr/>
        </p:nvSpPr>
        <p:spPr>
          <a:xfrm>
            <a:off x="836069" y="3323621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467</a:t>
            </a: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A0465988-A8E9-F906-F81D-8BC1C1B02CFF}"/>
              </a:ext>
            </a:extLst>
          </p:cNvPr>
          <p:cNvSpPr/>
          <p:nvPr/>
        </p:nvSpPr>
        <p:spPr>
          <a:xfrm>
            <a:off x="836069" y="3458033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008</a:t>
            </a: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CC4E04D1-88D1-6F01-4963-D86DEF5D13F0}"/>
              </a:ext>
            </a:extLst>
          </p:cNvPr>
          <p:cNvSpPr/>
          <p:nvPr/>
        </p:nvSpPr>
        <p:spPr>
          <a:xfrm>
            <a:off x="836069" y="3591973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409</a:t>
            </a: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33B91EFC-BF4C-832A-2440-7A314CC4C508}"/>
              </a:ext>
            </a:extLst>
          </p:cNvPr>
          <p:cNvSpPr/>
          <p:nvPr/>
        </p:nvSpPr>
        <p:spPr>
          <a:xfrm>
            <a:off x="836069" y="3722092"/>
            <a:ext cx="403581" cy="134411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013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DAEA8A6-0884-E5F8-D44B-2D7C59DCB57D}"/>
              </a:ext>
            </a:extLst>
          </p:cNvPr>
          <p:cNvSpPr/>
          <p:nvPr/>
        </p:nvSpPr>
        <p:spPr>
          <a:xfrm>
            <a:off x="1246075" y="2257480"/>
            <a:ext cx="625552" cy="323153"/>
          </a:xfrm>
          <a:prstGeom prst="roundRect">
            <a:avLst>
              <a:gd name="adj" fmla="val 8489"/>
            </a:avLst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UF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14AD70E-7F78-2C2A-FA00-A7B46477E3DB}"/>
              </a:ext>
            </a:extLst>
          </p:cNvPr>
          <p:cNvSpPr/>
          <p:nvPr/>
        </p:nvSpPr>
        <p:spPr>
          <a:xfrm>
            <a:off x="1246075" y="2651564"/>
            <a:ext cx="62555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ADA1A40B-450D-B575-5532-B94060B5F290}"/>
              </a:ext>
            </a:extLst>
          </p:cNvPr>
          <p:cNvSpPr/>
          <p:nvPr/>
        </p:nvSpPr>
        <p:spPr>
          <a:xfrm>
            <a:off x="1246075" y="2785975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21086AD4-D9F9-D5BC-381B-1EE37232E3EA}"/>
              </a:ext>
            </a:extLst>
          </p:cNvPr>
          <p:cNvSpPr/>
          <p:nvPr/>
        </p:nvSpPr>
        <p:spPr>
          <a:xfrm>
            <a:off x="1246075" y="2920387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91BE1D8F-1247-2DBF-4879-66BD2B56F0A8}"/>
              </a:ext>
            </a:extLst>
          </p:cNvPr>
          <p:cNvSpPr/>
          <p:nvPr/>
        </p:nvSpPr>
        <p:spPr>
          <a:xfrm>
            <a:off x="1246075" y="3054798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BEC07C36-8AB7-BCD5-B182-0DEC7115E8A4}"/>
              </a:ext>
            </a:extLst>
          </p:cNvPr>
          <p:cNvSpPr/>
          <p:nvPr/>
        </p:nvSpPr>
        <p:spPr>
          <a:xfrm>
            <a:off x="1246075" y="3189209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BA180D39-84CD-5CA4-5C74-A44C1BEA91B3}"/>
              </a:ext>
            </a:extLst>
          </p:cNvPr>
          <p:cNvSpPr/>
          <p:nvPr/>
        </p:nvSpPr>
        <p:spPr>
          <a:xfrm>
            <a:off x="1246075" y="3323621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BA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2DDDA763-812F-9721-C8ED-50E5A5517C5F}"/>
              </a:ext>
            </a:extLst>
          </p:cNvPr>
          <p:cNvSpPr/>
          <p:nvPr/>
        </p:nvSpPr>
        <p:spPr>
          <a:xfrm>
            <a:off x="1246075" y="3458033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F52DDCAC-BC61-4845-89F3-FF81859C4D62}"/>
              </a:ext>
            </a:extLst>
          </p:cNvPr>
          <p:cNvSpPr/>
          <p:nvPr/>
        </p:nvSpPr>
        <p:spPr>
          <a:xfrm>
            <a:off x="1246075" y="3570674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BAF797E1-C20C-CC5A-5BE6-2E17244FC7EA}"/>
              </a:ext>
            </a:extLst>
          </p:cNvPr>
          <p:cNvSpPr/>
          <p:nvPr/>
        </p:nvSpPr>
        <p:spPr>
          <a:xfrm>
            <a:off x="1246075" y="3722092"/>
            <a:ext cx="62555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SP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691E54-2254-5DD4-DA39-23F90DA70479}"/>
              </a:ext>
            </a:extLst>
          </p:cNvPr>
          <p:cNvSpPr/>
          <p:nvPr/>
        </p:nvSpPr>
        <p:spPr>
          <a:xfrm>
            <a:off x="1878052" y="2257480"/>
            <a:ext cx="317821" cy="323153"/>
          </a:xfrm>
          <a:prstGeom prst="roundRect">
            <a:avLst>
              <a:gd name="adj" fmla="val 8631"/>
            </a:avLst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CD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vínculo</a:t>
            </a:r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5EB9851-350F-14DA-7533-D95E094EEE7D}"/>
              </a:ext>
            </a:extLst>
          </p:cNvPr>
          <p:cNvSpPr/>
          <p:nvPr/>
        </p:nvSpPr>
        <p:spPr>
          <a:xfrm>
            <a:off x="1878052" y="2651564"/>
            <a:ext cx="317821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B45BE2D-54EB-FFDC-E64C-37C9CDDFEA30}"/>
              </a:ext>
            </a:extLst>
          </p:cNvPr>
          <p:cNvSpPr/>
          <p:nvPr/>
        </p:nvSpPr>
        <p:spPr>
          <a:xfrm>
            <a:off x="1878052" y="2785975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ECA98ED7-20AE-81F6-A992-AD79701BF5A3}"/>
              </a:ext>
            </a:extLst>
          </p:cNvPr>
          <p:cNvSpPr/>
          <p:nvPr/>
        </p:nvSpPr>
        <p:spPr>
          <a:xfrm>
            <a:off x="1878052" y="2920387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D37C0151-8AD7-B9EA-AA7F-585F88AA9403}"/>
              </a:ext>
            </a:extLst>
          </p:cNvPr>
          <p:cNvSpPr/>
          <p:nvPr/>
        </p:nvSpPr>
        <p:spPr>
          <a:xfrm>
            <a:off x="1878052" y="3054798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68C1D650-5B75-F038-620F-624844FC371D}"/>
              </a:ext>
            </a:extLst>
          </p:cNvPr>
          <p:cNvSpPr/>
          <p:nvPr/>
        </p:nvSpPr>
        <p:spPr>
          <a:xfrm>
            <a:off x="1878052" y="3189209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3FF06B41-A9F2-6B1D-EDBA-317DFA39B49F}"/>
              </a:ext>
            </a:extLst>
          </p:cNvPr>
          <p:cNvSpPr/>
          <p:nvPr/>
        </p:nvSpPr>
        <p:spPr>
          <a:xfrm>
            <a:off x="1878052" y="3323621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400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52CFEEF4-3F41-E860-E6D9-5AF68114E540}"/>
              </a:ext>
            </a:extLst>
          </p:cNvPr>
          <p:cNvSpPr/>
          <p:nvPr/>
        </p:nvSpPr>
        <p:spPr>
          <a:xfrm>
            <a:off x="1878052" y="3458033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53FDB646-E290-A729-30C2-B58655F0E600}"/>
              </a:ext>
            </a:extLst>
          </p:cNvPr>
          <p:cNvSpPr/>
          <p:nvPr/>
        </p:nvSpPr>
        <p:spPr>
          <a:xfrm>
            <a:off x="1878052" y="3570674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699F6B4A-08AC-5343-ACD5-CDC175E9CE62}"/>
              </a:ext>
            </a:extLst>
          </p:cNvPr>
          <p:cNvSpPr/>
          <p:nvPr/>
        </p:nvSpPr>
        <p:spPr>
          <a:xfrm>
            <a:off x="1878052" y="3722092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00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AB645026-3C1B-758D-9A0B-C2D778C6F7D2}"/>
              </a:ext>
            </a:extLst>
          </p:cNvPr>
          <p:cNvSpPr/>
          <p:nvPr/>
        </p:nvSpPr>
        <p:spPr>
          <a:xfrm>
            <a:off x="10561520" y="2257480"/>
            <a:ext cx="403580" cy="323153"/>
          </a:xfrm>
          <a:prstGeom prst="roundRect">
            <a:avLst>
              <a:gd name="adj" fmla="val 8489"/>
            </a:avLst>
          </a:prstGeom>
          <a:solidFill>
            <a:srgbClr val="E7A1A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921035"/>
                </a:solidFill>
                <a:latin typeface="Calibri" panose="020F0502020204030204" pitchFamily="34" charset="0"/>
              </a:rPr>
              <a:t>$ </a:t>
            </a:r>
            <a:r>
              <a:rPr lang="en-US" sz="700" b="1" err="1">
                <a:solidFill>
                  <a:srgbClr val="921035"/>
                </a:solidFill>
                <a:latin typeface="Calibri" panose="020F0502020204030204" pitchFamily="34" charset="0"/>
              </a:rPr>
              <a:t>Ruptura</a:t>
            </a:r>
            <a:endParaRPr lang="en-US" sz="700" b="1">
              <a:solidFill>
                <a:srgbClr val="921035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700" b="1">
                <a:solidFill>
                  <a:srgbClr val="921035"/>
                </a:solidFill>
                <a:latin typeface="Calibri" panose="020F0502020204030204" pitchFamily="34" charset="0"/>
              </a:rPr>
              <a:t>(%)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3B1E6A7-F66E-AE3D-1DE0-266FFC22ED69}"/>
              </a:ext>
            </a:extLst>
          </p:cNvPr>
          <p:cNvSpPr/>
          <p:nvPr/>
        </p:nvSpPr>
        <p:spPr>
          <a:xfrm>
            <a:off x="10561520" y="2651564"/>
            <a:ext cx="403580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7C73A4B-B880-69E3-115E-6D116A8E660A}"/>
              </a:ext>
            </a:extLst>
          </p:cNvPr>
          <p:cNvSpPr/>
          <p:nvPr/>
        </p:nvSpPr>
        <p:spPr>
          <a:xfrm>
            <a:off x="10561520" y="2785975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C2A2B286-4672-BB45-4C72-F7A5E7405D2A}"/>
              </a:ext>
            </a:extLst>
          </p:cNvPr>
          <p:cNvSpPr/>
          <p:nvPr/>
        </p:nvSpPr>
        <p:spPr>
          <a:xfrm>
            <a:off x="10561520" y="2920387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C0AB8C91-40C7-DAEB-4E9F-19A7AD961AC2}"/>
              </a:ext>
            </a:extLst>
          </p:cNvPr>
          <p:cNvSpPr/>
          <p:nvPr/>
        </p:nvSpPr>
        <p:spPr>
          <a:xfrm>
            <a:off x="10561520" y="3054798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A8B7C99B-0B02-B5D7-411E-457CE5C470F3}"/>
              </a:ext>
            </a:extLst>
          </p:cNvPr>
          <p:cNvSpPr/>
          <p:nvPr/>
        </p:nvSpPr>
        <p:spPr>
          <a:xfrm>
            <a:off x="10561520" y="3189209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8E1AE9C8-008B-AE59-EE19-BC919736303B}"/>
              </a:ext>
            </a:extLst>
          </p:cNvPr>
          <p:cNvSpPr/>
          <p:nvPr/>
        </p:nvSpPr>
        <p:spPr>
          <a:xfrm>
            <a:off x="10561520" y="3323621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36465DBA-F20B-5830-CFD0-5DBB2C8287AA}"/>
              </a:ext>
            </a:extLst>
          </p:cNvPr>
          <p:cNvSpPr/>
          <p:nvPr/>
        </p:nvSpPr>
        <p:spPr>
          <a:xfrm>
            <a:off x="10561520" y="3458033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63684CF2-B61F-290A-2625-747F336FFF8D}"/>
              </a:ext>
            </a:extLst>
          </p:cNvPr>
          <p:cNvSpPr/>
          <p:nvPr/>
        </p:nvSpPr>
        <p:spPr>
          <a:xfrm>
            <a:off x="10561520" y="3570674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B4C06A76-1FBE-CE66-EDC9-E4C78002FA42}"/>
              </a:ext>
            </a:extLst>
          </p:cNvPr>
          <p:cNvSpPr/>
          <p:nvPr/>
        </p:nvSpPr>
        <p:spPr>
          <a:xfrm>
            <a:off x="10561520" y="3722092"/>
            <a:ext cx="40358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C79DFDD-999C-1386-28C8-BCA9C61FF8EE}"/>
              </a:ext>
            </a:extLst>
          </p:cNvPr>
          <p:cNvSpPr/>
          <p:nvPr/>
        </p:nvSpPr>
        <p:spPr>
          <a:xfrm>
            <a:off x="2202297" y="2651564"/>
            <a:ext cx="282670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E82D0402-BFE5-D5F0-0F42-3E82A7AD41D0}"/>
              </a:ext>
            </a:extLst>
          </p:cNvPr>
          <p:cNvSpPr/>
          <p:nvPr/>
        </p:nvSpPr>
        <p:spPr>
          <a:xfrm>
            <a:off x="2202297" y="2785975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3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4693BE63-DB2E-CC7F-D3B1-5EEA7C6BFD64}"/>
              </a:ext>
            </a:extLst>
          </p:cNvPr>
          <p:cNvSpPr/>
          <p:nvPr/>
        </p:nvSpPr>
        <p:spPr>
          <a:xfrm>
            <a:off x="2202297" y="2920387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3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445170D4-50B9-964B-9946-5869624A7DBD}"/>
              </a:ext>
            </a:extLst>
          </p:cNvPr>
          <p:cNvSpPr/>
          <p:nvPr/>
        </p:nvSpPr>
        <p:spPr>
          <a:xfrm>
            <a:off x="2202297" y="3054798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1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6AEED33E-BE57-B30E-1BB4-900920A1BE5B}"/>
              </a:ext>
            </a:extLst>
          </p:cNvPr>
          <p:cNvSpPr/>
          <p:nvPr/>
        </p:nvSpPr>
        <p:spPr>
          <a:xfrm>
            <a:off x="2202297" y="3189209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4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DA52BAB1-E4C9-E3EE-F291-19FC5F3671B9}"/>
              </a:ext>
            </a:extLst>
          </p:cNvPr>
          <p:cNvSpPr/>
          <p:nvPr/>
        </p:nvSpPr>
        <p:spPr>
          <a:xfrm>
            <a:off x="2202297" y="3323621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3</a:t>
            </a: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1D3AE9AA-A555-5AC3-1816-BA61323D6E9E}"/>
              </a:ext>
            </a:extLst>
          </p:cNvPr>
          <p:cNvSpPr/>
          <p:nvPr/>
        </p:nvSpPr>
        <p:spPr>
          <a:xfrm>
            <a:off x="2202297" y="3458033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5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02A6EB18-717C-F605-C0F1-17D8E366F66D}"/>
              </a:ext>
            </a:extLst>
          </p:cNvPr>
          <p:cNvSpPr/>
          <p:nvPr/>
        </p:nvSpPr>
        <p:spPr>
          <a:xfrm>
            <a:off x="2202297" y="3570674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2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D8DC25D0-783D-2106-9755-D070BE366EE5}"/>
              </a:ext>
            </a:extLst>
          </p:cNvPr>
          <p:cNvSpPr/>
          <p:nvPr/>
        </p:nvSpPr>
        <p:spPr>
          <a:xfrm>
            <a:off x="2202297" y="3722092"/>
            <a:ext cx="28267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Porte 1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FF4BAF3-EE7B-250C-A8D6-74B81C304F8B}"/>
              </a:ext>
            </a:extLst>
          </p:cNvPr>
          <p:cNvSpPr/>
          <p:nvPr/>
        </p:nvSpPr>
        <p:spPr>
          <a:xfrm>
            <a:off x="2202298" y="2257480"/>
            <a:ext cx="282670" cy="323153"/>
          </a:xfrm>
          <a:prstGeom prst="roundRect">
            <a:avLst>
              <a:gd name="adj" fmla="val 9705"/>
            </a:avLst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Port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34ADC05-DF5C-C5A1-0AA1-FA3D535BBC74}"/>
              </a:ext>
            </a:extLst>
          </p:cNvPr>
          <p:cNvSpPr/>
          <p:nvPr/>
        </p:nvSpPr>
        <p:spPr>
          <a:xfrm>
            <a:off x="3171533" y="2257480"/>
            <a:ext cx="398536" cy="323153"/>
          </a:xfrm>
          <a:prstGeom prst="roundRect">
            <a:avLst>
              <a:gd name="adj" fmla="val 8489"/>
            </a:avLst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Estq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Loja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Projetado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9AFBB290-FCFA-F4C4-D0E3-E3D0ACD2C188}"/>
              </a:ext>
            </a:extLst>
          </p:cNvPr>
          <p:cNvSpPr/>
          <p:nvPr/>
        </p:nvSpPr>
        <p:spPr>
          <a:xfrm>
            <a:off x="3171533" y="2651564"/>
            <a:ext cx="398536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922435F-1B5F-90AD-36A1-791886C0964F}"/>
              </a:ext>
            </a:extLst>
          </p:cNvPr>
          <p:cNvSpPr/>
          <p:nvPr/>
        </p:nvSpPr>
        <p:spPr>
          <a:xfrm>
            <a:off x="3171533" y="2785975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90816E7-BC56-BDA9-BA53-0F11D075DF77}"/>
              </a:ext>
            </a:extLst>
          </p:cNvPr>
          <p:cNvSpPr/>
          <p:nvPr/>
        </p:nvSpPr>
        <p:spPr>
          <a:xfrm>
            <a:off x="3171533" y="2920387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628AD505-A171-8FBA-1A93-605DA8AED980}"/>
              </a:ext>
            </a:extLst>
          </p:cNvPr>
          <p:cNvSpPr/>
          <p:nvPr/>
        </p:nvSpPr>
        <p:spPr>
          <a:xfrm>
            <a:off x="3171533" y="3054798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B898D34A-2416-71C4-0AFF-67C710F5F621}"/>
              </a:ext>
            </a:extLst>
          </p:cNvPr>
          <p:cNvSpPr/>
          <p:nvPr/>
        </p:nvSpPr>
        <p:spPr>
          <a:xfrm>
            <a:off x="3171533" y="3189209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4AD4E7FE-2DEE-133B-DEF0-F87DAF1A4DD5}"/>
              </a:ext>
            </a:extLst>
          </p:cNvPr>
          <p:cNvSpPr/>
          <p:nvPr/>
        </p:nvSpPr>
        <p:spPr>
          <a:xfrm>
            <a:off x="3171533" y="3323621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F2255C8F-66B8-F12E-CEA6-768C98F408E3}"/>
              </a:ext>
            </a:extLst>
          </p:cNvPr>
          <p:cNvSpPr/>
          <p:nvPr/>
        </p:nvSpPr>
        <p:spPr>
          <a:xfrm>
            <a:off x="3171533" y="3458033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1F348F0D-8AAD-24B3-DF0B-464900913ADC}"/>
              </a:ext>
            </a:extLst>
          </p:cNvPr>
          <p:cNvSpPr/>
          <p:nvPr/>
        </p:nvSpPr>
        <p:spPr>
          <a:xfrm>
            <a:off x="3171533" y="3570674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9CC25E27-D0CB-AC11-50C0-1B86F1012AEB}"/>
              </a:ext>
            </a:extLst>
          </p:cNvPr>
          <p:cNvSpPr/>
          <p:nvPr/>
        </p:nvSpPr>
        <p:spPr>
          <a:xfrm>
            <a:off x="3171533" y="3722092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04CD808-A874-0166-0594-F3528610BA82}"/>
              </a:ext>
            </a:extLst>
          </p:cNvPr>
          <p:cNvSpPr/>
          <p:nvPr/>
        </p:nvSpPr>
        <p:spPr>
          <a:xfrm>
            <a:off x="3576494" y="2257480"/>
            <a:ext cx="398536" cy="323153"/>
          </a:xfrm>
          <a:prstGeom prst="roundRect">
            <a:avLst>
              <a:gd name="adj" fmla="val 8489"/>
            </a:avLst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Estq. Médio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36915C9-64CD-1D4D-B0DE-9509E7C09E12}"/>
              </a:ext>
            </a:extLst>
          </p:cNvPr>
          <p:cNvSpPr/>
          <p:nvPr/>
        </p:nvSpPr>
        <p:spPr>
          <a:xfrm>
            <a:off x="3576494" y="2651564"/>
            <a:ext cx="398536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A3D23370-6EAA-85AC-143B-2404DC4A2C09}"/>
              </a:ext>
            </a:extLst>
          </p:cNvPr>
          <p:cNvSpPr/>
          <p:nvPr/>
        </p:nvSpPr>
        <p:spPr>
          <a:xfrm>
            <a:off x="3576494" y="2785975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F05053C-DA89-AEF3-815F-0E7212DE8320}"/>
              </a:ext>
            </a:extLst>
          </p:cNvPr>
          <p:cNvSpPr/>
          <p:nvPr/>
        </p:nvSpPr>
        <p:spPr>
          <a:xfrm>
            <a:off x="3576494" y="2920387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63954AA-D70D-0525-32F6-F1CF66C7BDDA}"/>
              </a:ext>
            </a:extLst>
          </p:cNvPr>
          <p:cNvSpPr/>
          <p:nvPr/>
        </p:nvSpPr>
        <p:spPr>
          <a:xfrm>
            <a:off x="3576494" y="3054798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10A22A67-520F-5382-3CC6-0D9FEA0402B4}"/>
              </a:ext>
            </a:extLst>
          </p:cNvPr>
          <p:cNvSpPr/>
          <p:nvPr/>
        </p:nvSpPr>
        <p:spPr>
          <a:xfrm>
            <a:off x="3576494" y="3189209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7257CE0C-737F-BC8C-8223-86A7701D488A}"/>
              </a:ext>
            </a:extLst>
          </p:cNvPr>
          <p:cNvSpPr/>
          <p:nvPr/>
        </p:nvSpPr>
        <p:spPr>
          <a:xfrm>
            <a:off x="3576494" y="3323621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B2E09A00-1C93-AAAC-9CF3-911D7204AF2C}"/>
              </a:ext>
            </a:extLst>
          </p:cNvPr>
          <p:cNvSpPr/>
          <p:nvPr/>
        </p:nvSpPr>
        <p:spPr>
          <a:xfrm>
            <a:off x="3576494" y="3458033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137BE057-C0FC-0445-6E33-11DC6941D76C}"/>
              </a:ext>
            </a:extLst>
          </p:cNvPr>
          <p:cNvSpPr/>
          <p:nvPr/>
        </p:nvSpPr>
        <p:spPr>
          <a:xfrm>
            <a:off x="3576494" y="3570674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E60C751D-DEF7-5788-A222-39623C7776AD}"/>
              </a:ext>
            </a:extLst>
          </p:cNvPr>
          <p:cNvSpPr/>
          <p:nvPr/>
        </p:nvSpPr>
        <p:spPr>
          <a:xfrm>
            <a:off x="3576494" y="3722092"/>
            <a:ext cx="398536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79091D8-4A3A-ADD1-2612-F5550E48FC5D}"/>
              </a:ext>
            </a:extLst>
          </p:cNvPr>
          <p:cNvSpPr/>
          <p:nvPr/>
        </p:nvSpPr>
        <p:spPr>
          <a:xfrm>
            <a:off x="2847287" y="2257480"/>
            <a:ext cx="317821" cy="323153"/>
          </a:xfrm>
          <a:prstGeom prst="roundRect">
            <a:avLst>
              <a:gd name="adj" fmla="val 8631"/>
            </a:avLst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Etq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</a:p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loja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54F440B-11FB-3AEC-3745-659EF70C08F0}"/>
              </a:ext>
            </a:extLst>
          </p:cNvPr>
          <p:cNvSpPr/>
          <p:nvPr/>
        </p:nvSpPr>
        <p:spPr>
          <a:xfrm>
            <a:off x="2847287" y="2651564"/>
            <a:ext cx="317821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28C98A7-D5D4-3191-F4FB-812089546264}"/>
              </a:ext>
            </a:extLst>
          </p:cNvPr>
          <p:cNvSpPr/>
          <p:nvPr/>
        </p:nvSpPr>
        <p:spPr>
          <a:xfrm>
            <a:off x="2847287" y="2785975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401895EF-8AC7-08D3-5424-1220DD87A790}"/>
              </a:ext>
            </a:extLst>
          </p:cNvPr>
          <p:cNvSpPr/>
          <p:nvPr/>
        </p:nvSpPr>
        <p:spPr>
          <a:xfrm>
            <a:off x="2847287" y="2920387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917353B9-E133-D2F8-5D81-AACBA1392BCB}"/>
              </a:ext>
            </a:extLst>
          </p:cNvPr>
          <p:cNvSpPr/>
          <p:nvPr/>
        </p:nvSpPr>
        <p:spPr>
          <a:xfrm>
            <a:off x="2847287" y="3054798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0BDD4724-FDB0-E272-C50A-0E069B3B0D30}"/>
              </a:ext>
            </a:extLst>
          </p:cNvPr>
          <p:cNvSpPr/>
          <p:nvPr/>
        </p:nvSpPr>
        <p:spPr>
          <a:xfrm>
            <a:off x="2847287" y="3189209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48832CF8-CAF1-10A9-620F-BDE6EBE43D5D}"/>
              </a:ext>
            </a:extLst>
          </p:cNvPr>
          <p:cNvSpPr/>
          <p:nvPr/>
        </p:nvSpPr>
        <p:spPr>
          <a:xfrm>
            <a:off x="2847287" y="3323621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9AAA74C4-24F8-4094-E142-A4EE4CB26962}"/>
              </a:ext>
            </a:extLst>
          </p:cNvPr>
          <p:cNvSpPr/>
          <p:nvPr/>
        </p:nvSpPr>
        <p:spPr>
          <a:xfrm>
            <a:off x="2847287" y="3458033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D4A51FC3-B5AD-D2BA-A49A-F7DC55C0966E}"/>
              </a:ext>
            </a:extLst>
          </p:cNvPr>
          <p:cNvSpPr/>
          <p:nvPr/>
        </p:nvSpPr>
        <p:spPr>
          <a:xfrm>
            <a:off x="2847287" y="3570674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0A217339-B4BB-04FF-9E25-E1DB1D562CFF}"/>
              </a:ext>
            </a:extLst>
          </p:cNvPr>
          <p:cNvSpPr/>
          <p:nvPr/>
        </p:nvSpPr>
        <p:spPr>
          <a:xfrm>
            <a:off x="2847287" y="3722092"/>
            <a:ext cx="31782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3AAEC6B-BADD-6983-D48B-3600EFE37BBD}"/>
              </a:ext>
            </a:extLst>
          </p:cNvPr>
          <p:cNvSpPr/>
          <p:nvPr/>
        </p:nvSpPr>
        <p:spPr>
          <a:xfrm>
            <a:off x="10203341" y="2257480"/>
            <a:ext cx="358179" cy="323153"/>
          </a:xfrm>
          <a:prstGeom prst="roundRect">
            <a:avLst>
              <a:gd name="adj" fmla="val 8489"/>
            </a:avLst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0F1167"/>
                </a:solidFill>
                <a:latin typeface="Calibri" panose="020F0502020204030204" pitchFamily="34" charset="0"/>
              </a:rPr>
              <a:t>% Ating. S&amp;OP OFF LINE 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D354D1E-B2F0-9EB7-A3DB-383663CEDA10}"/>
              </a:ext>
            </a:extLst>
          </p:cNvPr>
          <p:cNvSpPr/>
          <p:nvPr/>
        </p:nvSpPr>
        <p:spPr>
          <a:xfrm>
            <a:off x="10203341" y="2651564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44%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8440449A-722C-F939-7DA5-E0C68F5A6353}"/>
              </a:ext>
            </a:extLst>
          </p:cNvPr>
          <p:cNvSpPr/>
          <p:nvPr/>
        </p:nvSpPr>
        <p:spPr>
          <a:xfrm>
            <a:off x="10203341" y="2785975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71%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FC187238-AD8A-6446-BF4B-6391F8B8262C}"/>
              </a:ext>
            </a:extLst>
          </p:cNvPr>
          <p:cNvSpPr/>
          <p:nvPr/>
        </p:nvSpPr>
        <p:spPr>
          <a:xfrm>
            <a:off x="10203341" y="2920387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56%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4A0F5085-ABEC-E28D-9479-43DD57BC9768}"/>
              </a:ext>
            </a:extLst>
          </p:cNvPr>
          <p:cNvSpPr/>
          <p:nvPr/>
        </p:nvSpPr>
        <p:spPr>
          <a:xfrm>
            <a:off x="10203341" y="3054798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57%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41D81086-C527-DA84-FBA9-6E9ABAC9FC35}"/>
              </a:ext>
            </a:extLst>
          </p:cNvPr>
          <p:cNvSpPr/>
          <p:nvPr/>
        </p:nvSpPr>
        <p:spPr>
          <a:xfrm>
            <a:off x="10203341" y="3189209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49%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2EAEE198-57EA-4B72-5356-844230886F63}"/>
              </a:ext>
            </a:extLst>
          </p:cNvPr>
          <p:cNvSpPr/>
          <p:nvPr/>
        </p:nvSpPr>
        <p:spPr>
          <a:xfrm>
            <a:off x="10203341" y="3323621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20%</a:t>
            </a: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84544C44-2DD3-9792-0081-9695B1A149D4}"/>
              </a:ext>
            </a:extLst>
          </p:cNvPr>
          <p:cNvSpPr/>
          <p:nvPr/>
        </p:nvSpPr>
        <p:spPr>
          <a:xfrm>
            <a:off x="10203341" y="3458033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66%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21BC5FCA-3583-3F5A-E6BD-9D7ED67E74E4}"/>
              </a:ext>
            </a:extLst>
          </p:cNvPr>
          <p:cNvSpPr/>
          <p:nvPr/>
        </p:nvSpPr>
        <p:spPr>
          <a:xfrm>
            <a:off x="10203341" y="3570674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196%</a:t>
            </a: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FF4F2F99-3ABB-710F-1EF4-9F03F9C431D6}"/>
              </a:ext>
            </a:extLst>
          </p:cNvPr>
          <p:cNvSpPr/>
          <p:nvPr/>
        </p:nvSpPr>
        <p:spPr>
          <a:xfrm>
            <a:off x="10203341" y="3722092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 b="1">
                <a:solidFill>
                  <a:schemeClr val="tx1"/>
                </a:solidFill>
                <a:latin typeface="Calibri" panose="020F0502020204030204" pitchFamily="34" charset="0"/>
              </a:rPr>
              <a:t>80%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8FE5A04-99C5-74D4-8CAE-3787C0A3944D}"/>
              </a:ext>
            </a:extLst>
          </p:cNvPr>
          <p:cNvSpPr/>
          <p:nvPr/>
        </p:nvSpPr>
        <p:spPr>
          <a:xfrm>
            <a:off x="3981455" y="2257480"/>
            <a:ext cx="383402" cy="323153"/>
          </a:xfrm>
          <a:prstGeom prst="roundRect">
            <a:avLst>
              <a:gd name="adj" fmla="val 8489"/>
            </a:avLst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Prog. Loja 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DF79C30-8A3B-05F1-D369-A97189A9A134}"/>
              </a:ext>
            </a:extLst>
          </p:cNvPr>
          <p:cNvSpPr/>
          <p:nvPr/>
        </p:nvSpPr>
        <p:spPr>
          <a:xfrm>
            <a:off x="3981455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40017DA-4522-4503-5868-5AD81EF34815}"/>
              </a:ext>
            </a:extLst>
          </p:cNvPr>
          <p:cNvSpPr/>
          <p:nvPr/>
        </p:nvSpPr>
        <p:spPr>
          <a:xfrm>
            <a:off x="3981455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5D77A15-FAE4-3916-EA8C-22A6765D653F}"/>
              </a:ext>
            </a:extLst>
          </p:cNvPr>
          <p:cNvSpPr/>
          <p:nvPr/>
        </p:nvSpPr>
        <p:spPr>
          <a:xfrm>
            <a:off x="3981455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917A5C2E-D9C5-FC41-8824-E61380C2EAB3}"/>
              </a:ext>
            </a:extLst>
          </p:cNvPr>
          <p:cNvSpPr/>
          <p:nvPr/>
        </p:nvSpPr>
        <p:spPr>
          <a:xfrm>
            <a:off x="3981455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3FDFBDA8-3EA0-BCF3-4ADF-E01EC0E375A3}"/>
              </a:ext>
            </a:extLst>
          </p:cNvPr>
          <p:cNvSpPr/>
          <p:nvPr/>
        </p:nvSpPr>
        <p:spPr>
          <a:xfrm>
            <a:off x="3981455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B8A8ED4D-707F-FF5A-E76A-2DB085F4C3C2}"/>
              </a:ext>
            </a:extLst>
          </p:cNvPr>
          <p:cNvSpPr/>
          <p:nvPr/>
        </p:nvSpPr>
        <p:spPr>
          <a:xfrm>
            <a:off x="3981455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8C8D841D-E4F7-C733-C7B8-AD8287C44E18}"/>
              </a:ext>
            </a:extLst>
          </p:cNvPr>
          <p:cNvSpPr/>
          <p:nvPr/>
        </p:nvSpPr>
        <p:spPr>
          <a:xfrm>
            <a:off x="3981455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BB4A7A11-793E-FCA4-6074-8AB2BC14946A}"/>
              </a:ext>
            </a:extLst>
          </p:cNvPr>
          <p:cNvSpPr/>
          <p:nvPr/>
        </p:nvSpPr>
        <p:spPr>
          <a:xfrm>
            <a:off x="3981455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4EC797F5-3867-647E-576D-A15DE29AF672}"/>
              </a:ext>
            </a:extLst>
          </p:cNvPr>
          <p:cNvSpPr/>
          <p:nvPr/>
        </p:nvSpPr>
        <p:spPr>
          <a:xfrm>
            <a:off x="3981455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84662EF-D979-FACA-C8F4-59C70D3D80E2}"/>
              </a:ext>
            </a:extLst>
          </p:cNvPr>
          <p:cNvSpPr/>
          <p:nvPr/>
        </p:nvSpPr>
        <p:spPr>
          <a:xfrm>
            <a:off x="4371284" y="2257480"/>
            <a:ext cx="423760" cy="323153"/>
          </a:xfrm>
          <a:prstGeom prst="roundRect">
            <a:avLst>
              <a:gd name="adj" fmla="val 8489"/>
            </a:avLst>
          </a:prstGeom>
          <a:solidFill>
            <a:srgbClr val="7173E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Estq CD Origem 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37DC46F-A335-DB0F-E50B-D548F83F649E}"/>
              </a:ext>
            </a:extLst>
          </p:cNvPr>
          <p:cNvSpPr/>
          <p:nvPr/>
        </p:nvSpPr>
        <p:spPr>
          <a:xfrm>
            <a:off x="4371284" y="2651564"/>
            <a:ext cx="423760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BEAAB31A-B41F-EDBF-2214-9C14E7F35F2C}"/>
              </a:ext>
            </a:extLst>
          </p:cNvPr>
          <p:cNvSpPr/>
          <p:nvPr/>
        </p:nvSpPr>
        <p:spPr>
          <a:xfrm>
            <a:off x="4371284" y="2785975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301526B3-7658-F87C-AB79-2D4F6FAB881B}"/>
              </a:ext>
            </a:extLst>
          </p:cNvPr>
          <p:cNvSpPr/>
          <p:nvPr/>
        </p:nvSpPr>
        <p:spPr>
          <a:xfrm>
            <a:off x="4371284" y="2920387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FF134DF0-3D40-A8E4-0FF4-599C08800490}"/>
              </a:ext>
            </a:extLst>
          </p:cNvPr>
          <p:cNvSpPr/>
          <p:nvPr/>
        </p:nvSpPr>
        <p:spPr>
          <a:xfrm>
            <a:off x="4371284" y="3054798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99B5F2C9-8CDB-8D07-0527-D061F2DFDFD9}"/>
              </a:ext>
            </a:extLst>
          </p:cNvPr>
          <p:cNvSpPr/>
          <p:nvPr/>
        </p:nvSpPr>
        <p:spPr>
          <a:xfrm>
            <a:off x="4371284" y="3189209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A8257961-493C-5C0E-48C3-4589EF948E8A}"/>
              </a:ext>
            </a:extLst>
          </p:cNvPr>
          <p:cNvSpPr/>
          <p:nvPr/>
        </p:nvSpPr>
        <p:spPr>
          <a:xfrm>
            <a:off x="4371284" y="3323621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CAC59CDD-A290-8F0B-1E4B-E9F4540EBF50}"/>
              </a:ext>
            </a:extLst>
          </p:cNvPr>
          <p:cNvSpPr/>
          <p:nvPr/>
        </p:nvSpPr>
        <p:spPr>
          <a:xfrm>
            <a:off x="4371284" y="3458033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FDD1B819-F6C7-27A1-B56A-16442D3E5B05}"/>
              </a:ext>
            </a:extLst>
          </p:cNvPr>
          <p:cNvSpPr/>
          <p:nvPr/>
        </p:nvSpPr>
        <p:spPr>
          <a:xfrm>
            <a:off x="4371284" y="3570674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7329EBE9-37E4-11AE-10D1-065F1173BC4C}"/>
              </a:ext>
            </a:extLst>
          </p:cNvPr>
          <p:cNvSpPr/>
          <p:nvPr/>
        </p:nvSpPr>
        <p:spPr>
          <a:xfrm>
            <a:off x="4371284" y="3722092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779454A-7CDC-3CE3-7782-008C796CC4C7}"/>
              </a:ext>
            </a:extLst>
          </p:cNvPr>
          <p:cNvSpPr/>
          <p:nvPr/>
        </p:nvSpPr>
        <p:spPr>
          <a:xfrm>
            <a:off x="4801469" y="2257480"/>
            <a:ext cx="423760" cy="323153"/>
          </a:xfrm>
          <a:prstGeom prst="roundRect">
            <a:avLst>
              <a:gd name="adj" fmla="val 8489"/>
            </a:avLst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DDV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calculado</a:t>
            </a:r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09DC540-4C8B-D38C-2A8D-474556CC20F2}"/>
              </a:ext>
            </a:extLst>
          </p:cNvPr>
          <p:cNvSpPr/>
          <p:nvPr/>
        </p:nvSpPr>
        <p:spPr>
          <a:xfrm>
            <a:off x="4801469" y="2651564"/>
            <a:ext cx="423760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468DA1F-BEAA-5377-F407-DCB73AD7DD0E}"/>
              </a:ext>
            </a:extLst>
          </p:cNvPr>
          <p:cNvSpPr/>
          <p:nvPr/>
        </p:nvSpPr>
        <p:spPr>
          <a:xfrm>
            <a:off x="4801469" y="2785975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B6E01120-36B5-7BE7-D82D-251B743A0B7C}"/>
              </a:ext>
            </a:extLst>
          </p:cNvPr>
          <p:cNvSpPr/>
          <p:nvPr/>
        </p:nvSpPr>
        <p:spPr>
          <a:xfrm>
            <a:off x="4801469" y="2920387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2341EDDD-0362-0667-DF76-8995FE69B29B}"/>
              </a:ext>
            </a:extLst>
          </p:cNvPr>
          <p:cNvSpPr/>
          <p:nvPr/>
        </p:nvSpPr>
        <p:spPr>
          <a:xfrm>
            <a:off x="4801469" y="3054798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C3585E4C-4C8C-ABA4-E501-6065539A1C6D}"/>
              </a:ext>
            </a:extLst>
          </p:cNvPr>
          <p:cNvSpPr/>
          <p:nvPr/>
        </p:nvSpPr>
        <p:spPr>
          <a:xfrm>
            <a:off x="4801469" y="3189209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B9CC7FAF-9753-DF85-036B-FABE3383CA85}"/>
              </a:ext>
            </a:extLst>
          </p:cNvPr>
          <p:cNvSpPr/>
          <p:nvPr/>
        </p:nvSpPr>
        <p:spPr>
          <a:xfrm>
            <a:off x="4801469" y="3323621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877A2E2D-6455-B97B-1CA9-3DF0AEC55BF9}"/>
              </a:ext>
            </a:extLst>
          </p:cNvPr>
          <p:cNvSpPr/>
          <p:nvPr/>
        </p:nvSpPr>
        <p:spPr>
          <a:xfrm>
            <a:off x="4801469" y="3458033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8B64049A-B635-BB61-72FF-25F0B4E52C8C}"/>
              </a:ext>
            </a:extLst>
          </p:cNvPr>
          <p:cNvSpPr/>
          <p:nvPr/>
        </p:nvSpPr>
        <p:spPr>
          <a:xfrm>
            <a:off x="4801469" y="3570674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9F99C172-A320-0B52-C058-569C5DA21E46}"/>
              </a:ext>
            </a:extLst>
          </p:cNvPr>
          <p:cNvSpPr/>
          <p:nvPr/>
        </p:nvSpPr>
        <p:spPr>
          <a:xfrm>
            <a:off x="4801469" y="3722092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3288886-7429-5B8A-A759-10984C6CC57A}"/>
              </a:ext>
            </a:extLst>
          </p:cNvPr>
          <p:cNvSpPr/>
          <p:nvPr/>
        </p:nvSpPr>
        <p:spPr>
          <a:xfrm>
            <a:off x="5231654" y="2257480"/>
            <a:ext cx="491024" cy="323153"/>
          </a:xfrm>
          <a:prstGeom prst="roundRect">
            <a:avLst>
              <a:gd name="adj" fmla="val 8489"/>
            </a:avLst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Vendas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ACM 30d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184D2DA-975C-65F5-5BFA-DB3DBEF5AF31}"/>
              </a:ext>
            </a:extLst>
          </p:cNvPr>
          <p:cNvSpPr/>
          <p:nvPr/>
        </p:nvSpPr>
        <p:spPr>
          <a:xfrm>
            <a:off x="5231654" y="2651564"/>
            <a:ext cx="491024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6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DB686480-5DC3-67DF-6656-062E15B279DB}"/>
              </a:ext>
            </a:extLst>
          </p:cNvPr>
          <p:cNvSpPr/>
          <p:nvPr/>
        </p:nvSpPr>
        <p:spPr>
          <a:xfrm>
            <a:off x="5231654" y="2785975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14ECDB33-7272-D839-787F-CE53BD788E7F}"/>
              </a:ext>
            </a:extLst>
          </p:cNvPr>
          <p:cNvSpPr/>
          <p:nvPr/>
        </p:nvSpPr>
        <p:spPr>
          <a:xfrm>
            <a:off x="5231654" y="2920387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47210B6-7C35-B526-6C71-FF45C87D5FF6}"/>
              </a:ext>
            </a:extLst>
          </p:cNvPr>
          <p:cNvSpPr/>
          <p:nvPr/>
        </p:nvSpPr>
        <p:spPr>
          <a:xfrm>
            <a:off x="5231654" y="3054798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1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62E3A35C-7655-6B4D-F722-1BCAEA18E8D6}"/>
              </a:ext>
            </a:extLst>
          </p:cNvPr>
          <p:cNvSpPr/>
          <p:nvPr/>
        </p:nvSpPr>
        <p:spPr>
          <a:xfrm>
            <a:off x="5231654" y="3189209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9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D01320EF-0BB1-46D1-CAEC-EA3491E14E23}"/>
              </a:ext>
            </a:extLst>
          </p:cNvPr>
          <p:cNvSpPr/>
          <p:nvPr/>
        </p:nvSpPr>
        <p:spPr>
          <a:xfrm>
            <a:off x="5231654" y="3323621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7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0E7C7CC1-B2A1-47A7-6617-FFF7966AF22B}"/>
              </a:ext>
            </a:extLst>
          </p:cNvPr>
          <p:cNvSpPr/>
          <p:nvPr/>
        </p:nvSpPr>
        <p:spPr>
          <a:xfrm>
            <a:off x="5231654" y="3458033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7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2D9B7561-029A-8FFB-42CA-21E5D20CBC69}"/>
              </a:ext>
            </a:extLst>
          </p:cNvPr>
          <p:cNvSpPr/>
          <p:nvPr/>
        </p:nvSpPr>
        <p:spPr>
          <a:xfrm>
            <a:off x="5231654" y="3570674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43F9DED8-998B-FF51-AA1B-9D1548CE4200}"/>
              </a:ext>
            </a:extLst>
          </p:cNvPr>
          <p:cNvSpPr/>
          <p:nvPr/>
        </p:nvSpPr>
        <p:spPr>
          <a:xfrm>
            <a:off x="5231654" y="3722092"/>
            <a:ext cx="491024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3E1EFF7-7584-5DC3-21FD-61822D4316CA}"/>
              </a:ext>
            </a:extLst>
          </p:cNvPr>
          <p:cNvSpPr/>
          <p:nvPr/>
        </p:nvSpPr>
        <p:spPr>
          <a:xfrm>
            <a:off x="5729103" y="2257480"/>
            <a:ext cx="383402" cy="323153"/>
          </a:xfrm>
          <a:prstGeom prst="roundRect">
            <a:avLst>
              <a:gd name="adj" fmla="val 8489"/>
            </a:avLst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Vendas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ACM 10d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594EC0B-30FE-00F8-F3CC-A7985AD9ABE4}"/>
              </a:ext>
            </a:extLst>
          </p:cNvPr>
          <p:cNvSpPr/>
          <p:nvPr/>
        </p:nvSpPr>
        <p:spPr>
          <a:xfrm>
            <a:off x="5729103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C566572-A41D-F7AB-281B-99C9F15C550A}"/>
              </a:ext>
            </a:extLst>
          </p:cNvPr>
          <p:cNvSpPr/>
          <p:nvPr/>
        </p:nvSpPr>
        <p:spPr>
          <a:xfrm>
            <a:off x="5729103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23486795-B014-6ABA-C964-A336B8B454F9}"/>
              </a:ext>
            </a:extLst>
          </p:cNvPr>
          <p:cNvSpPr/>
          <p:nvPr/>
        </p:nvSpPr>
        <p:spPr>
          <a:xfrm>
            <a:off x="5729103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02DAE038-1C44-ADFB-6023-B7465C97939A}"/>
              </a:ext>
            </a:extLst>
          </p:cNvPr>
          <p:cNvSpPr/>
          <p:nvPr/>
        </p:nvSpPr>
        <p:spPr>
          <a:xfrm>
            <a:off x="5729103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3FFF0ED4-1D16-585A-7AC6-6C6686B9BDA6}"/>
              </a:ext>
            </a:extLst>
          </p:cNvPr>
          <p:cNvSpPr/>
          <p:nvPr/>
        </p:nvSpPr>
        <p:spPr>
          <a:xfrm>
            <a:off x="5729103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1E1A0C6D-B14C-8C07-BEBF-586E39E33215}"/>
              </a:ext>
            </a:extLst>
          </p:cNvPr>
          <p:cNvSpPr/>
          <p:nvPr/>
        </p:nvSpPr>
        <p:spPr>
          <a:xfrm>
            <a:off x="5729103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77D3410D-3AC4-04D0-2924-FFB84C0D94C2}"/>
              </a:ext>
            </a:extLst>
          </p:cNvPr>
          <p:cNvSpPr/>
          <p:nvPr/>
        </p:nvSpPr>
        <p:spPr>
          <a:xfrm>
            <a:off x="5729103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D7E882EB-FB69-0D96-3524-2B1345E1EC60}"/>
              </a:ext>
            </a:extLst>
          </p:cNvPr>
          <p:cNvSpPr/>
          <p:nvPr/>
        </p:nvSpPr>
        <p:spPr>
          <a:xfrm>
            <a:off x="5729103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64FC8E4A-1B4B-90D7-58BF-41190DE0A25C}"/>
              </a:ext>
            </a:extLst>
          </p:cNvPr>
          <p:cNvSpPr/>
          <p:nvPr/>
        </p:nvSpPr>
        <p:spPr>
          <a:xfrm>
            <a:off x="5729103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17E116B-EC9C-B69E-6314-E27DC0EF2A24}"/>
              </a:ext>
            </a:extLst>
          </p:cNvPr>
          <p:cNvSpPr/>
          <p:nvPr/>
        </p:nvSpPr>
        <p:spPr>
          <a:xfrm>
            <a:off x="6118931" y="2257480"/>
            <a:ext cx="423760" cy="323153"/>
          </a:xfrm>
          <a:prstGeom prst="roundRect">
            <a:avLst>
              <a:gd name="adj" fmla="val 8489"/>
            </a:avLst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Tendência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10d/30d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939E413-9525-B456-9A7C-9A022D7CC2B5}"/>
              </a:ext>
            </a:extLst>
          </p:cNvPr>
          <p:cNvSpPr/>
          <p:nvPr/>
        </p:nvSpPr>
        <p:spPr>
          <a:xfrm>
            <a:off x="6118931" y="2651564"/>
            <a:ext cx="423760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8%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61C965C-9786-ECC0-9344-781B034D299F}"/>
              </a:ext>
            </a:extLst>
          </p:cNvPr>
          <p:cNvSpPr/>
          <p:nvPr/>
        </p:nvSpPr>
        <p:spPr>
          <a:xfrm>
            <a:off x="6118931" y="2785975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7%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13877B5-E2C1-6746-DF09-DD42977771F4}"/>
              </a:ext>
            </a:extLst>
          </p:cNvPr>
          <p:cNvSpPr/>
          <p:nvPr/>
        </p:nvSpPr>
        <p:spPr>
          <a:xfrm>
            <a:off x="6118931" y="2920387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0%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8D6C950F-A4CE-F9D1-F2D8-609490156A66}"/>
              </a:ext>
            </a:extLst>
          </p:cNvPr>
          <p:cNvSpPr/>
          <p:nvPr/>
        </p:nvSpPr>
        <p:spPr>
          <a:xfrm>
            <a:off x="6118931" y="3054798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6%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C33F2B84-4618-65B1-2663-884D5B082D0B}"/>
              </a:ext>
            </a:extLst>
          </p:cNvPr>
          <p:cNvSpPr/>
          <p:nvPr/>
        </p:nvSpPr>
        <p:spPr>
          <a:xfrm>
            <a:off x="6118931" y="3189209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4%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09AF4317-DAE2-448A-C87E-6BB75E1C6617}"/>
              </a:ext>
            </a:extLst>
          </p:cNvPr>
          <p:cNvSpPr/>
          <p:nvPr/>
        </p:nvSpPr>
        <p:spPr>
          <a:xfrm>
            <a:off x="6118931" y="3323621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9%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3149A4A9-8D66-4E9E-A32A-A3695664467A}"/>
              </a:ext>
            </a:extLst>
          </p:cNvPr>
          <p:cNvSpPr/>
          <p:nvPr/>
        </p:nvSpPr>
        <p:spPr>
          <a:xfrm>
            <a:off x="6118931" y="3458033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3%</a:t>
            </a: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61CA949A-179F-3DFB-E955-AA8C70D1F678}"/>
              </a:ext>
            </a:extLst>
          </p:cNvPr>
          <p:cNvSpPr/>
          <p:nvPr/>
        </p:nvSpPr>
        <p:spPr>
          <a:xfrm>
            <a:off x="6118931" y="3570674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0%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697027A2-CAB4-B897-21B7-6A1FDF83529A}"/>
              </a:ext>
            </a:extLst>
          </p:cNvPr>
          <p:cNvSpPr/>
          <p:nvPr/>
        </p:nvSpPr>
        <p:spPr>
          <a:xfrm>
            <a:off x="6118931" y="3722092"/>
            <a:ext cx="423760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0%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A918FAE-B31A-C3D1-AC97-D9A5DE10EB3F}"/>
              </a:ext>
            </a:extLst>
          </p:cNvPr>
          <p:cNvSpPr/>
          <p:nvPr/>
        </p:nvSpPr>
        <p:spPr>
          <a:xfrm>
            <a:off x="6549116" y="2257480"/>
            <a:ext cx="369949" cy="323153"/>
          </a:xfrm>
          <a:prstGeom prst="roundRect">
            <a:avLst>
              <a:gd name="adj" fmla="val 8489"/>
            </a:avLst>
          </a:prstGeom>
          <a:solidFill>
            <a:srgbClr val="1F22C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Venda ACM MTD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484DD04-F48A-70B7-B476-BB9E0F574BC2}"/>
              </a:ext>
            </a:extLst>
          </p:cNvPr>
          <p:cNvSpPr/>
          <p:nvPr/>
        </p:nvSpPr>
        <p:spPr>
          <a:xfrm>
            <a:off x="6549116" y="2651564"/>
            <a:ext cx="36994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1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5935A790-8ECA-DCBD-08AE-8AA1370E394C}"/>
              </a:ext>
            </a:extLst>
          </p:cNvPr>
          <p:cNvSpPr/>
          <p:nvPr/>
        </p:nvSpPr>
        <p:spPr>
          <a:xfrm>
            <a:off x="6549116" y="2785975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0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524CF74C-94FD-EAEC-A716-ACD5E15E4AB5}"/>
              </a:ext>
            </a:extLst>
          </p:cNvPr>
          <p:cNvSpPr/>
          <p:nvPr/>
        </p:nvSpPr>
        <p:spPr>
          <a:xfrm>
            <a:off x="6549116" y="2920387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9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BEE026EB-8EE7-4528-DCBC-81DCC77B00EC}"/>
              </a:ext>
            </a:extLst>
          </p:cNvPr>
          <p:cNvSpPr/>
          <p:nvPr/>
        </p:nvSpPr>
        <p:spPr>
          <a:xfrm>
            <a:off x="6549116" y="3054798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3A56AC5E-B76B-BEFC-7195-F2D254522EB3}"/>
              </a:ext>
            </a:extLst>
          </p:cNvPr>
          <p:cNvSpPr/>
          <p:nvPr/>
        </p:nvSpPr>
        <p:spPr>
          <a:xfrm>
            <a:off x="6549116" y="3189209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FE063A22-EBC4-A6E1-F5A8-BCA33B12008D}"/>
              </a:ext>
            </a:extLst>
          </p:cNvPr>
          <p:cNvSpPr/>
          <p:nvPr/>
        </p:nvSpPr>
        <p:spPr>
          <a:xfrm>
            <a:off x="6549116" y="3323621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79DF83AA-8CDE-CFF1-FCAD-8507E1851C8A}"/>
              </a:ext>
            </a:extLst>
          </p:cNvPr>
          <p:cNvSpPr/>
          <p:nvPr/>
        </p:nvSpPr>
        <p:spPr>
          <a:xfrm>
            <a:off x="6549116" y="3458033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4AF4585B-47C3-54FC-D06C-D42AE5B4796F}"/>
              </a:ext>
            </a:extLst>
          </p:cNvPr>
          <p:cNvSpPr/>
          <p:nvPr/>
        </p:nvSpPr>
        <p:spPr>
          <a:xfrm>
            <a:off x="6549116" y="3570674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5B7AACF8-E24D-A77B-0194-BF1AA3EB4DB4}"/>
              </a:ext>
            </a:extLst>
          </p:cNvPr>
          <p:cNvSpPr/>
          <p:nvPr/>
        </p:nvSpPr>
        <p:spPr>
          <a:xfrm>
            <a:off x="6549116" y="3722092"/>
            <a:ext cx="36994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239C02F-FB5B-31D1-5300-80F992C47999}"/>
              </a:ext>
            </a:extLst>
          </p:cNvPr>
          <p:cNvSpPr/>
          <p:nvPr/>
        </p:nvSpPr>
        <p:spPr>
          <a:xfrm>
            <a:off x="8855913" y="2257480"/>
            <a:ext cx="302685" cy="323153"/>
          </a:xfrm>
          <a:prstGeom prst="roundRect">
            <a:avLst>
              <a:gd name="adj" fmla="val 9063"/>
            </a:avLst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DDE CD OFF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23BF2DF-3B40-F0AB-3986-403AD69D4BCB}"/>
              </a:ext>
            </a:extLst>
          </p:cNvPr>
          <p:cNvSpPr/>
          <p:nvPr/>
        </p:nvSpPr>
        <p:spPr>
          <a:xfrm>
            <a:off x="8855913" y="2651564"/>
            <a:ext cx="302685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276D078D-4D70-E197-EBB7-54CA9F899A27}"/>
              </a:ext>
            </a:extLst>
          </p:cNvPr>
          <p:cNvSpPr/>
          <p:nvPr/>
        </p:nvSpPr>
        <p:spPr>
          <a:xfrm>
            <a:off x="8855913" y="2785975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75602D5-073B-0751-CFAF-2B61877A6C11}"/>
              </a:ext>
            </a:extLst>
          </p:cNvPr>
          <p:cNvSpPr/>
          <p:nvPr/>
        </p:nvSpPr>
        <p:spPr>
          <a:xfrm>
            <a:off x="8855913" y="2920387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A1BADE9A-F14D-4AF9-DB9D-93A1FE380ABB}"/>
              </a:ext>
            </a:extLst>
          </p:cNvPr>
          <p:cNvSpPr/>
          <p:nvPr/>
        </p:nvSpPr>
        <p:spPr>
          <a:xfrm>
            <a:off x="8855913" y="3054798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FB06388C-6F69-824B-5C4C-000F143FC99F}"/>
              </a:ext>
            </a:extLst>
          </p:cNvPr>
          <p:cNvSpPr/>
          <p:nvPr/>
        </p:nvSpPr>
        <p:spPr>
          <a:xfrm>
            <a:off x="8855913" y="3189209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4BB99BDF-177B-E2FD-4BA6-C390A1866BCB}"/>
              </a:ext>
            </a:extLst>
          </p:cNvPr>
          <p:cNvSpPr/>
          <p:nvPr/>
        </p:nvSpPr>
        <p:spPr>
          <a:xfrm>
            <a:off x="8855913" y="3323621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0CEE4443-BAB7-0FDB-7889-ECC64D57AF25}"/>
              </a:ext>
            </a:extLst>
          </p:cNvPr>
          <p:cNvSpPr/>
          <p:nvPr/>
        </p:nvSpPr>
        <p:spPr>
          <a:xfrm>
            <a:off x="8855913" y="3458033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9E1C563E-0B33-26A8-3D36-0828C5F84C37}"/>
              </a:ext>
            </a:extLst>
          </p:cNvPr>
          <p:cNvSpPr/>
          <p:nvPr/>
        </p:nvSpPr>
        <p:spPr>
          <a:xfrm>
            <a:off x="8855913" y="3570674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904A6321-3A92-6D16-8E40-59DF3AC897CA}"/>
              </a:ext>
            </a:extLst>
          </p:cNvPr>
          <p:cNvSpPr/>
          <p:nvPr/>
        </p:nvSpPr>
        <p:spPr>
          <a:xfrm>
            <a:off x="8855913" y="3722092"/>
            <a:ext cx="30268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C35A776-163F-CDDA-60C7-0D52DEE0F795}"/>
              </a:ext>
            </a:extLst>
          </p:cNvPr>
          <p:cNvSpPr/>
          <p:nvPr/>
        </p:nvSpPr>
        <p:spPr>
          <a:xfrm>
            <a:off x="9165024" y="2257480"/>
            <a:ext cx="302687" cy="323153"/>
          </a:xfrm>
          <a:prstGeom prst="roundRect">
            <a:avLst>
              <a:gd name="adj" fmla="val 9063"/>
            </a:avLst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0F1167"/>
                </a:solidFill>
                <a:latin typeface="Calibri" panose="020F0502020204030204" pitchFamily="34" charset="0"/>
              </a:rPr>
              <a:t>S&amp;OP TOTAL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5D63916-2E79-D4AA-115F-0798B1277E19}"/>
              </a:ext>
            </a:extLst>
          </p:cNvPr>
          <p:cNvSpPr/>
          <p:nvPr/>
        </p:nvSpPr>
        <p:spPr>
          <a:xfrm>
            <a:off x="9165024" y="2651564"/>
            <a:ext cx="302687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3CA85B55-1FA9-5E76-8CC5-D0461BD7264B}"/>
              </a:ext>
            </a:extLst>
          </p:cNvPr>
          <p:cNvSpPr/>
          <p:nvPr/>
        </p:nvSpPr>
        <p:spPr>
          <a:xfrm>
            <a:off x="9165024" y="2785975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2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AEDBE792-7B17-EE83-36DA-D4E6C4892158}"/>
              </a:ext>
            </a:extLst>
          </p:cNvPr>
          <p:cNvSpPr/>
          <p:nvPr/>
        </p:nvSpPr>
        <p:spPr>
          <a:xfrm>
            <a:off x="9165024" y="2920387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6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2E121858-6267-5C9A-718D-01573F20D9FA}"/>
              </a:ext>
            </a:extLst>
          </p:cNvPr>
          <p:cNvSpPr/>
          <p:nvPr/>
        </p:nvSpPr>
        <p:spPr>
          <a:xfrm>
            <a:off x="9165024" y="3054798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6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446C761D-FDAD-AE57-7B27-9D75B4D32572}"/>
              </a:ext>
            </a:extLst>
          </p:cNvPr>
          <p:cNvSpPr/>
          <p:nvPr/>
        </p:nvSpPr>
        <p:spPr>
          <a:xfrm>
            <a:off x="9165024" y="3189209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9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6DE96725-0523-B895-636E-23E219D55C8E}"/>
              </a:ext>
            </a:extLst>
          </p:cNvPr>
          <p:cNvSpPr/>
          <p:nvPr/>
        </p:nvSpPr>
        <p:spPr>
          <a:xfrm>
            <a:off x="9165024" y="3323621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17A7F995-7012-BF4B-1EE6-88DF3D416F19}"/>
              </a:ext>
            </a:extLst>
          </p:cNvPr>
          <p:cNvSpPr/>
          <p:nvPr/>
        </p:nvSpPr>
        <p:spPr>
          <a:xfrm>
            <a:off x="9165024" y="3458033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B9A835FB-C07D-B203-C60B-3D61EC341788}"/>
              </a:ext>
            </a:extLst>
          </p:cNvPr>
          <p:cNvSpPr/>
          <p:nvPr/>
        </p:nvSpPr>
        <p:spPr>
          <a:xfrm>
            <a:off x="9165024" y="3570674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7EBF039E-2DEC-6C91-8950-CF653540CC15}"/>
              </a:ext>
            </a:extLst>
          </p:cNvPr>
          <p:cNvSpPr/>
          <p:nvPr/>
        </p:nvSpPr>
        <p:spPr>
          <a:xfrm>
            <a:off x="9165024" y="3722092"/>
            <a:ext cx="302687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525D3F6-1BBB-DDC0-EDC1-DFF11B7BAA18}"/>
              </a:ext>
            </a:extLst>
          </p:cNvPr>
          <p:cNvSpPr/>
          <p:nvPr/>
        </p:nvSpPr>
        <p:spPr>
          <a:xfrm>
            <a:off x="9474135" y="2257480"/>
            <a:ext cx="358179" cy="323153"/>
          </a:xfrm>
          <a:prstGeom prst="roundRect">
            <a:avLst>
              <a:gd name="adj" fmla="val 8489"/>
            </a:avLst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0F1167"/>
                </a:solidFill>
                <a:latin typeface="Calibri" panose="020F0502020204030204" pitchFamily="34" charset="0"/>
              </a:rPr>
              <a:t>S&amp;OP OFF LIN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AA56ECD-F563-2BB7-28E2-1E2A44227A8E}"/>
              </a:ext>
            </a:extLst>
          </p:cNvPr>
          <p:cNvSpPr/>
          <p:nvPr/>
        </p:nvSpPr>
        <p:spPr>
          <a:xfrm>
            <a:off x="9474135" y="2651564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4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E4373E00-02EE-4464-A3DB-9D4F456DC942}"/>
              </a:ext>
            </a:extLst>
          </p:cNvPr>
          <p:cNvSpPr/>
          <p:nvPr/>
        </p:nvSpPr>
        <p:spPr>
          <a:xfrm>
            <a:off x="9474135" y="2785975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1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7C2AF7FE-0683-5F35-A467-F052FC777571}"/>
              </a:ext>
            </a:extLst>
          </p:cNvPr>
          <p:cNvSpPr/>
          <p:nvPr/>
        </p:nvSpPr>
        <p:spPr>
          <a:xfrm>
            <a:off x="9474135" y="2920387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9646B9E5-2FA9-72EE-9869-CA766FE94061}"/>
              </a:ext>
            </a:extLst>
          </p:cNvPr>
          <p:cNvSpPr/>
          <p:nvPr/>
        </p:nvSpPr>
        <p:spPr>
          <a:xfrm>
            <a:off x="9474135" y="3054798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4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BCCFFB0-CBF5-AF11-77C7-557D75FB93D6}"/>
              </a:ext>
            </a:extLst>
          </p:cNvPr>
          <p:cNvSpPr/>
          <p:nvPr/>
        </p:nvSpPr>
        <p:spPr>
          <a:xfrm>
            <a:off x="9474135" y="3189209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B390BED0-6842-83D7-F9E5-A6044FB644EC}"/>
              </a:ext>
            </a:extLst>
          </p:cNvPr>
          <p:cNvSpPr/>
          <p:nvPr/>
        </p:nvSpPr>
        <p:spPr>
          <a:xfrm>
            <a:off x="9474135" y="3323621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9E3B5648-B968-FACD-F699-284A0FE87AFD}"/>
              </a:ext>
            </a:extLst>
          </p:cNvPr>
          <p:cNvSpPr/>
          <p:nvPr/>
        </p:nvSpPr>
        <p:spPr>
          <a:xfrm>
            <a:off x="9474135" y="3458033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FEB26AFC-4883-8BD0-35D3-67765E68CB8C}"/>
              </a:ext>
            </a:extLst>
          </p:cNvPr>
          <p:cNvSpPr/>
          <p:nvPr/>
        </p:nvSpPr>
        <p:spPr>
          <a:xfrm>
            <a:off x="9474135" y="3570674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18BEA017-C2F2-9C46-90B8-EE2B63566AB3}"/>
              </a:ext>
            </a:extLst>
          </p:cNvPr>
          <p:cNvSpPr/>
          <p:nvPr/>
        </p:nvSpPr>
        <p:spPr>
          <a:xfrm>
            <a:off x="9474135" y="3722092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EDEBC8B-E5F7-8A92-72C2-83238B8B14EF}"/>
              </a:ext>
            </a:extLst>
          </p:cNvPr>
          <p:cNvSpPr/>
          <p:nvPr/>
        </p:nvSpPr>
        <p:spPr>
          <a:xfrm>
            <a:off x="9838738" y="2257480"/>
            <a:ext cx="358179" cy="323153"/>
          </a:xfrm>
          <a:prstGeom prst="roundRect">
            <a:avLst>
              <a:gd name="adj" fmla="val 8489"/>
            </a:avLst>
          </a:prstGeom>
          <a:solidFill>
            <a:srgbClr val="D0D0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0F1167"/>
                </a:solidFill>
                <a:latin typeface="Calibri" panose="020F0502020204030204" pitchFamily="34" charset="0"/>
              </a:rPr>
              <a:t>S&amp;OP ON LINE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936FF463-2905-4A00-C3CB-57D35011D204}"/>
              </a:ext>
            </a:extLst>
          </p:cNvPr>
          <p:cNvSpPr/>
          <p:nvPr/>
        </p:nvSpPr>
        <p:spPr>
          <a:xfrm>
            <a:off x="9838738" y="2651564"/>
            <a:ext cx="358179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11E17BB0-E988-45C6-1E13-86074DDDD48C}"/>
              </a:ext>
            </a:extLst>
          </p:cNvPr>
          <p:cNvSpPr/>
          <p:nvPr/>
        </p:nvSpPr>
        <p:spPr>
          <a:xfrm>
            <a:off x="9838738" y="2785975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76177103-8079-217E-1C67-59C35BAC4280}"/>
              </a:ext>
            </a:extLst>
          </p:cNvPr>
          <p:cNvSpPr/>
          <p:nvPr/>
        </p:nvSpPr>
        <p:spPr>
          <a:xfrm>
            <a:off x="9838738" y="2920387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086AF237-6104-9876-19AF-DE3F5A5955FD}"/>
              </a:ext>
            </a:extLst>
          </p:cNvPr>
          <p:cNvSpPr/>
          <p:nvPr/>
        </p:nvSpPr>
        <p:spPr>
          <a:xfrm>
            <a:off x="9838738" y="3054798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43EF8316-BE62-D7E2-CFC5-1AE4231BDC6A}"/>
              </a:ext>
            </a:extLst>
          </p:cNvPr>
          <p:cNvSpPr/>
          <p:nvPr/>
        </p:nvSpPr>
        <p:spPr>
          <a:xfrm>
            <a:off x="9838738" y="3189209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702C1F93-F316-6D91-3979-DBC711ED4052}"/>
              </a:ext>
            </a:extLst>
          </p:cNvPr>
          <p:cNvSpPr/>
          <p:nvPr/>
        </p:nvSpPr>
        <p:spPr>
          <a:xfrm>
            <a:off x="9838738" y="3323621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013597BF-4CE7-B1DF-8F57-15F77CA56AC5}"/>
              </a:ext>
            </a:extLst>
          </p:cNvPr>
          <p:cNvSpPr/>
          <p:nvPr/>
        </p:nvSpPr>
        <p:spPr>
          <a:xfrm>
            <a:off x="9838738" y="3458033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A8040E56-05F4-8C47-31DC-FAD8893010DB}"/>
              </a:ext>
            </a:extLst>
          </p:cNvPr>
          <p:cNvSpPr/>
          <p:nvPr/>
        </p:nvSpPr>
        <p:spPr>
          <a:xfrm>
            <a:off x="9838738" y="3570674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30C0E0CD-C9E7-BE14-1A72-54F82B5FA89B}"/>
              </a:ext>
            </a:extLst>
          </p:cNvPr>
          <p:cNvSpPr/>
          <p:nvPr/>
        </p:nvSpPr>
        <p:spPr>
          <a:xfrm>
            <a:off x="9838738" y="3722092"/>
            <a:ext cx="358179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0B138A4-5CDE-63B2-5981-033A2A9F0DD6}"/>
              </a:ext>
            </a:extLst>
          </p:cNvPr>
          <p:cNvSpPr/>
          <p:nvPr/>
        </p:nvSpPr>
        <p:spPr>
          <a:xfrm>
            <a:off x="6925490" y="2257480"/>
            <a:ext cx="383402" cy="323153"/>
          </a:xfrm>
          <a:prstGeom prst="roundRect">
            <a:avLst>
              <a:gd name="adj" fmla="val 8489"/>
            </a:avLst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DDE Loja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4775F92-FC39-61DC-C1F4-7B23956B99C6}"/>
              </a:ext>
            </a:extLst>
          </p:cNvPr>
          <p:cNvSpPr/>
          <p:nvPr/>
        </p:nvSpPr>
        <p:spPr>
          <a:xfrm>
            <a:off x="6925490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9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913D266-1C95-C225-CCDA-8D288806457C}"/>
              </a:ext>
            </a:extLst>
          </p:cNvPr>
          <p:cNvSpPr/>
          <p:nvPr/>
        </p:nvSpPr>
        <p:spPr>
          <a:xfrm>
            <a:off x="6925490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BEDCC9CA-6DBA-4AA8-8CDC-E9425155D2D4}"/>
              </a:ext>
            </a:extLst>
          </p:cNvPr>
          <p:cNvSpPr/>
          <p:nvPr/>
        </p:nvSpPr>
        <p:spPr>
          <a:xfrm>
            <a:off x="6925490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0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A6F5B9D2-53E7-A9DF-423E-9CB481A4857B}"/>
              </a:ext>
            </a:extLst>
          </p:cNvPr>
          <p:cNvSpPr/>
          <p:nvPr/>
        </p:nvSpPr>
        <p:spPr>
          <a:xfrm>
            <a:off x="6925490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3E5AC23-6072-3E2A-A685-B4D29154F614}"/>
              </a:ext>
            </a:extLst>
          </p:cNvPr>
          <p:cNvSpPr/>
          <p:nvPr/>
        </p:nvSpPr>
        <p:spPr>
          <a:xfrm>
            <a:off x="6925490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1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361BC478-206F-926A-1AD0-44C6BFA68C55}"/>
              </a:ext>
            </a:extLst>
          </p:cNvPr>
          <p:cNvSpPr/>
          <p:nvPr/>
        </p:nvSpPr>
        <p:spPr>
          <a:xfrm>
            <a:off x="6925490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20CA6B88-E4EB-D10E-0620-42193F4A97F3}"/>
              </a:ext>
            </a:extLst>
          </p:cNvPr>
          <p:cNvSpPr/>
          <p:nvPr/>
        </p:nvSpPr>
        <p:spPr>
          <a:xfrm>
            <a:off x="6925490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7</a:t>
            </a: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1799A05B-23BB-17D5-E15F-CC6AA7A12736}"/>
              </a:ext>
            </a:extLst>
          </p:cNvPr>
          <p:cNvSpPr/>
          <p:nvPr/>
        </p:nvSpPr>
        <p:spPr>
          <a:xfrm>
            <a:off x="6925490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3</a:t>
            </a: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C1567355-F8DA-E928-8AF2-47D231F75FC3}"/>
              </a:ext>
            </a:extLst>
          </p:cNvPr>
          <p:cNvSpPr/>
          <p:nvPr/>
        </p:nvSpPr>
        <p:spPr>
          <a:xfrm>
            <a:off x="6925490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0</a:t>
            </a:r>
          </a:p>
        </p:txBody>
      </p:sp>
      <p:sp>
        <p:nvSpPr>
          <p:cNvPr id="482" name="Rectangle: Rounded Corners 481">
            <a:extLst>
              <a:ext uri="{FF2B5EF4-FFF2-40B4-BE49-F238E27FC236}">
                <a16:creationId xmlns:a16="http://schemas.microsoft.com/office/drawing/2014/main" id="{D386B5C0-5373-96AF-0BBD-F5C3ED33998D}"/>
              </a:ext>
            </a:extLst>
          </p:cNvPr>
          <p:cNvSpPr/>
          <p:nvPr/>
        </p:nvSpPr>
        <p:spPr>
          <a:xfrm>
            <a:off x="8456931" y="2257480"/>
            <a:ext cx="383402" cy="323153"/>
          </a:xfrm>
          <a:prstGeom prst="roundRect">
            <a:avLst>
              <a:gd name="adj" fmla="val 8489"/>
            </a:avLst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Cobertura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proj</a:t>
            </a:r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83" name="Rectangle 482">
            <a:extLst>
              <a:ext uri="{FF2B5EF4-FFF2-40B4-BE49-F238E27FC236}">
                <a16:creationId xmlns:a16="http://schemas.microsoft.com/office/drawing/2014/main" id="{20200C6E-18CE-0302-4640-B7344E038628}"/>
              </a:ext>
            </a:extLst>
          </p:cNvPr>
          <p:cNvSpPr/>
          <p:nvPr/>
        </p:nvSpPr>
        <p:spPr>
          <a:xfrm>
            <a:off x="8456931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C28D2C26-10E7-FE33-41D1-EE2CCA441AAE}"/>
              </a:ext>
            </a:extLst>
          </p:cNvPr>
          <p:cNvSpPr/>
          <p:nvPr/>
        </p:nvSpPr>
        <p:spPr>
          <a:xfrm>
            <a:off x="8456931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48BFB4D5-1A16-A5DB-C424-49767FEF2248}"/>
              </a:ext>
            </a:extLst>
          </p:cNvPr>
          <p:cNvSpPr/>
          <p:nvPr/>
        </p:nvSpPr>
        <p:spPr>
          <a:xfrm>
            <a:off x="8456931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0</a:t>
            </a:r>
          </a:p>
        </p:txBody>
      </p:sp>
      <p:sp>
        <p:nvSpPr>
          <p:cNvPr id="486" name="Rectangle 485">
            <a:extLst>
              <a:ext uri="{FF2B5EF4-FFF2-40B4-BE49-F238E27FC236}">
                <a16:creationId xmlns:a16="http://schemas.microsoft.com/office/drawing/2014/main" id="{22519C4D-80A5-BD07-184B-B82FE5BBFD80}"/>
              </a:ext>
            </a:extLst>
          </p:cNvPr>
          <p:cNvSpPr/>
          <p:nvPr/>
        </p:nvSpPr>
        <p:spPr>
          <a:xfrm>
            <a:off x="8456931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5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7C32C6FB-D377-4201-6114-2E7BF44DA8D9}"/>
              </a:ext>
            </a:extLst>
          </p:cNvPr>
          <p:cNvSpPr/>
          <p:nvPr/>
        </p:nvSpPr>
        <p:spPr>
          <a:xfrm>
            <a:off x="8456931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1</a:t>
            </a:r>
          </a:p>
        </p:txBody>
      </p:sp>
      <p:sp>
        <p:nvSpPr>
          <p:cNvPr id="488" name="Rectangle 487">
            <a:extLst>
              <a:ext uri="{FF2B5EF4-FFF2-40B4-BE49-F238E27FC236}">
                <a16:creationId xmlns:a16="http://schemas.microsoft.com/office/drawing/2014/main" id="{1F650CDF-8694-98D9-EE64-16967D35E515}"/>
              </a:ext>
            </a:extLst>
          </p:cNvPr>
          <p:cNvSpPr/>
          <p:nvPr/>
        </p:nvSpPr>
        <p:spPr>
          <a:xfrm>
            <a:off x="8456931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22DC37EC-1D2A-9FF9-C49D-2EA0AAFF4602}"/>
              </a:ext>
            </a:extLst>
          </p:cNvPr>
          <p:cNvSpPr/>
          <p:nvPr/>
        </p:nvSpPr>
        <p:spPr>
          <a:xfrm>
            <a:off x="8456931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7</a:t>
            </a:r>
          </a:p>
        </p:txBody>
      </p:sp>
      <p:sp>
        <p:nvSpPr>
          <p:cNvPr id="490" name="Rectangle 489">
            <a:extLst>
              <a:ext uri="{FF2B5EF4-FFF2-40B4-BE49-F238E27FC236}">
                <a16:creationId xmlns:a16="http://schemas.microsoft.com/office/drawing/2014/main" id="{9BF3BE30-CA35-862B-8992-DE7DED1C4E8F}"/>
              </a:ext>
            </a:extLst>
          </p:cNvPr>
          <p:cNvSpPr/>
          <p:nvPr/>
        </p:nvSpPr>
        <p:spPr>
          <a:xfrm>
            <a:off x="8456931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3</a:t>
            </a: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885578E4-CB75-2F28-C1D7-C2A04DABEA18}"/>
              </a:ext>
            </a:extLst>
          </p:cNvPr>
          <p:cNvSpPr/>
          <p:nvPr/>
        </p:nvSpPr>
        <p:spPr>
          <a:xfrm>
            <a:off x="8456931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20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D0F33AAB-D721-067C-D2C0-DD012FCB9C44}"/>
              </a:ext>
            </a:extLst>
          </p:cNvPr>
          <p:cNvSpPr txBox="1"/>
          <p:nvPr/>
        </p:nvSpPr>
        <p:spPr>
          <a:xfrm>
            <a:off x="8744921" y="2849895"/>
            <a:ext cx="0" cy="0"/>
          </a:xfrm>
          <a:prstGeom prst="rect">
            <a:avLst/>
          </a:prstGeom>
          <a:solidFill>
            <a:srgbClr val="F2F2F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590" name="Rectangle: Rounded Corners 589">
            <a:extLst>
              <a:ext uri="{FF2B5EF4-FFF2-40B4-BE49-F238E27FC236}">
                <a16:creationId xmlns:a16="http://schemas.microsoft.com/office/drawing/2014/main" id="{F8A116D3-BA66-DCBE-8C94-1371B04F9992}"/>
              </a:ext>
            </a:extLst>
          </p:cNvPr>
          <p:cNvSpPr/>
          <p:nvPr/>
        </p:nvSpPr>
        <p:spPr>
          <a:xfrm>
            <a:off x="2497179" y="2257480"/>
            <a:ext cx="343045" cy="323153"/>
          </a:xfrm>
          <a:prstGeom prst="roundRect">
            <a:avLst>
              <a:gd name="adj" fmla="val 8489"/>
            </a:avLst>
          </a:prstGeom>
          <a:solidFill>
            <a:srgbClr val="7F7F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Cluster OBG </a:t>
            </a:r>
          </a:p>
        </p:txBody>
      </p:sp>
      <p:sp>
        <p:nvSpPr>
          <p:cNvPr id="591" name="Rectangle 590">
            <a:extLst>
              <a:ext uri="{FF2B5EF4-FFF2-40B4-BE49-F238E27FC236}">
                <a16:creationId xmlns:a16="http://schemas.microsoft.com/office/drawing/2014/main" id="{FD690C39-C421-2664-1687-4F8C57DBEA28}"/>
              </a:ext>
            </a:extLst>
          </p:cNvPr>
          <p:cNvSpPr/>
          <p:nvPr/>
        </p:nvSpPr>
        <p:spPr>
          <a:xfrm>
            <a:off x="2497179" y="2651564"/>
            <a:ext cx="343045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2" name="Rectangle 591">
            <a:extLst>
              <a:ext uri="{FF2B5EF4-FFF2-40B4-BE49-F238E27FC236}">
                <a16:creationId xmlns:a16="http://schemas.microsoft.com/office/drawing/2014/main" id="{FB2368A3-0811-F752-8268-F5680666D9E7}"/>
              </a:ext>
            </a:extLst>
          </p:cNvPr>
          <p:cNvSpPr/>
          <p:nvPr/>
        </p:nvSpPr>
        <p:spPr>
          <a:xfrm>
            <a:off x="2497179" y="2785975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3" name="Rectangle 592">
            <a:extLst>
              <a:ext uri="{FF2B5EF4-FFF2-40B4-BE49-F238E27FC236}">
                <a16:creationId xmlns:a16="http://schemas.microsoft.com/office/drawing/2014/main" id="{00B3EB36-D7AB-579C-E3EB-D847A23B08EC}"/>
              </a:ext>
            </a:extLst>
          </p:cNvPr>
          <p:cNvSpPr/>
          <p:nvPr/>
        </p:nvSpPr>
        <p:spPr>
          <a:xfrm>
            <a:off x="2497179" y="2920387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4" name="Rectangle 593">
            <a:extLst>
              <a:ext uri="{FF2B5EF4-FFF2-40B4-BE49-F238E27FC236}">
                <a16:creationId xmlns:a16="http://schemas.microsoft.com/office/drawing/2014/main" id="{551CBB2F-7D9B-3040-CF53-81C7A64DE74C}"/>
              </a:ext>
            </a:extLst>
          </p:cNvPr>
          <p:cNvSpPr/>
          <p:nvPr/>
        </p:nvSpPr>
        <p:spPr>
          <a:xfrm>
            <a:off x="2497179" y="3054798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5" name="Rectangle 594">
            <a:extLst>
              <a:ext uri="{FF2B5EF4-FFF2-40B4-BE49-F238E27FC236}">
                <a16:creationId xmlns:a16="http://schemas.microsoft.com/office/drawing/2014/main" id="{D1921D64-60A6-AE4B-59AF-4B34049906EE}"/>
              </a:ext>
            </a:extLst>
          </p:cNvPr>
          <p:cNvSpPr/>
          <p:nvPr/>
        </p:nvSpPr>
        <p:spPr>
          <a:xfrm>
            <a:off x="2497179" y="3189209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6" name="Rectangle 595">
            <a:extLst>
              <a:ext uri="{FF2B5EF4-FFF2-40B4-BE49-F238E27FC236}">
                <a16:creationId xmlns:a16="http://schemas.microsoft.com/office/drawing/2014/main" id="{F11F1E3F-E735-7CA8-F2B6-DF22BF964D60}"/>
              </a:ext>
            </a:extLst>
          </p:cNvPr>
          <p:cNvSpPr/>
          <p:nvPr/>
        </p:nvSpPr>
        <p:spPr>
          <a:xfrm>
            <a:off x="2497179" y="3323621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7" name="Rectangle 596">
            <a:extLst>
              <a:ext uri="{FF2B5EF4-FFF2-40B4-BE49-F238E27FC236}">
                <a16:creationId xmlns:a16="http://schemas.microsoft.com/office/drawing/2014/main" id="{BC9F07B4-F676-CC8A-A67A-7EAA0E9D20D7}"/>
              </a:ext>
            </a:extLst>
          </p:cNvPr>
          <p:cNvSpPr/>
          <p:nvPr/>
        </p:nvSpPr>
        <p:spPr>
          <a:xfrm>
            <a:off x="2497179" y="3458033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8" name="Rectangle 597">
            <a:extLst>
              <a:ext uri="{FF2B5EF4-FFF2-40B4-BE49-F238E27FC236}">
                <a16:creationId xmlns:a16="http://schemas.microsoft.com/office/drawing/2014/main" id="{256C2C77-5948-E16B-7201-0AD92EA62A33}"/>
              </a:ext>
            </a:extLst>
          </p:cNvPr>
          <p:cNvSpPr/>
          <p:nvPr/>
        </p:nvSpPr>
        <p:spPr>
          <a:xfrm>
            <a:off x="2497179" y="3570674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599" name="Rectangle 598">
            <a:extLst>
              <a:ext uri="{FF2B5EF4-FFF2-40B4-BE49-F238E27FC236}">
                <a16:creationId xmlns:a16="http://schemas.microsoft.com/office/drawing/2014/main" id="{642B2773-36CA-6D6C-A691-44AB7F94A4D9}"/>
              </a:ext>
            </a:extLst>
          </p:cNvPr>
          <p:cNvSpPr/>
          <p:nvPr/>
        </p:nvSpPr>
        <p:spPr>
          <a:xfrm>
            <a:off x="2497179" y="3722092"/>
            <a:ext cx="343045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907" name="Textfeld 1">
            <a:extLst>
              <a:ext uri="{FF2B5EF4-FFF2-40B4-BE49-F238E27FC236}">
                <a16:creationId xmlns:a16="http://schemas.microsoft.com/office/drawing/2014/main" id="{2340CF6E-803A-73E9-F548-A4B9581F537F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3229736" y="2571498"/>
            <a:ext cx="278505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Proj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. </a:t>
            </a:r>
            <a:r>
              <a:rPr lang="en-US" sz="600" b="1" err="1">
                <a:solidFill>
                  <a:srgbClr val="575757"/>
                </a:solidFill>
                <a:sym typeface="Trebuchet MS" panose="020B0603020202020204" pitchFamily="34" charset="0"/>
              </a:rPr>
              <a:t>como</a:t>
            </a:r>
            <a:r>
              <a:rPr lang="en-US" sz="600" b="1">
                <a:solidFill>
                  <a:srgbClr val="575757"/>
                </a:solidFill>
                <a:sym typeface="Trebuchet MS" panose="020B0603020202020204" pitchFamily="34" charset="0"/>
              </a:rPr>
              <a:t>?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97BB51D-FE14-216F-8344-7CB33E0AB925}"/>
              </a:ext>
            </a:extLst>
          </p:cNvPr>
          <p:cNvSpPr/>
          <p:nvPr/>
        </p:nvSpPr>
        <p:spPr>
          <a:xfrm>
            <a:off x="10971526" y="2257480"/>
            <a:ext cx="443941" cy="323153"/>
          </a:xfrm>
          <a:prstGeom prst="roundRect">
            <a:avLst>
              <a:gd name="adj" fmla="val 8489"/>
            </a:avLst>
          </a:prstGeom>
          <a:solidFill>
            <a:srgbClr val="E7A1A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>
                <a:solidFill>
                  <a:srgbClr val="921035"/>
                </a:solidFill>
                <a:latin typeface="Calibri" panose="020F0502020204030204" pitchFamily="34" charset="0"/>
              </a:rPr>
              <a:t>$ Aging</a:t>
            </a:r>
          </a:p>
          <a:p>
            <a:pPr algn="ctr"/>
            <a:r>
              <a:rPr lang="en-US" sz="700" b="1">
                <a:solidFill>
                  <a:srgbClr val="921035"/>
                </a:solidFill>
                <a:latin typeface="Calibri" panose="020F0502020204030204" pitchFamily="34" charset="0"/>
              </a:rPr>
              <a:t>(%)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A8203C7-C0A4-D17B-9C8B-15D6F6B675F7}"/>
              </a:ext>
            </a:extLst>
          </p:cNvPr>
          <p:cNvSpPr/>
          <p:nvPr/>
        </p:nvSpPr>
        <p:spPr>
          <a:xfrm>
            <a:off x="10971526" y="2651564"/>
            <a:ext cx="443941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0A295F9-1F39-5AEF-0AA6-F92CDDADBB47}"/>
              </a:ext>
            </a:extLst>
          </p:cNvPr>
          <p:cNvSpPr/>
          <p:nvPr/>
        </p:nvSpPr>
        <p:spPr>
          <a:xfrm>
            <a:off x="10971526" y="2785975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09" name="Rectangle 908">
            <a:extLst>
              <a:ext uri="{FF2B5EF4-FFF2-40B4-BE49-F238E27FC236}">
                <a16:creationId xmlns:a16="http://schemas.microsoft.com/office/drawing/2014/main" id="{92F17FE7-BB2C-1B48-BB04-373F1828AD50}"/>
              </a:ext>
            </a:extLst>
          </p:cNvPr>
          <p:cNvSpPr/>
          <p:nvPr/>
        </p:nvSpPr>
        <p:spPr>
          <a:xfrm>
            <a:off x="10971526" y="2920387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0" name="Rectangle 909">
            <a:extLst>
              <a:ext uri="{FF2B5EF4-FFF2-40B4-BE49-F238E27FC236}">
                <a16:creationId xmlns:a16="http://schemas.microsoft.com/office/drawing/2014/main" id="{0771F997-686C-E528-5AF6-D1B2929D4056}"/>
              </a:ext>
            </a:extLst>
          </p:cNvPr>
          <p:cNvSpPr/>
          <p:nvPr/>
        </p:nvSpPr>
        <p:spPr>
          <a:xfrm>
            <a:off x="10971526" y="3054798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1" name="Rectangle 910">
            <a:extLst>
              <a:ext uri="{FF2B5EF4-FFF2-40B4-BE49-F238E27FC236}">
                <a16:creationId xmlns:a16="http://schemas.microsoft.com/office/drawing/2014/main" id="{B82F503D-0C99-954F-4425-5F050E89C986}"/>
              </a:ext>
            </a:extLst>
          </p:cNvPr>
          <p:cNvSpPr/>
          <p:nvPr/>
        </p:nvSpPr>
        <p:spPr>
          <a:xfrm>
            <a:off x="10971526" y="3189209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2" name="Rectangle 911">
            <a:extLst>
              <a:ext uri="{FF2B5EF4-FFF2-40B4-BE49-F238E27FC236}">
                <a16:creationId xmlns:a16="http://schemas.microsoft.com/office/drawing/2014/main" id="{2BB7B972-5E1F-BE0C-C8B4-D5C75A4BE821}"/>
              </a:ext>
            </a:extLst>
          </p:cNvPr>
          <p:cNvSpPr/>
          <p:nvPr/>
        </p:nvSpPr>
        <p:spPr>
          <a:xfrm>
            <a:off x="10971526" y="3323621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3" name="Rectangle 912">
            <a:extLst>
              <a:ext uri="{FF2B5EF4-FFF2-40B4-BE49-F238E27FC236}">
                <a16:creationId xmlns:a16="http://schemas.microsoft.com/office/drawing/2014/main" id="{BC1331ED-1105-617B-26EF-CC8CDD7B4D04}"/>
              </a:ext>
            </a:extLst>
          </p:cNvPr>
          <p:cNvSpPr/>
          <p:nvPr/>
        </p:nvSpPr>
        <p:spPr>
          <a:xfrm>
            <a:off x="10971526" y="3458033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4" name="Rectangle 913">
            <a:extLst>
              <a:ext uri="{FF2B5EF4-FFF2-40B4-BE49-F238E27FC236}">
                <a16:creationId xmlns:a16="http://schemas.microsoft.com/office/drawing/2014/main" id="{4ADEB597-ABBD-1B0C-391D-5D1A77EF0A80}"/>
              </a:ext>
            </a:extLst>
          </p:cNvPr>
          <p:cNvSpPr/>
          <p:nvPr/>
        </p:nvSpPr>
        <p:spPr>
          <a:xfrm>
            <a:off x="10971526" y="3570674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16" name="Rectangle 915">
            <a:extLst>
              <a:ext uri="{FF2B5EF4-FFF2-40B4-BE49-F238E27FC236}">
                <a16:creationId xmlns:a16="http://schemas.microsoft.com/office/drawing/2014/main" id="{4724999E-FC3A-0490-B9E5-000446606E86}"/>
              </a:ext>
            </a:extLst>
          </p:cNvPr>
          <p:cNvSpPr/>
          <p:nvPr/>
        </p:nvSpPr>
        <p:spPr>
          <a:xfrm>
            <a:off x="10971526" y="3722092"/>
            <a:ext cx="443941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0,0%</a:t>
            </a:r>
          </a:p>
        </p:txBody>
      </p:sp>
      <p:sp>
        <p:nvSpPr>
          <p:cNvPr id="931" name="Rectangle: Rounded Corners 930">
            <a:extLst>
              <a:ext uri="{FF2B5EF4-FFF2-40B4-BE49-F238E27FC236}">
                <a16:creationId xmlns:a16="http://schemas.microsoft.com/office/drawing/2014/main" id="{FACC2B73-B083-85CE-DDA9-E1D4C1ACC46C}"/>
              </a:ext>
            </a:extLst>
          </p:cNvPr>
          <p:cNvSpPr/>
          <p:nvPr/>
        </p:nvSpPr>
        <p:spPr>
          <a:xfrm>
            <a:off x="7332577" y="2257480"/>
            <a:ext cx="383402" cy="323153"/>
          </a:xfrm>
          <a:prstGeom prst="roundRect">
            <a:avLst>
              <a:gd name="adj" fmla="val 8489"/>
            </a:avLst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Faixa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DDE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saudável</a:t>
            </a:r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32" name="Rectangle 931">
            <a:extLst>
              <a:ext uri="{FF2B5EF4-FFF2-40B4-BE49-F238E27FC236}">
                <a16:creationId xmlns:a16="http://schemas.microsoft.com/office/drawing/2014/main" id="{D5122982-B5A2-2A20-A3A0-CFB8BE7F7C64}"/>
              </a:ext>
            </a:extLst>
          </p:cNvPr>
          <p:cNvSpPr/>
          <p:nvPr/>
        </p:nvSpPr>
        <p:spPr>
          <a:xfrm>
            <a:off x="7332577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3" name="Rectangle 932">
            <a:extLst>
              <a:ext uri="{FF2B5EF4-FFF2-40B4-BE49-F238E27FC236}">
                <a16:creationId xmlns:a16="http://schemas.microsoft.com/office/drawing/2014/main" id="{02B87D89-87F1-4520-69D5-4A1BF5F0C9F3}"/>
              </a:ext>
            </a:extLst>
          </p:cNvPr>
          <p:cNvSpPr/>
          <p:nvPr/>
        </p:nvSpPr>
        <p:spPr>
          <a:xfrm>
            <a:off x="7332577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4" name="Rectangle 933">
            <a:extLst>
              <a:ext uri="{FF2B5EF4-FFF2-40B4-BE49-F238E27FC236}">
                <a16:creationId xmlns:a16="http://schemas.microsoft.com/office/drawing/2014/main" id="{CB58DB46-ACFA-E8D2-EF0A-945AF7502277}"/>
              </a:ext>
            </a:extLst>
          </p:cNvPr>
          <p:cNvSpPr/>
          <p:nvPr/>
        </p:nvSpPr>
        <p:spPr>
          <a:xfrm>
            <a:off x="7332577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5" name="Rectangle 934">
            <a:extLst>
              <a:ext uri="{FF2B5EF4-FFF2-40B4-BE49-F238E27FC236}">
                <a16:creationId xmlns:a16="http://schemas.microsoft.com/office/drawing/2014/main" id="{9089AB2A-FB37-8DA9-7111-D9D4577F96BF}"/>
              </a:ext>
            </a:extLst>
          </p:cNvPr>
          <p:cNvSpPr/>
          <p:nvPr/>
        </p:nvSpPr>
        <p:spPr>
          <a:xfrm>
            <a:off x="7332577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6" name="Rectangle 935">
            <a:extLst>
              <a:ext uri="{FF2B5EF4-FFF2-40B4-BE49-F238E27FC236}">
                <a16:creationId xmlns:a16="http://schemas.microsoft.com/office/drawing/2014/main" id="{E5460215-BB9B-18C3-0236-EB8800DF0C69}"/>
              </a:ext>
            </a:extLst>
          </p:cNvPr>
          <p:cNvSpPr/>
          <p:nvPr/>
        </p:nvSpPr>
        <p:spPr>
          <a:xfrm>
            <a:off x="7332577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7" name="Rectangle 936">
            <a:extLst>
              <a:ext uri="{FF2B5EF4-FFF2-40B4-BE49-F238E27FC236}">
                <a16:creationId xmlns:a16="http://schemas.microsoft.com/office/drawing/2014/main" id="{24F17555-51B7-9426-9E3F-5EA045779CD6}"/>
              </a:ext>
            </a:extLst>
          </p:cNvPr>
          <p:cNvSpPr/>
          <p:nvPr/>
        </p:nvSpPr>
        <p:spPr>
          <a:xfrm>
            <a:off x="7332577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8" name="Rectangle 937">
            <a:extLst>
              <a:ext uri="{FF2B5EF4-FFF2-40B4-BE49-F238E27FC236}">
                <a16:creationId xmlns:a16="http://schemas.microsoft.com/office/drawing/2014/main" id="{4C32E5FE-4AE7-F960-E3D5-0BB61F98E0B1}"/>
              </a:ext>
            </a:extLst>
          </p:cNvPr>
          <p:cNvSpPr/>
          <p:nvPr/>
        </p:nvSpPr>
        <p:spPr>
          <a:xfrm>
            <a:off x="7332577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39" name="Rectangle 938">
            <a:extLst>
              <a:ext uri="{FF2B5EF4-FFF2-40B4-BE49-F238E27FC236}">
                <a16:creationId xmlns:a16="http://schemas.microsoft.com/office/drawing/2014/main" id="{E1059835-5FD7-4442-7A8E-9DABF8EFD0D7}"/>
              </a:ext>
            </a:extLst>
          </p:cNvPr>
          <p:cNvSpPr/>
          <p:nvPr/>
        </p:nvSpPr>
        <p:spPr>
          <a:xfrm>
            <a:off x="7332577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0" name="Rectangle 939">
            <a:extLst>
              <a:ext uri="{FF2B5EF4-FFF2-40B4-BE49-F238E27FC236}">
                <a16:creationId xmlns:a16="http://schemas.microsoft.com/office/drawing/2014/main" id="{408031BB-D232-F0B3-6BD9-3A6F9B63637D}"/>
              </a:ext>
            </a:extLst>
          </p:cNvPr>
          <p:cNvSpPr/>
          <p:nvPr/>
        </p:nvSpPr>
        <p:spPr>
          <a:xfrm>
            <a:off x="7332577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3" name="Rectangle: Rounded Corners 942">
            <a:extLst>
              <a:ext uri="{FF2B5EF4-FFF2-40B4-BE49-F238E27FC236}">
                <a16:creationId xmlns:a16="http://schemas.microsoft.com/office/drawing/2014/main" id="{93A1FBD9-3721-12B5-6DDF-D0891A7FBBA9}"/>
              </a:ext>
            </a:extLst>
          </p:cNvPr>
          <p:cNvSpPr/>
          <p:nvPr/>
        </p:nvSpPr>
        <p:spPr>
          <a:xfrm>
            <a:off x="7731693" y="2257480"/>
            <a:ext cx="383402" cy="323153"/>
          </a:xfrm>
          <a:prstGeom prst="roundRect">
            <a:avLst>
              <a:gd name="adj" fmla="val 8489"/>
            </a:avLst>
          </a:prstGeom>
          <a:solidFill>
            <a:srgbClr val="17199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Classficação</a:t>
            </a:r>
            <a:r>
              <a:rPr lang="en-US" sz="700" b="1">
                <a:solidFill>
                  <a:srgbClr val="FFFFFF"/>
                </a:solidFill>
                <a:latin typeface="Calibri" panose="020F0502020204030204" pitchFamily="34" charset="0"/>
              </a:rPr>
              <a:t> de </a:t>
            </a:r>
            <a:r>
              <a:rPr lang="en-US" sz="700" b="1" err="1">
                <a:solidFill>
                  <a:srgbClr val="FFFFFF"/>
                </a:solidFill>
                <a:latin typeface="Calibri" panose="020F0502020204030204" pitchFamily="34" charset="0"/>
              </a:rPr>
              <a:t>saúde</a:t>
            </a:r>
            <a:endParaRPr lang="en-US" sz="700" b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44" name="Rectangle 943">
            <a:extLst>
              <a:ext uri="{FF2B5EF4-FFF2-40B4-BE49-F238E27FC236}">
                <a16:creationId xmlns:a16="http://schemas.microsoft.com/office/drawing/2014/main" id="{DDE5DC13-B489-C5A1-1C0B-B52D8B4C5AE0}"/>
              </a:ext>
            </a:extLst>
          </p:cNvPr>
          <p:cNvSpPr/>
          <p:nvPr/>
        </p:nvSpPr>
        <p:spPr>
          <a:xfrm>
            <a:off x="7731693" y="2651564"/>
            <a:ext cx="383402" cy="134411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5" name="Rectangle 944">
            <a:extLst>
              <a:ext uri="{FF2B5EF4-FFF2-40B4-BE49-F238E27FC236}">
                <a16:creationId xmlns:a16="http://schemas.microsoft.com/office/drawing/2014/main" id="{FB761BAF-3D00-1279-9F79-A21B8CBD6537}"/>
              </a:ext>
            </a:extLst>
          </p:cNvPr>
          <p:cNvSpPr/>
          <p:nvPr/>
        </p:nvSpPr>
        <p:spPr>
          <a:xfrm>
            <a:off x="7731693" y="2785975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6" name="Rectangle 945">
            <a:extLst>
              <a:ext uri="{FF2B5EF4-FFF2-40B4-BE49-F238E27FC236}">
                <a16:creationId xmlns:a16="http://schemas.microsoft.com/office/drawing/2014/main" id="{A94C8567-8065-7BEE-B062-966D2574A4A8}"/>
              </a:ext>
            </a:extLst>
          </p:cNvPr>
          <p:cNvSpPr/>
          <p:nvPr/>
        </p:nvSpPr>
        <p:spPr>
          <a:xfrm>
            <a:off x="7731693" y="2920387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7" name="Rectangle 946">
            <a:extLst>
              <a:ext uri="{FF2B5EF4-FFF2-40B4-BE49-F238E27FC236}">
                <a16:creationId xmlns:a16="http://schemas.microsoft.com/office/drawing/2014/main" id="{83EE5A90-17BA-0F8F-A845-6205E011EDD1}"/>
              </a:ext>
            </a:extLst>
          </p:cNvPr>
          <p:cNvSpPr/>
          <p:nvPr/>
        </p:nvSpPr>
        <p:spPr>
          <a:xfrm>
            <a:off x="7731693" y="3054798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8" name="Rectangle 947">
            <a:extLst>
              <a:ext uri="{FF2B5EF4-FFF2-40B4-BE49-F238E27FC236}">
                <a16:creationId xmlns:a16="http://schemas.microsoft.com/office/drawing/2014/main" id="{11313A6D-0B2F-5824-7E87-AB66042512A2}"/>
              </a:ext>
            </a:extLst>
          </p:cNvPr>
          <p:cNvSpPr/>
          <p:nvPr/>
        </p:nvSpPr>
        <p:spPr>
          <a:xfrm>
            <a:off x="7731693" y="3189209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49" name="Rectangle 948">
            <a:extLst>
              <a:ext uri="{FF2B5EF4-FFF2-40B4-BE49-F238E27FC236}">
                <a16:creationId xmlns:a16="http://schemas.microsoft.com/office/drawing/2014/main" id="{A445CF54-4A97-343A-A85E-678F864CBADA}"/>
              </a:ext>
            </a:extLst>
          </p:cNvPr>
          <p:cNvSpPr/>
          <p:nvPr/>
        </p:nvSpPr>
        <p:spPr>
          <a:xfrm>
            <a:off x="7731693" y="3323621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50" name="Rectangle 949">
            <a:extLst>
              <a:ext uri="{FF2B5EF4-FFF2-40B4-BE49-F238E27FC236}">
                <a16:creationId xmlns:a16="http://schemas.microsoft.com/office/drawing/2014/main" id="{88734B84-2BBC-AE11-6397-1F6A48EA8D92}"/>
              </a:ext>
            </a:extLst>
          </p:cNvPr>
          <p:cNvSpPr/>
          <p:nvPr/>
        </p:nvSpPr>
        <p:spPr>
          <a:xfrm>
            <a:off x="7731693" y="3458033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51" name="Rectangle 950">
            <a:extLst>
              <a:ext uri="{FF2B5EF4-FFF2-40B4-BE49-F238E27FC236}">
                <a16:creationId xmlns:a16="http://schemas.microsoft.com/office/drawing/2014/main" id="{D365C1B7-94DA-6536-0AE5-5AACA98EA743}"/>
              </a:ext>
            </a:extLst>
          </p:cNvPr>
          <p:cNvSpPr/>
          <p:nvPr/>
        </p:nvSpPr>
        <p:spPr>
          <a:xfrm>
            <a:off x="7731693" y="3570674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  <p:sp>
        <p:nvSpPr>
          <p:cNvPr id="952" name="Rectangle 951">
            <a:extLst>
              <a:ext uri="{FF2B5EF4-FFF2-40B4-BE49-F238E27FC236}">
                <a16:creationId xmlns:a16="http://schemas.microsoft.com/office/drawing/2014/main" id="{1ACB4790-BBDD-95DF-C58E-2C9F054049F3}"/>
              </a:ext>
            </a:extLst>
          </p:cNvPr>
          <p:cNvSpPr/>
          <p:nvPr/>
        </p:nvSpPr>
        <p:spPr>
          <a:xfrm>
            <a:off x="7731693" y="3722092"/>
            <a:ext cx="383402" cy="1344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700">
                <a:solidFill>
                  <a:schemeClr val="tx1"/>
                </a:solidFill>
                <a:latin typeface="Calibri" panose="020F0502020204030204" pitchFamily="34" charset="0"/>
              </a:rPr>
              <a:t>30-42</a:t>
            </a:r>
          </a:p>
        </p:txBody>
      </p:sp>
    </p:spTree>
    <p:extLst>
      <p:ext uri="{BB962C8B-B14F-4D97-AF65-F5344CB8AC3E}">
        <p14:creationId xmlns:p14="http://schemas.microsoft.com/office/powerpoint/2010/main" val="213041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STYLE_NAME" val="Casas Bahia Interno Grid 16:9"/>
  <p:tag name="EE4P_MASTERWIZARD_MARGINS" val="0"/>
  <p:tag name="DECKSTER_PRESENTATION_ID" val="2aff6819-cb9d-4667-b70e-c3c26216c1f2"/>
  <p:tag name="THINKCELLUNDODONOTDELETE" val="0"/>
  <p:tag name="EE4P_AGENDAWIZARD" val="&lt;ee4p&gt;&#10;    &lt;layouts&gt;&#10;        &lt;layout name=&quot;Two-Thirds&quot; id=&quot;227_1-4&quot;&gt;&#10;            &lt;standard&gt;&#10;                &lt;textframe marginTop=&quot;0&quot; horizontalAnchor=&quot;1&quot; marginLeft=&quot;0&quot; marginBottom=&quot;0&quot; marginRight=&quot;0&quot; orientation=&quot;1&quot; verticalAnchor=&quot;1&quot;/&gt;&#10;                &lt;font bold=&quot;0&quot; name=&quot;Trebuchet MS&quot; italic=&quot;0&quot; color=&quot;13&quot;/&gt;&#10;                &lt;paragraphformat lineRuleAfter=&quot;&quot; lineRuleBefore=&quot;&quot; leftIndent=&quot;0&quot; rightIndent=&quot;0&quot; firstLineIndent=&quot;0&quot; lineRuleWithin=&quot;&quot; spaceWithin=&quot;&quot; spaceBefore=&quot;&quot; spaceAfter=&quot;&quot;/&gt;&#10;                &lt;fill visible=&quot;0&quot;/&gt;&#10;                &lt;line visible=&quot;0&quot;/&gt;&#10;                &lt;bulletformat visible=&quot;0&quot;/&gt;&#10;            &lt;/standard&gt;&#10;            &lt;agenda createSingleAgendaSlide=&quot;1&quot; createSeparatingSlides=&quot;1&quot; subtitle=&quot;&quot; startItemNo=&quot;1&quot; fontSizeAuto=&quot;1&quot; title=&quot;&quot; createBackupSlide=&quot;1&quot; sizingModeId=&quot;1&quot; fontSize=&quot;24&quot; startTime=&quot;540&quot; name=&quot;&quot; timeFormatId=&quot;1&quot;/&gt;&#10;            &lt;columns&gt;&#10;                &lt;column checked=&quot;0&quot; rightSpacing=&quot;0&quot; fixedWidth=&quot;51.87527&quot; field=&quot;itemno&quot; label=&quot;No.&quot; leftSpacing=&quot;0&quot; dock=&quot;1&quot;/&gt;&#10;                &lt;column dock=&quot;1&quot; label=&quot;Topic&quot; leftSpacing=&quot;0&quot; field=&quot;topic&quot; rightDistribute=&quot;1&quot;/&gt;&#10;                &lt;column checked=&quot;0&quot; visible=&quot;0&quot; field=&quot;responsible&quot; label=&quot;Responsible&quot; leftSpacing=&quot;10&quot; rightDistribute=&quot;1&quot; dock=&quot;1&quot;/&gt;&#10;                &lt;column checked=&quot;0&quot; visible=&quot;0&quot; field=&quot;freecolumn&quot; label=&quot;&quot; leftSpacing=&quot;10&quot; rightDistribute=&quot;1&quot; dock=&quot;1&quot;/&gt;&#10;                &lt;column checked=&quot;0&quot; rightSpacing=&quot;0&quot; visible=&quot;1&quot; field=&quot;timeslot&quot; label=&quot;Time Slot&quot; leftSpacing=&quot;34&quot; dock=&quot;2&quot;/&gt;&#10;                &lt;column checked=&quot;0&quot; rightSpacing=&quot;0&quot; visible=&quot;0&quot; field=&quot;pageno&quot; label=&quot;Page No.&quot; leftSpacing=&quot;34&quot; dock=&quot;2&quot;/&gt;&#10;            &lt;/columns&gt;&#10;            &lt;position top=&quot;54.87496&quot; width=&quot;503.6943&quot; left=&quot;406.8057&quot; height=&quot;430.2501&quot;/&gt;&#10;            &lt;settings backupSlideTitle=&quot;Unused Slides&quot; allowedTimeFormatIds=&quot;1|2|3&quot; allowedLevels=&quot;2&quot; customLayoutName=&quot;Green one third|Presentation¦Green one third&quot; itemNoFormats=&quot;{1}¦{1}.{2}¦{3:alphaLC}¦{3:alphaLC}.{4:alphaLC}&quot; topMargin=&quot;0.5&quot; allowedFontSizes=&quot;8|9|10.5|11|12|14|16|18|20|22|24&quot; singleAgendaSlideSelected=&quot;1&quot; slideLayout=&quot;11&quot; customLayoutIndex=&quot;&quot; allowedSizingModeIds=&quot;1|2&quot; showBreak=&quot;0&quot; leftMargin=&quot;0&quot; titlePrompt=&quot;Insert Title&quot; customLayoutNameBackup=&quot;Special gray|Presentation¦Special gray&quot;/&gt;&#10;            &lt;cases&gt;&#10;                &lt;case single=&quot;1&quot; topMaxSpacing=&quot;15&quot; level=&quot;1&quot; bottomMinSpacing=&quot;0&quot; topMinSpacing=&quot;5&quot; break=&quot;0&quot; bottomMaxSpacing=&quot;0&quot;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single=&quot;1&quot; topMaxSpacing=&quot;4&quot; level=&quot;2&quot; bottomMinSpacing=&quot;0&quot; topMinSpacing=&quot;4&quot; break=&quot;0&quot; bottomMaxSpacing=&quot;0&quot;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    &lt;font relativeSize=&quot;0.75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relativeSize=&quot;0.75&quot;/&gt;&#10;                    &lt;/element&gt;&#10;                &lt;/case&gt;&#10;                &lt;case topMaxSpacing=&quot;15&quot; level=&quot;1&quot; selected=&quot;0&quot; bottomMinSpacing=&quot;0&quot; topMinSpacing=&quot;5&quot; break=&quot;0&quot; bottomMaxSpacing=&quot;0&quot;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    &lt;font color=&quot;13:0.4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13:0.4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13:0.4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13:0.4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color=&quot;13:0.4&quot;/&gt;&#10;                    &lt;/element&gt;&#10;                &lt;/case&gt;&#10;                &lt;case topMaxSpacing=&quot;15&quot; level=&quot;1&quot; selected=&quot;1&quot; bottomMinSpacing=&quot;0&quot; topMinSpacing=&quot;5&quot; break=&quot;0&quot; bottomMaxSpacing=&quot;0&quot;&gt;&#10;                    &lt;element value=&quot;&quot; picture=&quot;rightbutton.emf&quot; slideType=&quot;20693&quot; type=&quot;picture&quot;&gt;&#10;                        &lt;position top=&quot;(itemHeight-23.04*scale*fontScale)/2&quot; width=&quot;23.08244*scale*fontScale&quot; left=&quot;-35.62*scale*fontScale&quot; height=&quot;23.04*scale*fontScale&quot;/&gt;&#10;                    &lt;/element&gt;&#10;                    &lt;element type=&quot;autoshape&quot; autoShapeType=&quot;9&quot;&gt;&#10;                        &lt;position top=&quot;(itemHeight-23.04*scale*fontScale)/2&quot; width=&quot;23.08244*scale*fontScale&quot; left=&quot;-35.62*scale*fontScale&quot; height=&quot;23.04*scale*fontScale&quot;/&gt;&#10;                        &lt;fill foreColor=&quot;15&quot; visible=&quot;1&quot;/&gt;&#10;                    &lt;/element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topMaxSpacing=&quot;4&quot; level=&quot;2&quot; selected=&quot;0&quot; bottomMinSpacing=&quot;0&quot; topMinSpacing=&quot;4&quot; break=&quot;0&quot; bottomMaxSpacing=&quot;0&quot;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    &lt;font color=&quot;13:0.4&quot; relativeSize=&quot;0.75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13:0.4&quot; relativeSize=&quot;0.75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13:0.4&quot; relativeSize=&quot;0.75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13:0.4&quot; relativeSize=&quot;0.75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color=&quot;13:0.4&quot; relativeSize=&quot;0.75&quot;/&gt;&#10;                    &lt;/element&gt;&#10;                &lt;/case&gt;&#10;                &lt;case topMaxSpacing=&quot;4&quot; level=&quot;2&quot; selected=&quot;1&quot; bottomMinSpacing=&quot;0&quot; topMinSpacing=&quot;4&quot; break=&quot;0&quot; bottomMaxSpacing=&quot;0&quot;&gt;&#10;                    &lt;element value=&quot;&quot; picture=&quot;rightbutton.emf&quot; slideType=&quot;20693&quot; type=&quot;picture&quot;&gt;&#10;                        &lt;position top=&quot;(itemHeight-23.04*scale*fontScale)/2&quot; width=&quot;23.08244*scale*fontScale&quot; left=&quot;-35.62*scale*fontScale&quot; height=&quot;23.04*scale*fontScale&quot;/&gt;&#10;                    &lt;/element&gt;&#10;                    &lt;element type=&quot;autoshape&quot; autoShapeType=&quot;9&quot;&gt;&#10;                        &lt;position top=&quot;(itemHeight-23.04*scale*fontScale)/2&quot; width=&quot;23.08244*scale*fontScale&quot; left=&quot;-35.62*scale*fontScale&quot; height=&quot;23.04*scale*fontScale&quot;/&gt;&#10;                        &lt;fill foreColor=&quot;15&quot; visible=&quot;1&quot;/&gt;&#10;                    &lt;/element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    &lt;font relativeSize=&quot;0.75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relativeSize=&quot;0.75&quot;/&gt;&#10;                    &lt;/element&gt;&#10;                &lt;/case&gt;&#10;            &lt;/cases&gt;&#10;            &lt;elements/&gt;&#10;        &lt;/layout&gt;&#10;    &lt;/layouts&gt;&#10;    &lt;contents&gt;&#10;        &lt;agenda layoutId=&quot;227_1-4&quot; fontSizeAuto=&quot;1&quot; createBackupSlide=&quot;1&quot; createSeparatingSlides=&quot;1&quot; timeFormatId=&quot;1&quot; singleSlideId=&quot;&quot; backupSectionId=&quot;&quot; fontSize=&quot;24&quot; backupSlideId=&quot;545ca8f2-0b8f-4dc5-b404-06ae63288443&quot; createSingleAgendaSlide=&quot;0&quot; startTime=&quot;540&quot; name=&quot;&quot; createIndicators=&quot;0&quot; startItemNo=&quot;1&quot; sizingModeId=&quot;1&quot; subtitle=&quot;&quot; title=&quot;Agenda&quot; createSections=&quot;0&quot;&gt;&#10;            &lt;columns&gt;&#10;                &lt;column leftSpacing=&quot;0&quot; field=&quot;itemno&quot; fixedWidth=&quot;51.87527000000001024&quot; checked=&quot;0&quot; label=&quot;No.&quot; dock=&quot;1&quot; rightSpacing=&quot;0&quot;/&gt;&#10;                &lt;column rightSpacing=&quot;140.304865185547&quot; label=&quot;Topic&quot; leftSpacing=&quot;0&quot; field=&quot;topic&quot; fixedWidth=&quot;0&quot; dock=&quot;1&quot;/&gt;&#10;                &lt;column visible=&quot;0&quot; leftSpacing=&quot;10&quot; dock=&quot;1&quot; field=&quot;responsible&quot; checked=&quot;0&quot; rightSpacing=&quot;0&quot; fixedWidth=&quot;0&quot; label=&quot;Responsible&quot;/&gt;&#10;                &lt;column label=&quot;&quot; visible=&quot;0&quot; field=&quot;freecolumn&quot; fixedWidth=&quot;0&quot; checked=&quot;0&quot; rightSpacing=&quot;0&quot; leftSpacing=&quot;10&quot; dock=&quot;1&quot;/&gt;&#10;                &lt;column label=&quot;Time Slot&quot; checked=&quot;0&quot; visible=&quot;1&quot; field=&quot;timeslot&quot; rightSpacing=&quot;0&quot; dock=&quot;2&quot; fixedWidth=&quot;0&quot; leftSpacing=&quot;34&quot;/&gt;&#10;                &lt;column leftSpacing=&quot;34&quot; fixedWidth=&quot;0&quot; dock=&quot;2&quot; visible=&quot;0&quot; checked=&quot;0&quot; rightSpacing=&quot;0&quot; field=&quot;pageno&quot; label=&quot;Page No.&quot;/&gt;&#10;            &lt;/columns&gt;&#10;            &lt;items&gt;&#10;                &lt;item agendaSlideId=&quot;b9bb7bf0-17be-4567-bac8-1b87cc9d565c&quot; duration=&quot;30&quot; sectionId=&quot;&quot; topic=&quot;Update frentes de trabalho&quot; parentId=&quot;&quot; showAgendaItem=&quot;1&quot; isBreak=&quot;0&quot; id=&quot;43368406-f95c-4b6b-85b9-1fa1555d67fb&quot; generateAgendaSlide=&quot;1&quot; level=&quot;1&quot;/&gt;&#10;                &lt;item duration=&quot;30&quot; isBreak=&quot;0&quot; parentId=&quot;43368406-f95c-4b6b-85b9-1fa1555d67fb&quot; showAgendaItem=&quot;1&quot; agendaSlideId=&quot;bb251670-169d-4b25-a8ec-f3f1df60f104&quot; level=&quot;2&quot; sectionId=&quot;&quot; generateAgendaSlide=&quot;1&quot; topic=&quot;Matriz de merecimento&quot; id=&quot;50feda50-e20f-47bb-9307-83a48d6f3cde&quot;/&gt;&#10;                &lt;item agendaSlideId=&quot;a534dcc4-7092-4391-86e1-a6c342df7547&quot; id=&quot;ab26f15a-cb8a-4000-b7f1-6a57e34f5ade&quot; level=&quot;2&quot; showAgendaItem=&quot;1&quot; parentId=&quot;43368406-f95c-4b6b-85b9-1fa1555d67fb&quot; sectionId=&quot;&quot; topic=&quot;Abastecimento CDs&quot; isBreak=&quot;0&quot; duration=&quot;30&quot; generateAgendaSlide=&quot;1&quot;/&gt;&#10;                &lt;item parentId=&quot;43368406-f95c-4b6b-85b9-1fa1555d67fb&quot; sectionId=&quot;&quot; duration=&quot;30&quot; showAgendaItem=&quot;1&quot; level=&quot;2&quot; isBreak=&quot;0&quot; id=&quot;32c3ad9c-14e5-40ea-a769-6b5981652766&quot; generateAgendaSlide=&quot;1&quot; topic=&quot;Abastecimento lojas&quot; agendaSlideId=&quot;a66f50ac-6e65-4ee6-a86a-52fb33f5ee00&quot;/&gt;&#10;                &lt;item id=&quot;9ffaac75-3f53-40e4-a2ff-e1505c75efbd&quot; agendaSlideId=&quot;acfeb594-67ee-4ed2-b4c6-b028a17958f0&quot; duration=&quot;30&quot; isBreak=&quot;0&quot; level=&quot;1&quot; showAgendaItem=&quot;1&quot; topic=&quot;Desenho torre de controle Supply&quot; sectionId=&quot;&quot; generateAgendaSlide=&quot;1&quot; parentId=&quot;&quot;/&gt;&#10;            &lt;/items&gt;&#10;        &lt;/agenda&gt;&#10;    &lt;/contents&gt;&#10;&lt;/ee4p&gt;"/>
  <p:tag name="THINKCELLPRESENTATIONDONOTDELETE" val="&lt;?xml version=&quot;1.0&quot; encoding=&quot;UTF-16&quot; standalone=&quot;yes&quot;?&gt;&lt;root reqver=&quot;28224&quot;&gt;&lt;version val=&quot;3578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4.32777208509000121950E+00&quot;&gt;&lt;m_msothmcolidx val=&quot;0&quot;/&gt;&lt;m_rgb r=&quot;FF&quot; g=&quot;D9&quot; b=&quot;8F&quot;/&gt;&lt;/elem&gt;&lt;elem m_fUsage=&quot;2.86070282782158802348E+00&quot;&gt;&lt;m_msothmcolidx val=&quot;0&quot;/&gt;&lt;m_rgb r=&quot;F1&quot; g=&quot;8D&quot; b=&quot;1F&quot;/&gt;&lt;/elem&gt;&lt;elem m_fUsage=&quot;1.11891424078278833854E+00&quot;&gt;&lt;m_msothmcolidx val=&quot;0&quot;/&gt;&lt;m_rgb r=&quot;0F&quot; g=&quot;11&quot; b=&quot;67&quot;/&gt;&lt;/elem&gt;&lt;elem m_fUsage=&quot;9.39168440100000223580E-01&quot;&gt;&lt;m_msothmcolidx val=&quot;0&quot;/&gt;&lt;m_rgb r=&quot;ED&quot; g=&quot;DF&quot; b=&quot;B8&quot;/&gt;&lt;/elem&gt;&lt;elem m_fUsage=&quot;2.82429536481000165171E-01&quot;&gt;&lt;m_msothmcolidx val=&quot;0&quot;/&gt;&lt;m_rgb r=&quot;D7&quot; g=&quot;FF&quot; b=&quot;C2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Br5PpMczmtlVs2..gGJ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17rYfE.g9WkbpQe3fUC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ENM97aASpwtCPAqEQ_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GezzXKAxHLMIZmJOYuk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6ddaNS5AqieJhww_G5X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NP_iSdTHgnxwhbGXqS0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vASrW4wLH43Vxx5oea5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iZqYHauzYMMQSsC1bFm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EQ_xm8uDFvDgDxY.00X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XhyYYFznk2ozDysMWT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W44RByjNox.AEI0ZyI9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ZhfaRGGYwK91C8Utk8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NDJnboMv62MixmEMVK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58itkjMpKC74dKTiQOz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yGbvJ4Okos2Qsh6omG9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VhPpNtdPqhb60TDXpLe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z6EtY4tiqj3gZBYZ710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_OBCxZSRClvpRBw1rJa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3e2TqL1Dgkq5sM28yR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T16Pm_EjK1gcLHs2jS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55hmTmrTKzkdHTxy1S4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w63EgF.K5WBvgE34I3s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uOPWH0cr04NCtHvi0Id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ryzPb7LWlLKvoIxRHAg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zqo2EMbzbuZcfYX2APN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Z76C9ca989ZRIPfNA5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9AwMwK.2wsgXfuI.oB0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D2kP.DJULZATrbLuNv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aySyAiUU1Gf08SErQtx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a_COhvubhhr9LgYvShd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vInklMcRYhDjhDr4xCk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vKipNqss51CMIlKXfp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skJ.cqEI1ZpyysRbOSx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P6DtAoTDr9hb3JhUrZ2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NgkZtb9jajqMqdY2kPI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IIoqA6iWOUPoEo7OgD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AxlYJYBrRoT1QIUpPBe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DaQn2dClPPRo0vYZWMX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Br5PpMczmtlVs2..gGJ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17rYfE.g9WkbpQe3fU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ENM97aASpwtCPAqEQ_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GezzXKAxHLMIZmJOYuk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6ddaNS5AqieJhww_G5X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NP_iSdTHgnxwhbGXqS0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vASrW4wLH43Vxx5oea5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iZqYHauzYMMQSsC1bF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EQ_xm8uDFvDgDxY.00X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XhyYYFznk2ozDysMWTK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W44RByjNox.AEI0ZyI9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ZhfaRGGYwK91C8Utk8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NDJnboMv62MixmEMVKb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58itkjMpKC74dKTiQOz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yGbvJ4Okos2Qsh6omG9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VhPpNtdPqhb60TDXpLe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z6EtY4tiqj3gZBYZ710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_OBCxZSRClvpRBw1rJ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3e2TqL1Dgkq5sM28yR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T16Pm_EjK1gcLHs2jSS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55hmTmrTKzkdHTxy1S4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w63EgF.K5WBvgE34I3s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uOPWH0cr04NCtHvi0Id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ryzPb7LWlLKvoIxRHAg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zqo2EMbzbuZcfYX2APN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Z76C9ca989ZRIPfNA5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9AwMwK.2wsgXfuI.oB0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D2kP.DJULZATrbLuNv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aySyAiUU1Gf08SErQtx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a_COhvubhhr9LgYvShd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vInklMcRYhDjhDr4xCk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vKipNqss51CMIlKXfp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skJ.cqEI1ZpyysRbOSx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P6DtAoTDr9hb3JhUrZ2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NgkZtb9jajqMqdY2kPI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IIoqA6iWOUPoEo7OgD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AxlYJYBrRoT1QIUpPBe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DaQn2dClPPRo0vYZWMXQ"/>
</p:tagLst>
</file>

<file path=ppt/theme/theme1.xml><?xml version="1.0" encoding="utf-8"?>
<a:theme xmlns:a="http://schemas.openxmlformats.org/drawingml/2006/main" name="1_Casas Bahia Interno Grid 16:9 - 25639">
  <a:themeElements>
    <a:clrScheme name="Grid">
      <a:dk1>
        <a:sysClr val="windowText" lastClr="000000"/>
      </a:dk1>
      <a:lt1>
        <a:sysClr val="window" lastClr="FFFFFF"/>
      </a:lt1>
      <a:dk2>
        <a:srgbClr val="1F22CF"/>
      </a:dk2>
      <a:lt2>
        <a:srgbClr val="F2F2F2"/>
      </a:lt2>
      <a:accent1>
        <a:srgbClr val="0F1167"/>
      </a:accent1>
      <a:accent2>
        <a:srgbClr val="17199B"/>
      </a:accent2>
      <a:accent3>
        <a:srgbClr val="F18D1E"/>
      </a:accent3>
      <a:accent4>
        <a:srgbClr val="7173E9"/>
      </a:accent4>
      <a:accent5>
        <a:srgbClr val="9A9A9A"/>
      </a:accent5>
      <a:accent6>
        <a:srgbClr val="E71A3A"/>
      </a:accent6>
      <a:hlink>
        <a:srgbClr val="29BA74"/>
      </a:hlink>
      <a:folHlink>
        <a:srgbClr val="F07085"/>
      </a:folHlink>
    </a:clrScheme>
    <a:fontScheme name="Trebuchet M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 w="9525" cap="rnd" cmpd="sng" algn="ctr">
          <a:solidFill>
            <a:schemeClr val="tx2">
              <a:lumMod val="20000"/>
              <a:lumOff val="80000"/>
            </a:schemeClr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7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FAFF27D9-808C-4AD3-BA01-94ED32363257}">
  <we:reference id="1e02f4c4-fc90-4da1-8ab3-b26c44d971ec" version="2.2.0.0" store="EXCatalog" storeType="EXCatalog"/>
  <we:alternateReferences/>
  <we:properties>
    <we:property name="ClientColors" value="&quot;[\&quot;#000000\&quot;,\&quot;#1F22CF\&quot;,\&quot;#0F1167\&quot;,\&quot;#17199B\&quot;,\&quot;#F18D1E\&quot;,\&quot;#7173E9\&quot;,\&quot;#9A9A9A\&quot;,\&quot;#E71A3A\&quot;,\&quot;#17199B\&quot;]&quot;"/>
    <we:property name="ThemeElements" value="&quot;{\&quot;colors\&quot;:[\&quot;#000000\&quot;,\&quot;#1F22CF\&quot;,\&quot;#0F1167\&quot;,\&quot;#17199B\&quot;,\&quot;#F18D1E\&quot;,\&quot;#7173E9\&quot;,\&quot;#9A9A9A\&quot;,\&quot;#E71A3A\&quot;,\&quot;#17199B\&quot;],\&quot;fonts\&quot;:[\&quot;Trebuchet MS\&quot;]}&quot;"/>
    <we:property name="ClientFonts" value="&quot;[\&quot;Trebuchet MS\&quot;]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d987319-d766-436c-8307-1faac3afe1ee">
      <Terms xmlns="http://schemas.microsoft.com/office/infopath/2007/PartnerControls"/>
    </lcf76f155ced4ddcb4097134ff3c332f>
    <TaxCatchAll xmlns="cbf49dd6-6fd1-4aee-bb93-131f66b836f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7A33C145FA924AB41AA66163F81A97" ma:contentTypeVersion="11" ma:contentTypeDescription="Create a new document." ma:contentTypeScope="" ma:versionID="7ce30069145c45244b840bd30d725fbe">
  <xsd:schema xmlns:xsd="http://www.w3.org/2001/XMLSchema" xmlns:xs="http://www.w3.org/2001/XMLSchema" xmlns:p="http://schemas.microsoft.com/office/2006/metadata/properties" xmlns:ns2="0d987319-d766-436c-8307-1faac3afe1ee" xmlns:ns3="cbf49dd6-6fd1-4aee-bb93-131f66b836ff" targetNamespace="http://schemas.microsoft.com/office/2006/metadata/properties" ma:root="true" ma:fieldsID="a4aa94c9df56019e18942d98fcf1601c" ns2:_="" ns3:_="">
    <xsd:import namespace="0d987319-d766-436c-8307-1faac3afe1ee"/>
    <xsd:import namespace="cbf49dd6-6fd1-4aee-bb93-131f66b836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987319-d766-436c-8307-1faac3afe1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f49dd6-6fd1-4aee-bb93-131f66b836ff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7e90d9ec-82f6-41c3-b609-9a428a96e01e}" ma:internalName="TaxCatchAll" ma:showField="CatchAllData" ma:web="cbf49dd6-6fd1-4aee-bb93-131f66b836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154C31-4205-4178-9B0F-08A0FE4818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F872F6-2BDA-45AF-9BDD-AE27C8580B1F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0d987319-d766-436c-8307-1faac3afe1ee"/>
    <ds:schemaRef ds:uri="cbf49dd6-6fd1-4aee-bb93-131f66b836ff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E626319-4FAA-43AC-BF36-3E3B69E688F9}">
  <ds:schemaRefs>
    <ds:schemaRef ds:uri="0d987319-d766-436c-8307-1faac3afe1ee"/>
    <ds:schemaRef ds:uri="cbf49dd6-6fd1-4aee-bb93-131f66b836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1948</Words>
  <Application>Microsoft Office PowerPoint</Application>
  <PresentationFormat>Widescreen</PresentationFormat>
  <Paragraphs>920</Paragraphs>
  <Slides>4</Slides>
  <Notes>4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  <vt:variant>
        <vt:lpstr>Custom Shows</vt:lpstr>
      </vt:variant>
      <vt:variant>
        <vt:i4>1</vt:i4>
      </vt:variant>
    </vt:vector>
  </HeadingPairs>
  <TitlesOfParts>
    <vt:vector size="11" baseType="lpstr">
      <vt:lpstr>Arial</vt:lpstr>
      <vt:lpstr>Calibri</vt:lpstr>
      <vt:lpstr>Open Sans</vt:lpstr>
      <vt:lpstr>Trebuchet MS</vt:lpstr>
      <vt:lpstr>1_Casas Bahia Interno Grid 16:9 - 25639</vt:lpstr>
      <vt:lpstr>think-cell Slide</vt:lpstr>
      <vt:lpstr>Como? | Visualização de status da alocação de estoque de maneira simples e direta</vt:lpstr>
      <vt:lpstr>Como? | Visualização de status da alocação de estoque de maneira simples e direta</vt:lpstr>
      <vt:lpstr>Supply | Visão detalhada para atuação do time de lojas</vt:lpstr>
      <vt:lpstr>Supply | Visão detalhada para atuação do time de lojas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Simhadri Gangadhar</cp:lastModifiedBy>
  <cp:revision>1</cp:revision>
  <cp:lastPrinted>2000-01-01T02:00:00Z</cp:lastPrinted>
  <dcterms:created xsi:type="dcterms:W3CDTF">2025-07-23T19:55:40Z</dcterms:created>
  <dcterms:modified xsi:type="dcterms:W3CDTF">2025-10-23T08:4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7-23T20:10:53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258f0a09-7639-4578-a0bc-550c0a182397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10, 3, 0, 1</vt:lpwstr>
  </property>
  <property fmtid="{D5CDD505-2E9C-101B-9397-08002B2CF9AE}" pid="15" name="ContentTypeId">
    <vt:lpwstr>0x010100DC7A33C145FA924AB41AA66163F81A97</vt:lpwstr>
  </property>
  <property fmtid="{D5CDD505-2E9C-101B-9397-08002B2CF9AE}" pid="16" name="MediaServiceImageTags">
    <vt:lpwstr/>
  </property>
</Properties>
</file>